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heme/theme3.xml" ContentType="application/vnd.openxmlformats-officedocument.theme+xml"/>
  <Override PartName="/ppt/tags/tag2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5"/>
    <p:sldMasterId id="2147483805" r:id="rId6"/>
  </p:sldMasterIdLst>
  <p:notesMasterIdLst>
    <p:notesMasterId r:id="rId27"/>
  </p:notesMasterIdLst>
  <p:sldIdLst>
    <p:sldId id="2147483624" r:id="rId7"/>
    <p:sldId id="2076136709" r:id="rId8"/>
    <p:sldId id="2147483626" r:id="rId9"/>
    <p:sldId id="2147483406" r:id="rId10"/>
    <p:sldId id="2146845600" r:id="rId11"/>
    <p:sldId id="2146845615" r:id="rId12"/>
    <p:sldId id="2147483627" r:id="rId13"/>
    <p:sldId id="2147483625" r:id="rId14"/>
    <p:sldId id="2147483459" r:id="rId15"/>
    <p:sldId id="2147483635" r:id="rId16"/>
    <p:sldId id="2147483628" r:id="rId17"/>
    <p:sldId id="2147483629" r:id="rId18"/>
    <p:sldId id="2147483622" r:id="rId19"/>
    <p:sldId id="2147483634" r:id="rId20"/>
    <p:sldId id="2147483623" r:id="rId21"/>
    <p:sldId id="2147483630" r:id="rId22"/>
    <p:sldId id="2147483632" r:id="rId23"/>
    <p:sldId id="2147483636" r:id="rId24"/>
    <p:sldId id="2147483631" r:id="rId25"/>
    <p:sldId id="214748363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7416" userDrawn="1">
          <p15:clr>
            <a:srgbClr val="A4A3A4"/>
          </p15:clr>
        </p15:guide>
        <p15:guide id="5" pos="1728" userDrawn="1">
          <p15:clr>
            <a:srgbClr val="A4A3A4"/>
          </p15:clr>
        </p15:guide>
        <p15:guide id="6" orient="horz" pos="2160" userDrawn="1">
          <p15:clr>
            <a:srgbClr val="A4A3A4"/>
          </p15:clr>
        </p15:guide>
        <p15:guide id="7" orient="horz" pos="38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56FD90-542A-FDFE-64A9-E714F8603749}" name="Chang, Jennifer" initials="JC" userId="S::Jennifer.Chang@six-group.com::d0248f33-00b0-4570-a48a-d5a188c3b0a6" providerId="AD"/>
  <p188:author id="{DE30FED1-5302-EEE6-B66E-4B37617EF474}" name="Tuta, Magdalena" initials="TM" userId="S::magdalena.tuta1@six-group.com::c44e37f8-bfd2-4c10-b5c3-c5868abb935e" providerId="AD"/>
  <p188:author id="{8E61AFF8-97A3-4779-3E4C-70C6209BE788}" name="Puskaric, Marin" initials="MP" userId="S::marin.puskaric1@six-group.com::08e79dfd-3277-47dc-a995-187d4d28ded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10101"/>
    <a:srgbClr val="DDCBF7"/>
    <a:srgbClr val="DE3919"/>
    <a:srgbClr val="FF00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923B16-109D-4392-AD0F-18CEE537C24E}" v="825" dt="2025-03-10T15:09:31.7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guide pos="3840"/>
        <p:guide pos="7416"/>
        <p:guide pos="1728"/>
        <p:guide orient="horz" pos="2160"/>
        <p:guide orient="horz" pos="38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uskaric, Marin" userId="08e79dfd-3277-47dc-a995-187d4d28ded4" providerId="ADAL" clId="{EC923B16-109D-4392-AD0F-18CEE537C24E}"/>
    <pc:docChg chg="undo redo custSel addSld delSld modSld">
      <pc:chgData name="Puskaric, Marin" userId="08e79dfd-3277-47dc-a995-187d4d28ded4" providerId="ADAL" clId="{EC923B16-109D-4392-AD0F-18CEE537C24E}" dt="2025-03-10T15:09:43.314" v="4553" actId="14861"/>
      <pc:docMkLst>
        <pc:docMk/>
      </pc:docMkLst>
      <pc:sldChg chg="addSp delSp modSp del mod">
        <pc:chgData name="Puskaric, Marin" userId="08e79dfd-3277-47dc-a995-187d4d28ded4" providerId="ADAL" clId="{EC923B16-109D-4392-AD0F-18CEE537C24E}" dt="2025-03-10T09:04:26.852" v="154" actId="47"/>
        <pc:sldMkLst>
          <pc:docMk/>
          <pc:sldMk cId="2573265160" sldId="260"/>
        </pc:sldMkLst>
        <pc:spChg chg="mod">
          <ac:chgData name="Puskaric, Marin" userId="08e79dfd-3277-47dc-a995-187d4d28ded4" providerId="ADAL" clId="{EC923B16-109D-4392-AD0F-18CEE537C24E}" dt="2025-03-10T09:03:13.705" v="133" actId="21"/>
          <ac:spMkLst>
            <pc:docMk/>
            <pc:sldMk cId="2573265160" sldId="260"/>
            <ac:spMk id="7" creationId="{A440346C-BB05-4541-BDF7-02330D09AD8D}"/>
          </ac:spMkLst>
        </pc:spChg>
        <pc:picChg chg="del">
          <ac:chgData name="Puskaric, Marin" userId="08e79dfd-3277-47dc-a995-187d4d28ded4" providerId="ADAL" clId="{EC923B16-109D-4392-AD0F-18CEE537C24E}" dt="2025-03-10T08:58:41.012" v="44" actId="21"/>
          <ac:picMkLst>
            <pc:docMk/>
            <pc:sldMk cId="2573265160" sldId="260"/>
            <ac:picMk id="2" creationId="{5D8C42A3-AE1B-8667-18E3-5385EE0E9C9A}"/>
          </ac:picMkLst>
        </pc:picChg>
        <pc:picChg chg="add mod">
          <ac:chgData name="Puskaric, Marin" userId="08e79dfd-3277-47dc-a995-187d4d28ded4" providerId="ADAL" clId="{EC923B16-109D-4392-AD0F-18CEE537C24E}" dt="2025-03-10T09:00:30.597" v="72" actId="1076"/>
          <ac:picMkLst>
            <pc:docMk/>
            <pc:sldMk cId="2573265160" sldId="260"/>
            <ac:picMk id="5" creationId="{F6937E3A-001D-25EE-A02B-92937F1009A2}"/>
          </ac:picMkLst>
        </pc:picChg>
      </pc:sldChg>
      <pc:sldChg chg="delSp modSp mod">
        <pc:chgData name="Puskaric, Marin" userId="08e79dfd-3277-47dc-a995-187d4d28ded4" providerId="ADAL" clId="{EC923B16-109D-4392-AD0F-18CEE537C24E}" dt="2025-03-10T08:57:47.943" v="31" actId="12789"/>
        <pc:sldMkLst>
          <pc:docMk/>
          <pc:sldMk cId="950791526" sldId="2076136709"/>
        </pc:sldMkLst>
        <pc:spChg chg="mod">
          <ac:chgData name="Puskaric, Marin" userId="08e79dfd-3277-47dc-a995-187d4d28ded4" providerId="ADAL" clId="{EC923B16-109D-4392-AD0F-18CEE537C24E}" dt="2025-03-10T08:57:02.425" v="17" actId="12789"/>
          <ac:spMkLst>
            <pc:docMk/>
            <pc:sldMk cId="950791526" sldId="2076136709"/>
            <ac:spMk id="7" creationId="{DC8222C6-1F0D-46D0-8375-67CA61C8953C}"/>
          </ac:spMkLst>
        </pc:spChg>
        <pc:spChg chg="mod">
          <ac:chgData name="Puskaric, Marin" userId="08e79dfd-3277-47dc-a995-187d4d28ded4" providerId="ADAL" clId="{EC923B16-109D-4392-AD0F-18CEE537C24E}" dt="2025-03-10T08:57:02.425" v="17" actId="12789"/>
          <ac:spMkLst>
            <pc:docMk/>
            <pc:sldMk cId="950791526" sldId="2076136709"/>
            <ac:spMk id="9" creationId="{1A23135C-78C7-481B-A154-A1322412A594}"/>
          </ac:spMkLst>
        </pc:spChg>
        <pc:spChg chg="mod">
          <ac:chgData name="Puskaric, Marin" userId="08e79dfd-3277-47dc-a995-187d4d28ded4" providerId="ADAL" clId="{EC923B16-109D-4392-AD0F-18CEE537C24E}" dt="2025-03-10T08:57:33.267" v="28" actId="12789"/>
          <ac:spMkLst>
            <pc:docMk/>
            <pc:sldMk cId="950791526" sldId="2076136709"/>
            <ac:spMk id="12" creationId="{54EB972F-AD13-471B-B0E9-215B44A17D5E}"/>
          </ac:spMkLst>
        </pc:spChg>
        <pc:spChg chg="mod">
          <ac:chgData name="Puskaric, Marin" userId="08e79dfd-3277-47dc-a995-187d4d28ded4" providerId="ADAL" clId="{EC923B16-109D-4392-AD0F-18CEE537C24E}" dt="2025-03-10T08:57:33.267" v="28" actId="12789"/>
          <ac:spMkLst>
            <pc:docMk/>
            <pc:sldMk cId="950791526" sldId="2076136709"/>
            <ac:spMk id="14" creationId="{CD62A97D-05CA-4CCC-86B5-650B1A922955}"/>
          </ac:spMkLst>
        </pc:spChg>
        <pc:spChg chg="del">
          <ac:chgData name="Puskaric, Marin" userId="08e79dfd-3277-47dc-a995-187d4d28ded4" providerId="ADAL" clId="{EC923B16-109D-4392-AD0F-18CEE537C24E}" dt="2025-03-10T08:54:57.634" v="0" actId="478"/>
          <ac:spMkLst>
            <pc:docMk/>
            <pc:sldMk cId="950791526" sldId="2076136709"/>
            <ac:spMk id="16" creationId="{F32E70D7-3C3F-F31B-2C13-C14078FF39B1}"/>
          </ac:spMkLst>
        </pc:spChg>
        <pc:spChg chg="mod">
          <ac:chgData name="Puskaric, Marin" userId="08e79dfd-3277-47dc-a995-187d4d28ded4" providerId="ADAL" clId="{EC923B16-109D-4392-AD0F-18CEE537C24E}" dt="2025-03-10T08:57:38.080" v="29" actId="12789"/>
          <ac:spMkLst>
            <pc:docMk/>
            <pc:sldMk cId="950791526" sldId="2076136709"/>
            <ac:spMk id="17" creationId="{F25D9615-6A4C-4A38-A563-FCF37BD05D00}"/>
          </ac:spMkLst>
        </pc:spChg>
        <pc:spChg chg="mod">
          <ac:chgData name="Puskaric, Marin" userId="08e79dfd-3277-47dc-a995-187d4d28ded4" providerId="ADAL" clId="{EC923B16-109D-4392-AD0F-18CEE537C24E}" dt="2025-03-10T08:57:38.080" v="29" actId="12789"/>
          <ac:spMkLst>
            <pc:docMk/>
            <pc:sldMk cId="950791526" sldId="2076136709"/>
            <ac:spMk id="18" creationId="{0209B26A-1C5C-4C1A-9DD2-67A4B5815166}"/>
          </ac:spMkLst>
        </pc:spChg>
        <pc:spChg chg="del">
          <ac:chgData name="Puskaric, Marin" userId="08e79dfd-3277-47dc-a995-187d4d28ded4" providerId="ADAL" clId="{EC923B16-109D-4392-AD0F-18CEE537C24E}" dt="2025-03-10T08:54:58.081" v="1" actId="478"/>
          <ac:spMkLst>
            <pc:docMk/>
            <pc:sldMk cId="950791526" sldId="2076136709"/>
            <ac:spMk id="19" creationId="{B9F9FD3A-5166-5D94-B74A-7E5BAD1BD3A0}"/>
          </ac:spMkLst>
        </pc:spChg>
        <pc:spChg chg="mod">
          <ac:chgData name="Puskaric, Marin" userId="08e79dfd-3277-47dc-a995-187d4d28ded4" providerId="ADAL" clId="{EC923B16-109D-4392-AD0F-18CEE537C24E}" dt="2025-03-10T08:57:47.943" v="31" actId="12789"/>
          <ac:spMkLst>
            <pc:docMk/>
            <pc:sldMk cId="950791526" sldId="2076136709"/>
            <ac:spMk id="23" creationId="{909EA4F5-E36F-4EDE-851D-3310C1DACFD2}"/>
          </ac:spMkLst>
        </pc:spChg>
        <pc:spChg chg="mod">
          <ac:chgData name="Puskaric, Marin" userId="08e79dfd-3277-47dc-a995-187d4d28ded4" providerId="ADAL" clId="{EC923B16-109D-4392-AD0F-18CEE537C24E}" dt="2025-03-10T08:57:42.725" v="30" actId="12789"/>
          <ac:spMkLst>
            <pc:docMk/>
            <pc:sldMk cId="950791526" sldId="2076136709"/>
            <ac:spMk id="25" creationId="{37C684F6-AB8B-4652-A0E7-6E02A0F04032}"/>
          </ac:spMkLst>
        </pc:spChg>
        <pc:spChg chg="mod">
          <ac:chgData name="Puskaric, Marin" userId="08e79dfd-3277-47dc-a995-187d4d28ded4" providerId="ADAL" clId="{EC923B16-109D-4392-AD0F-18CEE537C24E}" dt="2025-03-10T08:57:47.943" v="31" actId="12789"/>
          <ac:spMkLst>
            <pc:docMk/>
            <pc:sldMk cId="950791526" sldId="2076136709"/>
            <ac:spMk id="26" creationId="{D9AFF6AF-9E69-4B08-96A5-B1790B0C3001}"/>
          </ac:spMkLst>
        </pc:spChg>
        <pc:spChg chg="mod">
          <ac:chgData name="Puskaric, Marin" userId="08e79dfd-3277-47dc-a995-187d4d28ded4" providerId="ADAL" clId="{EC923B16-109D-4392-AD0F-18CEE537C24E}" dt="2025-03-10T08:57:42.725" v="30" actId="12789"/>
          <ac:spMkLst>
            <pc:docMk/>
            <pc:sldMk cId="950791526" sldId="2076136709"/>
            <ac:spMk id="27" creationId="{BB511A4F-453B-48BA-AFE9-ED69030E7380}"/>
          </ac:spMkLst>
        </pc:spChg>
      </pc:sldChg>
      <pc:sldChg chg="modSp mod">
        <pc:chgData name="Puskaric, Marin" userId="08e79dfd-3277-47dc-a995-187d4d28ded4" providerId="ADAL" clId="{EC923B16-109D-4392-AD0F-18CEE537C24E}" dt="2025-03-10T09:12:42.290" v="440" actId="20577"/>
        <pc:sldMkLst>
          <pc:docMk/>
          <pc:sldMk cId="3814972613" sldId="2147483459"/>
        </pc:sldMkLst>
        <pc:spChg chg="mod">
          <ac:chgData name="Puskaric, Marin" userId="08e79dfd-3277-47dc-a995-187d4d28ded4" providerId="ADAL" clId="{EC923B16-109D-4392-AD0F-18CEE537C24E}" dt="2025-03-10T09:12:42.290" v="440" actId="20577"/>
          <ac:spMkLst>
            <pc:docMk/>
            <pc:sldMk cId="3814972613" sldId="2147483459"/>
            <ac:spMk id="3" creationId="{E4B3387D-DA32-9B68-C71E-647EAC091C15}"/>
          </ac:spMkLst>
        </pc:spChg>
      </pc:sldChg>
      <pc:sldChg chg="modSp mod">
        <pc:chgData name="Puskaric, Marin" userId="08e79dfd-3277-47dc-a995-187d4d28ded4" providerId="ADAL" clId="{EC923B16-109D-4392-AD0F-18CEE537C24E}" dt="2025-03-10T14:01:45.344" v="4531" actId="2711"/>
        <pc:sldMkLst>
          <pc:docMk/>
          <pc:sldMk cId="1285760149" sldId="2147483622"/>
        </pc:sldMkLst>
        <pc:spChg chg="mod">
          <ac:chgData name="Puskaric, Marin" userId="08e79dfd-3277-47dc-a995-187d4d28ded4" providerId="ADAL" clId="{EC923B16-109D-4392-AD0F-18CEE537C24E}" dt="2025-03-10T14:01:45.344" v="4531" actId="2711"/>
          <ac:spMkLst>
            <pc:docMk/>
            <pc:sldMk cId="1285760149" sldId="2147483622"/>
            <ac:spMk id="6" creationId="{4AC1E707-6F22-54BF-50E7-48CDEA15E141}"/>
          </ac:spMkLst>
        </pc:spChg>
        <pc:graphicFrameChg chg="mod modGraphic">
          <ac:chgData name="Puskaric, Marin" userId="08e79dfd-3277-47dc-a995-187d4d28ded4" providerId="ADAL" clId="{EC923B16-109D-4392-AD0F-18CEE537C24E}" dt="2025-03-10T09:20:07.504" v="537" actId="1036"/>
          <ac:graphicFrameMkLst>
            <pc:docMk/>
            <pc:sldMk cId="1285760149" sldId="2147483622"/>
            <ac:graphicFrameMk id="3" creationId="{D101F369-6DF4-96AB-A394-962ACB39DB11}"/>
          </ac:graphicFrameMkLst>
        </pc:graphicFrameChg>
      </pc:sldChg>
      <pc:sldChg chg="addSp delSp modSp mod">
        <pc:chgData name="Puskaric, Marin" userId="08e79dfd-3277-47dc-a995-187d4d28ded4" providerId="ADAL" clId="{EC923B16-109D-4392-AD0F-18CEE537C24E}" dt="2025-03-10T14:04:03.705" v="4548"/>
        <pc:sldMkLst>
          <pc:docMk/>
          <pc:sldMk cId="541091817" sldId="2147483623"/>
        </pc:sldMkLst>
        <pc:spChg chg="del">
          <ac:chgData name="Puskaric, Marin" userId="08e79dfd-3277-47dc-a995-187d4d28ded4" providerId="ADAL" clId="{EC923B16-109D-4392-AD0F-18CEE537C24E}" dt="2025-03-10T13:13:33.307" v="3203" actId="478"/>
          <ac:spMkLst>
            <pc:docMk/>
            <pc:sldMk cId="541091817" sldId="2147483623"/>
            <ac:spMk id="6" creationId="{3194A65A-E019-85F7-76C2-20C5CFBBF8DD}"/>
          </ac:spMkLst>
        </pc:spChg>
        <pc:spChg chg="mod">
          <ac:chgData name="Puskaric, Marin" userId="08e79dfd-3277-47dc-a995-187d4d28ded4" providerId="ADAL" clId="{EC923B16-109D-4392-AD0F-18CEE537C24E}" dt="2025-03-10T13:54:05.709" v="4499" actId="1036"/>
          <ac:spMkLst>
            <pc:docMk/>
            <pc:sldMk cId="541091817" sldId="2147483623"/>
            <ac:spMk id="7" creationId="{D88B8B13-1E83-8E2E-4F91-B4092F098123}"/>
          </ac:spMkLst>
        </pc:spChg>
        <pc:spChg chg="mod">
          <ac:chgData name="Puskaric, Marin" userId="08e79dfd-3277-47dc-a995-187d4d28ded4" providerId="ADAL" clId="{EC923B16-109D-4392-AD0F-18CEE537C24E}" dt="2025-03-10T13:54:05.709" v="4499" actId="1036"/>
          <ac:spMkLst>
            <pc:docMk/>
            <pc:sldMk cId="541091817" sldId="2147483623"/>
            <ac:spMk id="8" creationId="{D8E7E268-D919-4186-2E1A-D9F794AEDE9E}"/>
          </ac:spMkLst>
        </pc:spChg>
        <pc:spChg chg="mod">
          <ac:chgData name="Puskaric, Marin" userId="08e79dfd-3277-47dc-a995-187d4d28ded4" providerId="ADAL" clId="{EC923B16-109D-4392-AD0F-18CEE537C24E}" dt="2025-03-10T13:54:05.709" v="4499" actId="1036"/>
          <ac:spMkLst>
            <pc:docMk/>
            <pc:sldMk cId="541091817" sldId="2147483623"/>
            <ac:spMk id="9" creationId="{AE23CCD8-714C-7A01-9277-5A3B6097E6A8}"/>
          </ac:spMkLst>
        </pc:spChg>
        <pc:spChg chg="mod">
          <ac:chgData name="Puskaric, Marin" userId="08e79dfd-3277-47dc-a995-187d4d28ded4" providerId="ADAL" clId="{EC923B16-109D-4392-AD0F-18CEE537C24E}" dt="2025-03-10T13:54:05.709" v="4499" actId="1036"/>
          <ac:spMkLst>
            <pc:docMk/>
            <pc:sldMk cId="541091817" sldId="2147483623"/>
            <ac:spMk id="10" creationId="{D67113B3-96F0-A5C3-FF89-F12341FF6CFC}"/>
          </ac:spMkLst>
        </pc:spChg>
        <pc:spChg chg="mod">
          <ac:chgData name="Puskaric, Marin" userId="08e79dfd-3277-47dc-a995-187d4d28ded4" providerId="ADAL" clId="{EC923B16-109D-4392-AD0F-18CEE537C24E}" dt="2025-03-10T13:54:05.709" v="4499" actId="1036"/>
          <ac:spMkLst>
            <pc:docMk/>
            <pc:sldMk cId="541091817" sldId="2147483623"/>
            <ac:spMk id="11" creationId="{6DE555EF-BD9C-8C8F-78B4-8B0DE7A98A2C}"/>
          </ac:spMkLst>
        </pc:spChg>
        <pc:spChg chg="mod">
          <ac:chgData name="Puskaric, Marin" userId="08e79dfd-3277-47dc-a995-187d4d28ded4" providerId="ADAL" clId="{EC923B16-109D-4392-AD0F-18CEE537C24E}" dt="2025-03-10T13:54:05.709" v="4499" actId="1036"/>
          <ac:spMkLst>
            <pc:docMk/>
            <pc:sldMk cId="541091817" sldId="2147483623"/>
            <ac:spMk id="12" creationId="{833F01DC-E90E-033B-1045-9456B1ECA090}"/>
          </ac:spMkLst>
        </pc:spChg>
        <pc:spChg chg="mod">
          <ac:chgData name="Puskaric, Marin" userId="08e79dfd-3277-47dc-a995-187d4d28ded4" providerId="ADAL" clId="{EC923B16-109D-4392-AD0F-18CEE537C24E}" dt="2025-03-10T13:54:05.709" v="4499" actId="1036"/>
          <ac:spMkLst>
            <pc:docMk/>
            <pc:sldMk cId="541091817" sldId="2147483623"/>
            <ac:spMk id="13" creationId="{8AD6A4E3-BC54-5B90-03B0-CDDC86A009E4}"/>
          </ac:spMkLst>
        </pc:spChg>
        <pc:spChg chg="mod">
          <ac:chgData name="Puskaric, Marin" userId="08e79dfd-3277-47dc-a995-187d4d28ded4" providerId="ADAL" clId="{EC923B16-109D-4392-AD0F-18CEE537C24E}" dt="2025-03-10T13:54:05.709" v="4499" actId="1036"/>
          <ac:spMkLst>
            <pc:docMk/>
            <pc:sldMk cId="541091817" sldId="2147483623"/>
            <ac:spMk id="14" creationId="{C20BBF82-BEF7-DF92-BBAF-3A4D7701BE7C}"/>
          </ac:spMkLst>
        </pc:spChg>
        <pc:spChg chg="mod">
          <ac:chgData name="Puskaric, Marin" userId="08e79dfd-3277-47dc-a995-187d4d28ded4" providerId="ADAL" clId="{EC923B16-109D-4392-AD0F-18CEE537C24E}" dt="2025-03-10T13:54:05.709" v="4499" actId="1036"/>
          <ac:spMkLst>
            <pc:docMk/>
            <pc:sldMk cId="541091817" sldId="2147483623"/>
            <ac:spMk id="15" creationId="{98455047-816C-E81D-A93B-944416298879}"/>
          </ac:spMkLst>
        </pc:spChg>
        <pc:spChg chg="mod">
          <ac:chgData name="Puskaric, Marin" userId="08e79dfd-3277-47dc-a995-187d4d28ded4" providerId="ADAL" clId="{EC923B16-109D-4392-AD0F-18CEE537C24E}" dt="2025-03-10T13:54:05.709" v="4499" actId="1036"/>
          <ac:spMkLst>
            <pc:docMk/>
            <pc:sldMk cId="541091817" sldId="2147483623"/>
            <ac:spMk id="16" creationId="{EC1ABFA9-B2DD-3560-04A3-1040244AC257}"/>
          </ac:spMkLst>
        </pc:spChg>
        <pc:spChg chg="mod">
          <ac:chgData name="Puskaric, Marin" userId="08e79dfd-3277-47dc-a995-187d4d28ded4" providerId="ADAL" clId="{EC923B16-109D-4392-AD0F-18CEE537C24E}" dt="2025-03-10T13:54:05.709" v="4499" actId="1036"/>
          <ac:spMkLst>
            <pc:docMk/>
            <pc:sldMk cId="541091817" sldId="2147483623"/>
            <ac:spMk id="17" creationId="{EC064D22-F41E-3E69-DCA1-B0741E71A80C}"/>
          </ac:spMkLst>
        </pc:spChg>
        <pc:spChg chg="mod">
          <ac:chgData name="Puskaric, Marin" userId="08e79dfd-3277-47dc-a995-187d4d28ded4" providerId="ADAL" clId="{EC923B16-109D-4392-AD0F-18CEE537C24E}" dt="2025-03-10T13:54:05.709" v="4499" actId="1036"/>
          <ac:spMkLst>
            <pc:docMk/>
            <pc:sldMk cId="541091817" sldId="2147483623"/>
            <ac:spMk id="18" creationId="{E501321C-9CA3-18BE-1D13-A44AF26C836F}"/>
          </ac:spMkLst>
        </pc:spChg>
        <pc:spChg chg="mod">
          <ac:chgData name="Puskaric, Marin" userId="08e79dfd-3277-47dc-a995-187d4d28ded4" providerId="ADAL" clId="{EC923B16-109D-4392-AD0F-18CEE537C24E}" dt="2025-03-10T13:54:05.709" v="4499" actId="1036"/>
          <ac:spMkLst>
            <pc:docMk/>
            <pc:sldMk cId="541091817" sldId="2147483623"/>
            <ac:spMk id="19" creationId="{EFEBA2D7-EFD4-A3D0-7C2F-09B2766B871D}"/>
          </ac:spMkLst>
        </pc:spChg>
        <pc:spChg chg="del mod">
          <ac:chgData name="Puskaric, Marin" userId="08e79dfd-3277-47dc-a995-187d4d28ded4" providerId="ADAL" clId="{EC923B16-109D-4392-AD0F-18CEE537C24E}" dt="2025-03-10T13:46:19.995" v="4323" actId="478"/>
          <ac:spMkLst>
            <pc:docMk/>
            <pc:sldMk cId="541091817" sldId="2147483623"/>
            <ac:spMk id="21" creationId="{4E386445-4298-12E1-76A9-9F8323181D16}"/>
          </ac:spMkLst>
        </pc:spChg>
        <pc:spChg chg="del mod">
          <ac:chgData name="Puskaric, Marin" userId="08e79dfd-3277-47dc-a995-187d4d28ded4" providerId="ADAL" clId="{EC923B16-109D-4392-AD0F-18CEE537C24E}" dt="2025-03-10T13:46:25.126" v="4324" actId="478"/>
          <ac:spMkLst>
            <pc:docMk/>
            <pc:sldMk cId="541091817" sldId="2147483623"/>
            <ac:spMk id="26" creationId="{8F155F69-7DF3-5F51-BCFF-4A53907A488B}"/>
          </ac:spMkLst>
        </pc:spChg>
        <pc:spChg chg="mod">
          <ac:chgData name="Puskaric, Marin" userId="08e79dfd-3277-47dc-a995-187d4d28ded4" providerId="ADAL" clId="{EC923B16-109D-4392-AD0F-18CEE537C24E}" dt="2025-03-10T13:54:05.709" v="4499" actId="1036"/>
          <ac:spMkLst>
            <pc:docMk/>
            <pc:sldMk cId="541091817" sldId="2147483623"/>
            <ac:spMk id="31" creationId="{219B1538-00CF-F774-213F-A30C4E207E16}"/>
          </ac:spMkLst>
        </pc:spChg>
        <pc:spChg chg="mod">
          <ac:chgData name="Puskaric, Marin" userId="08e79dfd-3277-47dc-a995-187d4d28ded4" providerId="ADAL" clId="{EC923B16-109D-4392-AD0F-18CEE537C24E}" dt="2025-03-10T13:54:05.709" v="4499" actId="1036"/>
          <ac:spMkLst>
            <pc:docMk/>
            <pc:sldMk cId="541091817" sldId="2147483623"/>
            <ac:spMk id="40" creationId="{154D1357-C4DC-5BF2-99DE-496D21212B09}"/>
          </ac:spMkLst>
        </pc:spChg>
        <pc:spChg chg="mod">
          <ac:chgData name="Puskaric, Marin" userId="08e79dfd-3277-47dc-a995-187d4d28ded4" providerId="ADAL" clId="{EC923B16-109D-4392-AD0F-18CEE537C24E}" dt="2025-03-10T13:54:05.709" v="4499" actId="1036"/>
          <ac:spMkLst>
            <pc:docMk/>
            <pc:sldMk cId="541091817" sldId="2147483623"/>
            <ac:spMk id="49" creationId="{7669D97D-FC76-3685-03BA-4F4D98AE94EC}"/>
          </ac:spMkLst>
        </pc:spChg>
        <pc:spChg chg="mod">
          <ac:chgData name="Puskaric, Marin" userId="08e79dfd-3277-47dc-a995-187d4d28ded4" providerId="ADAL" clId="{EC923B16-109D-4392-AD0F-18CEE537C24E}" dt="2025-03-10T13:54:05.709" v="4499" actId="1036"/>
          <ac:spMkLst>
            <pc:docMk/>
            <pc:sldMk cId="541091817" sldId="2147483623"/>
            <ac:spMk id="55" creationId="{7D398D52-0851-9386-C9C7-25834BCC9889}"/>
          </ac:spMkLst>
        </pc:spChg>
        <pc:spChg chg="mod">
          <ac:chgData name="Puskaric, Marin" userId="08e79dfd-3277-47dc-a995-187d4d28ded4" providerId="ADAL" clId="{EC923B16-109D-4392-AD0F-18CEE537C24E}" dt="2025-03-10T13:54:05.709" v="4499" actId="1036"/>
          <ac:spMkLst>
            <pc:docMk/>
            <pc:sldMk cId="541091817" sldId="2147483623"/>
            <ac:spMk id="58" creationId="{23BD11C4-DBBC-3345-936A-C58EF5F3AFCF}"/>
          </ac:spMkLst>
        </pc:spChg>
        <pc:spChg chg="mod">
          <ac:chgData name="Puskaric, Marin" userId="08e79dfd-3277-47dc-a995-187d4d28ded4" providerId="ADAL" clId="{EC923B16-109D-4392-AD0F-18CEE537C24E}" dt="2025-03-10T13:54:05.709" v="4499" actId="1036"/>
          <ac:spMkLst>
            <pc:docMk/>
            <pc:sldMk cId="541091817" sldId="2147483623"/>
            <ac:spMk id="64" creationId="{2ADD0A71-9258-3D46-F6A2-9FAEA9016070}"/>
          </ac:spMkLst>
        </pc:spChg>
        <pc:spChg chg="del mod">
          <ac:chgData name="Puskaric, Marin" userId="08e79dfd-3277-47dc-a995-187d4d28ded4" providerId="ADAL" clId="{EC923B16-109D-4392-AD0F-18CEE537C24E}" dt="2025-03-10T13:46:49.585" v="4327" actId="478"/>
          <ac:spMkLst>
            <pc:docMk/>
            <pc:sldMk cId="541091817" sldId="2147483623"/>
            <ac:spMk id="76" creationId="{E540236F-1861-5008-FA60-F36B2FF1E5D5}"/>
          </ac:spMkLst>
        </pc:spChg>
        <pc:spChg chg="mod">
          <ac:chgData name="Puskaric, Marin" userId="08e79dfd-3277-47dc-a995-187d4d28ded4" providerId="ADAL" clId="{EC923B16-109D-4392-AD0F-18CEE537C24E}" dt="2025-03-10T13:54:15.914" v="4502" actId="1035"/>
          <ac:spMkLst>
            <pc:docMk/>
            <pc:sldMk cId="541091817" sldId="2147483623"/>
            <ac:spMk id="78" creationId="{DF6D2BA3-E996-7021-26B3-DDCB406D2F05}"/>
          </ac:spMkLst>
        </pc:spChg>
        <pc:spChg chg="mod">
          <ac:chgData name="Puskaric, Marin" userId="08e79dfd-3277-47dc-a995-187d4d28ded4" providerId="ADAL" clId="{EC923B16-109D-4392-AD0F-18CEE537C24E}" dt="2025-03-10T13:54:15.914" v="4502" actId="1035"/>
          <ac:spMkLst>
            <pc:docMk/>
            <pc:sldMk cId="541091817" sldId="2147483623"/>
            <ac:spMk id="79" creationId="{4B8FA527-F3D2-E6CD-9974-C591E6DD2644}"/>
          </ac:spMkLst>
        </pc:spChg>
        <pc:spChg chg="mod">
          <ac:chgData name="Puskaric, Marin" userId="08e79dfd-3277-47dc-a995-187d4d28ded4" providerId="ADAL" clId="{EC923B16-109D-4392-AD0F-18CEE537C24E}" dt="2025-03-10T13:54:15.914" v="4502" actId="1035"/>
          <ac:spMkLst>
            <pc:docMk/>
            <pc:sldMk cId="541091817" sldId="2147483623"/>
            <ac:spMk id="80" creationId="{275E13BC-D20E-6D6A-5564-EDD44B97A853}"/>
          </ac:spMkLst>
        </pc:spChg>
        <pc:spChg chg="mod">
          <ac:chgData name="Puskaric, Marin" userId="08e79dfd-3277-47dc-a995-187d4d28ded4" providerId="ADAL" clId="{EC923B16-109D-4392-AD0F-18CEE537C24E}" dt="2025-03-10T13:54:15.914" v="4502" actId="1035"/>
          <ac:spMkLst>
            <pc:docMk/>
            <pc:sldMk cId="541091817" sldId="2147483623"/>
            <ac:spMk id="81" creationId="{11D3A8E9-B7A6-7EAA-2D1C-6AF2AD59B4AA}"/>
          </ac:spMkLst>
        </pc:spChg>
        <pc:spChg chg="mod">
          <ac:chgData name="Puskaric, Marin" userId="08e79dfd-3277-47dc-a995-187d4d28ded4" providerId="ADAL" clId="{EC923B16-109D-4392-AD0F-18CEE537C24E}" dt="2025-03-10T13:54:15.914" v="4502" actId="1035"/>
          <ac:spMkLst>
            <pc:docMk/>
            <pc:sldMk cId="541091817" sldId="2147483623"/>
            <ac:spMk id="85" creationId="{2CA1B090-7A5A-0EA9-B9F7-24267C5FBFDC}"/>
          </ac:spMkLst>
        </pc:spChg>
        <pc:spChg chg="mod">
          <ac:chgData name="Puskaric, Marin" userId="08e79dfd-3277-47dc-a995-187d4d28ded4" providerId="ADAL" clId="{EC923B16-109D-4392-AD0F-18CEE537C24E}" dt="2025-03-10T13:54:15.914" v="4502" actId="1035"/>
          <ac:spMkLst>
            <pc:docMk/>
            <pc:sldMk cId="541091817" sldId="2147483623"/>
            <ac:spMk id="86" creationId="{E06040B7-3253-DF39-4780-A7A6E7C786AD}"/>
          </ac:spMkLst>
        </pc:spChg>
        <pc:spChg chg="mod">
          <ac:chgData name="Puskaric, Marin" userId="08e79dfd-3277-47dc-a995-187d4d28ded4" providerId="ADAL" clId="{EC923B16-109D-4392-AD0F-18CEE537C24E}" dt="2025-03-10T13:54:15.914" v="4502" actId="1035"/>
          <ac:spMkLst>
            <pc:docMk/>
            <pc:sldMk cId="541091817" sldId="2147483623"/>
            <ac:spMk id="89" creationId="{86969017-106C-8C5A-3AE0-1BFC49429335}"/>
          </ac:spMkLst>
        </pc:spChg>
        <pc:spChg chg="mod">
          <ac:chgData name="Puskaric, Marin" userId="08e79dfd-3277-47dc-a995-187d4d28ded4" providerId="ADAL" clId="{EC923B16-109D-4392-AD0F-18CEE537C24E}" dt="2025-03-10T13:54:15.914" v="4502" actId="1035"/>
          <ac:spMkLst>
            <pc:docMk/>
            <pc:sldMk cId="541091817" sldId="2147483623"/>
            <ac:spMk id="90" creationId="{DC3DDA54-1F7E-EFFC-A179-7445E5278592}"/>
          </ac:spMkLst>
        </pc:spChg>
        <pc:spChg chg="mod">
          <ac:chgData name="Puskaric, Marin" userId="08e79dfd-3277-47dc-a995-187d4d28ded4" providerId="ADAL" clId="{EC923B16-109D-4392-AD0F-18CEE537C24E}" dt="2025-03-10T13:54:15.914" v="4502" actId="1035"/>
          <ac:spMkLst>
            <pc:docMk/>
            <pc:sldMk cId="541091817" sldId="2147483623"/>
            <ac:spMk id="91" creationId="{9E63B6B6-B0F2-1163-2DB7-985A448E87B1}"/>
          </ac:spMkLst>
        </pc:spChg>
        <pc:spChg chg="del mod">
          <ac:chgData name="Puskaric, Marin" userId="08e79dfd-3277-47dc-a995-187d4d28ded4" providerId="ADAL" clId="{EC923B16-109D-4392-AD0F-18CEE537C24E}" dt="2025-03-10T13:48:25.538" v="4348" actId="478"/>
          <ac:spMkLst>
            <pc:docMk/>
            <pc:sldMk cId="541091817" sldId="2147483623"/>
            <ac:spMk id="92" creationId="{545E8250-CA79-C17C-A12B-C4B571E7AB28}"/>
          </ac:spMkLst>
        </pc:spChg>
        <pc:spChg chg="del mod">
          <ac:chgData name="Puskaric, Marin" userId="08e79dfd-3277-47dc-a995-187d4d28ded4" providerId="ADAL" clId="{EC923B16-109D-4392-AD0F-18CEE537C24E}" dt="2025-03-10T13:50:25.807" v="4376" actId="478"/>
          <ac:spMkLst>
            <pc:docMk/>
            <pc:sldMk cId="541091817" sldId="2147483623"/>
            <ac:spMk id="94" creationId="{2E660F40-2639-63A6-EF6C-18490CAC3401}"/>
          </ac:spMkLst>
        </pc:spChg>
        <pc:spChg chg="mod">
          <ac:chgData name="Puskaric, Marin" userId="08e79dfd-3277-47dc-a995-187d4d28ded4" providerId="ADAL" clId="{EC923B16-109D-4392-AD0F-18CEE537C24E}" dt="2025-03-10T13:54:15.914" v="4502" actId="1035"/>
          <ac:spMkLst>
            <pc:docMk/>
            <pc:sldMk cId="541091817" sldId="2147483623"/>
            <ac:spMk id="95" creationId="{CF687EBB-5CD4-2143-11A5-9B3A13716C53}"/>
          </ac:spMkLst>
        </pc:spChg>
        <pc:spChg chg="del mod">
          <ac:chgData name="Puskaric, Marin" userId="08e79dfd-3277-47dc-a995-187d4d28ded4" providerId="ADAL" clId="{EC923B16-109D-4392-AD0F-18CEE537C24E}" dt="2025-03-10T13:47:57.099" v="4344" actId="478"/>
          <ac:spMkLst>
            <pc:docMk/>
            <pc:sldMk cId="541091817" sldId="2147483623"/>
            <ac:spMk id="184" creationId="{85BF68B0-2A2E-5973-8491-B203EFBFDA99}"/>
          </ac:spMkLst>
        </pc:spChg>
        <pc:spChg chg="mod">
          <ac:chgData name="Puskaric, Marin" userId="08e79dfd-3277-47dc-a995-187d4d28ded4" providerId="ADAL" clId="{EC923B16-109D-4392-AD0F-18CEE537C24E}" dt="2025-03-10T13:54:15.914" v="4502" actId="1035"/>
          <ac:spMkLst>
            <pc:docMk/>
            <pc:sldMk cId="541091817" sldId="2147483623"/>
            <ac:spMk id="185" creationId="{8D0AA888-0969-92B1-9BD0-97E11D768597}"/>
          </ac:spMkLst>
        </pc:spChg>
        <pc:spChg chg="mod">
          <ac:chgData name="Puskaric, Marin" userId="08e79dfd-3277-47dc-a995-187d4d28ded4" providerId="ADAL" clId="{EC923B16-109D-4392-AD0F-18CEE537C24E}" dt="2025-03-10T13:54:15.914" v="4502" actId="1035"/>
          <ac:spMkLst>
            <pc:docMk/>
            <pc:sldMk cId="541091817" sldId="2147483623"/>
            <ac:spMk id="2048" creationId="{104B7F36-1CFC-7C2E-C71B-BC272FCE2100}"/>
          </ac:spMkLst>
        </pc:spChg>
        <pc:spChg chg="mod">
          <ac:chgData name="Puskaric, Marin" userId="08e79dfd-3277-47dc-a995-187d4d28ded4" providerId="ADAL" clId="{EC923B16-109D-4392-AD0F-18CEE537C24E}" dt="2025-03-10T13:54:15.914" v="4502" actId="1035"/>
          <ac:spMkLst>
            <pc:docMk/>
            <pc:sldMk cId="541091817" sldId="2147483623"/>
            <ac:spMk id="2049" creationId="{EB035098-11AC-9BCD-6958-9D308ECA9C3F}"/>
          </ac:spMkLst>
        </pc:spChg>
        <pc:spChg chg="mod">
          <ac:chgData name="Puskaric, Marin" userId="08e79dfd-3277-47dc-a995-187d4d28ded4" providerId="ADAL" clId="{EC923B16-109D-4392-AD0F-18CEE537C24E}" dt="2025-03-10T13:54:15.914" v="4502" actId="1035"/>
          <ac:spMkLst>
            <pc:docMk/>
            <pc:sldMk cId="541091817" sldId="2147483623"/>
            <ac:spMk id="2050" creationId="{363E9D6C-05BF-9486-8D06-7440028AE67C}"/>
          </ac:spMkLst>
        </pc:spChg>
        <pc:spChg chg="mod">
          <ac:chgData name="Puskaric, Marin" userId="08e79dfd-3277-47dc-a995-187d4d28ded4" providerId="ADAL" clId="{EC923B16-109D-4392-AD0F-18CEE537C24E}" dt="2025-03-10T13:54:15.914" v="4502" actId="1035"/>
          <ac:spMkLst>
            <pc:docMk/>
            <pc:sldMk cId="541091817" sldId="2147483623"/>
            <ac:spMk id="2051" creationId="{0A6631E7-A83D-0C19-9B78-FEA85CE4B410}"/>
          </ac:spMkLst>
        </pc:spChg>
        <pc:spChg chg="mod">
          <ac:chgData name="Puskaric, Marin" userId="08e79dfd-3277-47dc-a995-187d4d28ded4" providerId="ADAL" clId="{EC923B16-109D-4392-AD0F-18CEE537C24E}" dt="2025-03-10T13:54:15.914" v="4502" actId="1035"/>
          <ac:spMkLst>
            <pc:docMk/>
            <pc:sldMk cId="541091817" sldId="2147483623"/>
            <ac:spMk id="2052" creationId="{80906D1E-0AA5-DD72-B317-803EBDD45E5F}"/>
          </ac:spMkLst>
        </pc:spChg>
        <pc:spChg chg="mod">
          <ac:chgData name="Puskaric, Marin" userId="08e79dfd-3277-47dc-a995-187d4d28ded4" providerId="ADAL" clId="{EC923B16-109D-4392-AD0F-18CEE537C24E}" dt="2025-03-10T13:54:15.914" v="4502" actId="1035"/>
          <ac:spMkLst>
            <pc:docMk/>
            <pc:sldMk cId="541091817" sldId="2147483623"/>
            <ac:spMk id="2053" creationId="{47866784-C866-B210-1999-AFD61BFB9BCC}"/>
          </ac:spMkLst>
        </pc:spChg>
        <pc:spChg chg="mod">
          <ac:chgData name="Puskaric, Marin" userId="08e79dfd-3277-47dc-a995-187d4d28ded4" providerId="ADAL" clId="{EC923B16-109D-4392-AD0F-18CEE537C24E}" dt="2025-03-10T13:54:15.914" v="4502" actId="1035"/>
          <ac:spMkLst>
            <pc:docMk/>
            <pc:sldMk cId="541091817" sldId="2147483623"/>
            <ac:spMk id="2054" creationId="{A9502E9E-2F40-F4C4-7761-E50F9CFC9442}"/>
          </ac:spMkLst>
        </pc:spChg>
        <pc:spChg chg="del mod">
          <ac:chgData name="Puskaric, Marin" userId="08e79dfd-3277-47dc-a995-187d4d28ded4" providerId="ADAL" clId="{EC923B16-109D-4392-AD0F-18CEE537C24E}" dt="2025-03-10T13:51:36.489" v="4390" actId="478"/>
          <ac:spMkLst>
            <pc:docMk/>
            <pc:sldMk cId="541091817" sldId="2147483623"/>
            <ac:spMk id="2056" creationId="{9D38F21C-1147-A5A5-0679-AF2AAF0B38B1}"/>
          </ac:spMkLst>
        </pc:spChg>
        <pc:spChg chg="mod">
          <ac:chgData name="Puskaric, Marin" userId="08e79dfd-3277-47dc-a995-187d4d28ded4" providerId="ADAL" clId="{EC923B16-109D-4392-AD0F-18CEE537C24E}" dt="2025-03-10T13:54:15.914" v="4502" actId="1035"/>
          <ac:spMkLst>
            <pc:docMk/>
            <pc:sldMk cId="541091817" sldId="2147483623"/>
            <ac:spMk id="2057" creationId="{F9DF2350-94B6-4B67-6FC3-B5B3A60AB5A4}"/>
          </ac:spMkLst>
        </pc:spChg>
        <pc:spChg chg="mod">
          <ac:chgData name="Puskaric, Marin" userId="08e79dfd-3277-47dc-a995-187d4d28ded4" providerId="ADAL" clId="{EC923B16-109D-4392-AD0F-18CEE537C24E}" dt="2025-03-10T13:54:15.914" v="4502" actId="1035"/>
          <ac:spMkLst>
            <pc:docMk/>
            <pc:sldMk cId="541091817" sldId="2147483623"/>
            <ac:spMk id="2058" creationId="{D86DFE60-3198-E0B0-0AFF-85BCD19A3EDD}"/>
          </ac:spMkLst>
        </pc:spChg>
        <pc:grpChg chg="add del mod">
          <ac:chgData name="Puskaric, Marin" userId="08e79dfd-3277-47dc-a995-187d4d28ded4" providerId="ADAL" clId="{EC923B16-109D-4392-AD0F-18CEE537C24E}" dt="2025-03-10T13:13:31.023" v="3202" actId="478"/>
          <ac:grpSpMkLst>
            <pc:docMk/>
            <pc:sldMk cId="541091817" sldId="2147483623"/>
            <ac:grpSpMk id="2" creationId="{B409445E-4ADC-D397-CF8B-DB49458B2728}"/>
          </ac:grpSpMkLst>
        </pc:grpChg>
        <pc:grpChg chg="add mod">
          <ac:chgData name="Puskaric, Marin" userId="08e79dfd-3277-47dc-a995-187d4d28ded4" providerId="ADAL" clId="{EC923B16-109D-4392-AD0F-18CEE537C24E}" dt="2025-03-10T13:54:05.709" v="4499" actId="1036"/>
          <ac:grpSpMkLst>
            <pc:docMk/>
            <pc:sldMk cId="541091817" sldId="2147483623"/>
            <ac:grpSpMk id="5" creationId="{594E6496-94F6-17AF-4CFB-FA7217A07815}"/>
          </ac:grpSpMkLst>
        </pc:grpChg>
        <pc:grpChg chg="add mod">
          <ac:chgData name="Puskaric, Marin" userId="08e79dfd-3277-47dc-a995-187d4d28ded4" providerId="ADAL" clId="{EC923B16-109D-4392-AD0F-18CEE537C24E}" dt="2025-03-10T13:54:05.709" v="4499" actId="1036"/>
          <ac:grpSpMkLst>
            <pc:docMk/>
            <pc:sldMk cId="541091817" sldId="2147483623"/>
            <ac:grpSpMk id="24" creationId="{32FCE471-08D3-C99F-C9B7-F8CF63B5716D}"/>
          </ac:grpSpMkLst>
        </pc:grpChg>
        <pc:grpChg chg="del">
          <ac:chgData name="Puskaric, Marin" userId="08e79dfd-3277-47dc-a995-187d4d28ded4" providerId="ADAL" clId="{EC923B16-109D-4392-AD0F-18CEE537C24E}" dt="2025-03-10T10:17:58.187" v="912" actId="478"/>
          <ac:grpSpMkLst>
            <pc:docMk/>
            <pc:sldMk cId="541091817" sldId="2147483623"/>
            <ac:grpSpMk id="36" creationId="{6E6D2B93-DCAD-A1C0-8F49-C5EBFD142E3D}"/>
          </ac:grpSpMkLst>
        </pc:grpChg>
        <pc:grpChg chg="del">
          <ac:chgData name="Puskaric, Marin" userId="08e79dfd-3277-47dc-a995-187d4d28ded4" providerId="ADAL" clId="{EC923B16-109D-4392-AD0F-18CEE537C24E}" dt="2025-03-10T10:17:58.187" v="912" actId="478"/>
          <ac:grpSpMkLst>
            <pc:docMk/>
            <pc:sldMk cId="541091817" sldId="2147483623"/>
            <ac:grpSpMk id="41" creationId="{59BD9D62-AEA8-E226-AFAF-0D38F5B3E80A}"/>
          </ac:grpSpMkLst>
        </pc:grpChg>
        <pc:grpChg chg="del">
          <ac:chgData name="Puskaric, Marin" userId="08e79dfd-3277-47dc-a995-187d4d28ded4" providerId="ADAL" clId="{EC923B16-109D-4392-AD0F-18CEE537C24E}" dt="2025-03-10T10:17:58.187" v="912" actId="478"/>
          <ac:grpSpMkLst>
            <pc:docMk/>
            <pc:sldMk cId="541091817" sldId="2147483623"/>
            <ac:grpSpMk id="45" creationId="{ECA99CC7-25C5-DCEE-A212-E795A9BBA317}"/>
          </ac:grpSpMkLst>
        </pc:grpChg>
        <pc:grpChg chg="del">
          <ac:chgData name="Puskaric, Marin" userId="08e79dfd-3277-47dc-a995-187d4d28ded4" providerId="ADAL" clId="{EC923B16-109D-4392-AD0F-18CEE537C24E}" dt="2025-03-10T10:17:58.187" v="912" actId="478"/>
          <ac:grpSpMkLst>
            <pc:docMk/>
            <pc:sldMk cId="541091817" sldId="2147483623"/>
            <ac:grpSpMk id="50" creationId="{6BB4F3A9-AF4B-9943-82F8-286CD3E5F12A}"/>
          </ac:grpSpMkLst>
        </pc:grpChg>
        <pc:grpChg chg="del mod">
          <ac:chgData name="Puskaric, Marin" userId="08e79dfd-3277-47dc-a995-187d4d28ded4" providerId="ADAL" clId="{EC923B16-109D-4392-AD0F-18CEE537C24E}" dt="2025-03-10T13:13:31.023" v="3202" actId="478"/>
          <ac:grpSpMkLst>
            <pc:docMk/>
            <pc:sldMk cId="541091817" sldId="2147483623"/>
            <ac:grpSpMk id="61" creationId="{801A3261-82AF-7511-9C6B-86044FF76F1E}"/>
          </ac:grpSpMkLst>
        </pc:grpChg>
        <pc:grpChg chg="del mod">
          <ac:chgData name="Puskaric, Marin" userId="08e79dfd-3277-47dc-a995-187d4d28ded4" providerId="ADAL" clId="{EC923B16-109D-4392-AD0F-18CEE537C24E}" dt="2025-03-10T13:13:31.023" v="3202" actId="478"/>
          <ac:grpSpMkLst>
            <pc:docMk/>
            <pc:sldMk cId="541091817" sldId="2147483623"/>
            <ac:grpSpMk id="67" creationId="{F4E12F54-EABE-8F66-8F13-AEAB2BA3C898}"/>
          </ac:grpSpMkLst>
        </pc:grpChg>
        <pc:grpChg chg="add mod">
          <ac:chgData name="Puskaric, Marin" userId="08e79dfd-3277-47dc-a995-187d4d28ded4" providerId="ADAL" clId="{EC923B16-109D-4392-AD0F-18CEE537C24E}" dt="2025-03-10T13:54:15.914" v="4502" actId="1035"/>
          <ac:grpSpMkLst>
            <pc:docMk/>
            <pc:sldMk cId="541091817" sldId="2147483623"/>
            <ac:grpSpMk id="73" creationId="{89561118-BD29-6FA5-9E32-08F24040FFC9}"/>
          </ac:grpSpMkLst>
        </pc:grpChg>
        <pc:grpChg chg="del mod">
          <ac:chgData name="Puskaric, Marin" userId="08e79dfd-3277-47dc-a995-187d4d28ded4" providerId="ADAL" clId="{EC923B16-109D-4392-AD0F-18CEE537C24E}" dt="2025-03-10T13:13:31.023" v="3202" actId="478"/>
          <ac:grpSpMkLst>
            <pc:docMk/>
            <pc:sldMk cId="541091817" sldId="2147483623"/>
            <ac:grpSpMk id="84" creationId="{07213E91-06DA-2C1C-A76D-6B70F62FE9C5}"/>
          </ac:grpSpMkLst>
        </pc:grpChg>
        <pc:grpChg chg="add mod">
          <ac:chgData name="Puskaric, Marin" userId="08e79dfd-3277-47dc-a995-187d4d28ded4" providerId="ADAL" clId="{EC923B16-109D-4392-AD0F-18CEE537C24E}" dt="2025-03-10T13:54:15.914" v="4502" actId="1035"/>
          <ac:grpSpMkLst>
            <pc:docMk/>
            <pc:sldMk cId="541091817" sldId="2147483623"/>
            <ac:grpSpMk id="87" creationId="{44B523EF-0F07-5590-42C0-79827AB68A5A}"/>
          </ac:grpSpMkLst>
        </pc:grpChg>
        <pc:grpChg chg="add mod">
          <ac:chgData name="Puskaric, Marin" userId="08e79dfd-3277-47dc-a995-187d4d28ded4" providerId="ADAL" clId="{EC923B16-109D-4392-AD0F-18CEE537C24E}" dt="2025-03-10T13:54:15.914" v="4502" actId="1035"/>
          <ac:grpSpMkLst>
            <pc:docMk/>
            <pc:sldMk cId="541091817" sldId="2147483623"/>
            <ac:grpSpMk id="88" creationId="{533C8AF2-544B-28AA-44A4-785941C69471}"/>
          </ac:grpSpMkLst>
        </pc:grpChg>
        <pc:grpChg chg="add mod">
          <ac:chgData name="Puskaric, Marin" userId="08e79dfd-3277-47dc-a995-187d4d28ded4" providerId="ADAL" clId="{EC923B16-109D-4392-AD0F-18CEE537C24E}" dt="2025-03-10T13:54:15.914" v="4502" actId="1035"/>
          <ac:grpSpMkLst>
            <pc:docMk/>
            <pc:sldMk cId="541091817" sldId="2147483623"/>
            <ac:grpSpMk id="93" creationId="{3279D2DE-E1CE-67E0-62D4-0D224BAF0C21}"/>
          </ac:grpSpMkLst>
        </pc:grpChg>
        <pc:grpChg chg="add mod">
          <ac:chgData name="Puskaric, Marin" userId="08e79dfd-3277-47dc-a995-187d4d28ded4" providerId="ADAL" clId="{EC923B16-109D-4392-AD0F-18CEE537C24E}" dt="2025-03-10T13:54:15.914" v="4502" actId="1035"/>
          <ac:grpSpMkLst>
            <pc:docMk/>
            <pc:sldMk cId="541091817" sldId="2147483623"/>
            <ac:grpSpMk id="2055" creationId="{F53E47D4-1D3D-F3A4-1D69-12997BFDD2B3}"/>
          </ac:grpSpMkLst>
        </pc:grpChg>
        <pc:graphicFrameChg chg="mod modGraphic">
          <ac:chgData name="Puskaric, Marin" userId="08e79dfd-3277-47dc-a995-187d4d28ded4" providerId="ADAL" clId="{EC923B16-109D-4392-AD0F-18CEE537C24E}" dt="2025-03-10T14:04:03.705" v="4548"/>
          <ac:graphicFrameMkLst>
            <pc:docMk/>
            <pc:sldMk cId="541091817" sldId="2147483623"/>
            <ac:graphicFrameMk id="4" creationId="{6148BD1A-6B91-232E-7BE2-E1040E435D79}"/>
          </ac:graphicFrameMkLst>
        </pc:graphicFrameChg>
        <pc:picChg chg="del mod">
          <ac:chgData name="Puskaric, Marin" userId="08e79dfd-3277-47dc-a995-187d4d28ded4" providerId="ADAL" clId="{EC923B16-109D-4392-AD0F-18CEE537C24E}" dt="2025-03-10T10:20:02.426" v="935" actId="478"/>
          <ac:picMkLst>
            <pc:docMk/>
            <pc:sldMk cId="541091817" sldId="2147483623"/>
            <ac:picMk id="3" creationId="{77D9726A-FD9C-58CA-2EF9-7314BC26ECB8}"/>
          </ac:picMkLst>
        </pc:picChg>
        <pc:picChg chg="del mod">
          <ac:chgData name="Puskaric, Marin" userId="08e79dfd-3277-47dc-a995-187d4d28ded4" providerId="ADAL" clId="{EC923B16-109D-4392-AD0F-18CEE537C24E}" dt="2025-03-10T10:20:02.426" v="935" actId="478"/>
          <ac:picMkLst>
            <pc:docMk/>
            <pc:sldMk cId="541091817" sldId="2147483623"/>
            <ac:picMk id="20" creationId="{259958FB-A0A1-DFD3-AC15-A9D8ABB50134}"/>
          </ac:picMkLst>
        </pc:picChg>
        <pc:picChg chg="del mod">
          <ac:chgData name="Puskaric, Marin" userId="08e79dfd-3277-47dc-a995-187d4d28ded4" providerId="ADAL" clId="{EC923B16-109D-4392-AD0F-18CEE537C24E}" dt="2025-03-10T10:20:02.426" v="935" actId="478"/>
          <ac:picMkLst>
            <pc:docMk/>
            <pc:sldMk cId="541091817" sldId="2147483623"/>
            <ac:picMk id="22" creationId="{2B592AD2-5ACA-8503-FD92-371D8BE6CC56}"/>
          </ac:picMkLst>
        </pc:picChg>
        <pc:picChg chg="del mod">
          <ac:chgData name="Puskaric, Marin" userId="08e79dfd-3277-47dc-a995-187d4d28ded4" providerId="ADAL" clId="{EC923B16-109D-4392-AD0F-18CEE537C24E}" dt="2025-03-10T10:20:02.426" v="935" actId="478"/>
          <ac:picMkLst>
            <pc:docMk/>
            <pc:sldMk cId="541091817" sldId="2147483623"/>
            <ac:picMk id="23" creationId="{80EF8594-53D2-32BE-7342-708892AA463E}"/>
          </ac:picMkLst>
        </pc:picChg>
        <pc:picChg chg="del mod">
          <ac:chgData name="Puskaric, Marin" userId="08e79dfd-3277-47dc-a995-187d4d28ded4" providerId="ADAL" clId="{EC923B16-109D-4392-AD0F-18CEE537C24E}" dt="2025-03-10T10:20:02.426" v="935" actId="478"/>
          <ac:picMkLst>
            <pc:docMk/>
            <pc:sldMk cId="541091817" sldId="2147483623"/>
            <ac:picMk id="25" creationId="{5B6B2D4C-7F0F-817D-1980-0F5096304DF4}"/>
          </ac:picMkLst>
        </pc:picChg>
        <pc:picChg chg="mod">
          <ac:chgData name="Puskaric, Marin" userId="08e79dfd-3277-47dc-a995-187d4d28ded4" providerId="ADAL" clId="{EC923B16-109D-4392-AD0F-18CEE537C24E}" dt="2025-03-10T10:18:09.301" v="913" actId="164"/>
          <ac:picMkLst>
            <pc:docMk/>
            <pc:sldMk cId="541091817" sldId="2147483623"/>
            <ac:picMk id="27" creationId="{2349644C-49EF-1DFD-F218-FE8C0DED040A}"/>
          </ac:picMkLst>
        </pc:picChg>
        <pc:picChg chg="mod">
          <ac:chgData name="Puskaric, Marin" userId="08e79dfd-3277-47dc-a995-187d4d28ded4" providerId="ADAL" clId="{EC923B16-109D-4392-AD0F-18CEE537C24E}" dt="2025-03-10T10:18:09.301" v="913" actId="164"/>
          <ac:picMkLst>
            <pc:docMk/>
            <pc:sldMk cId="541091817" sldId="2147483623"/>
            <ac:picMk id="29" creationId="{403C9E72-C1DF-99EB-32DC-D2DB840ACC3A}"/>
          </ac:picMkLst>
        </pc:picChg>
        <pc:picChg chg="del mod">
          <ac:chgData name="Puskaric, Marin" userId="08e79dfd-3277-47dc-a995-187d4d28ded4" providerId="ADAL" clId="{EC923B16-109D-4392-AD0F-18CEE537C24E}" dt="2025-03-10T10:20:02.426" v="935" actId="478"/>
          <ac:picMkLst>
            <pc:docMk/>
            <pc:sldMk cId="541091817" sldId="2147483623"/>
            <ac:picMk id="30" creationId="{C82A6CE8-C8C0-4759-9B5E-3917B50FD13C}"/>
          </ac:picMkLst>
        </pc:picChg>
        <pc:picChg chg="del mod">
          <ac:chgData name="Puskaric, Marin" userId="08e79dfd-3277-47dc-a995-187d4d28ded4" providerId="ADAL" clId="{EC923B16-109D-4392-AD0F-18CEE537C24E}" dt="2025-03-10T10:20:02.426" v="935" actId="478"/>
          <ac:picMkLst>
            <pc:docMk/>
            <pc:sldMk cId="541091817" sldId="2147483623"/>
            <ac:picMk id="32" creationId="{B27102B1-3512-E5BC-7EBF-ECE6C9A3A031}"/>
          </ac:picMkLst>
        </pc:picChg>
        <pc:picChg chg="mod">
          <ac:chgData name="Puskaric, Marin" userId="08e79dfd-3277-47dc-a995-187d4d28ded4" providerId="ADAL" clId="{EC923B16-109D-4392-AD0F-18CEE537C24E}" dt="2025-03-10T10:18:09.301" v="913" actId="164"/>
          <ac:picMkLst>
            <pc:docMk/>
            <pc:sldMk cId="541091817" sldId="2147483623"/>
            <ac:picMk id="33" creationId="{CAD34E36-08E9-C618-96A0-FEA716B573F7}"/>
          </ac:picMkLst>
        </pc:picChg>
        <pc:picChg chg="del mod">
          <ac:chgData name="Puskaric, Marin" userId="08e79dfd-3277-47dc-a995-187d4d28ded4" providerId="ADAL" clId="{EC923B16-109D-4392-AD0F-18CEE537C24E}" dt="2025-03-10T10:20:02.426" v="935" actId="478"/>
          <ac:picMkLst>
            <pc:docMk/>
            <pc:sldMk cId="541091817" sldId="2147483623"/>
            <ac:picMk id="34" creationId="{56D7C039-2EF8-3AA8-A3B5-E13BAA83E7EB}"/>
          </ac:picMkLst>
        </pc:picChg>
        <pc:picChg chg="mod">
          <ac:chgData name="Puskaric, Marin" userId="08e79dfd-3277-47dc-a995-187d4d28ded4" providerId="ADAL" clId="{EC923B16-109D-4392-AD0F-18CEE537C24E}" dt="2025-03-10T10:18:09.301" v="913" actId="164"/>
          <ac:picMkLst>
            <pc:docMk/>
            <pc:sldMk cId="541091817" sldId="2147483623"/>
            <ac:picMk id="35" creationId="{05928910-0756-D462-E91B-A9DFDBC31A27}"/>
          </ac:picMkLst>
        </pc:picChg>
        <pc:picChg chg="del">
          <ac:chgData name="Puskaric, Marin" userId="08e79dfd-3277-47dc-a995-187d4d28ded4" providerId="ADAL" clId="{EC923B16-109D-4392-AD0F-18CEE537C24E}" dt="2025-03-10T10:17:58.187" v="912" actId="478"/>
          <ac:picMkLst>
            <pc:docMk/>
            <pc:sldMk cId="541091817" sldId="2147483623"/>
            <ac:picMk id="74" creationId="{88946677-EE0A-BCFB-745A-371EDA0A653E}"/>
          </ac:picMkLst>
        </pc:picChg>
        <pc:picChg chg="del">
          <ac:chgData name="Puskaric, Marin" userId="08e79dfd-3277-47dc-a995-187d4d28ded4" providerId="ADAL" clId="{EC923B16-109D-4392-AD0F-18CEE537C24E}" dt="2025-03-10T10:17:58.187" v="912" actId="478"/>
          <ac:picMkLst>
            <pc:docMk/>
            <pc:sldMk cId="541091817" sldId="2147483623"/>
            <ac:picMk id="75" creationId="{225082E4-49A0-29C8-CBBF-5A67D2BDEC79}"/>
          </ac:picMkLst>
        </pc:picChg>
        <pc:picChg chg="del mod">
          <ac:chgData name="Puskaric, Marin" userId="08e79dfd-3277-47dc-a995-187d4d28ded4" providerId="ADAL" clId="{EC923B16-109D-4392-AD0F-18CEE537C24E}" dt="2025-03-10T13:13:31.023" v="3202" actId="478"/>
          <ac:picMkLst>
            <pc:docMk/>
            <pc:sldMk cId="541091817" sldId="2147483623"/>
            <ac:picMk id="77" creationId="{7DB55161-28F5-8FB4-2E04-8B3364D6241C}"/>
          </ac:picMkLst>
        </pc:picChg>
        <pc:picChg chg="mod">
          <ac:chgData name="Puskaric, Marin" userId="08e79dfd-3277-47dc-a995-187d4d28ded4" providerId="ADAL" clId="{EC923B16-109D-4392-AD0F-18CEE537C24E}" dt="2025-03-10T10:18:09.301" v="913" actId="164"/>
          <ac:picMkLst>
            <pc:docMk/>
            <pc:sldMk cId="541091817" sldId="2147483623"/>
            <ac:picMk id="82" creationId="{BF38A3B4-50B2-520B-F27D-20C2D9DC7815}"/>
          </ac:picMkLst>
        </pc:picChg>
      </pc:sldChg>
      <pc:sldChg chg="modSp mod">
        <pc:chgData name="Puskaric, Marin" userId="08e79dfd-3277-47dc-a995-187d4d28ded4" providerId="ADAL" clId="{EC923B16-109D-4392-AD0F-18CEE537C24E}" dt="2025-03-10T09:11:57.309" v="432" actId="20577"/>
        <pc:sldMkLst>
          <pc:docMk/>
          <pc:sldMk cId="2363245225" sldId="2147483625"/>
        </pc:sldMkLst>
        <pc:spChg chg="mod">
          <ac:chgData name="Puskaric, Marin" userId="08e79dfd-3277-47dc-a995-187d4d28ded4" providerId="ADAL" clId="{EC923B16-109D-4392-AD0F-18CEE537C24E}" dt="2025-03-10T09:11:57.309" v="432" actId="20577"/>
          <ac:spMkLst>
            <pc:docMk/>
            <pc:sldMk cId="2363245225" sldId="2147483625"/>
            <ac:spMk id="19" creationId="{8AC420E9-0378-6AE4-DD73-B271F9537728}"/>
          </ac:spMkLst>
        </pc:spChg>
      </pc:sldChg>
      <pc:sldChg chg="modSp mod">
        <pc:chgData name="Puskaric, Marin" userId="08e79dfd-3277-47dc-a995-187d4d28ded4" providerId="ADAL" clId="{EC923B16-109D-4392-AD0F-18CEE537C24E}" dt="2025-03-10T13:54:51.636" v="4529" actId="20577"/>
        <pc:sldMkLst>
          <pc:docMk/>
          <pc:sldMk cId="1714863936" sldId="2147483629"/>
        </pc:sldMkLst>
        <pc:spChg chg="mod">
          <ac:chgData name="Puskaric, Marin" userId="08e79dfd-3277-47dc-a995-187d4d28ded4" providerId="ADAL" clId="{EC923B16-109D-4392-AD0F-18CEE537C24E}" dt="2025-03-10T13:54:51.636" v="4529" actId="20577"/>
          <ac:spMkLst>
            <pc:docMk/>
            <pc:sldMk cId="1714863936" sldId="2147483629"/>
            <ac:spMk id="13" creationId="{6CBF9AA8-CF11-EA55-2EFF-B4C11E07E56A}"/>
          </ac:spMkLst>
        </pc:spChg>
      </pc:sldChg>
      <pc:sldChg chg="add del">
        <pc:chgData name="Puskaric, Marin" userId="08e79dfd-3277-47dc-a995-187d4d28ded4" providerId="ADAL" clId="{EC923B16-109D-4392-AD0F-18CEE537C24E}" dt="2025-03-10T15:09:31.691" v="4552"/>
        <pc:sldMkLst>
          <pc:docMk/>
          <pc:sldMk cId="882018866" sldId="2147483631"/>
        </pc:sldMkLst>
      </pc:sldChg>
      <pc:sldChg chg="add del">
        <pc:chgData name="Puskaric, Marin" userId="08e79dfd-3277-47dc-a995-187d4d28ded4" providerId="ADAL" clId="{EC923B16-109D-4392-AD0F-18CEE537C24E}" dt="2025-03-10T15:09:31.691" v="4552"/>
        <pc:sldMkLst>
          <pc:docMk/>
          <pc:sldMk cId="2857723130" sldId="2147483632"/>
        </pc:sldMkLst>
      </pc:sldChg>
      <pc:sldChg chg="add del">
        <pc:chgData name="Puskaric, Marin" userId="08e79dfd-3277-47dc-a995-187d4d28ded4" providerId="ADAL" clId="{EC923B16-109D-4392-AD0F-18CEE537C24E}" dt="2025-03-10T15:09:31.691" v="4552"/>
        <pc:sldMkLst>
          <pc:docMk/>
          <pc:sldMk cId="2409010344" sldId="2147483633"/>
        </pc:sldMkLst>
      </pc:sldChg>
      <pc:sldChg chg="modSp mod">
        <pc:chgData name="Puskaric, Marin" userId="08e79dfd-3277-47dc-a995-187d4d28ded4" providerId="ADAL" clId="{EC923B16-109D-4392-AD0F-18CEE537C24E}" dt="2025-03-10T14:01:39.551" v="4530" actId="2711"/>
        <pc:sldMkLst>
          <pc:docMk/>
          <pc:sldMk cId="551299755" sldId="2147483634"/>
        </pc:sldMkLst>
        <pc:spChg chg="mod">
          <ac:chgData name="Puskaric, Marin" userId="08e79dfd-3277-47dc-a995-187d4d28ded4" providerId="ADAL" clId="{EC923B16-109D-4392-AD0F-18CEE537C24E}" dt="2025-03-10T10:16:36.839" v="910" actId="20577"/>
          <ac:spMkLst>
            <pc:docMk/>
            <pc:sldMk cId="551299755" sldId="2147483634"/>
            <ac:spMk id="5" creationId="{CA71C19B-9EF5-564F-A28F-2612D657BEDC}"/>
          </ac:spMkLst>
        </pc:spChg>
        <pc:spChg chg="mod">
          <ac:chgData name="Puskaric, Marin" userId="08e79dfd-3277-47dc-a995-187d4d28ded4" providerId="ADAL" clId="{EC923B16-109D-4392-AD0F-18CEE537C24E}" dt="2025-03-10T14:01:39.551" v="4530" actId="2711"/>
          <ac:spMkLst>
            <pc:docMk/>
            <pc:sldMk cId="551299755" sldId="2147483634"/>
            <ac:spMk id="6" creationId="{4AC1E707-6F22-54BF-50E7-48CDEA15E141}"/>
          </ac:spMkLst>
        </pc:spChg>
        <pc:spChg chg="mod">
          <ac:chgData name="Puskaric, Marin" userId="08e79dfd-3277-47dc-a995-187d4d28ded4" providerId="ADAL" clId="{EC923B16-109D-4392-AD0F-18CEE537C24E}" dt="2025-03-10T10:14:34.447" v="763" actId="6549"/>
          <ac:spMkLst>
            <pc:docMk/>
            <pc:sldMk cId="551299755" sldId="2147483634"/>
            <ac:spMk id="9" creationId="{EE6DA492-7777-993A-E3C6-6907DF15206A}"/>
          </ac:spMkLst>
        </pc:spChg>
      </pc:sldChg>
      <pc:sldChg chg="addSp delSp modSp new mod chgLayout">
        <pc:chgData name="Puskaric, Marin" userId="08e79dfd-3277-47dc-a995-187d4d28ded4" providerId="ADAL" clId="{EC923B16-109D-4392-AD0F-18CEE537C24E}" dt="2025-03-10T09:13:28.977" v="446" actId="1076"/>
        <pc:sldMkLst>
          <pc:docMk/>
          <pc:sldMk cId="3195572567" sldId="2147483635"/>
        </pc:sldMkLst>
        <pc:spChg chg="mod ord">
          <ac:chgData name="Puskaric, Marin" userId="08e79dfd-3277-47dc-a995-187d4d28ded4" providerId="ADAL" clId="{EC923B16-109D-4392-AD0F-18CEE537C24E}" dt="2025-03-10T09:00:53.807" v="76" actId="700"/>
          <ac:spMkLst>
            <pc:docMk/>
            <pc:sldMk cId="3195572567" sldId="2147483635"/>
            <ac:spMk id="2" creationId="{19AB9FEC-C5A9-0D62-A7F2-85DA5C6FE1E7}"/>
          </ac:spMkLst>
        </pc:spChg>
        <pc:spChg chg="del">
          <ac:chgData name="Puskaric, Marin" userId="08e79dfd-3277-47dc-a995-187d4d28ded4" providerId="ADAL" clId="{EC923B16-109D-4392-AD0F-18CEE537C24E}" dt="2025-03-10T08:58:20.649" v="40" actId="478"/>
          <ac:spMkLst>
            <pc:docMk/>
            <pc:sldMk cId="3195572567" sldId="2147483635"/>
            <ac:spMk id="3" creationId="{D9366BB6-DBA9-C2C3-7854-ED7EF6FE08AA}"/>
          </ac:spMkLst>
        </pc:spChg>
        <pc:spChg chg="del">
          <ac:chgData name="Puskaric, Marin" userId="08e79dfd-3277-47dc-a995-187d4d28ded4" providerId="ADAL" clId="{EC923B16-109D-4392-AD0F-18CEE537C24E}" dt="2025-03-10T08:58:20.649" v="40" actId="478"/>
          <ac:spMkLst>
            <pc:docMk/>
            <pc:sldMk cId="3195572567" sldId="2147483635"/>
            <ac:spMk id="4" creationId="{7E74FD94-521B-A538-25FF-07D409375549}"/>
          </ac:spMkLst>
        </pc:spChg>
        <pc:spChg chg="add mod ord">
          <ac:chgData name="Puskaric, Marin" userId="08e79dfd-3277-47dc-a995-187d4d28ded4" providerId="ADAL" clId="{EC923B16-109D-4392-AD0F-18CEE537C24E}" dt="2025-03-10T09:01:47.453" v="86" actId="404"/>
          <ac:spMkLst>
            <pc:docMk/>
            <pc:sldMk cId="3195572567" sldId="2147483635"/>
            <ac:spMk id="8" creationId="{7D4BBBBB-28B4-5073-A857-3CCD9C456095}"/>
          </ac:spMkLst>
        </pc:spChg>
        <pc:spChg chg="add del mod ord">
          <ac:chgData name="Puskaric, Marin" userId="08e79dfd-3277-47dc-a995-187d4d28ded4" providerId="ADAL" clId="{EC923B16-109D-4392-AD0F-18CEE537C24E}" dt="2025-03-10T09:00:56.221" v="77" actId="478"/>
          <ac:spMkLst>
            <pc:docMk/>
            <pc:sldMk cId="3195572567" sldId="2147483635"/>
            <ac:spMk id="9" creationId="{B7CA2F7B-7EB7-09CF-0A47-BD4204FA9D8E}"/>
          </ac:spMkLst>
        </pc:spChg>
        <pc:spChg chg="add mod">
          <ac:chgData name="Puskaric, Marin" userId="08e79dfd-3277-47dc-a995-187d4d28ded4" providerId="ADAL" clId="{EC923B16-109D-4392-AD0F-18CEE537C24E}" dt="2025-03-10T09:13:14.895" v="441" actId="404"/>
          <ac:spMkLst>
            <pc:docMk/>
            <pc:sldMk cId="3195572567" sldId="2147483635"/>
            <ac:spMk id="11" creationId="{D5897DD3-86D3-E1DD-CD88-4AB29A6B5EF5}"/>
          </ac:spMkLst>
        </pc:spChg>
        <pc:spChg chg="add mod">
          <ac:chgData name="Puskaric, Marin" userId="08e79dfd-3277-47dc-a995-187d4d28ded4" providerId="ADAL" clId="{EC923B16-109D-4392-AD0F-18CEE537C24E}" dt="2025-03-10T09:13:18.861" v="444" actId="404"/>
          <ac:spMkLst>
            <pc:docMk/>
            <pc:sldMk cId="3195572567" sldId="2147483635"/>
            <ac:spMk id="13" creationId="{3CE88152-CA7A-28D5-AAFE-11FB9D6940F5}"/>
          </ac:spMkLst>
        </pc:spChg>
        <pc:spChg chg="add mod">
          <ac:chgData name="Puskaric, Marin" userId="08e79dfd-3277-47dc-a995-187d4d28ded4" providerId="ADAL" clId="{EC923B16-109D-4392-AD0F-18CEE537C24E}" dt="2025-03-10T09:13:28.977" v="446" actId="1076"/>
          <ac:spMkLst>
            <pc:docMk/>
            <pc:sldMk cId="3195572567" sldId="2147483635"/>
            <ac:spMk id="15" creationId="{DFFA1F9D-3D41-351A-09B1-8FD6005D7B8C}"/>
          </ac:spMkLst>
        </pc:spChg>
        <pc:spChg chg="add mod">
          <ac:chgData name="Puskaric, Marin" userId="08e79dfd-3277-47dc-a995-187d4d28ded4" providerId="ADAL" clId="{EC923B16-109D-4392-AD0F-18CEE537C24E}" dt="2025-03-10T09:06:58.668" v="251" actId="1035"/>
          <ac:spMkLst>
            <pc:docMk/>
            <pc:sldMk cId="3195572567" sldId="2147483635"/>
            <ac:spMk id="18" creationId="{1BE44550-9B37-23F8-A2FA-5FD8F95434EA}"/>
          </ac:spMkLst>
        </pc:spChg>
        <pc:spChg chg="add mod">
          <ac:chgData name="Puskaric, Marin" userId="08e79dfd-3277-47dc-a995-187d4d28ded4" providerId="ADAL" clId="{EC923B16-109D-4392-AD0F-18CEE537C24E}" dt="2025-03-10T09:06:58.668" v="251" actId="1035"/>
          <ac:spMkLst>
            <pc:docMk/>
            <pc:sldMk cId="3195572567" sldId="2147483635"/>
            <ac:spMk id="19" creationId="{DC755E50-752B-A1D6-1EF6-5E9B33A03DEA}"/>
          </ac:spMkLst>
        </pc:spChg>
        <pc:spChg chg="add mod">
          <ac:chgData name="Puskaric, Marin" userId="08e79dfd-3277-47dc-a995-187d4d28ded4" providerId="ADAL" clId="{EC923B16-109D-4392-AD0F-18CEE537C24E}" dt="2025-03-10T09:06:58.668" v="251" actId="1035"/>
          <ac:spMkLst>
            <pc:docMk/>
            <pc:sldMk cId="3195572567" sldId="2147483635"/>
            <ac:spMk id="20" creationId="{46EA5E17-D9EE-0F82-A274-4550BC0DA0FA}"/>
          </ac:spMkLst>
        </pc:spChg>
        <pc:picChg chg="add mod">
          <ac:chgData name="Puskaric, Marin" userId="08e79dfd-3277-47dc-a995-187d4d28ded4" providerId="ADAL" clId="{EC923B16-109D-4392-AD0F-18CEE537C24E}" dt="2025-03-10T09:07:13.965" v="253" actId="14861"/>
          <ac:picMkLst>
            <pc:docMk/>
            <pc:sldMk cId="3195572567" sldId="2147483635"/>
            <ac:picMk id="5" creationId="{0F0793FD-E53B-7CD8-9FFC-353F5A76A7BC}"/>
          </ac:picMkLst>
        </pc:picChg>
        <pc:picChg chg="add mod">
          <ac:chgData name="Puskaric, Marin" userId="08e79dfd-3277-47dc-a995-187d4d28ded4" providerId="ADAL" clId="{EC923B16-109D-4392-AD0F-18CEE537C24E}" dt="2025-03-10T09:07:13.965" v="253" actId="14861"/>
          <ac:picMkLst>
            <pc:docMk/>
            <pc:sldMk cId="3195572567" sldId="2147483635"/>
            <ac:picMk id="6" creationId="{5D8C42A3-AE1B-8667-18E3-5385EE0E9C9A}"/>
          </ac:picMkLst>
        </pc:picChg>
        <pc:picChg chg="add mod">
          <ac:chgData name="Puskaric, Marin" userId="08e79dfd-3277-47dc-a995-187d4d28ded4" providerId="ADAL" clId="{EC923B16-109D-4392-AD0F-18CEE537C24E}" dt="2025-03-10T09:07:13.965" v="253" actId="14861"/>
          <ac:picMkLst>
            <pc:docMk/>
            <pc:sldMk cId="3195572567" sldId="2147483635"/>
            <ac:picMk id="7" creationId="{62DDF049-25CC-1168-F8C6-775B13E54EF9}"/>
          </ac:picMkLst>
        </pc:picChg>
        <pc:cxnChg chg="add mod">
          <ac:chgData name="Puskaric, Marin" userId="08e79dfd-3277-47dc-a995-187d4d28ded4" providerId="ADAL" clId="{EC923B16-109D-4392-AD0F-18CEE537C24E}" dt="2025-03-10T09:06:58.668" v="251" actId="1035"/>
          <ac:cxnSpMkLst>
            <pc:docMk/>
            <pc:sldMk cId="3195572567" sldId="2147483635"/>
            <ac:cxnSpMk id="17" creationId="{4E42F78E-D206-9AC1-1B05-553201F5025A}"/>
          </ac:cxnSpMkLst>
        </pc:cxnChg>
      </pc:sldChg>
      <pc:sldChg chg="addSp delSp modSp add del mod modClrScheme chgLayout">
        <pc:chgData name="Puskaric, Marin" userId="08e79dfd-3277-47dc-a995-187d4d28ded4" providerId="ADAL" clId="{EC923B16-109D-4392-AD0F-18CEE537C24E}" dt="2025-03-10T08:58:14.471" v="38" actId="47"/>
        <pc:sldMkLst>
          <pc:docMk/>
          <pc:sldMk cId="3661000669" sldId="2147483635"/>
        </pc:sldMkLst>
        <pc:spChg chg="add mod">
          <ac:chgData name="Puskaric, Marin" userId="08e79dfd-3277-47dc-a995-187d4d28ded4" providerId="ADAL" clId="{EC923B16-109D-4392-AD0F-18CEE537C24E}" dt="2025-03-10T08:58:11.494" v="37" actId="700"/>
          <ac:spMkLst>
            <pc:docMk/>
            <pc:sldMk cId="3661000669" sldId="2147483635"/>
            <ac:spMk id="2" creationId="{9BF537F6-6B8F-5810-C987-0A591E91FAE6}"/>
          </ac:spMkLst>
        </pc:spChg>
        <pc:spChg chg="del">
          <ac:chgData name="Puskaric, Marin" userId="08e79dfd-3277-47dc-a995-187d4d28ded4" providerId="ADAL" clId="{EC923B16-109D-4392-AD0F-18CEE537C24E}" dt="2025-03-10T08:58:04.645" v="34" actId="478"/>
          <ac:spMkLst>
            <pc:docMk/>
            <pc:sldMk cId="3661000669" sldId="2147483635"/>
            <ac:spMk id="3" creationId="{E4B3387D-DA32-9B68-C71E-647EAC091C15}"/>
          </ac:spMkLst>
        </pc:spChg>
        <pc:spChg chg="add mod">
          <ac:chgData name="Puskaric, Marin" userId="08e79dfd-3277-47dc-a995-187d4d28ded4" providerId="ADAL" clId="{EC923B16-109D-4392-AD0F-18CEE537C24E}" dt="2025-03-10T08:58:11.494" v="37" actId="700"/>
          <ac:spMkLst>
            <pc:docMk/>
            <pc:sldMk cId="3661000669" sldId="2147483635"/>
            <ac:spMk id="6" creationId="{B6EF6350-9B90-4A64-A051-900B08003FFF}"/>
          </ac:spMkLst>
        </pc:spChg>
        <pc:spChg chg="del mod">
          <ac:chgData name="Puskaric, Marin" userId="08e79dfd-3277-47dc-a995-187d4d28ded4" providerId="ADAL" clId="{EC923B16-109D-4392-AD0F-18CEE537C24E}" dt="2025-03-10T08:58:07.985" v="36" actId="478"/>
          <ac:spMkLst>
            <pc:docMk/>
            <pc:sldMk cId="3661000669" sldId="2147483635"/>
            <ac:spMk id="10" creationId="{8FA99D70-BDF4-31D6-03D4-84CE799E00D1}"/>
          </ac:spMkLst>
        </pc:spChg>
        <pc:picChg chg="del">
          <ac:chgData name="Puskaric, Marin" userId="08e79dfd-3277-47dc-a995-187d4d28ded4" providerId="ADAL" clId="{EC923B16-109D-4392-AD0F-18CEE537C24E}" dt="2025-03-10T08:58:04.645" v="34" actId="478"/>
          <ac:picMkLst>
            <pc:docMk/>
            <pc:sldMk cId="3661000669" sldId="2147483635"/>
            <ac:picMk id="4" creationId="{C05F9A2A-0F40-B757-4489-5774CF7ED3D1}"/>
          </ac:picMkLst>
        </pc:picChg>
        <pc:picChg chg="del">
          <ac:chgData name="Puskaric, Marin" userId="08e79dfd-3277-47dc-a995-187d4d28ded4" providerId="ADAL" clId="{EC923B16-109D-4392-AD0F-18CEE537C24E}" dt="2025-03-10T08:58:03.455" v="33" actId="478"/>
          <ac:picMkLst>
            <pc:docMk/>
            <pc:sldMk cId="3661000669" sldId="2147483635"/>
            <ac:picMk id="5" creationId="{966C4589-712F-7AE4-D168-6930ED352D12}"/>
          </ac:picMkLst>
        </pc:picChg>
      </pc:sldChg>
      <pc:sldChg chg="new del">
        <pc:chgData name="Puskaric, Marin" userId="08e79dfd-3277-47dc-a995-187d4d28ded4" providerId="ADAL" clId="{EC923B16-109D-4392-AD0F-18CEE537C24E}" dt="2025-03-10T13:25:00.839" v="3427" actId="47"/>
        <pc:sldMkLst>
          <pc:docMk/>
          <pc:sldMk cId="2092593718" sldId="2147483636"/>
        </pc:sldMkLst>
      </pc:sldChg>
      <pc:sldChg chg="modSp add mod">
        <pc:chgData name="Puskaric, Marin" userId="08e79dfd-3277-47dc-a995-187d4d28ded4" providerId="ADAL" clId="{EC923B16-109D-4392-AD0F-18CEE537C24E}" dt="2025-03-10T15:09:43.314" v="4553" actId="14861"/>
        <pc:sldMkLst>
          <pc:docMk/>
          <pc:sldMk cId="3173413920" sldId="2147483636"/>
        </pc:sldMkLst>
        <pc:picChg chg="mod">
          <ac:chgData name="Puskaric, Marin" userId="08e79dfd-3277-47dc-a995-187d4d28ded4" providerId="ADAL" clId="{EC923B16-109D-4392-AD0F-18CEE537C24E}" dt="2025-03-10T15:09:43.314" v="4553" actId="14861"/>
          <ac:picMkLst>
            <pc:docMk/>
            <pc:sldMk cId="3173413920" sldId="2147483636"/>
            <ac:picMk id="7" creationId="{E9F959AA-E88F-DE15-D955-F8BE6E614059}"/>
          </ac:picMkLst>
        </pc:picChg>
      </pc:sldChg>
    </pc:docChg>
  </pc:docChgLst>
  <pc:docChgLst>
    <pc:chgData name="Puskaric, Marin" userId="08e79dfd-3277-47dc-a995-187d4d28ded4" providerId="ADAL" clId="{1C6F98B0-8683-4ED3-B559-A7BE88208E19}"/>
    <pc:docChg chg="undo redo custSel addSld delSld modSld sldOrd modMainMaster">
      <pc:chgData name="Puskaric, Marin" userId="08e79dfd-3277-47dc-a995-187d4d28ded4" providerId="ADAL" clId="{1C6F98B0-8683-4ED3-B559-A7BE88208E19}" dt="2025-02-26T16:09:43.110" v="3894" actId="20577"/>
      <pc:docMkLst>
        <pc:docMk/>
      </pc:docMkLst>
      <pc:sldChg chg="modSp add mod">
        <pc:chgData name="Puskaric, Marin" userId="08e79dfd-3277-47dc-a995-187d4d28ded4" providerId="ADAL" clId="{1C6F98B0-8683-4ED3-B559-A7BE88208E19}" dt="2025-02-26T08:43:43.353" v="3809" actId="27636"/>
        <pc:sldMkLst>
          <pc:docMk/>
          <pc:sldMk cId="2573265160" sldId="260"/>
        </pc:sldMkLst>
        <pc:spChg chg="mod">
          <ac:chgData name="Puskaric, Marin" userId="08e79dfd-3277-47dc-a995-187d4d28ded4" providerId="ADAL" clId="{1C6F98B0-8683-4ED3-B559-A7BE88208E19}" dt="2025-02-26T08:43:43.353" v="3809" actId="27636"/>
          <ac:spMkLst>
            <pc:docMk/>
            <pc:sldMk cId="2573265160" sldId="260"/>
            <ac:spMk id="7" creationId="{A440346C-BB05-4541-BDF7-02330D09AD8D}"/>
          </ac:spMkLst>
        </pc:spChg>
      </pc:sldChg>
      <pc:sldChg chg="addSp delSp modSp add del mod ord modClrScheme chgLayout">
        <pc:chgData name="Puskaric, Marin" userId="08e79dfd-3277-47dc-a995-187d4d28ded4" providerId="ADAL" clId="{1C6F98B0-8683-4ED3-B559-A7BE88208E19}" dt="2025-02-25T22:39:40.762" v="2208" actId="47"/>
        <pc:sldMkLst>
          <pc:docMk/>
          <pc:sldMk cId="2351834231" sldId="282"/>
        </pc:sldMkLst>
        <pc:spChg chg="add del mod">
          <ac:chgData name="Puskaric, Marin" userId="08e79dfd-3277-47dc-a995-187d4d28ded4" providerId="ADAL" clId="{1C6F98B0-8683-4ED3-B559-A7BE88208E19}" dt="2025-02-25T16:25:19.803" v="637" actId="478"/>
          <ac:spMkLst>
            <pc:docMk/>
            <pc:sldMk cId="2351834231" sldId="282"/>
            <ac:spMk id="3" creationId="{1B96D2C4-A664-9138-1CA3-64FD4E4E7A3F}"/>
          </ac:spMkLst>
        </pc:spChg>
        <pc:spChg chg="add del mod ord">
          <ac:chgData name="Puskaric, Marin" userId="08e79dfd-3277-47dc-a995-187d4d28ded4" providerId="ADAL" clId="{1C6F98B0-8683-4ED3-B559-A7BE88208E19}" dt="2025-02-25T16:25:40.021" v="639" actId="478"/>
          <ac:spMkLst>
            <pc:docMk/>
            <pc:sldMk cId="2351834231" sldId="282"/>
            <ac:spMk id="4" creationId="{611865AB-A31C-EBEC-6E39-CCA68B6925F7}"/>
          </ac:spMkLst>
        </pc:spChg>
        <pc:spChg chg="add del mod ord">
          <ac:chgData name="Puskaric, Marin" userId="08e79dfd-3277-47dc-a995-187d4d28ded4" providerId="ADAL" clId="{1C6F98B0-8683-4ED3-B559-A7BE88208E19}" dt="2025-02-25T16:25:41.448" v="640" actId="478"/>
          <ac:spMkLst>
            <pc:docMk/>
            <pc:sldMk cId="2351834231" sldId="282"/>
            <ac:spMk id="5" creationId="{3D4D2C10-3446-B1FB-9DA0-5EE493F993DC}"/>
          </ac:spMkLst>
        </pc:spChg>
        <pc:spChg chg="add del mod ord">
          <ac:chgData name="Puskaric, Marin" userId="08e79dfd-3277-47dc-a995-187d4d28ded4" providerId="ADAL" clId="{1C6F98B0-8683-4ED3-B559-A7BE88208E19}" dt="2025-02-25T16:29:54.889" v="675" actId="478"/>
          <ac:spMkLst>
            <pc:docMk/>
            <pc:sldMk cId="2351834231" sldId="282"/>
            <ac:spMk id="6" creationId="{238C5ECD-C5B4-337B-69FD-07BFA8F07955}"/>
          </ac:spMkLst>
        </pc:spChg>
        <pc:spChg chg="add del mod ord">
          <ac:chgData name="Puskaric, Marin" userId="08e79dfd-3277-47dc-a995-187d4d28ded4" providerId="ADAL" clId="{1C6F98B0-8683-4ED3-B559-A7BE88208E19}" dt="2025-02-25T16:29:56.280" v="676" actId="478"/>
          <ac:spMkLst>
            <pc:docMk/>
            <pc:sldMk cId="2351834231" sldId="282"/>
            <ac:spMk id="7" creationId="{D912B707-9428-21AC-107B-6E18817616B0}"/>
          </ac:spMkLst>
        </pc:spChg>
        <pc:spChg chg="add mod">
          <ac:chgData name="Puskaric, Marin" userId="08e79dfd-3277-47dc-a995-187d4d28ded4" providerId="ADAL" clId="{1C6F98B0-8683-4ED3-B559-A7BE88208E19}" dt="2025-02-25T22:31:12.106" v="1987" actId="1076"/>
          <ac:spMkLst>
            <pc:docMk/>
            <pc:sldMk cId="2351834231" sldId="282"/>
            <ac:spMk id="11" creationId="{BA526D4A-9E07-378D-64FD-D9AEB12E0936}"/>
          </ac:spMkLst>
        </pc:spChg>
        <pc:spChg chg="add mod">
          <ac:chgData name="Puskaric, Marin" userId="08e79dfd-3277-47dc-a995-187d4d28ded4" providerId="ADAL" clId="{1C6F98B0-8683-4ED3-B559-A7BE88208E19}" dt="2025-02-25T22:31:26.188" v="1989" actId="207"/>
          <ac:spMkLst>
            <pc:docMk/>
            <pc:sldMk cId="2351834231" sldId="282"/>
            <ac:spMk id="12" creationId="{82945791-C4FC-DF39-DF11-B088F058A84C}"/>
          </ac:spMkLst>
        </pc:spChg>
        <pc:spChg chg="mod">
          <ac:chgData name="Puskaric, Marin" userId="08e79dfd-3277-47dc-a995-187d4d28ded4" providerId="ADAL" clId="{1C6F98B0-8683-4ED3-B559-A7BE88208E19}" dt="2025-02-25T22:07:06.984" v="1626" actId="14100"/>
          <ac:spMkLst>
            <pc:docMk/>
            <pc:sldMk cId="2351834231" sldId="282"/>
            <ac:spMk id="37" creationId="{4E06983E-664E-4796-8616-5197A37BC6EB}"/>
          </ac:spMkLst>
        </pc:spChg>
        <pc:spChg chg="mod">
          <ac:chgData name="Puskaric, Marin" userId="08e79dfd-3277-47dc-a995-187d4d28ded4" providerId="ADAL" clId="{1C6F98B0-8683-4ED3-B559-A7BE88208E19}" dt="2025-02-25T22:07:13.985" v="1628" actId="1076"/>
          <ac:spMkLst>
            <pc:docMk/>
            <pc:sldMk cId="2351834231" sldId="282"/>
            <ac:spMk id="38" creationId="{51F423D6-16DA-FD17-9F33-FDAFF260AF73}"/>
          </ac:spMkLst>
        </pc:spChg>
        <pc:spChg chg="mod">
          <ac:chgData name="Puskaric, Marin" userId="08e79dfd-3277-47dc-a995-187d4d28ded4" providerId="ADAL" clId="{1C6F98B0-8683-4ED3-B559-A7BE88208E19}" dt="2025-02-25T22:07:18.554" v="1630" actId="1076"/>
          <ac:spMkLst>
            <pc:docMk/>
            <pc:sldMk cId="2351834231" sldId="282"/>
            <ac:spMk id="39" creationId="{104E0EF3-AEE2-1E0C-0E0D-AF1C5F44A5ED}"/>
          </ac:spMkLst>
        </pc:spChg>
        <pc:spChg chg="add del mod">
          <ac:chgData name="Puskaric, Marin" userId="08e79dfd-3277-47dc-a995-187d4d28ded4" providerId="ADAL" clId="{1C6F98B0-8683-4ED3-B559-A7BE88208E19}" dt="2025-02-25T22:30:08.506" v="1954" actId="21"/>
          <ac:spMkLst>
            <pc:docMk/>
            <pc:sldMk cId="2351834231" sldId="282"/>
            <ac:spMk id="40" creationId="{9F627013-7D5A-EF85-A449-7F666C626FFF}"/>
          </ac:spMkLst>
        </pc:spChg>
        <pc:spChg chg="mod">
          <ac:chgData name="Puskaric, Marin" userId="08e79dfd-3277-47dc-a995-187d4d28ded4" providerId="ADAL" clId="{1C6F98B0-8683-4ED3-B559-A7BE88208E19}" dt="2025-02-25T22:07:21.496" v="1632" actId="1076"/>
          <ac:spMkLst>
            <pc:docMk/>
            <pc:sldMk cId="2351834231" sldId="282"/>
            <ac:spMk id="41" creationId="{2FE08DF2-AA2F-09FA-0DA3-263832C14EE7}"/>
          </ac:spMkLst>
        </pc:spChg>
        <pc:spChg chg="mod">
          <ac:chgData name="Puskaric, Marin" userId="08e79dfd-3277-47dc-a995-187d4d28ded4" providerId="ADAL" clId="{1C6F98B0-8683-4ED3-B559-A7BE88208E19}" dt="2025-02-25T22:28:32.745" v="1948" actId="1076"/>
          <ac:spMkLst>
            <pc:docMk/>
            <pc:sldMk cId="2351834231" sldId="282"/>
            <ac:spMk id="42" creationId="{052CF930-C5C1-21F0-C732-6A5EF6E6D288}"/>
          </ac:spMkLst>
        </pc:spChg>
        <pc:spChg chg="mod">
          <ac:chgData name="Puskaric, Marin" userId="08e79dfd-3277-47dc-a995-187d4d28ded4" providerId="ADAL" clId="{1C6F98B0-8683-4ED3-B559-A7BE88208E19}" dt="2025-02-25T22:28:28.672" v="1947" actId="1076"/>
          <ac:spMkLst>
            <pc:docMk/>
            <pc:sldMk cId="2351834231" sldId="282"/>
            <ac:spMk id="43" creationId="{C5920B1C-FCEA-A760-6A58-FDAA05905C4A}"/>
          </ac:spMkLst>
        </pc:spChg>
        <pc:spChg chg="del">
          <ac:chgData name="Puskaric, Marin" userId="08e79dfd-3277-47dc-a995-187d4d28ded4" providerId="ADAL" clId="{1C6F98B0-8683-4ED3-B559-A7BE88208E19}" dt="2025-02-25T16:25:17.690" v="636" actId="478"/>
          <ac:spMkLst>
            <pc:docMk/>
            <pc:sldMk cId="2351834231" sldId="282"/>
            <ac:spMk id="164" creationId="{00000000-0000-0000-0000-000000000000}"/>
          </ac:spMkLst>
        </pc:spChg>
        <pc:spChg chg="mod ord">
          <ac:chgData name="Puskaric, Marin" userId="08e79dfd-3277-47dc-a995-187d4d28ded4" providerId="ADAL" clId="{1C6F98B0-8683-4ED3-B559-A7BE88208E19}" dt="2025-02-25T16:29:52.272" v="674" actId="700"/>
          <ac:spMkLst>
            <pc:docMk/>
            <pc:sldMk cId="2351834231" sldId="282"/>
            <ac:spMk id="166" creationId="{00000000-0000-0000-0000-000000000000}"/>
          </ac:spMkLst>
        </pc:spChg>
        <pc:picChg chg="add del mod">
          <ac:chgData name="Puskaric, Marin" userId="08e79dfd-3277-47dc-a995-187d4d28ded4" providerId="ADAL" clId="{1C6F98B0-8683-4ED3-B559-A7BE88208E19}" dt="2025-02-25T22:00:03.415" v="1572" actId="478"/>
          <ac:picMkLst>
            <pc:docMk/>
            <pc:sldMk cId="2351834231" sldId="282"/>
            <ac:picMk id="8" creationId="{C9B91E62-8919-379C-64BA-8DD065A7983A}"/>
          </ac:picMkLst>
        </pc:picChg>
        <pc:picChg chg="add mod modCrop">
          <ac:chgData name="Puskaric, Marin" userId="08e79dfd-3277-47dc-a995-187d4d28ded4" providerId="ADAL" clId="{1C6F98B0-8683-4ED3-B559-A7BE88208E19}" dt="2025-02-25T22:06:43.898" v="1621" actId="1076"/>
          <ac:picMkLst>
            <pc:docMk/>
            <pc:sldMk cId="2351834231" sldId="282"/>
            <ac:picMk id="10" creationId="{A27D2916-0E07-096B-4E22-22134A1E9AFE}"/>
          </ac:picMkLst>
        </pc:picChg>
      </pc:sldChg>
      <pc:sldChg chg="addSp delSp modSp add mod modClrScheme chgLayout">
        <pc:chgData name="Puskaric, Marin" userId="08e79dfd-3277-47dc-a995-187d4d28ded4" providerId="ADAL" clId="{1C6F98B0-8683-4ED3-B559-A7BE88208E19}" dt="2025-02-26T08:35:38.122" v="3628" actId="20577"/>
        <pc:sldMkLst>
          <pc:docMk/>
          <pc:sldMk cId="950791526" sldId="2076136709"/>
        </pc:sldMkLst>
        <pc:spChg chg="mod ord">
          <ac:chgData name="Puskaric, Marin" userId="08e79dfd-3277-47dc-a995-187d4d28ded4" providerId="ADAL" clId="{1C6F98B0-8683-4ED3-B559-A7BE88208E19}" dt="2025-02-25T16:13:52.197" v="436" actId="700"/>
          <ac:spMkLst>
            <pc:docMk/>
            <pc:sldMk cId="950791526" sldId="2076136709"/>
            <ac:spMk id="3" creationId="{6F802692-6C5B-4BD5-A66A-D48669ED611C}"/>
          </ac:spMkLst>
        </pc:spChg>
        <pc:spChg chg="mod">
          <ac:chgData name="Puskaric, Marin" userId="08e79dfd-3277-47dc-a995-187d4d28ded4" providerId="ADAL" clId="{1C6F98B0-8683-4ED3-B559-A7BE88208E19}" dt="2025-02-25T14:16:41.114" v="191" actId="20577"/>
          <ac:spMkLst>
            <pc:docMk/>
            <pc:sldMk cId="950791526" sldId="2076136709"/>
            <ac:spMk id="6" creationId="{5F1DD62B-347A-42F3-8107-446B0084FC7A}"/>
          </ac:spMkLst>
        </pc:spChg>
        <pc:spChg chg="mod">
          <ac:chgData name="Puskaric, Marin" userId="08e79dfd-3277-47dc-a995-187d4d28ded4" providerId="ADAL" clId="{1C6F98B0-8683-4ED3-B559-A7BE88208E19}" dt="2025-02-25T16:20:32.261" v="591" actId="20577"/>
          <ac:spMkLst>
            <pc:docMk/>
            <pc:sldMk cId="950791526" sldId="2076136709"/>
            <ac:spMk id="7" creationId="{DC8222C6-1F0D-46D0-8375-67CA61C8953C}"/>
          </ac:spMkLst>
        </pc:spChg>
        <pc:spChg chg="mod">
          <ac:chgData name="Puskaric, Marin" userId="08e79dfd-3277-47dc-a995-187d4d28ded4" providerId="ADAL" clId="{1C6F98B0-8683-4ED3-B559-A7BE88208E19}" dt="2025-02-26T08:35:38.122" v="3628" actId="20577"/>
          <ac:spMkLst>
            <pc:docMk/>
            <pc:sldMk cId="950791526" sldId="2076136709"/>
            <ac:spMk id="12" creationId="{54EB972F-AD13-471B-B0E9-215B44A17D5E}"/>
          </ac:spMkLst>
        </pc:spChg>
        <pc:spChg chg="add del mod ord">
          <ac:chgData name="Puskaric, Marin" userId="08e79dfd-3277-47dc-a995-187d4d28ded4" providerId="ADAL" clId="{1C6F98B0-8683-4ED3-B559-A7BE88208E19}" dt="2025-02-25T14:11:21.241" v="78" actId="478"/>
          <ac:spMkLst>
            <pc:docMk/>
            <pc:sldMk cId="950791526" sldId="2076136709"/>
            <ac:spMk id="15" creationId="{8394D7CB-528C-5251-F582-F75B2DBDA621}"/>
          </ac:spMkLst>
        </pc:spChg>
        <pc:spChg chg="add mod">
          <ac:chgData name="Puskaric, Marin" userId="08e79dfd-3277-47dc-a995-187d4d28ded4" providerId="ADAL" clId="{1C6F98B0-8683-4ED3-B559-A7BE88208E19}" dt="2025-02-25T14:18:08.442" v="260" actId="1076"/>
          <ac:spMkLst>
            <pc:docMk/>
            <pc:sldMk cId="950791526" sldId="2076136709"/>
            <ac:spMk id="16" creationId="{F32E70D7-3C3F-F31B-2C13-C14078FF39B1}"/>
          </ac:spMkLst>
        </pc:spChg>
        <pc:spChg chg="mod">
          <ac:chgData name="Puskaric, Marin" userId="08e79dfd-3277-47dc-a995-187d4d28ded4" providerId="ADAL" clId="{1C6F98B0-8683-4ED3-B559-A7BE88208E19}" dt="2025-02-26T08:35:24.376" v="3596" actId="20577"/>
          <ac:spMkLst>
            <pc:docMk/>
            <pc:sldMk cId="950791526" sldId="2076136709"/>
            <ac:spMk id="17" creationId="{F25D9615-6A4C-4A38-A563-FCF37BD05D00}"/>
          </ac:spMkLst>
        </pc:spChg>
        <pc:spChg chg="add mod">
          <ac:chgData name="Puskaric, Marin" userId="08e79dfd-3277-47dc-a995-187d4d28ded4" providerId="ADAL" clId="{1C6F98B0-8683-4ED3-B559-A7BE88208E19}" dt="2025-02-25T14:18:07.114" v="259" actId="1076"/>
          <ac:spMkLst>
            <pc:docMk/>
            <pc:sldMk cId="950791526" sldId="2076136709"/>
            <ac:spMk id="19" creationId="{B9F9FD3A-5166-5D94-B74A-7E5BAD1BD3A0}"/>
          </ac:spMkLst>
        </pc:spChg>
        <pc:spChg chg="add del mod ord">
          <ac:chgData name="Puskaric, Marin" userId="08e79dfd-3277-47dc-a995-187d4d28ded4" providerId="ADAL" clId="{1C6F98B0-8683-4ED3-B559-A7BE88208E19}" dt="2025-02-25T16:13:56.531" v="437" actId="478"/>
          <ac:spMkLst>
            <pc:docMk/>
            <pc:sldMk cId="950791526" sldId="2076136709"/>
            <ac:spMk id="20" creationId="{EBDBF2AD-F08B-958B-B7B3-E2047986C353}"/>
          </ac:spMkLst>
        </pc:spChg>
        <pc:spChg chg="mod">
          <ac:chgData name="Puskaric, Marin" userId="08e79dfd-3277-47dc-a995-187d4d28ded4" providerId="ADAL" clId="{1C6F98B0-8683-4ED3-B559-A7BE88208E19}" dt="2025-02-25T14:17:34.571" v="227" actId="20577"/>
          <ac:spMkLst>
            <pc:docMk/>
            <pc:sldMk cId="950791526" sldId="2076136709"/>
            <ac:spMk id="26" creationId="{D9AFF6AF-9E69-4B08-96A5-B1790B0C3001}"/>
          </ac:spMkLst>
        </pc:spChg>
        <pc:spChg chg="mod">
          <ac:chgData name="Puskaric, Marin" userId="08e79dfd-3277-47dc-a995-187d4d28ded4" providerId="ADAL" clId="{1C6F98B0-8683-4ED3-B559-A7BE88208E19}" dt="2025-02-25T14:17:23.508" v="213" actId="20577"/>
          <ac:spMkLst>
            <pc:docMk/>
            <pc:sldMk cId="950791526" sldId="2076136709"/>
            <ac:spMk id="27" creationId="{BB511A4F-453B-48BA-AFE9-ED69030E7380}"/>
          </ac:spMkLst>
        </pc:spChg>
        <pc:grpChg chg="add del">
          <ac:chgData name="Puskaric, Marin" userId="08e79dfd-3277-47dc-a995-187d4d28ded4" providerId="ADAL" clId="{1C6F98B0-8683-4ED3-B559-A7BE88208E19}" dt="2025-02-25T14:11:18.505" v="77" actId="478"/>
          <ac:grpSpMkLst>
            <pc:docMk/>
            <pc:sldMk cId="950791526" sldId="2076136709"/>
            <ac:grpSpMk id="10" creationId="{A83D17F9-7887-4A5E-ACDD-5E4A3684F311}"/>
          </ac:grpSpMkLst>
        </pc:grpChg>
      </pc:sldChg>
      <pc:sldChg chg="addSp delSp modSp add mod modClrScheme chgLayout">
        <pc:chgData name="Puskaric, Marin" userId="08e79dfd-3277-47dc-a995-187d4d28ded4" providerId="ADAL" clId="{1C6F98B0-8683-4ED3-B559-A7BE88208E19}" dt="2025-02-25T20:07:56.674" v="839" actId="20577"/>
        <pc:sldMkLst>
          <pc:docMk/>
          <pc:sldMk cId="3626035993" sldId="2146845600"/>
        </pc:sldMkLst>
        <pc:spChg chg="add del mod ord">
          <ac:chgData name="Puskaric, Marin" userId="08e79dfd-3277-47dc-a995-187d4d28ded4" providerId="ADAL" clId="{1C6F98B0-8683-4ED3-B559-A7BE88208E19}" dt="2025-02-25T16:10:04.676" v="397" actId="700"/>
          <ac:spMkLst>
            <pc:docMk/>
            <pc:sldMk cId="3626035993" sldId="2146845600"/>
            <ac:spMk id="2" creationId="{6AB32F98-0796-AE8B-C4F9-7AAD68D60711}"/>
          </ac:spMkLst>
        </pc:spChg>
        <pc:spChg chg="add del mod ord">
          <ac:chgData name="Puskaric, Marin" userId="08e79dfd-3277-47dc-a995-187d4d28ded4" providerId="ADAL" clId="{1C6F98B0-8683-4ED3-B559-A7BE88208E19}" dt="2025-02-25T16:10:15.063" v="400" actId="700"/>
          <ac:spMkLst>
            <pc:docMk/>
            <pc:sldMk cId="3626035993" sldId="2146845600"/>
            <ac:spMk id="3" creationId="{2657F17A-3136-410E-ABC8-7573FD6346D1}"/>
          </ac:spMkLst>
        </pc:spChg>
        <pc:spChg chg="mod ord">
          <ac:chgData name="Puskaric, Marin" userId="08e79dfd-3277-47dc-a995-187d4d28ded4" providerId="ADAL" clId="{1C6F98B0-8683-4ED3-B559-A7BE88208E19}" dt="2025-02-25T20:07:56.674" v="839" actId="20577"/>
          <ac:spMkLst>
            <pc:docMk/>
            <pc:sldMk cId="3626035993" sldId="2146845600"/>
            <ac:spMk id="4" creationId="{00000000-0000-0000-0000-000000000000}"/>
          </ac:spMkLst>
        </pc:spChg>
        <pc:spChg chg="mod ord">
          <ac:chgData name="Puskaric, Marin" userId="08e79dfd-3277-47dc-a995-187d4d28ded4" providerId="ADAL" clId="{1C6F98B0-8683-4ED3-B559-A7BE88208E19}" dt="2025-02-25T16:10:15.063" v="400" actId="700"/>
          <ac:spMkLst>
            <pc:docMk/>
            <pc:sldMk cId="3626035993" sldId="2146845600"/>
            <ac:spMk id="12" creationId="{A9A054D2-A092-F860-F41A-4E88C5E17F81}"/>
          </ac:spMkLst>
        </pc:spChg>
        <pc:spChg chg="add del mod ord">
          <ac:chgData name="Puskaric, Marin" userId="08e79dfd-3277-47dc-a995-187d4d28ded4" providerId="ADAL" clId="{1C6F98B0-8683-4ED3-B559-A7BE88208E19}" dt="2025-02-25T16:10:13.012" v="399" actId="700"/>
          <ac:spMkLst>
            <pc:docMk/>
            <pc:sldMk cId="3626035993" sldId="2146845600"/>
            <ac:spMk id="14" creationId="{0B231318-5CA0-D38D-F3BA-976E764C5B6F}"/>
          </ac:spMkLst>
        </pc:spChg>
        <pc:spChg chg="add mod ord">
          <ac:chgData name="Puskaric, Marin" userId="08e79dfd-3277-47dc-a995-187d4d28ded4" providerId="ADAL" clId="{1C6F98B0-8683-4ED3-B559-A7BE88208E19}" dt="2025-02-25T16:10:15.063" v="400" actId="700"/>
          <ac:spMkLst>
            <pc:docMk/>
            <pc:sldMk cId="3626035993" sldId="2146845600"/>
            <ac:spMk id="15" creationId="{0EA2ADB3-D8F0-CDFE-3722-685C7D5440E6}"/>
          </ac:spMkLst>
        </pc:spChg>
      </pc:sldChg>
      <pc:sldChg chg="delSp modSp add del mod">
        <pc:chgData name="Puskaric, Marin" userId="08e79dfd-3277-47dc-a995-187d4d28ded4" providerId="ADAL" clId="{1C6F98B0-8683-4ED3-B559-A7BE88208E19}" dt="2025-02-25T16:12:37.061" v="425" actId="47"/>
        <pc:sldMkLst>
          <pc:docMk/>
          <pc:sldMk cId="604401811" sldId="2146845611"/>
        </pc:sldMkLst>
        <pc:spChg chg="del">
          <ac:chgData name="Puskaric, Marin" userId="08e79dfd-3277-47dc-a995-187d4d28ded4" providerId="ADAL" clId="{1C6F98B0-8683-4ED3-B559-A7BE88208E19}" dt="2025-02-25T16:12:28.010" v="422" actId="21"/>
          <ac:spMkLst>
            <pc:docMk/>
            <pc:sldMk cId="604401811" sldId="2146845611"/>
            <ac:spMk id="18" creationId="{92FFE981-D256-9DFC-D201-B3D78D218676}"/>
          </ac:spMkLst>
        </pc:spChg>
        <pc:spChg chg="del">
          <ac:chgData name="Puskaric, Marin" userId="08e79dfd-3277-47dc-a995-187d4d28ded4" providerId="ADAL" clId="{1C6F98B0-8683-4ED3-B559-A7BE88208E19}" dt="2025-02-25T16:12:28.010" v="422" actId="21"/>
          <ac:spMkLst>
            <pc:docMk/>
            <pc:sldMk cId="604401811" sldId="2146845611"/>
            <ac:spMk id="19" creationId="{8AC420E9-0378-6AE4-DD73-B271F9537728}"/>
          </ac:spMkLst>
        </pc:spChg>
        <pc:picChg chg="del">
          <ac:chgData name="Puskaric, Marin" userId="08e79dfd-3277-47dc-a995-187d4d28ded4" providerId="ADAL" clId="{1C6F98B0-8683-4ED3-B559-A7BE88208E19}" dt="2025-02-25T16:12:28.010" v="422" actId="21"/>
          <ac:picMkLst>
            <pc:docMk/>
            <pc:sldMk cId="604401811" sldId="2146845611"/>
            <ac:picMk id="48" creationId="{9CFF0B91-86CE-47CD-C221-0202305D1D3A}"/>
          </ac:picMkLst>
        </pc:picChg>
        <pc:cxnChg chg="mod">
          <ac:chgData name="Puskaric, Marin" userId="08e79dfd-3277-47dc-a995-187d4d28ded4" providerId="ADAL" clId="{1C6F98B0-8683-4ED3-B559-A7BE88208E19}" dt="2025-02-25T16:12:28.010" v="422" actId="21"/>
          <ac:cxnSpMkLst>
            <pc:docMk/>
            <pc:sldMk cId="604401811" sldId="2146845611"/>
            <ac:cxnSpMk id="32" creationId="{F839C8DE-B5DE-7A47-5EC0-F39F5BC95236}"/>
          </ac:cxnSpMkLst>
        </pc:cxnChg>
      </pc:sldChg>
      <pc:sldChg chg="addSp delSp modSp add mod modClrScheme chgLayout">
        <pc:chgData name="Puskaric, Marin" userId="08e79dfd-3277-47dc-a995-187d4d28ded4" providerId="ADAL" clId="{1C6F98B0-8683-4ED3-B559-A7BE88208E19}" dt="2025-02-25T20:08:07.181" v="847" actId="20577"/>
        <pc:sldMkLst>
          <pc:docMk/>
          <pc:sldMk cId="2738345679" sldId="2146845615"/>
        </pc:sldMkLst>
        <pc:spChg chg="mod ord">
          <ac:chgData name="Puskaric, Marin" userId="08e79dfd-3277-47dc-a995-187d4d28ded4" providerId="ADAL" clId="{1C6F98B0-8683-4ED3-B559-A7BE88208E19}" dt="2025-02-25T16:12:51.806" v="427" actId="700"/>
          <ac:spMkLst>
            <pc:docMk/>
            <pc:sldMk cId="2738345679" sldId="2146845615"/>
            <ac:spMk id="2" creationId="{46D7EE6B-C5C7-5551-B71C-A9AD6AEBB2EC}"/>
          </ac:spMkLst>
        </pc:spChg>
        <pc:spChg chg="del">
          <ac:chgData name="Puskaric, Marin" userId="08e79dfd-3277-47dc-a995-187d4d28ded4" providerId="ADAL" clId="{1C6F98B0-8683-4ED3-B559-A7BE88208E19}" dt="2025-02-25T16:12:55.456" v="428" actId="478"/>
          <ac:spMkLst>
            <pc:docMk/>
            <pc:sldMk cId="2738345679" sldId="2146845615"/>
            <ac:spMk id="5" creationId="{A4DBF6F3-7033-626B-08BE-F20A0B8EFCEE}"/>
          </ac:spMkLst>
        </pc:spChg>
        <pc:spChg chg="mod ord">
          <ac:chgData name="Puskaric, Marin" userId="08e79dfd-3277-47dc-a995-187d4d28ded4" providerId="ADAL" clId="{1C6F98B0-8683-4ED3-B559-A7BE88208E19}" dt="2025-02-25T20:08:07.181" v="847" actId="20577"/>
          <ac:spMkLst>
            <pc:docMk/>
            <pc:sldMk cId="2738345679" sldId="2146845615"/>
            <ac:spMk id="278" creationId="{63DEBC16-C322-A318-8DE1-B148822ED68A}"/>
          </ac:spMkLst>
        </pc:spChg>
        <pc:spChg chg="add del mod ord">
          <ac:chgData name="Puskaric, Marin" userId="08e79dfd-3277-47dc-a995-187d4d28ded4" providerId="ADAL" clId="{1C6F98B0-8683-4ED3-B559-A7BE88208E19}" dt="2025-02-25T16:10:28.798" v="402" actId="700"/>
          <ac:spMkLst>
            <pc:docMk/>
            <pc:sldMk cId="2738345679" sldId="2146845615"/>
            <ac:spMk id="279" creationId="{4E47E451-D89F-A0B1-409D-274D6FABBBE5}"/>
          </ac:spMkLst>
        </pc:spChg>
        <pc:spChg chg="add del mod ord">
          <ac:chgData name="Puskaric, Marin" userId="08e79dfd-3277-47dc-a995-187d4d28ded4" providerId="ADAL" clId="{1C6F98B0-8683-4ED3-B559-A7BE88208E19}" dt="2025-02-25T16:12:51.806" v="427" actId="700"/>
          <ac:spMkLst>
            <pc:docMk/>
            <pc:sldMk cId="2738345679" sldId="2146845615"/>
            <ac:spMk id="280" creationId="{47DEA099-9D72-2335-EF9B-B7844BF0990D}"/>
          </ac:spMkLst>
        </pc:spChg>
        <pc:spChg chg="add mod ord">
          <ac:chgData name="Puskaric, Marin" userId="08e79dfd-3277-47dc-a995-187d4d28ded4" providerId="ADAL" clId="{1C6F98B0-8683-4ED3-B559-A7BE88208E19}" dt="2025-02-25T16:13:14.082" v="434" actId="167"/>
          <ac:spMkLst>
            <pc:docMk/>
            <pc:sldMk cId="2738345679" sldId="2146845615"/>
            <ac:spMk id="281" creationId="{4E6C0C67-E66C-C42C-67AB-52BD7F1549EF}"/>
          </ac:spMkLst>
        </pc:spChg>
        <pc:picChg chg="del">
          <ac:chgData name="Puskaric, Marin" userId="08e79dfd-3277-47dc-a995-187d4d28ded4" providerId="ADAL" clId="{1C6F98B0-8683-4ED3-B559-A7BE88208E19}" dt="2025-02-25T16:12:57.389" v="429" actId="478"/>
          <ac:picMkLst>
            <pc:docMk/>
            <pc:sldMk cId="2738345679" sldId="2146845615"/>
            <ac:picMk id="4" creationId="{57C0A553-C5FA-76CB-82AA-253765FF8AE9}"/>
          </ac:picMkLst>
        </pc:picChg>
      </pc:sldChg>
      <pc:sldChg chg="modSp add mod">
        <pc:chgData name="Puskaric, Marin" userId="08e79dfd-3277-47dc-a995-187d4d28ded4" providerId="ADAL" clId="{1C6F98B0-8683-4ED3-B559-A7BE88208E19}" dt="2025-02-25T16:14:53.522" v="444" actId="20577"/>
        <pc:sldMkLst>
          <pc:docMk/>
          <pc:sldMk cId="1735713440" sldId="2147483406"/>
        </pc:sldMkLst>
        <pc:spChg chg="mod">
          <ac:chgData name="Puskaric, Marin" userId="08e79dfd-3277-47dc-a995-187d4d28ded4" providerId="ADAL" clId="{1C6F98B0-8683-4ED3-B559-A7BE88208E19}" dt="2025-02-25T16:14:53.522" v="444" actId="20577"/>
          <ac:spMkLst>
            <pc:docMk/>
            <pc:sldMk cId="1735713440" sldId="2147483406"/>
            <ac:spMk id="2" creationId="{B630796F-29F0-B093-1EE1-6CAFE491D5A4}"/>
          </ac:spMkLst>
        </pc:spChg>
      </pc:sldChg>
      <pc:sldChg chg="add del">
        <pc:chgData name="Puskaric, Marin" userId="08e79dfd-3277-47dc-a995-187d4d28ded4" providerId="ADAL" clId="{1C6F98B0-8683-4ED3-B559-A7BE88208E19}" dt="2025-02-25T16:15:22.588" v="445" actId="47"/>
        <pc:sldMkLst>
          <pc:docMk/>
          <pc:sldMk cId="1582896198" sldId="2147483408"/>
        </pc:sldMkLst>
      </pc:sldChg>
      <pc:sldChg chg="addSp delSp modSp add mod setBg">
        <pc:chgData name="Puskaric, Marin" userId="08e79dfd-3277-47dc-a995-187d4d28ded4" providerId="ADAL" clId="{1C6F98B0-8683-4ED3-B559-A7BE88208E19}" dt="2025-02-26T08:40:00.215" v="3805" actId="20577"/>
        <pc:sldMkLst>
          <pc:docMk/>
          <pc:sldMk cId="3814972613" sldId="2147483459"/>
        </pc:sldMkLst>
        <pc:spChg chg="add del mod">
          <ac:chgData name="Puskaric, Marin" userId="08e79dfd-3277-47dc-a995-187d4d28ded4" providerId="ADAL" clId="{1C6F98B0-8683-4ED3-B559-A7BE88208E19}" dt="2025-02-25T16:37:50.616" v="703" actId="21"/>
          <ac:spMkLst>
            <pc:docMk/>
            <pc:sldMk cId="3814972613" sldId="2147483459"/>
            <ac:spMk id="2" creationId="{8FA99D70-BDF4-31D6-03D4-84CE799E00D1}"/>
          </ac:spMkLst>
        </pc:spChg>
        <pc:spChg chg="add mod">
          <ac:chgData name="Puskaric, Marin" userId="08e79dfd-3277-47dc-a995-187d4d28ded4" providerId="ADAL" clId="{1C6F98B0-8683-4ED3-B559-A7BE88208E19}" dt="2025-02-26T08:40:00.215" v="3805" actId="20577"/>
          <ac:spMkLst>
            <pc:docMk/>
            <pc:sldMk cId="3814972613" sldId="2147483459"/>
            <ac:spMk id="3" creationId="{E4B3387D-DA32-9B68-C71E-647EAC091C15}"/>
          </ac:spMkLst>
        </pc:spChg>
        <pc:spChg chg="add mod">
          <ac:chgData name="Puskaric, Marin" userId="08e79dfd-3277-47dc-a995-187d4d28ded4" providerId="ADAL" clId="{1C6F98B0-8683-4ED3-B559-A7BE88208E19}" dt="2025-02-25T20:20:27.347" v="868"/>
          <ac:spMkLst>
            <pc:docMk/>
            <pc:sldMk cId="3814972613" sldId="2147483459"/>
            <ac:spMk id="10" creationId="{8FA99D70-BDF4-31D6-03D4-84CE799E00D1}"/>
          </ac:spMkLst>
        </pc:spChg>
        <pc:picChg chg="add mod">
          <ac:chgData name="Puskaric, Marin" userId="08e79dfd-3277-47dc-a995-187d4d28ded4" providerId="ADAL" clId="{1C6F98B0-8683-4ED3-B559-A7BE88208E19}" dt="2025-02-25T21:40:13.758" v="1263"/>
          <ac:picMkLst>
            <pc:docMk/>
            <pc:sldMk cId="3814972613" sldId="2147483459"/>
            <ac:picMk id="4" creationId="{C05F9A2A-0F40-B757-4489-5774CF7ED3D1}"/>
          </ac:picMkLst>
        </pc:picChg>
        <pc:picChg chg="mod">
          <ac:chgData name="Puskaric, Marin" userId="08e79dfd-3277-47dc-a995-187d4d28ded4" providerId="ADAL" clId="{1C6F98B0-8683-4ED3-B559-A7BE88208E19}" dt="2025-02-25T16:41:28.063" v="792" actId="1076"/>
          <ac:picMkLst>
            <pc:docMk/>
            <pc:sldMk cId="3814972613" sldId="2147483459"/>
            <ac:picMk id="5" creationId="{966C4589-712F-7AE4-D168-6930ED352D12}"/>
          </ac:picMkLst>
        </pc:picChg>
      </pc:sldChg>
      <pc:sldChg chg="add del mod modShow">
        <pc:chgData name="Puskaric, Marin" userId="08e79dfd-3277-47dc-a995-187d4d28ded4" providerId="ADAL" clId="{1C6F98B0-8683-4ED3-B559-A7BE88208E19}" dt="2025-02-25T16:08:07.989" v="394" actId="47"/>
        <pc:sldMkLst>
          <pc:docMk/>
          <pc:sldMk cId="449207815" sldId="2147483460"/>
        </pc:sldMkLst>
      </pc:sldChg>
      <pc:sldChg chg="del">
        <pc:chgData name="Puskaric, Marin" userId="08e79dfd-3277-47dc-a995-187d4d28ded4" providerId="ADAL" clId="{1C6F98B0-8683-4ED3-B559-A7BE88208E19}" dt="2025-02-25T14:24:57.113" v="355" actId="47"/>
        <pc:sldMkLst>
          <pc:docMk/>
          <pc:sldMk cId="3155513150" sldId="2147483616"/>
        </pc:sldMkLst>
      </pc:sldChg>
      <pc:sldChg chg="delSp add del mod">
        <pc:chgData name="Puskaric, Marin" userId="08e79dfd-3277-47dc-a995-187d4d28ded4" providerId="ADAL" clId="{1C6F98B0-8683-4ED3-B559-A7BE88208E19}" dt="2025-02-25T16:38:57.524" v="719" actId="47"/>
        <pc:sldMkLst>
          <pc:docMk/>
          <pc:sldMk cId="2445064339" sldId="2147483618"/>
        </pc:sldMkLst>
        <pc:spChg chg="del">
          <ac:chgData name="Puskaric, Marin" userId="08e79dfd-3277-47dc-a995-187d4d28ded4" providerId="ADAL" clId="{1C6F98B0-8683-4ED3-B559-A7BE88208E19}" dt="2025-02-25T16:38:52.406" v="717" actId="21"/>
          <ac:spMkLst>
            <pc:docMk/>
            <pc:sldMk cId="2445064339" sldId="2147483618"/>
            <ac:spMk id="28" creationId="{595363AF-C8F9-AD81-436A-7442F3BDBECF}"/>
          </ac:spMkLst>
        </pc:spChg>
      </pc:sldChg>
      <pc:sldChg chg="del">
        <pc:chgData name="Puskaric, Marin" userId="08e79dfd-3277-47dc-a995-187d4d28ded4" providerId="ADAL" clId="{1C6F98B0-8683-4ED3-B559-A7BE88208E19}" dt="2025-02-25T14:24:58.747" v="356" actId="47"/>
        <pc:sldMkLst>
          <pc:docMk/>
          <pc:sldMk cId="3674231585" sldId="2147483621"/>
        </pc:sldMkLst>
      </pc:sldChg>
      <pc:sldChg chg="addSp delSp modSp mod modClrScheme chgLayout">
        <pc:chgData name="Puskaric, Marin" userId="08e79dfd-3277-47dc-a995-187d4d28ded4" providerId="ADAL" clId="{1C6F98B0-8683-4ED3-B559-A7BE88208E19}" dt="2025-02-26T16:09:43.110" v="3894" actId="20577"/>
        <pc:sldMkLst>
          <pc:docMk/>
          <pc:sldMk cId="1285760149" sldId="2147483622"/>
        </pc:sldMkLst>
        <pc:spChg chg="add del mod ord">
          <ac:chgData name="Puskaric, Marin" userId="08e79dfd-3277-47dc-a995-187d4d28ded4" providerId="ADAL" clId="{1C6F98B0-8683-4ED3-B559-A7BE88208E19}" dt="2025-02-25T14:25:09.487" v="358" actId="478"/>
          <ac:spMkLst>
            <pc:docMk/>
            <pc:sldMk cId="1285760149" sldId="2147483622"/>
            <ac:spMk id="4" creationId="{A7F6871D-F559-55B9-CBD7-964EAFFBB758}"/>
          </ac:spMkLst>
        </pc:spChg>
        <pc:spChg chg="add del mod ord">
          <ac:chgData name="Puskaric, Marin" userId="08e79dfd-3277-47dc-a995-187d4d28ded4" providerId="ADAL" clId="{1C6F98B0-8683-4ED3-B559-A7BE88208E19}" dt="2025-02-25T14:25:19.131" v="359" actId="478"/>
          <ac:spMkLst>
            <pc:docMk/>
            <pc:sldMk cId="1285760149" sldId="2147483622"/>
            <ac:spMk id="5" creationId="{F814A3E9-6934-5F0C-F63D-1A94A2A56D62}"/>
          </ac:spMkLst>
        </pc:spChg>
        <pc:spChg chg="mod">
          <ac:chgData name="Puskaric, Marin" userId="08e79dfd-3277-47dc-a995-187d4d28ded4" providerId="ADAL" clId="{1C6F98B0-8683-4ED3-B559-A7BE88208E19}" dt="2025-02-26T16:09:43.110" v="3894" actId="20577"/>
          <ac:spMkLst>
            <pc:docMk/>
            <pc:sldMk cId="1285760149" sldId="2147483622"/>
            <ac:spMk id="6" creationId="{4AC1E707-6F22-54BF-50E7-48CDEA15E141}"/>
          </ac:spMkLst>
        </pc:spChg>
        <pc:spChg chg="add del mod ord">
          <ac:chgData name="Puskaric, Marin" userId="08e79dfd-3277-47dc-a995-187d4d28ded4" providerId="ADAL" clId="{1C6F98B0-8683-4ED3-B559-A7BE88208E19}" dt="2025-02-25T16:26:14.965" v="643" actId="478"/>
          <ac:spMkLst>
            <pc:docMk/>
            <pc:sldMk cId="1285760149" sldId="2147483622"/>
            <ac:spMk id="7" creationId="{D04115F5-7AD3-B63A-45B3-4ECC1395066B}"/>
          </ac:spMkLst>
        </pc:spChg>
        <pc:spChg chg="add del mod ord">
          <ac:chgData name="Puskaric, Marin" userId="08e79dfd-3277-47dc-a995-187d4d28ded4" providerId="ADAL" clId="{1C6F98B0-8683-4ED3-B559-A7BE88208E19}" dt="2025-02-25T16:26:15.751" v="644" actId="478"/>
          <ac:spMkLst>
            <pc:docMk/>
            <pc:sldMk cId="1285760149" sldId="2147483622"/>
            <ac:spMk id="8" creationId="{09DDECC4-D0AB-ECC6-EDB4-7515DB4B7BBF}"/>
          </ac:spMkLst>
        </pc:spChg>
        <pc:graphicFrameChg chg="mod modGraphic">
          <ac:chgData name="Puskaric, Marin" userId="08e79dfd-3277-47dc-a995-187d4d28ded4" providerId="ADAL" clId="{1C6F98B0-8683-4ED3-B559-A7BE88208E19}" dt="2025-02-26T08:46:22.107" v="3864" actId="20577"/>
          <ac:graphicFrameMkLst>
            <pc:docMk/>
            <pc:sldMk cId="1285760149" sldId="2147483622"/>
            <ac:graphicFrameMk id="3" creationId="{D101F369-6DF4-96AB-A394-962ACB39DB11}"/>
          </ac:graphicFrameMkLst>
        </pc:graphicFrameChg>
        <pc:picChg chg="del">
          <ac:chgData name="Puskaric, Marin" userId="08e79dfd-3277-47dc-a995-187d4d28ded4" providerId="ADAL" clId="{1C6F98B0-8683-4ED3-B559-A7BE88208E19}" dt="2025-02-25T16:26:09.682" v="641" actId="478"/>
          <ac:picMkLst>
            <pc:docMk/>
            <pc:sldMk cId="1285760149" sldId="2147483622"/>
            <ac:picMk id="9" creationId="{A62EC567-8E6B-D4D9-B970-1C9DBCB880C2}"/>
          </ac:picMkLst>
        </pc:picChg>
        <pc:picChg chg="add mod modCrop">
          <ac:chgData name="Puskaric, Marin" userId="08e79dfd-3277-47dc-a995-187d4d28ded4" providerId="ADAL" clId="{1C6F98B0-8683-4ED3-B559-A7BE88208E19}" dt="2025-02-25T16:26:45.628" v="648" actId="18131"/>
          <ac:picMkLst>
            <pc:docMk/>
            <pc:sldMk cId="1285760149" sldId="2147483622"/>
            <ac:picMk id="10" creationId="{3C447FEC-73A4-5B59-05D2-AEBA6E263D69}"/>
          </ac:picMkLst>
        </pc:picChg>
      </pc:sldChg>
      <pc:sldChg chg="addSp delSp modSp mod modClrScheme chgLayout">
        <pc:chgData name="Puskaric, Marin" userId="08e79dfd-3277-47dc-a995-187d4d28ded4" providerId="ADAL" clId="{1C6F98B0-8683-4ED3-B559-A7BE88208E19}" dt="2025-02-26T08:26:53.619" v="3335" actId="207"/>
        <pc:sldMkLst>
          <pc:docMk/>
          <pc:sldMk cId="541091817" sldId="2147483623"/>
        </pc:sldMkLst>
        <pc:spChg chg="add del mod ord">
          <ac:chgData name="Puskaric, Marin" userId="08e79dfd-3277-47dc-a995-187d4d28ded4" providerId="ADAL" clId="{1C6F98B0-8683-4ED3-B559-A7BE88208E19}" dt="2025-02-25T16:29:37.417" v="672" actId="478"/>
          <ac:spMkLst>
            <pc:docMk/>
            <pc:sldMk cId="541091817" sldId="2147483623"/>
            <ac:spMk id="2" creationId="{E7F97690-DF0A-5170-415F-F97C0A2042F1}"/>
          </ac:spMkLst>
        </pc:spChg>
        <pc:spChg chg="add del mod ord">
          <ac:chgData name="Puskaric, Marin" userId="08e79dfd-3277-47dc-a995-187d4d28ded4" providerId="ADAL" clId="{1C6F98B0-8683-4ED3-B559-A7BE88208E19}" dt="2025-02-25T16:29:45.154" v="673" actId="478"/>
          <ac:spMkLst>
            <pc:docMk/>
            <pc:sldMk cId="541091817" sldId="2147483623"/>
            <ac:spMk id="5" creationId="{25BEB76E-6B40-C9AD-97B1-F5A56E074202}"/>
          </ac:spMkLst>
        </pc:spChg>
        <pc:spChg chg="add mod">
          <ac:chgData name="Puskaric, Marin" userId="08e79dfd-3277-47dc-a995-187d4d28ded4" providerId="ADAL" clId="{1C6F98B0-8683-4ED3-B559-A7BE88208E19}" dt="2025-02-26T08:24:29.376" v="3321" actId="20577"/>
          <ac:spMkLst>
            <pc:docMk/>
            <pc:sldMk cId="541091817" sldId="2147483623"/>
            <ac:spMk id="6" creationId="{3194A65A-E019-85F7-76C2-20C5CFBBF8DD}"/>
          </ac:spMkLst>
        </pc:spChg>
        <pc:spChg chg="mod">
          <ac:chgData name="Puskaric, Marin" userId="08e79dfd-3277-47dc-a995-187d4d28ded4" providerId="ADAL" clId="{1C6F98B0-8683-4ED3-B559-A7BE88208E19}" dt="2025-02-26T08:24:15.406" v="3295" actId="20577"/>
          <ac:spMkLst>
            <pc:docMk/>
            <pc:sldMk cId="541091817" sldId="2147483623"/>
            <ac:spMk id="28" creationId="{595363AF-C8F9-AD81-436A-7442F3BDBECF}"/>
          </ac:spMkLst>
        </pc:spChg>
        <pc:graphicFrameChg chg="mod modGraphic">
          <ac:chgData name="Puskaric, Marin" userId="08e79dfd-3277-47dc-a995-187d4d28ded4" providerId="ADAL" clId="{1C6F98B0-8683-4ED3-B559-A7BE88208E19}" dt="2025-02-26T08:26:53.619" v="3335" actId="207"/>
          <ac:graphicFrameMkLst>
            <pc:docMk/>
            <pc:sldMk cId="541091817" sldId="2147483623"/>
            <ac:graphicFrameMk id="4" creationId="{6148BD1A-6B91-232E-7BE2-E1040E435D79}"/>
          </ac:graphicFrameMkLst>
        </pc:graphicFrameChg>
      </pc:sldChg>
      <pc:sldChg chg="modSp mod">
        <pc:chgData name="Puskaric, Marin" userId="08e79dfd-3277-47dc-a995-187d4d28ded4" providerId="ADAL" clId="{1C6F98B0-8683-4ED3-B559-A7BE88208E19}" dt="2025-02-25T14:30:16.140" v="376" actId="14100"/>
        <pc:sldMkLst>
          <pc:docMk/>
          <pc:sldMk cId="2669508230" sldId="2147483624"/>
        </pc:sldMkLst>
        <pc:spChg chg="mod">
          <ac:chgData name="Puskaric, Marin" userId="08e79dfd-3277-47dc-a995-187d4d28ded4" providerId="ADAL" clId="{1C6F98B0-8683-4ED3-B559-A7BE88208E19}" dt="2025-02-25T14:30:16.140" v="376" actId="14100"/>
          <ac:spMkLst>
            <pc:docMk/>
            <pc:sldMk cId="2669508230" sldId="2147483624"/>
            <ac:spMk id="6" creationId="{BF0CC1C7-28EE-336C-D009-F2F1D16E2842}"/>
          </ac:spMkLst>
        </pc:spChg>
        <pc:spChg chg="mod">
          <ac:chgData name="Puskaric, Marin" userId="08e79dfd-3277-47dc-a995-187d4d28ded4" providerId="ADAL" clId="{1C6F98B0-8683-4ED3-B559-A7BE88208E19}" dt="2025-02-25T14:29:36.669" v="372" actId="20577"/>
          <ac:spMkLst>
            <pc:docMk/>
            <pc:sldMk cId="2669508230" sldId="2147483624"/>
            <ac:spMk id="7" creationId="{053AAAE4-58E4-6A6D-30FF-612CE9C99FDF}"/>
          </ac:spMkLst>
        </pc:spChg>
        <pc:spChg chg="mod">
          <ac:chgData name="Puskaric, Marin" userId="08e79dfd-3277-47dc-a995-187d4d28ded4" providerId="ADAL" clId="{1C6F98B0-8683-4ED3-B559-A7BE88208E19}" dt="2025-02-25T14:10:01.474" v="62" actId="6549"/>
          <ac:spMkLst>
            <pc:docMk/>
            <pc:sldMk cId="2669508230" sldId="2147483624"/>
            <ac:spMk id="8" creationId="{F8158712-F302-1028-D6C1-7AF0AB8DFE29}"/>
          </ac:spMkLst>
        </pc:spChg>
        <pc:spChg chg="mod">
          <ac:chgData name="Puskaric, Marin" userId="08e79dfd-3277-47dc-a995-187d4d28ded4" providerId="ADAL" clId="{1C6F98B0-8683-4ED3-B559-A7BE88208E19}" dt="2025-02-25T14:12:12.294" v="81" actId="20577"/>
          <ac:spMkLst>
            <pc:docMk/>
            <pc:sldMk cId="2669508230" sldId="2147483624"/>
            <ac:spMk id="9" creationId="{F6FEA52F-311B-E197-72D7-45613D28BBB8}"/>
          </ac:spMkLst>
        </pc:spChg>
      </pc:sldChg>
      <pc:sldChg chg="addSp delSp modSp new mod ord modClrScheme chgLayout">
        <pc:chgData name="Puskaric, Marin" userId="08e79dfd-3277-47dc-a995-187d4d28ded4" providerId="ADAL" clId="{1C6F98B0-8683-4ED3-B559-A7BE88208E19}" dt="2025-02-26T08:40:07.959" v="3807" actId="20577"/>
        <pc:sldMkLst>
          <pc:docMk/>
          <pc:sldMk cId="2363245225" sldId="2147483625"/>
        </pc:sldMkLst>
        <pc:spChg chg="mod ord">
          <ac:chgData name="Puskaric, Marin" userId="08e79dfd-3277-47dc-a995-187d4d28ded4" providerId="ADAL" clId="{1C6F98B0-8683-4ED3-B559-A7BE88208E19}" dt="2025-02-25T16:12:11.463" v="418" actId="700"/>
          <ac:spMkLst>
            <pc:docMk/>
            <pc:sldMk cId="2363245225" sldId="2147483625"/>
            <ac:spMk id="2" creationId="{606FD153-FF10-74F2-9271-1E0F169CE258}"/>
          </ac:spMkLst>
        </pc:spChg>
        <pc:spChg chg="del mod">
          <ac:chgData name="Puskaric, Marin" userId="08e79dfd-3277-47dc-a995-187d4d28ded4" providerId="ADAL" clId="{1C6F98B0-8683-4ED3-B559-A7BE88208E19}" dt="2025-02-25T16:11:37.558" v="406" actId="700"/>
          <ac:spMkLst>
            <pc:docMk/>
            <pc:sldMk cId="2363245225" sldId="2147483625"/>
            <ac:spMk id="3" creationId="{1BAF0473-FB4A-6701-8786-8683F94E3830}"/>
          </ac:spMkLst>
        </pc:spChg>
        <pc:spChg chg="del mod">
          <ac:chgData name="Puskaric, Marin" userId="08e79dfd-3277-47dc-a995-187d4d28ded4" providerId="ADAL" clId="{1C6F98B0-8683-4ED3-B559-A7BE88208E19}" dt="2025-02-25T14:22:46.080" v="347" actId="478"/>
          <ac:spMkLst>
            <pc:docMk/>
            <pc:sldMk cId="2363245225" sldId="2147483625"/>
            <ac:spMk id="4" creationId="{6EE6EB55-B28E-90A8-63AF-E8629A7EE647}"/>
          </ac:spMkLst>
        </pc:spChg>
        <pc:spChg chg="add del mod ord">
          <ac:chgData name="Puskaric, Marin" userId="08e79dfd-3277-47dc-a995-187d4d28ded4" providerId="ADAL" clId="{1C6F98B0-8683-4ED3-B559-A7BE88208E19}" dt="2025-02-25T16:11:43.303" v="407" actId="478"/>
          <ac:spMkLst>
            <pc:docMk/>
            <pc:sldMk cId="2363245225" sldId="2147483625"/>
            <ac:spMk id="6" creationId="{6612F02C-7D20-A358-A389-A2E397318F2A}"/>
          </ac:spMkLst>
        </pc:spChg>
        <pc:spChg chg="add del mod ord">
          <ac:chgData name="Puskaric, Marin" userId="08e79dfd-3277-47dc-a995-187d4d28ded4" providerId="ADAL" clId="{1C6F98B0-8683-4ED3-B559-A7BE88208E19}" dt="2025-02-25T16:12:08.504" v="417" actId="700"/>
          <ac:spMkLst>
            <pc:docMk/>
            <pc:sldMk cId="2363245225" sldId="2147483625"/>
            <ac:spMk id="7" creationId="{2352E89C-AD8B-629F-B19A-C16B9415B5AD}"/>
          </ac:spMkLst>
        </pc:spChg>
        <pc:spChg chg="add del mod ord">
          <ac:chgData name="Puskaric, Marin" userId="08e79dfd-3277-47dc-a995-187d4d28ded4" providerId="ADAL" clId="{1C6F98B0-8683-4ED3-B559-A7BE88208E19}" dt="2025-02-25T16:12:17.723" v="420" actId="478"/>
          <ac:spMkLst>
            <pc:docMk/>
            <pc:sldMk cId="2363245225" sldId="2147483625"/>
            <ac:spMk id="8" creationId="{090EC093-96BB-A8FB-E81B-5A75A55EBEE7}"/>
          </ac:spMkLst>
        </pc:spChg>
        <pc:spChg chg="add del mod ord">
          <ac:chgData name="Puskaric, Marin" userId="08e79dfd-3277-47dc-a995-187d4d28ded4" providerId="ADAL" clId="{1C6F98B0-8683-4ED3-B559-A7BE88208E19}" dt="2025-02-25T16:12:20.215" v="421" actId="478"/>
          <ac:spMkLst>
            <pc:docMk/>
            <pc:sldMk cId="2363245225" sldId="2147483625"/>
            <ac:spMk id="9" creationId="{AF4C08F3-2DF9-AD67-0F5F-405CC57CC10E}"/>
          </ac:spMkLst>
        </pc:spChg>
        <pc:spChg chg="add del mod">
          <ac:chgData name="Puskaric, Marin" userId="08e79dfd-3277-47dc-a995-187d4d28ded4" providerId="ADAL" clId="{1C6F98B0-8683-4ED3-B559-A7BE88208E19}" dt="2025-02-25T16:37:56.283" v="707" actId="21"/>
          <ac:spMkLst>
            <pc:docMk/>
            <pc:sldMk cId="2363245225" sldId="2147483625"/>
            <ac:spMk id="10" creationId="{8FA99D70-BDF4-31D6-03D4-84CE799E00D1}"/>
          </ac:spMkLst>
        </pc:spChg>
        <pc:spChg chg="add mod">
          <ac:chgData name="Puskaric, Marin" userId="08e79dfd-3277-47dc-a995-187d4d28ded4" providerId="ADAL" clId="{1C6F98B0-8683-4ED3-B559-A7BE88208E19}" dt="2025-02-25T16:15:57.201" v="458" actId="207"/>
          <ac:spMkLst>
            <pc:docMk/>
            <pc:sldMk cId="2363245225" sldId="2147483625"/>
            <ac:spMk id="18" creationId="{92FFE981-D256-9DFC-D201-B3D78D218676}"/>
          </ac:spMkLst>
        </pc:spChg>
        <pc:spChg chg="add mod">
          <ac:chgData name="Puskaric, Marin" userId="08e79dfd-3277-47dc-a995-187d4d28ded4" providerId="ADAL" clId="{1C6F98B0-8683-4ED3-B559-A7BE88208E19}" dt="2025-02-26T08:40:07.959" v="3807" actId="20577"/>
          <ac:spMkLst>
            <pc:docMk/>
            <pc:sldMk cId="2363245225" sldId="2147483625"/>
            <ac:spMk id="19" creationId="{8AC420E9-0378-6AE4-DD73-B271F9537728}"/>
          </ac:spMkLst>
        </pc:spChg>
        <pc:picChg chg="add mod modCrop">
          <ac:chgData name="Puskaric, Marin" userId="08e79dfd-3277-47dc-a995-187d4d28ded4" providerId="ADAL" clId="{1C6F98B0-8683-4ED3-B559-A7BE88208E19}" dt="2025-02-25T16:12:07.724" v="416" actId="1076"/>
          <ac:picMkLst>
            <pc:docMk/>
            <pc:sldMk cId="2363245225" sldId="2147483625"/>
            <ac:picMk id="5" creationId="{5A8BE6B1-EF66-BB1D-AC6E-A0411AC94B26}"/>
          </ac:picMkLst>
        </pc:picChg>
        <pc:picChg chg="add mod">
          <ac:chgData name="Puskaric, Marin" userId="08e79dfd-3277-47dc-a995-187d4d28ded4" providerId="ADAL" clId="{1C6F98B0-8683-4ED3-B559-A7BE88208E19}" dt="2025-02-25T16:19:19.978" v="546" actId="1076"/>
          <ac:picMkLst>
            <pc:docMk/>
            <pc:sldMk cId="2363245225" sldId="2147483625"/>
            <ac:picMk id="48" creationId="{9CFF0B91-86CE-47CD-C221-0202305D1D3A}"/>
          </ac:picMkLst>
        </pc:picChg>
      </pc:sldChg>
      <pc:sldChg chg="modSp new mod modClrScheme chgLayout">
        <pc:chgData name="Puskaric, Marin" userId="08e79dfd-3277-47dc-a995-187d4d28ded4" providerId="ADAL" clId="{1C6F98B0-8683-4ED3-B559-A7BE88208E19}" dt="2025-02-25T16:20:11.126" v="570" actId="1076"/>
        <pc:sldMkLst>
          <pc:docMk/>
          <pc:sldMk cId="507393776" sldId="2147483626"/>
        </pc:sldMkLst>
        <pc:spChg chg="mod ord">
          <ac:chgData name="Puskaric, Marin" userId="08e79dfd-3277-47dc-a995-187d4d28ded4" providerId="ADAL" clId="{1C6F98B0-8683-4ED3-B559-A7BE88208E19}" dt="2025-02-25T16:13:46.105" v="435" actId="700"/>
          <ac:spMkLst>
            <pc:docMk/>
            <pc:sldMk cId="507393776" sldId="2147483626"/>
            <ac:spMk id="2" creationId="{8BFF8ABD-92DD-FB00-DD13-0F736B25DFA5}"/>
          </ac:spMkLst>
        </pc:spChg>
        <pc:spChg chg="mod ord">
          <ac:chgData name="Puskaric, Marin" userId="08e79dfd-3277-47dc-a995-187d4d28ded4" providerId="ADAL" clId="{1C6F98B0-8683-4ED3-B559-A7BE88208E19}" dt="2025-02-25T16:20:11.126" v="570" actId="1076"/>
          <ac:spMkLst>
            <pc:docMk/>
            <pc:sldMk cId="507393776" sldId="2147483626"/>
            <ac:spMk id="3" creationId="{707EBD6C-6AB3-122C-5FFE-B314DAA0EE1A}"/>
          </ac:spMkLst>
        </pc:spChg>
      </pc:sldChg>
      <pc:sldChg chg="modSp add mod">
        <pc:chgData name="Puskaric, Marin" userId="08e79dfd-3277-47dc-a995-187d4d28ded4" providerId="ADAL" clId="{1C6F98B0-8683-4ED3-B559-A7BE88208E19}" dt="2025-02-26T08:35:56.094" v="3652" actId="20577"/>
        <pc:sldMkLst>
          <pc:docMk/>
          <pc:sldMk cId="468922076" sldId="2147483627"/>
        </pc:sldMkLst>
        <pc:spChg chg="mod">
          <ac:chgData name="Puskaric, Marin" userId="08e79dfd-3277-47dc-a995-187d4d28ded4" providerId="ADAL" clId="{1C6F98B0-8683-4ED3-B559-A7BE88208E19}" dt="2025-02-26T08:35:56.094" v="3652" actId="20577"/>
          <ac:spMkLst>
            <pc:docMk/>
            <pc:sldMk cId="468922076" sldId="2147483627"/>
            <ac:spMk id="3" creationId="{707EBD6C-6AB3-122C-5FFE-B314DAA0EE1A}"/>
          </ac:spMkLst>
        </pc:spChg>
      </pc:sldChg>
      <pc:sldChg chg="modSp add mod">
        <pc:chgData name="Puskaric, Marin" userId="08e79dfd-3277-47dc-a995-187d4d28ded4" providerId="ADAL" clId="{1C6F98B0-8683-4ED3-B559-A7BE88208E19}" dt="2025-02-26T08:35:46.587" v="3629" actId="20577"/>
        <pc:sldMkLst>
          <pc:docMk/>
          <pc:sldMk cId="647918827" sldId="2147483628"/>
        </pc:sldMkLst>
        <pc:spChg chg="mod">
          <ac:chgData name="Puskaric, Marin" userId="08e79dfd-3277-47dc-a995-187d4d28ded4" providerId="ADAL" clId="{1C6F98B0-8683-4ED3-B559-A7BE88208E19}" dt="2025-02-26T08:35:46.587" v="3629" actId="20577"/>
          <ac:spMkLst>
            <pc:docMk/>
            <pc:sldMk cId="647918827" sldId="2147483628"/>
            <ac:spMk id="3" creationId="{707EBD6C-6AB3-122C-5FFE-B314DAA0EE1A}"/>
          </ac:spMkLst>
        </pc:spChg>
      </pc:sldChg>
      <pc:sldChg chg="addSp delSp modSp new mod modClrScheme chgLayout">
        <pc:chgData name="Puskaric, Marin" userId="08e79dfd-3277-47dc-a995-187d4d28ded4" providerId="ADAL" clId="{1C6F98B0-8683-4ED3-B559-A7BE88208E19}" dt="2025-02-25T22:01:00.533" v="1602" actId="20577"/>
        <pc:sldMkLst>
          <pc:docMk/>
          <pc:sldMk cId="1714863936" sldId="2147483629"/>
        </pc:sldMkLst>
        <pc:spChg chg="del mod ord">
          <ac:chgData name="Puskaric, Marin" userId="08e79dfd-3277-47dc-a995-187d4d28ded4" providerId="ADAL" clId="{1C6F98B0-8683-4ED3-B559-A7BE88208E19}" dt="2025-02-25T16:32:28.273" v="680" actId="700"/>
          <ac:spMkLst>
            <pc:docMk/>
            <pc:sldMk cId="1714863936" sldId="2147483629"/>
            <ac:spMk id="2" creationId="{C3B6A5B5-3164-ACB0-B5D3-9880E21411FE}"/>
          </ac:spMkLst>
        </pc:spChg>
        <pc:spChg chg="del mod ord">
          <ac:chgData name="Puskaric, Marin" userId="08e79dfd-3277-47dc-a995-187d4d28ded4" providerId="ADAL" clId="{1C6F98B0-8683-4ED3-B559-A7BE88208E19}" dt="2025-02-25T16:32:28.273" v="680" actId="700"/>
          <ac:spMkLst>
            <pc:docMk/>
            <pc:sldMk cId="1714863936" sldId="2147483629"/>
            <ac:spMk id="3" creationId="{8CED2191-FC61-8C0E-5461-3A8CD1D93E59}"/>
          </ac:spMkLst>
        </pc:spChg>
        <pc:spChg chg="add del mod ord">
          <ac:chgData name="Puskaric, Marin" userId="08e79dfd-3277-47dc-a995-187d4d28ded4" providerId="ADAL" clId="{1C6F98B0-8683-4ED3-B559-A7BE88208E19}" dt="2025-02-25T16:32:30.241" v="681" actId="478"/>
          <ac:spMkLst>
            <pc:docMk/>
            <pc:sldMk cId="1714863936" sldId="2147483629"/>
            <ac:spMk id="4" creationId="{45BB3F0D-98FC-6FCE-9DB9-53E2871FF27B}"/>
          </ac:spMkLst>
        </pc:spChg>
        <pc:spChg chg="add del mod ord">
          <ac:chgData name="Puskaric, Marin" userId="08e79dfd-3277-47dc-a995-187d4d28ded4" providerId="ADAL" clId="{1C6F98B0-8683-4ED3-B559-A7BE88208E19}" dt="2025-02-25T16:32:30.241" v="681" actId="478"/>
          <ac:spMkLst>
            <pc:docMk/>
            <pc:sldMk cId="1714863936" sldId="2147483629"/>
            <ac:spMk id="5" creationId="{C153176F-85D9-27E3-8513-0CBE55C95790}"/>
          </ac:spMkLst>
        </pc:spChg>
        <pc:spChg chg="add mod">
          <ac:chgData name="Puskaric, Marin" userId="08e79dfd-3277-47dc-a995-187d4d28ded4" providerId="ADAL" clId="{1C6F98B0-8683-4ED3-B559-A7BE88208E19}" dt="2025-02-25T16:38:34.190" v="713" actId="14100"/>
          <ac:spMkLst>
            <pc:docMk/>
            <pc:sldMk cId="1714863936" sldId="2147483629"/>
            <ac:spMk id="12" creationId="{8628647B-0BAF-8007-4FF6-8F3993A1C1D1}"/>
          </ac:spMkLst>
        </pc:spChg>
        <pc:spChg chg="add mod">
          <ac:chgData name="Puskaric, Marin" userId="08e79dfd-3277-47dc-a995-187d4d28ded4" providerId="ADAL" clId="{1C6F98B0-8683-4ED3-B559-A7BE88208E19}" dt="2025-02-25T22:01:00.533" v="1602" actId="20577"/>
          <ac:spMkLst>
            <pc:docMk/>
            <pc:sldMk cId="1714863936" sldId="2147483629"/>
            <ac:spMk id="13" creationId="{6CBF9AA8-CF11-EA55-2EFF-B4C11E07E56A}"/>
          </ac:spMkLst>
        </pc:spChg>
        <pc:spChg chg="add mod">
          <ac:chgData name="Puskaric, Marin" userId="08e79dfd-3277-47dc-a995-187d4d28ded4" providerId="ADAL" clId="{1C6F98B0-8683-4ED3-B559-A7BE88208E19}" dt="2025-02-25T16:40:27.997" v="788" actId="14100"/>
          <ac:spMkLst>
            <pc:docMk/>
            <pc:sldMk cId="1714863936" sldId="2147483629"/>
            <ac:spMk id="28" creationId="{595363AF-C8F9-AD81-436A-7442F3BDBECF}"/>
          </ac:spMkLst>
        </pc:spChg>
        <pc:picChg chg="add del mod">
          <ac:chgData name="Puskaric, Marin" userId="08e79dfd-3277-47dc-a995-187d4d28ded4" providerId="ADAL" clId="{1C6F98B0-8683-4ED3-B559-A7BE88208E19}" dt="2025-02-25T16:36:13.224" v="689" actId="478"/>
          <ac:picMkLst>
            <pc:docMk/>
            <pc:sldMk cId="1714863936" sldId="2147483629"/>
            <ac:picMk id="7" creationId="{F6F0B247-EB46-75B0-B60D-C3C819AE1BE1}"/>
          </ac:picMkLst>
        </pc:picChg>
        <pc:picChg chg="add mod">
          <ac:chgData name="Puskaric, Marin" userId="08e79dfd-3277-47dc-a995-187d4d28ded4" providerId="ADAL" clId="{1C6F98B0-8683-4ED3-B559-A7BE88208E19}" dt="2025-02-25T16:41:29.526" v="794" actId="14100"/>
          <ac:picMkLst>
            <pc:docMk/>
            <pc:sldMk cId="1714863936" sldId="2147483629"/>
            <ac:picMk id="9" creationId="{E7B596A4-1AD7-D5E9-6DE0-86EDE525EB77}"/>
          </ac:picMkLst>
        </pc:picChg>
        <pc:picChg chg="add del mod">
          <ac:chgData name="Puskaric, Marin" userId="08e79dfd-3277-47dc-a995-187d4d28ded4" providerId="ADAL" clId="{1C6F98B0-8683-4ED3-B559-A7BE88208E19}" dt="2025-02-25T16:36:09.900" v="687" actId="478"/>
          <ac:picMkLst>
            <pc:docMk/>
            <pc:sldMk cId="1714863936" sldId="2147483629"/>
            <ac:picMk id="11" creationId="{3B48657D-951C-0F37-3C92-03F2DF17F10E}"/>
          </ac:picMkLst>
        </pc:picChg>
      </pc:sldChg>
      <pc:sldChg chg="modSp add mod">
        <pc:chgData name="Puskaric, Marin" userId="08e79dfd-3277-47dc-a995-187d4d28ded4" providerId="ADAL" clId="{1C6F98B0-8683-4ED3-B559-A7BE88208E19}" dt="2025-02-25T16:39:41.205" v="748" actId="1076"/>
        <pc:sldMkLst>
          <pc:docMk/>
          <pc:sldMk cId="238282575" sldId="2147483630"/>
        </pc:sldMkLst>
        <pc:spChg chg="mod">
          <ac:chgData name="Puskaric, Marin" userId="08e79dfd-3277-47dc-a995-187d4d28ded4" providerId="ADAL" clId="{1C6F98B0-8683-4ED3-B559-A7BE88208E19}" dt="2025-02-25T16:39:41.205" v="748" actId="1076"/>
          <ac:spMkLst>
            <pc:docMk/>
            <pc:sldMk cId="238282575" sldId="2147483630"/>
            <ac:spMk id="3" creationId="{707EBD6C-6AB3-122C-5FFE-B314DAA0EE1A}"/>
          </ac:spMkLst>
        </pc:spChg>
      </pc:sldChg>
      <pc:sldChg chg="addSp delSp modSp new del mod modClrScheme chgLayout">
        <pc:chgData name="Puskaric, Marin" userId="08e79dfd-3277-47dc-a995-187d4d28ded4" providerId="ADAL" clId="{1C6F98B0-8683-4ED3-B559-A7BE88208E19}" dt="2025-02-25T16:38:42.084" v="714" actId="47"/>
        <pc:sldMkLst>
          <pc:docMk/>
          <pc:sldMk cId="3840418114" sldId="2147483630"/>
        </pc:sldMkLst>
        <pc:spChg chg="del">
          <ac:chgData name="Puskaric, Marin" userId="08e79dfd-3277-47dc-a995-187d4d28ded4" providerId="ADAL" clId="{1C6F98B0-8683-4ED3-B559-A7BE88208E19}" dt="2025-02-25T16:36:35.214" v="691" actId="700"/>
          <ac:spMkLst>
            <pc:docMk/>
            <pc:sldMk cId="3840418114" sldId="2147483630"/>
            <ac:spMk id="2" creationId="{5B2B4910-8D48-B31A-F28D-1E18D8204318}"/>
          </ac:spMkLst>
        </pc:spChg>
        <pc:spChg chg="del mod ord">
          <ac:chgData name="Puskaric, Marin" userId="08e79dfd-3277-47dc-a995-187d4d28ded4" providerId="ADAL" clId="{1C6F98B0-8683-4ED3-B559-A7BE88208E19}" dt="2025-02-25T16:36:35.214" v="691" actId="700"/>
          <ac:spMkLst>
            <pc:docMk/>
            <pc:sldMk cId="3840418114" sldId="2147483630"/>
            <ac:spMk id="3" creationId="{76A3DE65-D958-7A5C-40D3-D4C56C328293}"/>
          </ac:spMkLst>
        </pc:spChg>
        <pc:spChg chg="add del mod ord">
          <ac:chgData name="Puskaric, Marin" userId="08e79dfd-3277-47dc-a995-187d4d28ded4" providerId="ADAL" clId="{1C6F98B0-8683-4ED3-B559-A7BE88208E19}" dt="2025-02-25T16:36:37.063" v="692" actId="478"/>
          <ac:spMkLst>
            <pc:docMk/>
            <pc:sldMk cId="3840418114" sldId="2147483630"/>
            <ac:spMk id="4" creationId="{2085E39D-69A2-7BF0-E016-F94B259F542C}"/>
          </ac:spMkLst>
        </pc:spChg>
      </pc:sldChg>
      <pc:sldChg chg="modSp add mod">
        <pc:chgData name="Puskaric, Marin" userId="08e79dfd-3277-47dc-a995-187d4d28ded4" providerId="ADAL" clId="{1C6F98B0-8683-4ED3-B559-A7BE88208E19}" dt="2025-02-25T16:39:55.323" v="775" actId="1076"/>
        <pc:sldMkLst>
          <pc:docMk/>
          <pc:sldMk cId="882018866" sldId="2147483631"/>
        </pc:sldMkLst>
        <pc:spChg chg="mod">
          <ac:chgData name="Puskaric, Marin" userId="08e79dfd-3277-47dc-a995-187d4d28ded4" providerId="ADAL" clId="{1C6F98B0-8683-4ED3-B559-A7BE88208E19}" dt="2025-02-25T16:39:55.323" v="775" actId="1076"/>
          <ac:spMkLst>
            <pc:docMk/>
            <pc:sldMk cId="882018866" sldId="2147483631"/>
            <ac:spMk id="3" creationId="{707EBD6C-6AB3-122C-5FFE-B314DAA0EE1A}"/>
          </ac:spMkLst>
        </pc:spChg>
      </pc:sldChg>
      <pc:sldChg chg="addSp modSp new mod">
        <pc:chgData name="Puskaric, Marin" userId="08e79dfd-3277-47dc-a995-187d4d28ded4" providerId="ADAL" clId="{1C6F98B0-8683-4ED3-B559-A7BE88208E19}" dt="2025-02-25T20:09:02.549" v="859" actId="403"/>
        <pc:sldMkLst>
          <pc:docMk/>
          <pc:sldMk cId="2857723130" sldId="2147483632"/>
        </pc:sldMkLst>
        <pc:spChg chg="add mod">
          <ac:chgData name="Puskaric, Marin" userId="08e79dfd-3277-47dc-a995-187d4d28ded4" providerId="ADAL" clId="{1C6F98B0-8683-4ED3-B559-A7BE88208E19}" dt="2025-02-25T20:09:02.549" v="859" actId="403"/>
          <ac:spMkLst>
            <pc:docMk/>
            <pc:sldMk cId="2857723130" sldId="2147483632"/>
            <ac:spMk id="5" creationId="{28662585-6888-3F42-4107-E2E6375CB1BE}"/>
          </ac:spMkLst>
        </pc:spChg>
      </pc:sldChg>
      <pc:sldChg chg="add ord">
        <pc:chgData name="Puskaric, Marin" userId="08e79dfd-3277-47dc-a995-187d4d28ded4" providerId="ADAL" clId="{1C6F98B0-8683-4ED3-B559-A7BE88208E19}" dt="2025-02-25T20:09:08.066" v="862"/>
        <pc:sldMkLst>
          <pc:docMk/>
          <pc:sldMk cId="2409010344" sldId="2147483633"/>
        </pc:sldMkLst>
      </pc:sldChg>
      <pc:sldChg chg="addSp delSp modSp add mod">
        <pc:chgData name="Puskaric, Marin" userId="08e79dfd-3277-47dc-a995-187d4d28ded4" providerId="ADAL" clId="{1C6F98B0-8683-4ED3-B559-A7BE88208E19}" dt="2025-02-26T16:09:37.122" v="3882" actId="20577"/>
        <pc:sldMkLst>
          <pc:docMk/>
          <pc:sldMk cId="551299755" sldId="2147483634"/>
        </pc:sldMkLst>
        <pc:spChg chg="add del mod">
          <ac:chgData name="Puskaric, Marin" userId="08e79dfd-3277-47dc-a995-187d4d28ded4" providerId="ADAL" clId="{1C6F98B0-8683-4ED3-B559-A7BE88208E19}" dt="2025-02-25T22:34:43.784" v="2001"/>
          <ac:spMkLst>
            <pc:docMk/>
            <pc:sldMk cId="551299755" sldId="2147483634"/>
            <ac:spMk id="4" creationId="{C07A1515-59F4-01A7-D76B-AB3B4F771DCE}"/>
          </ac:spMkLst>
        </pc:spChg>
        <pc:spChg chg="add mod">
          <ac:chgData name="Puskaric, Marin" userId="08e79dfd-3277-47dc-a995-187d4d28ded4" providerId="ADAL" clId="{1C6F98B0-8683-4ED3-B559-A7BE88208E19}" dt="2025-02-26T08:08:14.844" v="2510" actId="20577"/>
          <ac:spMkLst>
            <pc:docMk/>
            <pc:sldMk cId="551299755" sldId="2147483634"/>
            <ac:spMk id="5" creationId="{CA71C19B-9EF5-564F-A28F-2612D657BEDC}"/>
          </ac:spMkLst>
        </pc:spChg>
        <pc:spChg chg="mod">
          <ac:chgData name="Puskaric, Marin" userId="08e79dfd-3277-47dc-a995-187d4d28ded4" providerId="ADAL" clId="{1C6F98B0-8683-4ED3-B559-A7BE88208E19}" dt="2025-02-26T16:09:37.122" v="3882" actId="20577"/>
          <ac:spMkLst>
            <pc:docMk/>
            <pc:sldMk cId="551299755" sldId="2147483634"/>
            <ac:spMk id="6" creationId="{4AC1E707-6F22-54BF-50E7-48CDEA15E141}"/>
          </ac:spMkLst>
        </pc:spChg>
        <pc:spChg chg="add del mod">
          <ac:chgData name="Puskaric, Marin" userId="08e79dfd-3277-47dc-a995-187d4d28ded4" providerId="ADAL" clId="{1C6F98B0-8683-4ED3-B559-A7BE88208E19}" dt="2025-02-25T22:35:34.808" v="2045"/>
          <ac:spMkLst>
            <pc:docMk/>
            <pc:sldMk cId="551299755" sldId="2147483634"/>
            <ac:spMk id="7" creationId="{11713091-2D58-DDC7-DEB4-C1E975B193F0}"/>
          </ac:spMkLst>
        </pc:spChg>
        <pc:spChg chg="add del mod">
          <ac:chgData name="Puskaric, Marin" userId="08e79dfd-3277-47dc-a995-187d4d28ded4" providerId="ADAL" clId="{1C6F98B0-8683-4ED3-B559-A7BE88208E19}" dt="2025-02-25T22:35:34.806" v="2043"/>
          <ac:spMkLst>
            <pc:docMk/>
            <pc:sldMk cId="551299755" sldId="2147483634"/>
            <ac:spMk id="8" creationId="{4E52B105-4735-1114-3DEB-093ED123F645}"/>
          </ac:spMkLst>
        </pc:spChg>
        <pc:spChg chg="add mod">
          <ac:chgData name="Puskaric, Marin" userId="08e79dfd-3277-47dc-a995-187d4d28ded4" providerId="ADAL" clId="{1C6F98B0-8683-4ED3-B559-A7BE88208E19}" dt="2025-02-25T22:49:34.603" v="2507" actId="113"/>
          <ac:spMkLst>
            <pc:docMk/>
            <pc:sldMk cId="551299755" sldId="2147483634"/>
            <ac:spMk id="9" creationId="{EE6DA492-7777-993A-E3C6-6907DF15206A}"/>
          </ac:spMkLst>
        </pc:spChg>
        <pc:graphicFrameChg chg="del">
          <ac:chgData name="Puskaric, Marin" userId="08e79dfd-3277-47dc-a995-187d4d28ded4" providerId="ADAL" clId="{1C6F98B0-8683-4ED3-B559-A7BE88208E19}" dt="2025-02-25T22:30:47.351" v="1982" actId="478"/>
          <ac:graphicFrameMkLst>
            <pc:docMk/>
            <pc:sldMk cId="551299755" sldId="2147483634"/>
            <ac:graphicFrameMk id="3" creationId="{D101F369-6DF4-96AB-A394-962ACB39DB11}"/>
          </ac:graphicFrameMkLst>
        </pc:graphicFrameChg>
      </pc:sldChg>
      <pc:sldChg chg="modSp new del mod">
        <pc:chgData name="Puskaric, Marin" userId="08e79dfd-3277-47dc-a995-187d4d28ded4" providerId="ADAL" clId="{1C6F98B0-8683-4ED3-B559-A7BE88208E19}" dt="2025-02-26T08:43:46.853" v="3810" actId="47"/>
        <pc:sldMkLst>
          <pc:docMk/>
          <pc:sldMk cId="2858701712" sldId="2147483635"/>
        </pc:sldMkLst>
        <pc:spChg chg="mod">
          <ac:chgData name="Puskaric, Marin" userId="08e79dfd-3277-47dc-a995-187d4d28ded4" providerId="ADAL" clId="{1C6F98B0-8683-4ED3-B559-A7BE88208E19}" dt="2025-02-26T08:39:38.230" v="3758" actId="20577"/>
          <ac:spMkLst>
            <pc:docMk/>
            <pc:sldMk cId="2858701712" sldId="2147483635"/>
            <ac:spMk id="2" creationId="{07085E81-911E-D8FF-5422-ACFC2310A88A}"/>
          </ac:spMkLst>
        </pc:spChg>
      </pc:sldChg>
      <pc:sldMasterChg chg="addSldLayout delSldLayout modSldLayout">
        <pc:chgData name="Puskaric, Marin" userId="08e79dfd-3277-47dc-a995-187d4d28ded4" providerId="ADAL" clId="{1C6F98B0-8683-4ED3-B559-A7BE88208E19}" dt="2025-02-25T16:38:57.524" v="719" actId="47"/>
        <pc:sldMasterMkLst>
          <pc:docMk/>
          <pc:sldMasterMk cId="2822831344" sldId="2147483752"/>
        </pc:sldMasterMkLst>
        <pc:sldLayoutChg chg="modSp mod">
          <pc:chgData name="Puskaric, Marin" userId="08e79dfd-3277-47dc-a995-187d4d28ded4" providerId="ADAL" clId="{1C6F98B0-8683-4ED3-B559-A7BE88208E19}" dt="2025-02-25T14:06:00.451" v="8" actId="14826"/>
          <pc:sldLayoutMkLst>
            <pc:docMk/>
            <pc:sldMasterMk cId="2822831344" sldId="2147483752"/>
            <pc:sldLayoutMk cId="1415469753" sldId="2147483761"/>
          </pc:sldLayoutMkLst>
          <pc:picChg chg="mod modCrop">
            <ac:chgData name="Puskaric, Marin" userId="08e79dfd-3277-47dc-a995-187d4d28ded4" providerId="ADAL" clId="{1C6F98B0-8683-4ED3-B559-A7BE88208E19}" dt="2025-02-25T14:06:00.451" v="8" actId="14826"/>
            <ac:picMkLst>
              <pc:docMk/>
              <pc:sldMasterMk cId="2822831344" sldId="2147483752"/>
              <pc:sldLayoutMk cId="1415469753" sldId="2147483761"/>
              <ac:picMk id="3" creationId="{CF5A8000-D2B5-4F25-989F-E6B3CDF06A79}"/>
            </ac:picMkLst>
          </pc:picChg>
        </pc:sldLayoutChg>
        <pc:sldLayoutChg chg="add del">
          <pc:chgData name="Puskaric, Marin" userId="08e79dfd-3277-47dc-a995-187d4d28ded4" providerId="ADAL" clId="{1C6F98B0-8683-4ED3-B559-A7BE88208E19}" dt="2025-02-25T16:38:57.524" v="719" actId="47"/>
          <pc:sldLayoutMkLst>
            <pc:docMk/>
            <pc:sldMasterMk cId="2822831344" sldId="2147483752"/>
            <pc:sldLayoutMk cId="4108950060" sldId="2147483804"/>
          </pc:sldLayoutMkLst>
        </pc:sldLayoutChg>
        <pc:sldLayoutChg chg="del">
          <pc:chgData name="Puskaric, Marin" userId="08e79dfd-3277-47dc-a995-187d4d28ded4" providerId="ADAL" clId="{1C6F98B0-8683-4ED3-B559-A7BE88208E19}" dt="2025-02-25T16:12:37.061" v="425" actId="47"/>
          <pc:sldLayoutMkLst>
            <pc:docMk/>
            <pc:sldMasterMk cId="2822831344" sldId="2147483752"/>
            <pc:sldLayoutMk cId="295274868" sldId="214748384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E28224-7933-47C6-8B8B-397640A33A3E}" type="datetimeFigureOut">
              <a:rPr lang="en-GB" smtClean="0"/>
              <a:t>10/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5C6360-9370-412C-944A-922C82075054}" type="slidenum">
              <a:rPr lang="en-GB" smtClean="0"/>
              <a:t>‹#›</a:t>
            </a:fld>
            <a:endParaRPr lang="en-GB"/>
          </a:p>
        </p:txBody>
      </p:sp>
    </p:spTree>
    <p:extLst>
      <p:ext uri="{BB962C8B-B14F-4D97-AF65-F5344CB8AC3E}">
        <p14:creationId xmlns:p14="http://schemas.microsoft.com/office/powerpoint/2010/main" val="1805671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8E930A-5398-49B6-87A7-9857631F53A7}" type="slidenum">
              <a:rPr lang="en-US" smtClean="0"/>
              <a:pPr/>
              <a:t>2</a:t>
            </a:fld>
            <a:endParaRPr lang="en-US"/>
          </a:p>
        </p:txBody>
      </p:sp>
    </p:spTree>
    <p:extLst>
      <p:ext uri="{BB962C8B-B14F-4D97-AF65-F5344CB8AC3E}">
        <p14:creationId xmlns:p14="http://schemas.microsoft.com/office/powerpoint/2010/main" val="266752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58E930A-5398-49B6-87A7-9857631F53A7}" type="slidenum">
              <a:rPr lang="de-CH" smtClean="0">
                <a:solidFill>
                  <a:prstClr val="black"/>
                </a:solidFill>
              </a:rPr>
              <a:pPr/>
              <a:t>5</a:t>
            </a:fld>
            <a:endParaRPr lang="de-CH">
              <a:solidFill>
                <a:prstClr val="black"/>
              </a:solidFill>
            </a:endParaRPr>
          </a:p>
        </p:txBody>
      </p:sp>
    </p:spTree>
    <p:extLst>
      <p:ext uri="{BB962C8B-B14F-4D97-AF65-F5344CB8AC3E}">
        <p14:creationId xmlns:p14="http://schemas.microsoft.com/office/powerpoint/2010/main" val="4289610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8E930A-5398-49B6-87A7-9857631F53A7}" type="slidenum">
              <a:rPr lang="de-CH" smtClean="0"/>
              <a:pPr/>
              <a:t>6</a:t>
            </a:fld>
            <a:endParaRPr lang="de-CH"/>
          </a:p>
        </p:txBody>
      </p:sp>
    </p:spTree>
    <p:extLst>
      <p:ext uri="{BB962C8B-B14F-4D97-AF65-F5344CB8AC3E}">
        <p14:creationId xmlns:p14="http://schemas.microsoft.com/office/powerpoint/2010/main" val="3129556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5C6360-9370-412C-944A-922C82075054}" type="slidenum">
              <a:rPr lang="en-GB" smtClean="0"/>
              <a:t>9</a:t>
            </a:fld>
            <a:endParaRPr lang="en-GB"/>
          </a:p>
        </p:txBody>
      </p:sp>
    </p:spTree>
    <p:extLst>
      <p:ext uri="{BB962C8B-B14F-4D97-AF65-F5344CB8AC3E}">
        <p14:creationId xmlns:p14="http://schemas.microsoft.com/office/powerpoint/2010/main" val="4178967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ea typeface="Noto Sans" panose="020B0502040504020204" pitchFamily="34"/>
                <a:cs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CH" sz="1200" b="0" i="0" u="none" strike="noStrike" kern="1200" cap="none" spc="0" normalizeH="0" baseline="0" noProof="0">
              <a:ln>
                <a:noFill/>
              </a:ln>
              <a:solidFill>
                <a:prstClr val="black"/>
              </a:solidFill>
              <a:effectLst/>
              <a:uLnTx/>
              <a:uFillTx/>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2105733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ea typeface="Noto Sans" panose="020B0502040504020204" pitchFamily="34"/>
                <a:cs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1200" b="0" i="0" u="none" strike="noStrike" kern="1200" cap="none" spc="0" normalizeH="0" baseline="0" noProof="0">
              <a:ln>
                <a:noFill/>
              </a:ln>
              <a:solidFill>
                <a:prstClr val="black"/>
              </a:solidFill>
              <a:effectLst/>
              <a:uLnTx/>
              <a:uFillTx/>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1069739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5C6360-9370-412C-944A-922C82075054}" type="slidenum">
              <a:rPr lang="en-GB" smtClean="0"/>
              <a:t>15</a:t>
            </a:fld>
            <a:endParaRPr lang="en-GB"/>
          </a:p>
        </p:txBody>
      </p:sp>
    </p:spTree>
    <p:extLst>
      <p:ext uri="{BB962C8B-B14F-4D97-AF65-F5344CB8AC3E}">
        <p14:creationId xmlns:p14="http://schemas.microsoft.com/office/powerpoint/2010/main" val="16042334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11" Type="http://schemas.openxmlformats.org/officeDocument/2006/relationships/image" Target="../media/image4.sv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tags" Target="../tags/tag6.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2.xml"/><Relationship Id="rId7" Type="http://schemas.openxmlformats.org/officeDocument/2006/relationships/image" Target="../media/image18.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19.jpeg"/><Relationship Id="rId5" Type="http://schemas.openxmlformats.org/officeDocument/2006/relationships/image" Target="../media/image14.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21.jpe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1.xml"/><Relationship Id="rId7" Type="http://schemas.openxmlformats.org/officeDocument/2006/relationships/image" Target="../media/image22.jpe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84.xml"/><Relationship Id="rId6" Type="http://schemas.openxmlformats.org/officeDocument/2006/relationships/image" Target="../media/image3.png"/><Relationship Id="rId5" Type="http://schemas.openxmlformats.org/officeDocument/2006/relationships/image" Target="../media/image2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89.xml"/><Relationship Id="rId7" Type="http://schemas.openxmlformats.org/officeDocument/2006/relationships/image" Target="../media/image30.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90.xml"/><Relationship Id="rId6" Type="http://schemas.openxmlformats.org/officeDocument/2006/relationships/image" Target="../media/image3.png"/><Relationship Id="rId5" Type="http://schemas.openxmlformats.org/officeDocument/2006/relationships/image" Target="../media/image32.png"/><Relationship Id="rId4" Type="http://schemas.openxmlformats.org/officeDocument/2006/relationships/image" Target="../media/image31.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95.xml"/><Relationship Id="rId7" Type="http://schemas.openxmlformats.org/officeDocument/2006/relationships/image" Target="../media/image3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3.png"/><Relationship Id="rId5" Type="http://schemas.openxmlformats.org/officeDocument/2006/relationships/image" Target="../media/image33.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01.xml"/><Relationship Id="rId7" Type="http://schemas.openxmlformats.org/officeDocument/2006/relationships/image" Target="../media/image33.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02.xml"/><Relationship Id="rId6" Type="http://schemas.openxmlformats.org/officeDocument/2006/relationships/image" Target="../media/image3.png"/><Relationship Id="rId5" Type="http://schemas.openxmlformats.org/officeDocument/2006/relationships/image" Target="../media/image34.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07.xml"/><Relationship Id="rId7" Type="http://schemas.openxmlformats.org/officeDocument/2006/relationships/image" Target="../media/image36.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08.xml"/><Relationship Id="rId6" Type="http://schemas.openxmlformats.org/officeDocument/2006/relationships/image" Target="../media/image3.png"/><Relationship Id="rId5" Type="http://schemas.openxmlformats.org/officeDocument/2006/relationships/image" Target="../media/image37.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13.xml"/><Relationship Id="rId7" Type="http://schemas.openxmlformats.org/officeDocument/2006/relationships/image" Target="../media/image37.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14.xml"/><Relationship Id="rId6" Type="http://schemas.openxmlformats.org/officeDocument/2006/relationships/image" Target="../media/image3.png"/><Relationship Id="rId5" Type="http://schemas.openxmlformats.org/officeDocument/2006/relationships/image" Target="../media/image39.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48.bin"/><Relationship Id="rId9"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9.xml"/><Relationship Id="rId7" Type="http://schemas.openxmlformats.org/officeDocument/2006/relationships/image" Target="../media/image41.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emf"/><Relationship Id="rId5" Type="http://schemas.openxmlformats.org/officeDocument/2006/relationships/oleObject" Target="../embeddings/oleObject49.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120.xml"/><Relationship Id="rId5" Type="http://schemas.openxmlformats.org/officeDocument/2006/relationships/image" Target="../media/image14.png"/><Relationship Id="rId4" Type="http://schemas.openxmlformats.org/officeDocument/2006/relationships/image" Target="../media/image4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6.bin"/><Relationship Id="rId5" Type="http://schemas.openxmlformats.org/officeDocument/2006/relationships/slideMaster" Target="../slideMasters/slideMaster1.xml"/><Relationship Id="rId10" Type="http://schemas.openxmlformats.org/officeDocument/2006/relationships/image" Target="../media/image4.svg"/><Relationship Id="rId4" Type="http://schemas.openxmlformats.org/officeDocument/2006/relationships/tags" Target="../tags/tag23.xml"/><Relationship Id="rId9"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9.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43.jpe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44.jpe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46.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42.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46.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42.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38.xml"/><Relationship Id="rId7" Type="http://schemas.openxmlformats.org/officeDocument/2006/relationships/oleObject" Target="../embeddings/oleObject56.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2.xml"/><Relationship Id="rId5" Type="http://schemas.openxmlformats.org/officeDocument/2006/relationships/tags" Target="../tags/tag140.xml"/><Relationship Id="rId10" Type="http://schemas.openxmlformats.org/officeDocument/2006/relationships/image" Target="../media/image47.png"/><Relationship Id="rId4" Type="http://schemas.openxmlformats.org/officeDocument/2006/relationships/tags" Target="../tags/tag139.xml"/><Relationship Id="rId9" Type="http://schemas.openxmlformats.org/officeDocument/2006/relationships/image" Target="../media/image5.jpe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43.xml"/><Relationship Id="rId7" Type="http://schemas.openxmlformats.org/officeDocument/2006/relationships/oleObject" Target="../embeddings/oleObject57.bin"/><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2.xml"/><Relationship Id="rId5" Type="http://schemas.openxmlformats.org/officeDocument/2006/relationships/tags" Target="../tags/tag145.xml"/><Relationship Id="rId10" Type="http://schemas.openxmlformats.org/officeDocument/2006/relationships/image" Target="../media/image47.png"/><Relationship Id="rId4" Type="http://schemas.openxmlformats.org/officeDocument/2006/relationships/tags" Target="../tags/tag144.xml"/><Relationship Id="rId9" Type="http://schemas.openxmlformats.org/officeDocument/2006/relationships/image" Target="../media/image48.jpe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48.xml"/><Relationship Id="rId7" Type="http://schemas.openxmlformats.org/officeDocument/2006/relationships/oleObject" Target="../embeddings/oleObject58.bin"/><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2.xml"/><Relationship Id="rId5" Type="http://schemas.openxmlformats.org/officeDocument/2006/relationships/tags" Target="../tags/tag150.xml"/><Relationship Id="rId10" Type="http://schemas.openxmlformats.org/officeDocument/2006/relationships/image" Target="../media/image47.png"/><Relationship Id="rId4" Type="http://schemas.openxmlformats.org/officeDocument/2006/relationships/tags" Target="../tags/tag149.xml"/><Relationship Id="rId9" Type="http://schemas.openxmlformats.org/officeDocument/2006/relationships/image" Target="../media/image49.jpe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53.xml"/><Relationship Id="rId7" Type="http://schemas.openxmlformats.org/officeDocument/2006/relationships/oleObject" Target="../embeddings/oleObject59.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2.xml"/><Relationship Id="rId5" Type="http://schemas.openxmlformats.org/officeDocument/2006/relationships/tags" Target="../tags/tag155.xml"/><Relationship Id="rId10" Type="http://schemas.openxmlformats.org/officeDocument/2006/relationships/image" Target="../media/image47.png"/><Relationship Id="rId4" Type="http://schemas.openxmlformats.org/officeDocument/2006/relationships/tags" Target="../tags/tag154.xml"/><Relationship Id="rId9" Type="http://schemas.openxmlformats.org/officeDocument/2006/relationships/image" Target="../media/image50.jpe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58.xml"/><Relationship Id="rId7" Type="http://schemas.openxmlformats.org/officeDocument/2006/relationships/oleObject" Target="../embeddings/oleObject60.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2.xml"/><Relationship Id="rId11" Type="http://schemas.openxmlformats.org/officeDocument/2006/relationships/image" Target="../media/image52.svg"/><Relationship Id="rId5" Type="http://schemas.openxmlformats.org/officeDocument/2006/relationships/tags" Target="../tags/tag160.xml"/><Relationship Id="rId10" Type="http://schemas.openxmlformats.org/officeDocument/2006/relationships/image" Target="../media/image3.png"/><Relationship Id="rId4" Type="http://schemas.openxmlformats.org/officeDocument/2006/relationships/tags" Target="../tags/tag159.xml"/><Relationship Id="rId9" Type="http://schemas.openxmlformats.org/officeDocument/2006/relationships/image" Target="../media/image51.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7.bin"/><Relationship Id="rId5" Type="http://schemas.openxmlformats.org/officeDocument/2006/relationships/slideMaster" Target="../slideMasters/slideMaster1.xml"/><Relationship Id="rId10" Type="http://schemas.openxmlformats.org/officeDocument/2006/relationships/image" Target="../media/image4.svg"/><Relationship Id="rId4" Type="http://schemas.openxmlformats.org/officeDocument/2006/relationships/tags" Target="../tags/tag27.xml"/><Relationship Id="rId9"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63.xml"/><Relationship Id="rId7" Type="http://schemas.openxmlformats.org/officeDocument/2006/relationships/oleObject" Target="../embeddings/oleObject61.bin"/><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Master" Target="../slideMasters/slideMaster2.xml"/><Relationship Id="rId5" Type="http://schemas.openxmlformats.org/officeDocument/2006/relationships/tags" Target="../tags/tag165.xml"/><Relationship Id="rId10" Type="http://schemas.openxmlformats.org/officeDocument/2006/relationships/image" Target="../media/image47.png"/><Relationship Id="rId4" Type="http://schemas.openxmlformats.org/officeDocument/2006/relationships/tags" Target="../tags/tag164.xml"/><Relationship Id="rId9" Type="http://schemas.openxmlformats.org/officeDocument/2006/relationships/image" Target="../media/image53.jpe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68.xml"/><Relationship Id="rId7" Type="http://schemas.openxmlformats.org/officeDocument/2006/relationships/oleObject" Target="../embeddings/oleObject62.bin"/><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Master" Target="../slideMasters/slideMaster2.xml"/><Relationship Id="rId5" Type="http://schemas.openxmlformats.org/officeDocument/2006/relationships/tags" Target="../tags/tag170.xml"/><Relationship Id="rId10" Type="http://schemas.openxmlformats.org/officeDocument/2006/relationships/image" Target="../media/image47.png"/><Relationship Id="rId4" Type="http://schemas.openxmlformats.org/officeDocument/2006/relationships/tags" Target="../tags/tag169.xml"/><Relationship Id="rId9" Type="http://schemas.openxmlformats.org/officeDocument/2006/relationships/image" Target="../media/image54.jpe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73.xml"/><Relationship Id="rId7" Type="http://schemas.openxmlformats.org/officeDocument/2006/relationships/image" Target="../media/image55.jpe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42.emf"/><Relationship Id="rId5" Type="http://schemas.openxmlformats.org/officeDocument/2006/relationships/oleObject" Target="../embeddings/oleObject63.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76.xml"/><Relationship Id="rId7" Type="http://schemas.openxmlformats.org/officeDocument/2006/relationships/image" Target="../media/image56.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42.emf"/><Relationship Id="rId5" Type="http://schemas.openxmlformats.org/officeDocument/2006/relationships/oleObject" Target="../embeddings/oleObject64.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9.xml"/><Relationship Id="rId7" Type="http://schemas.openxmlformats.org/officeDocument/2006/relationships/image" Target="../media/image57.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42.emf"/><Relationship Id="rId5" Type="http://schemas.openxmlformats.org/officeDocument/2006/relationships/oleObject" Target="../embeddings/oleObject65.bin"/><Relationship Id="rId4" Type="http://schemas.openxmlformats.org/officeDocument/2006/relationships/slideMaster" Target="../slideMasters/slideMaster2.xml"/><Relationship Id="rId9"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8.jpe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46.png"/><Relationship Id="rId5" Type="http://schemas.openxmlformats.org/officeDocument/2006/relationships/image" Target="../media/image4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84.xml"/><Relationship Id="rId7" Type="http://schemas.openxmlformats.org/officeDocument/2006/relationships/image" Target="../media/image59.jpe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42.emf"/><Relationship Id="rId5" Type="http://schemas.openxmlformats.org/officeDocument/2006/relationships/oleObject" Target="../embeddings/oleObject67.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60.jpeg"/><Relationship Id="rId5" Type="http://schemas.openxmlformats.org/officeDocument/2006/relationships/image" Target="../media/image42.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61.jpeg"/><Relationship Id="rId5" Type="http://schemas.openxmlformats.org/officeDocument/2006/relationships/image" Target="../media/image42.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62.jpeg"/><Relationship Id="rId5" Type="http://schemas.openxmlformats.org/officeDocument/2006/relationships/image" Target="../media/image42.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tags" Target="../tags/tag193.xml"/><Relationship Id="rId7" Type="http://schemas.openxmlformats.org/officeDocument/2006/relationships/image" Target="../media/image3.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42.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tags" Target="../tags/tag196.xml"/><Relationship Id="rId7" Type="http://schemas.openxmlformats.org/officeDocument/2006/relationships/image" Target="../media/image3.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42.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tags" Target="../tags/tag199.xml"/><Relationship Id="rId7" Type="http://schemas.openxmlformats.org/officeDocument/2006/relationships/image" Target="../media/image3.pn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42.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tags" Target="../tags/tag202.xml"/><Relationship Id="rId7" Type="http://schemas.openxmlformats.org/officeDocument/2006/relationships/image" Target="../media/image3.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42.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7" Type="http://schemas.openxmlformats.org/officeDocument/2006/relationships/image" Target="../media/image52.svg"/><Relationship Id="rId2" Type="http://schemas.openxmlformats.org/officeDocument/2006/relationships/slideMaster" Target="../slideMasters/slideMaster2.xml"/><Relationship Id="rId1" Type="http://schemas.openxmlformats.org/officeDocument/2006/relationships/tags" Target="../tags/tag203.xml"/><Relationship Id="rId6" Type="http://schemas.openxmlformats.org/officeDocument/2006/relationships/image" Target="../media/image3.png"/><Relationship Id="rId5" Type="http://schemas.openxmlformats.org/officeDocument/2006/relationships/image" Target="../media/image63.png"/><Relationship Id="rId4" Type="http://schemas.openxmlformats.org/officeDocument/2006/relationships/image" Target="../media/image42.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206.xml"/><Relationship Id="rId7" Type="http://schemas.openxmlformats.org/officeDocument/2006/relationships/image" Target="../media/image64.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42.emf"/><Relationship Id="rId5" Type="http://schemas.openxmlformats.org/officeDocument/2006/relationships/oleObject" Target="../embeddings/oleObject76.bin"/><Relationship Id="rId4" Type="http://schemas.openxmlformats.org/officeDocument/2006/relationships/slideMaster" Target="../slideMasters/slideMaster2.xml"/><Relationship Id="rId9" Type="http://schemas.openxmlformats.org/officeDocument/2006/relationships/image" Target="../media/image46.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209.xml"/><Relationship Id="rId7" Type="http://schemas.openxmlformats.org/officeDocument/2006/relationships/image" Target="../media/image42.emf"/><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oleObject" Target="../embeddings/oleObject77.bin"/><Relationship Id="rId5" Type="http://schemas.openxmlformats.org/officeDocument/2006/relationships/slideMaster" Target="../slideMasters/slideMaster2.xml"/><Relationship Id="rId10" Type="http://schemas.openxmlformats.org/officeDocument/2006/relationships/image" Target="../media/image46.png"/><Relationship Id="rId4" Type="http://schemas.openxmlformats.org/officeDocument/2006/relationships/tags" Target="../tags/tag210.xml"/><Relationship Id="rId9" Type="http://schemas.openxmlformats.org/officeDocument/2006/relationships/image" Target="../media/image65.png"/></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7" Type="http://schemas.openxmlformats.org/officeDocument/2006/relationships/image" Target="../media/image52.svg"/><Relationship Id="rId2" Type="http://schemas.openxmlformats.org/officeDocument/2006/relationships/slideMaster" Target="../slideMasters/slideMaster2.xml"/><Relationship Id="rId1" Type="http://schemas.openxmlformats.org/officeDocument/2006/relationships/tags" Target="../tags/tag211.xml"/><Relationship Id="rId6" Type="http://schemas.openxmlformats.org/officeDocument/2006/relationships/image" Target="../media/image3.png"/><Relationship Id="rId5" Type="http://schemas.openxmlformats.org/officeDocument/2006/relationships/image" Target="../media/image33.png"/><Relationship Id="rId4" Type="http://schemas.openxmlformats.org/officeDocument/2006/relationships/image" Target="../media/image42.emf"/></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214.xml"/><Relationship Id="rId7" Type="http://schemas.openxmlformats.org/officeDocument/2006/relationships/image" Target="../media/image33.pn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42.emf"/><Relationship Id="rId5" Type="http://schemas.openxmlformats.org/officeDocument/2006/relationships/oleObject" Target="../embeddings/oleObject79.bin"/><Relationship Id="rId4" Type="http://schemas.openxmlformats.org/officeDocument/2006/relationships/slideMaster" Target="../slideMasters/slideMaster2.xml"/><Relationship Id="rId9" Type="http://schemas.openxmlformats.org/officeDocument/2006/relationships/image" Target="../media/image46.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217.xml"/><Relationship Id="rId7" Type="http://schemas.openxmlformats.org/officeDocument/2006/relationships/image" Target="../media/image42.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80.bin"/><Relationship Id="rId5" Type="http://schemas.openxmlformats.org/officeDocument/2006/relationships/slideMaster" Target="../slideMasters/slideMaster2.xml"/><Relationship Id="rId10" Type="http://schemas.openxmlformats.org/officeDocument/2006/relationships/image" Target="../media/image46.png"/><Relationship Id="rId4" Type="http://schemas.openxmlformats.org/officeDocument/2006/relationships/tags" Target="../tags/tag218.xml"/><Relationship Id="rId9" Type="http://schemas.openxmlformats.org/officeDocument/2006/relationships/image" Target="../media/image65.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7" Type="http://schemas.openxmlformats.org/officeDocument/2006/relationships/image" Target="../media/image52.svg"/><Relationship Id="rId2" Type="http://schemas.openxmlformats.org/officeDocument/2006/relationships/slideMaster" Target="../slideMasters/slideMaster2.xml"/><Relationship Id="rId1" Type="http://schemas.openxmlformats.org/officeDocument/2006/relationships/tags" Target="../tags/tag219.xml"/><Relationship Id="rId6" Type="http://schemas.openxmlformats.org/officeDocument/2006/relationships/image" Target="../media/image3.png"/><Relationship Id="rId5" Type="http://schemas.openxmlformats.org/officeDocument/2006/relationships/image" Target="../media/image67.png"/><Relationship Id="rId4" Type="http://schemas.openxmlformats.org/officeDocument/2006/relationships/image" Target="../media/image42.emf"/></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222.xml"/><Relationship Id="rId7" Type="http://schemas.openxmlformats.org/officeDocument/2006/relationships/image" Target="../media/image35.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42.emf"/><Relationship Id="rId5" Type="http://schemas.openxmlformats.org/officeDocument/2006/relationships/oleObject" Target="../embeddings/oleObject82.bin"/><Relationship Id="rId4" Type="http://schemas.openxmlformats.org/officeDocument/2006/relationships/slideMaster" Target="../slideMasters/slideMaster2.xml"/><Relationship Id="rId9" Type="http://schemas.openxmlformats.org/officeDocument/2006/relationships/image" Target="../media/image46.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25.xml"/><Relationship Id="rId7" Type="http://schemas.openxmlformats.org/officeDocument/2006/relationships/image" Target="../media/image42.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83.bin"/><Relationship Id="rId5" Type="http://schemas.openxmlformats.org/officeDocument/2006/relationships/slideMaster" Target="../slideMasters/slideMaster2.xml"/><Relationship Id="rId10" Type="http://schemas.openxmlformats.org/officeDocument/2006/relationships/image" Target="../media/image46.png"/><Relationship Id="rId4" Type="http://schemas.openxmlformats.org/officeDocument/2006/relationships/tags" Target="../tags/tag226.xml"/><Relationship Id="rId9" Type="http://schemas.openxmlformats.org/officeDocument/2006/relationships/image" Target="../media/image65.png"/></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7" Type="http://schemas.openxmlformats.org/officeDocument/2006/relationships/image" Target="../media/image52.svg"/><Relationship Id="rId2" Type="http://schemas.openxmlformats.org/officeDocument/2006/relationships/slideMaster" Target="../slideMasters/slideMaster2.xml"/><Relationship Id="rId1" Type="http://schemas.openxmlformats.org/officeDocument/2006/relationships/tags" Target="../tags/tag227.xml"/><Relationship Id="rId6" Type="http://schemas.openxmlformats.org/officeDocument/2006/relationships/image" Target="../media/image3.png"/><Relationship Id="rId5" Type="http://schemas.openxmlformats.org/officeDocument/2006/relationships/image" Target="../media/image37.png"/><Relationship Id="rId4" Type="http://schemas.openxmlformats.org/officeDocument/2006/relationships/image" Target="../media/image42.emf"/></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230.xml"/><Relationship Id="rId7" Type="http://schemas.openxmlformats.org/officeDocument/2006/relationships/image" Target="../media/image38.pn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42.emf"/><Relationship Id="rId5" Type="http://schemas.openxmlformats.org/officeDocument/2006/relationships/oleObject" Target="../embeddings/oleObject85.bin"/><Relationship Id="rId4" Type="http://schemas.openxmlformats.org/officeDocument/2006/relationships/slideMaster" Target="../slideMasters/slideMaster2.xml"/><Relationship Id="rId9" Type="http://schemas.openxmlformats.org/officeDocument/2006/relationships/image" Target="../media/image46.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33.xml"/><Relationship Id="rId7" Type="http://schemas.openxmlformats.org/officeDocument/2006/relationships/image" Target="../media/image42.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86.bin"/><Relationship Id="rId5" Type="http://schemas.openxmlformats.org/officeDocument/2006/relationships/slideMaster" Target="../slideMasters/slideMaster2.xml"/><Relationship Id="rId10" Type="http://schemas.openxmlformats.org/officeDocument/2006/relationships/image" Target="../media/image46.png"/><Relationship Id="rId4" Type="http://schemas.openxmlformats.org/officeDocument/2006/relationships/tags" Target="../tags/tag234.xml"/><Relationship Id="rId9" Type="http://schemas.openxmlformats.org/officeDocument/2006/relationships/image" Target="../media/image6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46.png"/><Relationship Id="rId2" Type="http://schemas.openxmlformats.org/officeDocument/2006/relationships/slideMaster" Target="../slideMasters/slideMaster2.xml"/><Relationship Id="rId1" Type="http://schemas.openxmlformats.org/officeDocument/2006/relationships/tags" Target="../tags/tag235.xml"/><Relationship Id="rId6" Type="http://schemas.openxmlformats.org/officeDocument/2006/relationships/image" Target="../media/image69.emf"/><Relationship Id="rId5" Type="http://schemas.openxmlformats.org/officeDocument/2006/relationships/oleObject" Target="../embeddings/oleObject87.bin"/><Relationship Id="rId4" Type="http://schemas.microsoft.com/office/2007/relationships/hdphoto" Target="../media/hdphoto1.wdp"/></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0.bin"/><Relationship Id="rId5" Type="http://schemas.openxmlformats.org/officeDocument/2006/relationships/slideMaster" Target="../slideMasters/slideMaster1.xml"/><Relationship Id="rId10" Type="http://schemas.openxmlformats.org/officeDocument/2006/relationships/image" Target="../media/image4.svg"/><Relationship Id="rId4" Type="http://schemas.openxmlformats.org/officeDocument/2006/relationships/tags" Target="../tags/tag39.xml"/><Relationship Id="rId9"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D062C1-B6E3-4F7D-9900-C2E31A40DE36}"/>
              </a:ext>
            </a:extLst>
          </p:cNvPr>
          <p:cNvGraphicFramePr>
            <a:graphicFrameLocks noChangeAspect="1"/>
          </p:cNvGraphicFramePr>
          <p:nvPr userDrawn="1">
            <p:custDataLst>
              <p:tags r:id="rId1"/>
            </p:custDataLst>
            <p:extLst>
              <p:ext uri="{D42A27DB-BD31-4B8C-83A1-F6EECF244321}">
                <p14:modId xmlns:p14="http://schemas.microsoft.com/office/powerpoint/2010/main" val="183716759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4" name="Object 3" hidden="1">
                        <a:extLst>
                          <a:ext uri="{FF2B5EF4-FFF2-40B4-BE49-F238E27FC236}">
                            <a16:creationId xmlns:a16="http://schemas.microsoft.com/office/drawing/2014/main" id="{37D062C1-B6E3-4F7D-9900-C2E31A40DE36}"/>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10" name="Untertitel 2" hidden="1">
            <a:extLst>
              <a:ext uri="{FF2B5EF4-FFF2-40B4-BE49-F238E27FC236}">
                <a16:creationId xmlns:a16="http://schemas.microsoft.com/office/drawing/2014/main" id="{9D00D0B2-B5D5-4200-A68A-383DEA6E4350}"/>
              </a:ext>
            </a:extLst>
          </p:cNvPr>
          <p:cNvSpPr txBox="1">
            <a:spLocks/>
          </p:cNvSpPr>
          <p:nvPr userDrawn="1">
            <p:custDataLst>
              <p:tags r:id="rId2"/>
            </p:custDataLst>
          </p:nvPr>
        </p:nvSpPr>
        <p:spPr>
          <a:xfrm>
            <a:off x="1967545" y="1761970"/>
            <a:ext cx="7560071" cy="913567"/>
          </a:xfrm>
          <a:prstGeom prst="rect">
            <a:avLst/>
          </a:prstGeom>
        </p:spPr>
        <p:txBody>
          <a:bodyPr vert="horz" lIns="0" tIns="0" rIns="0" bIns="0" rtlCol="0">
            <a:noAutofit/>
          </a:bodyPr>
          <a:lstStyle>
            <a:lvl1pPr marL="0" indent="0" algn="l" defTabSz="914400" rtl="0" eaLnBrk="1" latinLnBrk="0" hangingPunct="1">
              <a:lnSpc>
                <a:spcPct val="120000"/>
              </a:lnSpc>
              <a:spcBef>
                <a:spcPct val="20000"/>
              </a:spcBef>
              <a:buFont typeface="Arial" panose="020B0604020202020204" pitchFamily="34" charset="0"/>
              <a:buNone/>
              <a:defRPr lang="en-US" sz="1798" kern="120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2pPr>
            <a:lvl3pPr marL="913577"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3pPr>
            <a:lvl4pPr marL="1370366"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4pPr>
            <a:lvl5pPr marL="1827154"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5pPr>
            <a:lvl6pPr marL="2283943"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6pPr>
            <a:lvl7pPr marL="2740731"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7pPr>
            <a:lvl8pPr marL="3197520"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8pPr>
            <a:lvl9pPr marL="3654308"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9pPr>
          </a:lstStyle>
          <a:p>
            <a:pPr rtl="0"/>
            <a:r>
              <a:rPr lang="en-US" sz="5328" b="1">
                <a:latin typeface="Noto Serif" panose="020B0502040504020204" pitchFamily="34" charset="0"/>
              </a:rPr>
              <a:t>Add a title here</a:t>
            </a:r>
          </a:p>
        </p:txBody>
      </p:sp>
      <p:pic>
        <p:nvPicPr>
          <p:cNvPr id="5" name="Picture 4">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1"/>
            <a:ext cx="12192000" cy="6858000"/>
          </a:xfrm>
          <a:prstGeom prst="rect">
            <a:avLst/>
          </a:prstGeom>
          <a:noFill/>
          <a:ln>
            <a:noFill/>
          </a:ln>
        </p:spPr>
      </p:pic>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t="9693" r="58924" b="1"/>
          <a:stretch/>
        </p:blipFill>
        <p:spPr>
          <a:xfrm>
            <a:off x="575733" y="453680"/>
            <a:ext cx="1391808" cy="463198"/>
          </a:xfrm>
          <a:prstGeom prst="rect">
            <a:avLst/>
          </a:prstGeom>
        </p:spPr>
      </p:pic>
      <p:sp>
        <p:nvSpPr>
          <p:cNvPr id="30" name="Textplatzhalter 64">
            <a:extLst>
              <a:ext uri="{FF2B5EF4-FFF2-40B4-BE49-F238E27FC236}">
                <a16:creationId xmlns:a16="http://schemas.microsoft.com/office/drawing/2014/main" id="{08D2B410-D32A-4142-B530-019547D739E0}"/>
              </a:ext>
            </a:extLst>
          </p:cNvPr>
          <p:cNvSpPr>
            <a:spLocks noGrp="1"/>
          </p:cNvSpPr>
          <p:nvPr>
            <p:ph type="body" sz="quarter" idx="11" hasCustomPrompt="1"/>
            <p:custDataLst>
              <p:tags r:id="rId3"/>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31" name="Untertitel 2">
            <a:extLst>
              <a:ext uri="{FF2B5EF4-FFF2-40B4-BE49-F238E27FC236}">
                <a16:creationId xmlns:a16="http://schemas.microsoft.com/office/drawing/2014/main" id="{5DC6FE4C-B67B-40E9-8D81-BF9ECE84BB73}"/>
              </a:ext>
            </a:extLst>
          </p:cNvPr>
          <p:cNvSpPr>
            <a:spLocks noGrp="1"/>
          </p:cNvSpPr>
          <p:nvPr>
            <p:ph type="subTitle" idx="1" hasCustomPrompt="1"/>
            <p:custDataLst>
              <p:tags r:id="rId4"/>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32" name="Title 10">
            <a:extLst>
              <a:ext uri="{FF2B5EF4-FFF2-40B4-BE49-F238E27FC236}">
                <a16:creationId xmlns:a16="http://schemas.microsoft.com/office/drawing/2014/main" id="{DF4D76CC-D265-4476-A8CD-669A53320461}"/>
              </a:ext>
            </a:extLst>
          </p:cNvPr>
          <p:cNvSpPr>
            <a:spLocks noGrp="1"/>
          </p:cNvSpPr>
          <p:nvPr>
            <p:ph type="title" hasCustomPrompt="1"/>
          </p:nvPr>
        </p:nvSpPr>
        <p:spPr>
          <a:xfrm>
            <a:off x="1967542" y="2540186"/>
            <a:ext cx="7560071" cy="1323807"/>
          </a:xfrm>
          <a:prstGeom prst="rect">
            <a:avLst/>
          </a:prstGeom>
        </p:spPr>
        <p:txBody>
          <a:bodyPr vert="horz" lIns="0" tIns="0" rIns="0" bIns="0" anchor="b"/>
          <a:lstStyle>
            <a:lvl1pPr rtl="0">
              <a:defRPr sz="4529" b="1">
                <a:solidFill>
                  <a:schemeClr val="bg1"/>
                </a:solidFill>
                <a:latin typeface="Noto Serif" panose="020B0502040504020204" pitchFamily="34" charset="0"/>
              </a:defRPr>
            </a:lvl1pPr>
          </a:lstStyle>
          <a:p>
            <a:r>
              <a:rPr lang="en-US"/>
              <a:t>Click to Edit Title</a:t>
            </a:r>
          </a:p>
        </p:txBody>
      </p:sp>
      <p:sp>
        <p:nvSpPr>
          <p:cNvPr id="33" name="Textplatzhalter 64">
            <a:extLst>
              <a:ext uri="{FF2B5EF4-FFF2-40B4-BE49-F238E27FC236}">
                <a16:creationId xmlns:a16="http://schemas.microsoft.com/office/drawing/2014/main" id="{EE8D858B-9EFB-4D73-BC25-0E441E6DC4CA}"/>
              </a:ext>
            </a:extLst>
          </p:cNvPr>
          <p:cNvSpPr>
            <a:spLocks noGrp="1"/>
          </p:cNvSpPr>
          <p:nvPr>
            <p:ph type="body" sz="quarter" idx="12" hasCustomPrompt="1"/>
            <p:custDataLst>
              <p:tags r:id="rId5"/>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Tree>
    <p:extLst>
      <p:ext uri="{BB962C8B-B14F-4D97-AF65-F5344CB8AC3E}">
        <p14:creationId xmlns:p14="http://schemas.microsoft.com/office/powerpoint/2010/main" val="177321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5B731F-061E-42CF-9748-5BE1C65BDFBC}"/>
              </a:ext>
            </a:extLst>
          </p:cNvPr>
          <p:cNvGraphicFramePr>
            <a:graphicFrameLocks noChangeAspect="1"/>
          </p:cNvGraphicFramePr>
          <p:nvPr userDrawn="1">
            <p:custDataLst>
              <p:tags r:id="rId1"/>
            </p:custDataLst>
            <p:extLst>
              <p:ext uri="{D42A27DB-BD31-4B8C-83A1-F6EECF244321}">
                <p14:modId xmlns:p14="http://schemas.microsoft.com/office/powerpoint/2010/main" val="419403209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A5B731F-061E-42CF-9748-5BE1C65BDFBC}"/>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accent2"/>
                </a:solidFill>
                <a:latin typeface="+mj-lt"/>
                <a:ea typeface="Noto Serif" panose="02020502060505020204" pitchFamily="18"/>
                <a:cs typeface="Noto Serif" panose="02020502060505020204" pitchFamily="18"/>
              </a:defRPr>
            </a:lvl1pPr>
          </a:lstStyle>
          <a:p>
            <a:r>
              <a:rPr lang="en-US"/>
              <a:t>Add a title here</a:t>
            </a:r>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2"/>
            </p:custDataLst>
          </p:nvPr>
        </p:nvSpPr>
        <p:spPr>
          <a:xfrm>
            <a:off x="579425" y="1414639"/>
            <a:ext cx="11026259" cy="1843966"/>
          </a:xfrm>
          <a:prstGeom prst="rect">
            <a:avLst/>
          </a:prstGeom>
        </p:spPr>
        <p:txBody>
          <a:bodyPr wrap="square" lIns="0" tIns="0" rIns="0" bIns="0">
            <a:spAutoFit/>
          </a:bodyPr>
          <a:lstStyle>
            <a:lvl1pPr marL="245306" indent="-245306" rtl="0">
              <a:spcBef>
                <a:spcPts val="1066"/>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80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5B731F-061E-42CF-9748-5BE1C65BDFBC}"/>
              </a:ext>
            </a:extLst>
          </p:cNvPr>
          <p:cNvGraphicFramePr>
            <a:graphicFrameLocks noChangeAspect="1"/>
          </p:cNvGraphicFramePr>
          <p:nvPr userDrawn="1">
            <p:custDataLst>
              <p:tags r:id="rId1"/>
            </p:custDataLst>
            <p:extLst>
              <p:ext uri="{D42A27DB-BD31-4B8C-83A1-F6EECF244321}">
                <p14:modId xmlns:p14="http://schemas.microsoft.com/office/powerpoint/2010/main" val="1809025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A5B731F-061E-42CF-9748-5BE1C65BDFBC}"/>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2"/>
            </p:custDataLst>
          </p:nvPr>
        </p:nvSpPr>
        <p:spPr>
          <a:xfrm>
            <a:off x="579425" y="1414639"/>
            <a:ext cx="11026259" cy="1843966"/>
          </a:xfrm>
          <a:prstGeom prst="rect">
            <a:avLst/>
          </a:prstGeom>
        </p:spPr>
        <p:txBody>
          <a:bodyPr wrap="square" lIns="0" tIns="0" rIns="0" bIns="0">
            <a:spAutoFit/>
          </a:bodyPr>
          <a:lstStyle>
            <a:lvl1pPr marL="245306" indent="-245306" rtl="0">
              <a:spcBef>
                <a:spcPts val="1066"/>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spcBef>
                <a:spcPts val="1066"/>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548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A91BFB-BAFF-46D3-9543-0213BAEBBF74}"/>
              </a:ext>
            </a:extLst>
          </p:cNvPr>
          <p:cNvGraphicFramePr>
            <a:graphicFrameLocks noChangeAspect="1"/>
          </p:cNvGraphicFramePr>
          <p:nvPr userDrawn="1">
            <p:custDataLst>
              <p:tags r:id="rId1"/>
            </p:custDataLst>
            <p:extLst>
              <p:ext uri="{D42A27DB-BD31-4B8C-83A1-F6EECF244321}">
                <p14:modId xmlns:p14="http://schemas.microsoft.com/office/powerpoint/2010/main" val="233375401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6A91BFB-BAFF-46D3-9543-0213BAEBBF74}"/>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12" name="Picture 11" descr="A football on the field&#10;&#10;Description automatically generated with medium confidence">
            <a:extLst>
              <a:ext uri="{FF2B5EF4-FFF2-40B4-BE49-F238E27FC236}">
                <a16:creationId xmlns:a16="http://schemas.microsoft.com/office/drawing/2014/main" id="{0D5F10FE-70AB-428F-9FC8-54787CA8D3C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75387" y="1404167"/>
            <a:ext cx="11616613" cy="4464219"/>
          </a:xfrm>
          <a:prstGeom prst="rect">
            <a:avLst/>
          </a:prstGeom>
        </p:spPr>
      </p:pic>
      <p:pic>
        <p:nvPicPr>
          <p:cNvPr id="6" name="Picture 2" descr="\\cooper\Projects\SIX Group - officeatwork\Projects\PowerPoint\2015\Desktriptoren\SIX Innen.png">
            <a:extLst>
              <a:ext uri="{FF2B5EF4-FFF2-40B4-BE49-F238E27FC236}">
                <a16:creationId xmlns:a16="http://schemas.microsoft.com/office/drawing/2014/main" id="{BC9AA098-1576-4BC0-B22F-E87458F8545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2">
            <a:extLst>
              <a:ext uri="{FF2B5EF4-FFF2-40B4-BE49-F238E27FC236}">
                <a16:creationId xmlns:a16="http://schemas.microsoft.com/office/drawing/2014/main" id="{AB636497-C80F-4B08-8F27-B4FA202BCBD7}"/>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E7D0D93E-1C29-4053-B48F-9C8FB1348BEC}"/>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3" name="Inhaltsplatzhalter 2">
            <a:extLst>
              <a:ext uri="{FF2B5EF4-FFF2-40B4-BE49-F238E27FC236}">
                <a16:creationId xmlns:a16="http://schemas.microsoft.com/office/drawing/2014/main" id="{004B2FCC-782D-4EFC-B1D8-22ADBC0D8A66}"/>
              </a:ext>
            </a:extLst>
          </p:cNvPr>
          <p:cNvSpPr>
            <a:spLocks noGrp="1"/>
          </p:cNvSpPr>
          <p:nvPr>
            <p:ph idx="1" hasCustomPrompt="1"/>
            <p:custDataLst>
              <p:tags r:id="rId2"/>
            </p:custDataLst>
          </p:nvPr>
        </p:nvSpPr>
        <p:spPr>
          <a:xfrm>
            <a:off x="1519225" y="2286782"/>
            <a:ext cx="5837915" cy="1475961"/>
          </a:xfrm>
          <a:prstGeom prst="rect">
            <a:avLst/>
          </a:prstGeom>
        </p:spPr>
        <p:txBody>
          <a:bodyPr wrap="square" lIns="0" tIns="0" rIns="0" bIns="0">
            <a:spAutoFit/>
          </a:bodyPr>
          <a:lstStyle>
            <a:lvl1pPr marL="245306" indent="-245306" rtl="0">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19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B9F12D-68EC-49B7-BEE6-FB2DE92D9508}"/>
              </a:ext>
            </a:extLst>
          </p:cNvPr>
          <p:cNvGraphicFramePr>
            <a:graphicFrameLocks noChangeAspect="1"/>
          </p:cNvGraphicFramePr>
          <p:nvPr userDrawn="1">
            <p:custDataLst>
              <p:tags r:id="rId1"/>
            </p:custDataLst>
            <p:extLst>
              <p:ext uri="{D42A27DB-BD31-4B8C-83A1-F6EECF244321}">
                <p14:modId xmlns:p14="http://schemas.microsoft.com/office/powerpoint/2010/main" val="246962245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88B9F12D-68EC-49B7-BEE6-FB2DE92D9508}"/>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3" name="Picture 2" descr="Two people standing outside&#10;&#10;Description automatically generated with low confidence">
            <a:extLst>
              <a:ext uri="{FF2B5EF4-FFF2-40B4-BE49-F238E27FC236}">
                <a16:creationId xmlns:a16="http://schemas.microsoft.com/office/drawing/2014/main" id="{DB07D7AA-275C-40E4-8FF1-F28CE02E8F7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3839"/>
          <a:stretch/>
        </p:blipFill>
        <p:spPr>
          <a:xfrm>
            <a:off x="6911413" y="1404167"/>
            <a:ext cx="5280587" cy="4610064"/>
          </a:xfrm>
          <a:prstGeom prst="rect">
            <a:avLst/>
          </a:prstGeom>
        </p:spPr>
      </p:pic>
      <p:pic>
        <p:nvPicPr>
          <p:cNvPr id="6" name="Picture 2" descr="\\cooper\Projects\SIX Group - officeatwork\Projects\PowerPoint\2015\Desktriptoren\SIX Innen.png">
            <a:extLst>
              <a:ext uri="{FF2B5EF4-FFF2-40B4-BE49-F238E27FC236}">
                <a16:creationId xmlns:a16="http://schemas.microsoft.com/office/drawing/2014/main" id="{4FA2CC72-FC42-4769-8B9C-41E45D14E88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87B191A9-0C28-4E1F-AD3F-4F558E37F789}"/>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832EE649-6953-4536-82E6-B381C40A71C6}"/>
              </a:ext>
            </a:extLst>
          </p:cNvPr>
          <p:cNvSpPr>
            <a:spLocks noGrp="1"/>
          </p:cNvSpPr>
          <p:nvPr>
            <p:ph type="title" hasCustomPrompt="1"/>
          </p:nvPr>
        </p:nvSpPr>
        <p:spPr>
          <a:xfrm>
            <a:off x="575387" y="465976"/>
            <a:ext cx="11041227"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FF464E98-DEC9-4CB2-8A89-9DA9F56F1C6A}"/>
              </a:ext>
            </a:extLst>
          </p:cNvPr>
          <p:cNvSpPr>
            <a:spLocks noGrp="1"/>
          </p:cNvSpPr>
          <p:nvPr>
            <p:ph idx="1" hasCustomPrompt="1"/>
            <p:custDataLst>
              <p:tags r:id="rId2"/>
            </p:custDataLst>
          </p:nvPr>
        </p:nvSpPr>
        <p:spPr>
          <a:xfrm>
            <a:off x="579425" y="1414639"/>
            <a:ext cx="5837915" cy="1475961"/>
          </a:xfrm>
          <a:prstGeom prst="rect">
            <a:avLst/>
          </a:prstGeom>
        </p:spPr>
        <p:txBody>
          <a:bodyPr wrap="square" lIns="0" tIns="0" rIns="0" bIns="0">
            <a:spAutoFit/>
          </a:bodyPr>
          <a:lstStyle>
            <a:lvl1pPr marL="245306" indent="-245306" rtl="0">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234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26A156-1141-4B6E-9C2C-5E33516F815C}"/>
              </a:ext>
            </a:extLst>
          </p:cNvPr>
          <p:cNvGraphicFramePr>
            <a:graphicFrameLocks noChangeAspect="1"/>
          </p:cNvGraphicFramePr>
          <p:nvPr userDrawn="1">
            <p:custDataLst>
              <p:tags r:id="rId1"/>
            </p:custDataLst>
            <p:extLst>
              <p:ext uri="{D42A27DB-BD31-4B8C-83A1-F6EECF244321}">
                <p14:modId xmlns:p14="http://schemas.microsoft.com/office/powerpoint/2010/main" val="196724442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926A156-1141-4B6E-9C2C-5E33516F815C}"/>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3" name="Picture 2" descr="A picture containing indoor, electronics, circuit&#10;&#10;Description automatically generated">
            <a:extLst>
              <a:ext uri="{FF2B5EF4-FFF2-40B4-BE49-F238E27FC236}">
                <a16:creationId xmlns:a16="http://schemas.microsoft.com/office/drawing/2014/main" id="{F08AE6B7-5371-42FF-9DF8-1FB542110A7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208571" y="1"/>
            <a:ext cx="3983429" cy="6858000"/>
          </a:xfrm>
          <a:prstGeom prst="rect">
            <a:avLst/>
          </a:prstGeom>
        </p:spPr>
      </p:pic>
      <p:pic>
        <p:nvPicPr>
          <p:cNvPr id="7" name="Graphic 6">
            <a:extLst>
              <a:ext uri="{FF2B5EF4-FFF2-40B4-BE49-F238E27FC236}">
                <a16:creationId xmlns:a16="http://schemas.microsoft.com/office/drawing/2014/main" id="{BAD5A428-574C-46B2-89E2-58743C22E7E0}"/>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8" name="Slide Number Placeholder 2">
            <a:extLst>
              <a:ext uri="{FF2B5EF4-FFF2-40B4-BE49-F238E27FC236}">
                <a16:creationId xmlns:a16="http://schemas.microsoft.com/office/drawing/2014/main" id="{183EFD45-8BCA-4EF4-8E56-1B278899E8A4}"/>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itle 1">
            <a:extLst>
              <a:ext uri="{FF2B5EF4-FFF2-40B4-BE49-F238E27FC236}">
                <a16:creationId xmlns:a16="http://schemas.microsoft.com/office/drawing/2014/main" id="{1EFB29F3-9EB5-4577-AABE-785C8D70BED7}"/>
              </a:ext>
            </a:extLst>
          </p:cNvPr>
          <p:cNvSpPr>
            <a:spLocks noGrp="1"/>
          </p:cNvSpPr>
          <p:nvPr>
            <p:ph type="title" hasCustomPrompt="1"/>
          </p:nvPr>
        </p:nvSpPr>
        <p:spPr>
          <a:xfrm>
            <a:off x="575388" y="465976"/>
            <a:ext cx="7440955"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B3B7ED3A-E6F8-4001-93FE-3456C6230048}"/>
              </a:ext>
            </a:extLst>
          </p:cNvPr>
          <p:cNvSpPr>
            <a:spLocks noGrp="1"/>
          </p:cNvSpPr>
          <p:nvPr>
            <p:ph idx="1" hasCustomPrompt="1"/>
            <p:custDataLst>
              <p:tags r:id="rId2"/>
            </p:custDataLst>
          </p:nvPr>
        </p:nvSpPr>
        <p:spPr>
          <a:xfrm>
            <a:off x="579426" y="1414640"/>
            <a:ext cx="7436917"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3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26A156-1141-4B6E-9C2C-5E33516F815C}"/>
              </a:ext>
            </a:extLst>
          </p:cNvPr>
          <p:cNvGraphicFramePr>
            <a:graphicFrameLocks noChangeAspect="1"/>
          </p:cNvGraphicFramePr>
          <p:nvPr userDrawn="1">
            <p:custDataLst>
              <p:tags r:id="rId1"/>
            </p:custDataLst>
            <p:extLst>
              <p:ext uri="{D42A27DB-BD31-4B8C-83A1-F6EECF244321}">
                <p14:modId xmlns:p14="http://schemas.microsoft.com/office/powerpoint/2010/main" val="351313241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926A156-1141-4B6E-9C2C-5E33516F815C}"/>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3" name="Picture 2" descr="A picture containing sky, outdoor, building, ride&#10;&#10;Description automatically generated">
            <a:extLst>
              <a:ext uri="{FF2B5EF4-FFF2-40B4-BE49-F238E27FC236}">
                <a16:creationId xmlns:a16="http://schemas.microsoft.com/office/drawing/2014/main" id="{612F7CB2-1E85-463E-9207-E0E89A056C3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1403718"/>
            <a:ext cx="9239000" cy="2735359"/>
          </a:xfrm>
          <a:prstGeom prst="rect">
            <a:avLst/>
          </a:prstGeom>
        </p:spPr>
      </p:pic>
      <p:sp>
        <p:nvSpPr>
          <p:cNvPr id="8" name="Slide Number Placeholder 2">
            <a:extLst>
              <a:ext uri="{FF2B5EF4-FFF2-40B4-BE49-F238E27FC236}">
                <a16:creationId xmlns:a16="http://schemas.microsoft.com/office/drawing/2014/main" id="{183EFD45-8BCA-4EF4-8E56-1B278899E8A4}"/>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itle 1">
            <a:extLst>
              <a:ext uri="{FF2B5EF4-FFF2-40B4-BE49-F238E27FC236}">
                <a16:creationId xmlns:a16="http://schemas.microsoft.com/office/drawing/2014/main" id="{1EFB29F3-9EB5-4577-AABE-785C8D70BED7}"/>
              </a:ext>
            </a:extLst>
          </p:cNvPr>
          <p:cNvSpPr>
            <a:spLocks noGrp="1"/>
          </p:cNvSpPr>
          <p:nvPr>
            <p:ph type="title" hasCustomPrompt="1"/>
          </p:nvPr>
        </p:nvSpPr>
        <p:spPr>
          <a:xfrm>
            <a:off x="575388" y="465976"/>
            <a:ext cx="7440955"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B3B7ED3A-E6F8-4001-93FE-3456C6230048}"/>
              </a:ext>
            </a:extLst>
          </p:cNvPr>
          <p:cNvSpPr>
            <a:spLocks noGrp="1"/>
          </p:cNvSpPr>
          <p:nvPr>
            <p:ph idx="1" hasCustomPrompt="1"/>
            <p:custDataLst>
              <p:tags r:id="rId2"/>
            </p:custDataLst>
          </p:nvPr>
        </p:nvSpPr>
        <p:spPr>
          <a:xfrm>
            <a:off x="579426" y="1886762"/>
            <a:ext cx="7436917"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10" name="Picture 2" descr="\\cooper\Projects\SIX Group - officeatwork\Projects\PowerPoint\2015\Desktriptoren\SIX Innen.png">
            <a:extLst>
              <a:ext uri="{FF2B5EF4-FFF2-40B4-BE49-F238E27FC236}">
                <a16:creationId xmlns:a16="http://schemas.microsoft.com/office/drawing/2014/main" id="{DDD7352A-6F39-42B4-AF08-22C92265A53F}"/>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1" name="Inhaltsplatzhalter 2">
            <a:extLst>
              <a:ext uri="{FF2B5EF4-FFF2-40B4-BE49-F238E27FC236}">
                <a16:creationId xmlns:a16="http://schemas.microsoft.com/office/drawing/2014/main" id="{8EDC3F17-AA7E-4449-88DE-74A364C74C3B}"/>
              </a:ext>
            </a:extLst>
          </p:cNvPr>
          <p:cNvSpPr>
            <a:spLocks noGrp="1"/>
          </p:cNvSpPr>
          <p:nvPr>
            <p:ph idx="11" hasCustomPrompt="1"/>
            <p:custDataLst>
              <p:tags r:id="rId3"/>
            </p:custDataLst>
          </p:nvPr>
        </p:nvSpPr>
        <p:spPr>
          <a:xfrm>
            <a:off x="567268" y="4511308"/>
            <a:ext cx="11038417" cy="942975"/>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p:txBody>
      </p:sp>
    </p:spTree>
    <p:extLst>
      <p:ext uri="{BB962C8B-B14F-4D97-AF65-F5344CB8AC3E}">
        <p14:creationId xmlns:p14="http://schemas.microsoft.com/office/powerpoint/2010/main" val="151916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5">
    <p:bg>
      <p:bgPr>
        <a:solidFill>
          <a:schemeClr val="accent3">
            <a:lumMod val="60000"/>
            <a:lumOff val="4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7DC2E2F-B44C-4A9E-B5AF-07F8E4901167}"/>
              </a:ext>
            </a:extLst>
          </p:cNvPr>
          <p:cNvGraphicFramePr>
            <a:graphicFrameLocks noChangeAspect="1"/>
          </p:cNvGraphicFramePr>
          <p:nvPr userDrawn="1">
            <p:custDataLst>
              <p:tags r:id="rId1"/>
            </p:custDataLst>
            <p:extLst>
              <p:ext uri="{D42A27DB-BD31-4B8C-83A1-F6EECF244321}">
                <p14:modId xmlns:p14="http://schemas.microsoft.com/office/powerpoint/2010/main" val="139794741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47DC2E2F-B44C-4A9E-B5AF-07F8E4901167}"/>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46235A-34E7-46E4-88E0-0C5E51C6F98C}"/>
              </a:ext>
            </a:extLst>
          </p:cNvPr>
          <p:cNvSpPr>
            <a:spLocks noGrp="1"/>
          </p:cNvSpPr>
          <p:nvPr>
            <p:ph type="title" hasCustomPrompt="1"/>
          </p:nvPr>
        </p:nvSpPr>
        <p:spPr>
          <a:xfrm>
            <a:off x="4819091" y="2366847"/>
            <a:ext cx="6786595" cy="1529389"/>
          </a:xfrm>
          <a:prstGeom prst="rect">
            <a:avLst/>
          </a:prstGeom>
        </p:spPr>
        <p:txBody>
          <a:bodyPr vert="horz" lIns="0" tIns="0" rIns="0" bIns="0" anchor="ctr">
            <a:noAutofit/>
          </a:bodyPr>
          <a:lstStyle>
            <a:lvl1pPr rtl="0">
              <a:defRPr sz="4796" b="0">
                <a:solidFill>
                  <a:schemeClr val="accent2"/>
                </a:solidFill>
                <a:latin typeface="Noto Sans" panose="020B0502040504020204" pitchFamily="34"/>
                <a:ea typeface="Noto Sans" panose="020B0502040504020204" pitchFamily="34"/>
                <a:cs typeface="Noto Sans" panose="020B0502040504020204" pitchFamily="34"/>
              </a:defRPr>
            </a:lvl1pPr>
          </a:lstStyle>
          <a:p>
            <a:r>
              <a:rPr lang="en-US"/>
              <a:t>Is it time for a break? </a:t>
            </a:r>
            <a:br>
              <a:rPr lang="en-US"/>
            </a:br>
            <a:r>
              <a:rPr lang="en-US"/>
              <a:t>(Say it here.)</a:t>
            </a:r>
          </a:p>
        </p:txBody>
      </p:sp>
      <p:pic>
        <p:nvPicPr>
          <p:cNvPr id="8" name="Picture 2" descr="\\cooper\Projects\SIX Group - officeatwork\Projects\PowerPoint\2015\Desktriptoren\SIX Innen.png">
            <a:extLst>
              <a:ext uri="{FF2B5EF4-FFF2-40B4-BE49-F238E27FC236}">
                <a16:creationId xmlns:a16="http://schemas.microsoft.com/office/drawing/2014/main" id="{52762B27-2B74-4E13-9493-BDA4E28F7B8F}"/>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2">
            <a:extLst>
              <a:ext uri="{FF2B5EF4-FFF2-40B4-BE49-F238E27FC236}">
                <a16:creationId xmlns:a16="http://schemas.microsoft.com/office/drawing/2014/main" id="{9CAEB632-F70C-433F-A5D9-DDC839BFB2B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pic>
        <p:nvPicPr>
          <p:cNvPr id="4" name="Picture 3" descr="A cup of coffee on a saucer&#10;&#10;Description automatically generated with medium confidence">
            <a:extLst>
              <a:ext uri="{FF2B5EF4-FFF2-40B4-BE49-F238E27FC236}">
                <a16:creationId xmlns:a16="http://schemas.microsoft.com/office/drawing/2014/main" id="{46A04E03-D1DE-4714-8C89-2B943B0FDB06}"/>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 y="553372"/>
            <a:ext cx="4257524" cy="5466522"/>
          </a:xfrm>
          <a:prstGeom prst="rect">
            <a:avLst/>
          </a:prstGeom>
        </p:spPr>
      </p:pic>
    </p:spTree>
    <p:extLst>
      <p:ext uri="{BB962C8B-B14F-4D97-AF65-F5344CB8AC3E}">
        <p14:creationId xmlns:p14="http://schemas.microsoft.com/office/powerpoint/2010/main" val="38445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6">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F96412-3A1D-4983-A634-BDDCCF535FEE}"/>
              </a:ext>
            </a:extLst>
          </p:cNvPr>
          <p:cNvGraphicFramePr>
            <a:graphicFrameLocks noChangeAspect="1"/>
          </p:cNvGraphicFramePr>
          <p:nvPr userDrawn="1">
            <p:custDataLst>
              <p:tags r:id="rId1"/>
            </p:custDataLst>
            <p:extLst>
              <p:ext uri="{D42A27DB-BD31-4B8C-83A1-F6EECF244321}">
                <p14:modId xmlns:p14="http://schemas.microsoft.com/office/powerpoint/2010/main" val="1447265966"/>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7F96412-3A1D-4983-A634-BDDCCF535FEE}"/>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3" name="Picture 2" descr="Two people riding bicycles&#10;&#10;Description automatically generated with medium confidence">
            <a:extLst>
              <a:ext uri="{FF2B5EF4-FFF2-40B4-BE49-F238E27FC236}">
                <a16:creationId xmlns:a16="http://schemas.microsoft.com/office/drawing/2014/main" id="{331B5867-DC6B-4FD3-9049-FFCA7CE234A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463123"/>
            <a:ext cx="4791385" cy="5551535"/>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F9B198D5-920F-41B2-9DBF-01471ABEE03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A30D665A-392D-4C67-9CA0-FF26C4D11EE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95471447-5880-44EC-AF49-6587697137EB}"/>
              </a:ext>
            </a:extLst>
          </p:cNvPr>
          <p:cNvSpPr>
            <a:spLocks noGrp="1"/>
          </p:cNvSpPr>
          <p:nvPr>
            <p:ph type="title" hasCustomPrompt="1"/>
          </p:nvPr>
        </p:nvSpPr>
        <p:spPr>
          <a:xfrm>
            <a:off x="5139599" y="465976"/>
            <a:ext cx="6466085"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3816AE23-A0F4-4AAE-AF5B-377660FFA7E4}"/>
              </a:ext>
            </a:extLst>
          </p:cNvPr>
          <p:cNvSpPr>
            <a:spLocks noGrp="1"/>
          </p:cNvSpPr>
          <p:nvPr>
            <p:ph idx="1" hasCustomPrompt="1"/>
            <p:custDataLst>
              <p:tags r:id="rId2"/>
            </p:custDataLst>
          </p:nvPr>
        </p:nvSpPr>
        <p:spPr>
          <a:xfrm>
            <a:off x="5139599" y="1414640"/>
            <a:ext cx="6466085"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53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7">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F96412-3A1D-4983-A634-BDDCCF535FEE}"/>
              </a:ext>
            </a:extLst>
          </p:cNvPr>
          <p:cNvGraphicFramePr>
            <a:graphicFrameLocks noChangeAspect="1"/>
          </p:cNvGraphicFramePr>
          <p:nvPr userDrawn="1">
            <p:custDataLst>
              <p:tags r:id="rId1"/>
            </p:custDataLst>
            <p:extLst>
              <p:ext uri="{D42A27DB-BD31-4B8C-83A1-F6EECF244321}">
                <p14:modId xmlns:p14="http://schemas.microsoft.com/office/powerpoint/2010/main" val="287712096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67F96412-3A1D-4983-A634-BDDCCF535FE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3" name="Picture 2" descr="A picture containing text&#10;&#10;Description automatically generated">
            <a:extLst>
              <a:ext uri="{FF2B5EF4-FFF2-40B4-BE49-F238E27FC236}">
                <a16:creationId xmlns:a16="http://schemas.microsoft.com/office/drawing/2014/main" id="{37C88185-027D-4D9A-A338-3A12EFCD4C5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3427212"/>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F9B198D5-920F-41B2-9DBF-01471ABEE03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A30D665A-392D-4C67-9CA0-FF26C4D11EE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95471447-5880-44EC-AF49-6587697137EB}"/>
              </a:ext>
            </a:extLst>
          </p:cNvPr>
          <p:cNvSpPr>
            <a:spLocks noGrp="1"/>
          </p:cNvSpPr>
          <p:nvPr>
            <p:ph type="title" hasCustomPrompt="1"/>
          </p:nvPr>
        </p:nvSpPr>
        <p:spPr>
          <a:xfrm>
            <a:off x="575734" y="465976"/>
            <a:ext cx="11029951" cy="409990"/>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3816AE23-A0F4-4AAE-AF5B-377660FFA7E4}"/>
              </a:ext>
            </a:extLst>
          </p:cNvPr>
          <p:cNvSpPr>
            <a:spLocks noGrp="1"/>
          </p:cNvSpPr>
          <p:nvPr>
            <p:ph idx="1" hasCustomPrompt="1"/>
            <p:custDataLst>
              <p:tags r:id="rId2"/>
            </p:custDataLst>
          </p:nvPr>
        </p:nvSpPr>
        <p:spPr>
          <a:xfrm>
            <a:off x="567268" y="1414640"/>
            <a:ext cx="11038417" cy="1689154"/>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Inhaltsplatzhalter 2">
            <a:extLst>
              <a:ext uri="{FF2B5EF4-FFF2-40B4-BE49-F238E27FC236}">
                <a16:creationId xmlns:a16="http://schemas.microsoft.com/office/drawing/2014/main" id="{AA9B2CC5-9BD2-4DCF-BB49-67167AA14A49}"/>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59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8">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F96412-3A1D-4983-A634-BDDCCF535FEE}"/>
              </a:ext>
            </a:extLst>
          </p:cNvPr>
          <p:cNvGraphicFramePr>
            <a:graphicFrameLocks noChangeAspect="1"/>
          </p:cNvGraphicFramePr>
          <p:nvPr userDrawn="1">
            <p:custDataLst>
              <p:tags r:id="rId1"/>
            </p:custDataLst>
            <p:extLst>
              <p:ext uri="{D42A27DB-BD31-4B8C-83A1-F6EECF244321}">
                <p14:modId xmlns:p14="http://schemas.microsoft.com/office/powerpoint/2010/main" val="48164421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67F96412-3A1D-4983-A634-BDDCCF535FE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3" name="Picture 2" descr="A picture containing text&#10;&#10;Description automatically generated">
            <a:extLst>
              <a:ext uri="{FF2B5EF4-FFF2-40B4-BE49-F238E27FC236}">
                <a16:creationId xmlns:a16="http://schemas.microsoft.com/office/drawing/2014/main" id="{F2783EEE-7419-4280-B61C-C9B87BE8D90E}"/>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3430789"/>
            <a:ext cx="12192000" cy="3427212"/>
          </a:xfrm>
          <a:prstGeom prst="rect">
            <a:avLst/>
          </a:prstGeom>
        </p:spPr>
      </p:pic>
      <p:sp>
        <p:nvSpPr>
          <p:cNvPr id="9" name="Slide Number Placeholder 2">
            <a:extLst>
              <a:ext uri="{FF2B5EF4-FFF2-40B4-BE49-F238E27FC236}">
                <a16:creationId xmlns:a16="http://schemas.microsoft.com/office/drawing/2014/main" id="{A30D665A-392D-4C67-9CA0-FF26C4D11EE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95471447-5880-44EC-AF49-6587697137EB}"/>
              </a:ext>
            </a:extLst>
          </p:cNvPr>
          <p:cNvSpPr>
            <a:spLocks noGrp="1"/>
          </p:cNvSpPr>
          <p:nvPr>
            <p:ph type="title" hasCustomPrompt="1"/>
          </p:nvPr>
        </p:nvSpPr>
        <p:spPr>
          <a:xfrm>
            <a:off x="575734" y="465976"/>
            <a:ext cx="11029951"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3816AE23-A0F4-4AAE-AF5B-377660FFA7E4}"/>
              </a:ext>
            </a:extLst>
          </p:cNvPr>
          <p:cNvSpPr>
            <a:spLocks noGrp="1"/>
          </p:cNvSpPr>
          <p:nvPr>
            <p:ph idx="1" hasCustomPrompt="1"/>
            <p:custDataLst>
              <p:tags r:id="rId2"/>
            </p:custDataLst>
          </p:nvPr>
        </p:nvSpPr>
        <p:spPr>
          <a:xfrm>
            <a:off x="567268" y="1414640"/>
            <a:ext cx="11038417" cy="1689154"/>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Inhaltsplatzhalter 2">
            <a:extLst>
              <a:ext uri="{FF2B5EF4-FFF2-40B4-BE49-F238E27FC236}">
                <a16:creationId xmlns:a16="http://schemas.microsoft.com/office/drawing/2014/main" id="{AA9B2CC5-9BD2-4DCF-BB49-67167AA14A49}"/>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32B1962B-DAF0-4EBD-AA87-0EC7E6D0E95D}"/>
              </a:ext>
            </a:extLst>
          </p:cNvPr>
          <p:cNvPicPr>
            <a:picLocks noChangeAspect="1"/>
          </p:cNvPicPr>
          <p:nvPr userDrawn="1"/>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371454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0183E9-5FE0-45CA-92AC-EF302C86AE6D}"/>
              </a:ext>
            </a:extLst>
          </p:cNvPr>
          <p:cNvGraphicFramePr>
            <a:graphicFrameLocks noChangeAspect="1"/>
          </p:cNvGraphicFramePr>
          <p:nvPr userDrawn="1">
            <p:custDataLst>
              <p:tags r:id="rId1"/>
            </p:custDataLst>
            <p:extLst>
              <p:ext uri="{D42A27DB-BD31-4B8C-83A1-F6EECF244321}">
                <p14:modId xmlns:p14="http://schemas.microsoft.com/office/powerpoint/2010/main" val="377725729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940183E9-5FE0-45CA-92AC-EF302C86AE6D}"/>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806" y="3172"/>
            <a:ext cx="12188388" cy="6854828"/>
          </a:xfrm>
          <a:prstGeom prst="rect">
            <a:avLst/>
          </a:prstGeom>
        </p:spPr>
      </p:pic>
      <p:sp>
        <p:nvSpPr>
          <p:cNvPr id="9" name="Textplatzhalter 64">
            <a:extLst>
              <a:ext uri="{FF2B5EF4-FFF2-40B4-BE49-F238E27FC236}">
                <a16:creationId xmlns:a16="http://schemas.microsoft.com/office/drawing/2014/main" id="{6423D071-FA25-4409-AE0D-2E4953C06418}"/>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11" name="Untertitel 2">
            <a:extLst>
              <a:ext uri="{FF2B5EF4-FFF2-40B4-BE49-F238E27FC236}">
                <a16:creationId xmlns:a16="http://schemas.microsoft.com/office/drawing/2014/main" id="{22FE9B3C-B5E4-42D3-82DB-FD5BF1159B0A}"/>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2" name="Title 10">
            <a:extLst>
              <a:ext uri="{FF2B5EF4-FFF2-40B4-BE49-F238E27FC236}">
                <a16:creationId xmlns:a16="http://schemas.microsoft.com/office/drawing/2014/main" id="{9211D5B8-98DA-4289-8E4F-9310A1514913}"/>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accent2"/>
                </a:solidFill>
                <a:latin typeface="Noto Serif" panose="020B0502040504020204" pitchFamily="34" charset="0"/>
              </a:defRPr>
            </a:lvl1pPr>
          </a:lstStyle>
          <a:p>
            <a:r>
              <a:rPr lang="en-US"/>
              <a:t>Click to Edit Title</a:t>
            </a:r>
          </a:p>
        </p:txBody>
      </p:sp>
      <p:sp>
        <p:nvSpPr>
          <p:cNvPr id="13" name="Textplatzhalter 64">
            <a:extLst>
              <a:ext uri="{FF2B5EF4-FFF2-40B4-BE49-F238E27FC236}">
                <a16:creationId xmlns:a16="http://schemas.microsoft.com/office/drawing/2014/main" id="{7FCF56A6-1D0B-4BA5-9AC5-DDE347E92F23}"/>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pic>
        <p:nvPicPr>
          <p:cNvPr id="14" name="Picture 13">
            <a:extLst>
              <a:ext uri="{FF2B5EF4-FFF2-40B4-BE49-F238E27FC236}">
                <a16:creationId xmlns:a16="http://schemas.microsoft.com/office/drawing/2014/main" id="{814C0360-D2E4-4F74-A6FA-F9626F2240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5735" y="473088"/>
            <a:ext cx="1391808" cy="386617"/>
          </a:xfrm>
          <a:prstGeom prst="rect">
            <a:avLst/>
          </a:prstGeom>
        </p:spPr>
      </p:pic>
    </p:spTree>
    <p:extLst>
      <p:ext uri="{BB962C8B-B14F-4D97-AF65-F5344CB8AC3E}">
        <p14:creationId xmlns:p14="http://schemas.microsoft.com/office/powerpoint/2010/main" val="108043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9">
    <p:bg>
      <p:bgPr>
        <a:solidFill>
          <a:schemeClr val="accent2"/>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C8E65E-39E1-4F27-9E73-DD1F7634F233}"/>
              </a:ext>
            </a:extLst>
          </p:cNvPr>
          <p:cNvGraphicFramePr>
            <a:graphicFrameLocks noChangeAspect="1"/>
          </p:cNvGraphicFramePr>
          <p:nvPr userDrawn="1">
            <p:custDataLst>
              <p:tags r:id="rId1"/>
            </p:custDataLst>
            <p:extLst>
              <p:ext uri="{D42A27DB-BD31-4B8C-83A1-F6EECF244321}">
                <p14:modId xmlns:p14="http://schemas.microsoft.com/office/powerpoint/2010/main" val="195572557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Object 15" hidden="1">
                        <a:extLst>
                          <a:ext uri="{FF2B5EF4-FFF2-40B4-BE49-F238E27FC236}">
                            <a16:creationId xmlns:a16="http://schemas.microsoft.com/office/drawing/2014/main" id="{16C8E65E-39E1-4F27-9E73-DD1F7634F233}"/>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3" name="Picture 2" descr="A picture containing plant&#10;&#10;Description automatically generated">
            <a:extLst>
              <a:ext uri="{FF2B5EF4-FFF2-40B4-BE49-F238E27FC236}">
                <a16:creationId xmlns:a16="http://schemas.microsoft.com/office/drawing/2014/main" id="{E26CDCB7-24CB-4D34-AB87-57AA56FFC29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5423925" y="919332"/>
            <a:ext cx="6768075" cy="4507875"/>
          </a:xfrm>
          <a:prstGeom prst="rect">
            <a:avLst/>
          </a:prstGeom>
        </p:spPr>
      </p:pic>
      <p:sp>
        <p:nvSpPr>
          <p:cNvPr id="5" name="Inhaltsplatzhalter 2">
            <a:extLst>
              <a:ext uri="{FF2B5EF4-FFF2-40B4-BE49-F238E27FC236}">
                <a16:creationId xmlns:a16="http://schemas.microsoft.com/office/drawing/2014/main" id="{188765E4-1087-4E15-979B-18CDD99EE203}"/>
              </a:ext>
            </a:extLst>
          </p:cNvPr>
          <p:cNvSpPr>
            <a:spLocks noGrp="1"/>
          </p:cNvSpPr>
          <p:nvPr>
            <p:ph idx="1" hasCustomPrompt="1"/>
            <p:custDataLst>
              <p:tags r:id="rId2"/>
            </p:custDataLst>
          </p:nvPr>
        </p:nvSpPr>
        <p:spPr>
          <a:xfrm>
            <a:off x="575917" y="918648"/>
            <a:ext cx="4478684" cy="4499052"/>
          </a:xfrm>
          <a:prstGeom prst="rect">
            <a:avLst/>
          </a:prstGeom>
        </p:spPr>
        <p:txBody>
          <a:bodyPr lIns="0" tIns="0" rIns="0" bIns="0" anchor="ctr">
            <a:normAutofit/>
          </a:bodyPr>
          <a:lstStyle>
            <a:lvl1pPr marL="0" indent="0" rtl="0">
              <a:buFont typeface="Arial" panose="020B0604020202020204" pitchFamily="34" charset="0"/>
              <a:buNone/>
              <a:defRPr sz="4796" b="1"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a:t>
            </a:r>
            <a:br>
              <a:rPr lang="en-US"/>
            </a:br>
            <a:r>
              <a:rPr lang="en-US"/>
              <a:t>or something </a:t>
            </a:r>
            <a:br>
              <a:rPr lang="en-US"/>
            </a:br>
            <a:r>
              <a:rPr lang="en-US"/>
              <a:t>else here»</a:t>
            </a:r>
          </a:p>
        </p:txBody>
      </p:sp>
      <p:pic>
        <p:nvPicPr>
          <p:cNvPr id="8" name="Graphic 7">
            <a:extLst>
              <a:ext uri="{FF2B5EF4-FFF2-40B4-BE49-F238E27FC236}">
                <a16:creationId xmlns:a16="http://schemas.microsoft.com/office/drawing/2014/main" id="{8854088D-D5C2-4400-8049-DB4FAF018984}"/>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5578F190-3506-44D0-8142-6947FC70FB1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lumMod val="75000"/>
                  </a:schemeClr>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3300500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10">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1FA93E-9CFC-4A3E-ACAC-B36EF99F8326}"/>
              </a:ext>
            </a:extLst>
          </p:cNvPr>
          <p:cNvGraphicFramePr>
            <a:graphicFrameLocks noChangeAspect="1"/>
          </p:cNvGraphicFramePr>
          <p:nvPr userDrawn="1">
            <p:custDataLst>
              <p:tags r:id="rId1"/>
            </p:custDataLst>
            <p:extLst>
              <p:ext uri="{D42A27DB-BD31-4B8C-83A1-F6EECF244321}">
                <p14:modId xmlns:p14="http://schemas.microsoft.com/office/powerpoint/2010/main" val="280399412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4B1FA93E-9CFC-4A3E-ACAC-B36EF99F8326}"/>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7" name="Picture 6" descr="A picture containing person, wall, indoor, red&#10;&#10;Description automatically generated">
            <a:extLst>
              <a:ext uri="{FF2B5EF4-FFF2-40B4-BE49-F238E27FC236}">
                <a16:creationId xmlns:a16="http://schemas.microsoft.com/office/drawing/2014/main" id="{766DF4E3-64B0-4F95-AFF9-A3BAE35451C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 y="1173664"/>
            <a:ext cx="5904252" cy="4508558"/>
          </a:xfrm>
          <a:prstGeom prst="rect">
            <a:avLst/>
          </a:prstGeom>
        </p:spPr>
      </p:pic>
      <p:sp>
        <p:nvSpPr>
          <p:cNvPr id="5" name="Inhaltsplatzhalter 2">
            <a:extLst>
              <a:ext uri="{FF2B5EF4-FFF2-40B4-BE49-F238E27FC236}">
                <a16:creationId xmlns:a16="http://schemas.microsoft.com/office/drawing/2014/main" id="{46904206-9C4C-42C4-A3A1-0094D0FE875C}"/>
              </a:ext>
            </a:extLst>
          </p:cNvPr>
          <p:cNvSpPr>
            <a:spLocks noGrp="1"/>
          </p:cNvSpPr>
          <p:nvPr>
            <p:ph idx="1" hasCustomPrompt="1"/>
            <p:custDataLst>
              <p:tags r:id="rId2"/>
            </p:custDataLst>
          </p:nvPr>
        </p:nvSpPr>
        <p:spPr>
          <a:xfrm>
            <a:off x="6288022" y="1174720"/>
            <a:ext cx="5328245" cy="4508558"/>
          </a:xfrm>
          <a:prstGeom prst="rect">
            <a:avLst/>
          </a:prstGeom>
        </p:spPr>
        <p:txBody>
          <a:bodyPr lIns="0" tIns="0" rIns="0" bIns="0" anchor="ctr">
            <a:normAutofit/>
          </a:bodyPr>
          <a:lstStyle>
            <a:lvl1pPr marL="0" indent="0" rtl="0">
              <a:buFont typeface="Arial" panose="020B0604020202020204" pitchFamily="34" charset="0"/>
              <a:buNone/>
              <a:defRPr sz="4796" b="1"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or something else here»</a:t>
            </a:r>
          </a:p>
        </p:txBody>
      </p:sp>
      <p:pic>
        <p:nvPicPr>
          <p:cNvPr id="8" name="Graphic 7">
            <a:extLst>
              <a:ext uri="{FF2B5EF4-FFF2-40B4-BE49-F238E27FC236}">
                <a16:creationId xmlns:a16="http://schemas.microsoft.com/office/drawing/2014/main" id="{6F017C4F-ADD3-42E7-8896-F5DBC042BAAC}"/>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6E4C94DC-A225-449D-97F9-528CBA691980}"/>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155367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yout 12">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5D1FA4-153A-409E-977C-54207308AC48}"/>
              </a:ext>
            </a:extLst>
          </p:cNvPr>
          <p:cNvGraphicFramePr>
            <a:graphicFrameLocks noChangeAspect="1"/>
          </p:cNvGraphicFramePr>
          <p:nvPr userDrawn="1">
            <p:custDataLst>
              <p:tags r:id="rId1"/>
            </p:custDataLst>
            <p:extLst>
              <p:ext uri="{D42A27DB-BD31-4B8C-83A1-F6EECF244321}">
                <p14:modId xmlns:p14="http://schemas.microsoft.com/office/powerpoint/2010/main" val="2226407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95D1FA4-153A-409E-977C-54207308AC48}"/>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87C3FC8F-094C-4E46-88B1-5280FF783EC6}"/>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 y="1"/>
            <a:ext cx="4659337" cy="6858000"/>
          </a:xfrm>
          <a:prstGeom prst="rect">
            <a:avLst/>
          </a:prstGeom>
        </p:spPr>
      </p:pic>
      <p:sp>
        <p:nvSpPr>
          <p:cNvPr id="5" name="Inhaltsplatzhalter 2">
            <a:extLst>
              <a:ext uri="{FF2B5EF4-FFF2-40B4-BE49-F238E27FC236}">
                <a16:creationId xmlns:a16="http://schemas.microsoft.com/office/drawing/2014/main" id="{46904206-9C4C-42C4-A3A1-0094D0FE875C}"/>
              </a:ext>
            </a:extLst>
          </p:cNvPr>
          <p:cNvSpPr>
            <a:spLocks noGrp="1"/>
          </p:cNvSpPr>
          <p:nvPr>
            <p:ph idx="1" hasCustomPrompt="1"/>
            <p:custDataLst>
              <p:tags r:id="rId2"/>
            </p:custDataLst>
          </p:nvPr>
        </p:nvSpPr>
        <p:spPr>
          <a:xfrm>
            <a:off x="6288022" y="1174720"/>
            <a:ext cx="5328245" cy="4508558"/>
          </a:xfrm>
          <a:prstGeom prst="rect">
            <a:avLst/>
          </a:prstGeom>
        </p:spPr>
        <p:txBody>
          <a:bodyPr lIns="0" tIns="0" rIns="0" bIns="0" anchor="ctr">
            <a:normAutofit/>
          </a:bodyPr>
          <a:lstStyle>
            <a:lvl1pPr marL="0" indent="0" rtl="0">
              <a:lnSpc>
                <a:spcPct val="112000"/>
              </a:lnSpc>
              <a:buFont typeface="Arial" panose="020B0604020202020204" pitchFamily="34" charset="0"/>
              <a:buNone/>
              <a:defRPr sz="4796" b="1"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or something else here»</a:t>
            </a:r>
          </a:p>
        </p:txBody>
      </p:sp>
      <p:pic>
        <p:nvPicPr>
          <p:cNvPr id="8" name="Graphic 7">
            <a:extLst>
              <a:ext uri="{FF2B5EF4-FFF2-40B4-BE49-F238E27FC236}">
                <a16:creationId xmlns:a16="http://schemas.microsoft.com/office/drawing/2014/main" id="{6F017C4F-ADD3-42E7-8896-F5DBC042BAAC}"/>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6E4C94DC-A225-449D-97F9-528CBA691980}"/>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218752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13">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5D1FA4-153A-409E-977C-54207308AC48}"/>
              </a:ext>
            </a:extLst>
          </p:cNvPr>
          <p:cNvGraphicFramePr>
            <a:graphicFrameLocks noChangeAspect="1"/>
          </p:cNvGraphicFramePr>
          <p:nvPr userDrawn="1">
            <p:custDataLst>
              <p:tags r:id="rId1"/>
            </p:custDataLst>
            <p:extLst>
              <p:ext uri="{D42A27DB-BD31-4B8C-83A1-F6EECF244321}">
                <p14:modId xmlns:p14="http://schemas.microsoft.com/office/powerpoint/2010/main" val="136377896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95D1FA4-153A-409E-977C-54207308AC48}"/>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7" name="Picture 6" descr="A picture containing road, outdoor, sport, athletic game&#10;&#10;Description automatically generated">
            <a:extLst>
              <a:ext uri="{FF2B5EF4-FFF2-40B4-BE49-F238E27FC236}">
                <a16:creationId xmlns:a16="http://schemas.microsoft.com/office/drawing/2014/main" id="{E63F2B11-7C28-495A-A140-8EBE4E9948B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097741" y="1"/>
            <a:ext cx="6094259" cy="6858000"/>
          </a:xfrm>
          <a:prstGeom prst="rect">
            <a:avLst/>
          </a:prstGeom>
        </p:spPr>
      </p:pic>
      <p:sp>
        <p:nvSpPr>
          <p:cNvPr id="5" name="Inhaltsplatzhalter 2">
            <a:extLst>
              <a:ext uri="{FF2B5EF4-FFF2-40B4-BE49-F238E27FC236}">
                <a16:creationId xmlns:a16="http://schemas.microsoft.com/office/drawing/2014/main" id="{46904206-9C4C-42C4-A3A1-0094D0FE875C}"/>
              </a:ext>
            </a:extLst>
          </p:cNvPr>
          <p:cNvSpPr>
            <a:spLocks noGrp="1"/>
          </p:cNvSpPr>
          <p:nvPr>
            <p:ph idx="1" hasCustomPrompt="1"/>
            <p:custDataLst>
              <p:tags r:id="rId2"/>
            </p:custDataLst>
          </p:nvPr>
        </p:nvSpPr>
        <p:spPr>
          <a:xfrm>
            <a:off x="567267" y="1174720"/>
            <a:ext cx="4952212" cy="4508558"/>
          </a:xfrm>
          <a:prstGeom prst="rect">
            <a:avLst/>
          </a:prstGeom>
        </p:spPr>
        <p:txBody>
          <a:bodyPr lIns="0" tIns="0" rIns="0" bIns="0" anchor="ctr">
            <a:normAutofit/>
          </a:bodyPr>
          <a:lstStyle>
            <a:lvl1pPr marL="0" indent="0" rtl="0">
              <a:lnSpc>
                <a:spcPct val="112000"/>
              </a:lnSpc>
              <a:buFont typeface="Arial" panose="020B0604020202020204" pitchFamily="34" charset="0"/>
              <a:buNone/>
              <a:defRPr sz="4796" b="1"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or something else here»</a:t>
            </a:r>
          </a:p>
        </p:txBody>
      </p:sp>
      <p:pic>
        <p:nvPicPr>
          <p:cNvPr id="8" name="Graphic 7">
            <a:extLst>
              <a:ext uri="{FF2B5EF4-FFF2-40B4-BE49-F238E27FC236}">
                <a16:creationId xmlns:a16="http://schemas.microsoft.com/office/drawing/2014/main" id="{6F017C4F-ADD3-42E7-8896-F5DBC042BAAC}"/>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6E4C94DC-A225-449D-97F9-528CBA691980}"/>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377860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1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F96412-3A1D-4983-A634-BDDCCF535FEE}"/>
              </a:ext>
            </a:extLst>
          </p:cNvPr>
          <p:cNvGraphicFramePr>
            <a:graphicFrameLocks noChangeAspect="1"/>
          </p:cNvGraphicFramePr>
          <p:nvPr userDrawn="1">
            <p:custDataLst>
              <p:tags r:id="rId1"/>
            </p:custDataLst>
            <p:extLst>
              <p:ext uri="{D42A27DB-BD31-4B8C-83A1-F6EECF244321}">
                <p14:modId xmlns:p14="http://schemas.microsoft.com/office/powerpoint/2010/main" val="392750776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7F96412-3A1D-4983-A634-BDDCCF535FEE}"/>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3" name="Picture 2" descr="A picture containing sky, outdoor, building, city&#10;&#10;Description automatically generated">
            <a:extLst>
              <a:ext uri="{FF2B5EF4-FFF2-40B4-BE49-F238E27FC236}">
                <a16:creationId xmlns:a16="http://schemas.microsoft.com/office/drawing/2014/main" id="{04F964C8-F4AA-426A-BEF7-2C37F7895E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2" y="1"/>
            <a:ext cx="12188516" cy="6858000"/>
          </a:xfrm>
          <a:prstGeom prst="rect">
            <a:avLst/>
          </a:prstGeom>
        </p:spPr>
      </p:pic>
      <p:sp>
        <p:nvSpPr>
          <p:cNvPr id="9" name="Slide Number Placeholder 2">
            <a:extLst>
              <a:ext uri="{FF2B5EF4-FFF2-40B4-BE49-F238E27FC236}">
                <a16:creationId xmlns:a16="http://schemas.microsoft.com/office/drawing/2014/main" id="{A30D665A-392D-4C67-9CA0-FF26C4D11EE3}"/>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95471447-5880-44EC-AF49-6587697137EB}"/>
              </a:ext>
            </a:extLst>
          </p:cNvPr>
          <p:cNvSpPr>
            <a:spLocks noGrp="1"/>
          </p:cNvSpPr>
          <p:nvPr>
            <p:ph type="title" hasCustomPrompt="1"/>
          </p:nvPr>
        </p:nvSpPr>
        <p:spPr>
          <a:xfrm>
            <a:off x="575734" y="465976"/>
            <a:ext cx="11029951" cy="409990"/>
          </a:xfrm>
          <a:prstGeom prst="rect">
            <a:avLst/>
          </a:prstGeom>
        </p:spPr>
        <p:txBody>
          <a:bodyPr vert="horz" wrap="square" lIns="0" tIns="0" rIns="0" bIns="0">
            <a:spAutoFit/>
          </a:bodyPr>
          <a:lstStyle>
            <a:lvl1pPr rtl="0">
              <a:defRPr sz="2664"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3816AE23-A0F4-4AAE-AF5B-377660FFA7E4}"/>
              </a:ext>
            </a:extLst>
          </p:cNvPr>
          <p:cNvSpPr>
            <a:spLocks noGrp="1"/>
          </p:cNvSpPr>
          <p:nvPr>
            <p:ph idx="1" hasCustomPrompt="1"/>
            <p:custDataLst>
              <p:tags r:id="rId2"/>
            </p:custDataLst>
          </p:nvPr>
        </p:nvSpPr>
        <p:spPr>
          <a:xfrm>
            <a:off x="592667" y="1739846"/>
            <a:ext cx="11023600" cy="1689154"/>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14" name="Graphic 13">
            <a:extLst>
              <a:ext uri="{FF2B5EF4-FFF2-40B4-BE49-F238E27FC236}">
                <a16:creationId xmlns:a16="http://schemas.microsoft.com/office/drawing/2014/main" id="{32B1962B-DAF0-4EBD-AA87-0EC7E6D0E95D}"/>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219415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0DBF9-4E21-4A0E-804D-A3530932CF1B}"/>
              </a:ext>
            </a:extLst>
          </p:cNvPr>
          <p:cNvGraphicFramePr>
            <a:graphicFrameLocks noChangeAspect="1"/>
          </p:cNvGraphicFramePr>
          <p:nvPr userDrawn="1">
            <p:custDataLst>
              <p:tags r:id="rId1"/>
            </p:custDataLst>
            <p:extLst>
              <p:ext uri="{D42A27DB-BD31-4B8C-83A1-F6EECF244321}">
                <p14:modId xmlns:p14="http://schemas.microsoft.com/office/powerpoint/2010/main" val="252487854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8F50DBF9-4E21-4A0E-804D-A3530932CF1B}"/>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9" name="Slide Number Placeholder 2">
            <a:extLst>
              <a:ext uri="{FF2B5EF4-FFF2-40B4-BE49-F238E27FC236}">
                <a16:creationId xmlns:a16="http://schemas.microsoft.com/office/drawing/2014/main" id="{6FB864CE-E768-4CBF-A05C-7B5113214E81}"/>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D2AB8033-92F7-42CF-BB33-FB7E6C7B5CE6}"/>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1746DE6F-08DD-4E9D-92E7-BA0A893A2173}"/>
              </a:ext>
            </a:extLst>
          </p:cNvPr>
          <p:cNvSpPr>
            <a:spLocks noGrp="1"/>
          </p:cNvSpPr>
          <p:nvPr>
            <p:ph idx="1" hasCustomPrompt="1"/>
            <p:custDataLst>
              <p:tags r:id="rId2"/>
            </p:custDataLst>
          </p:nvPr>
        </p:nvSpPr>
        <p:spPr>
          <a:xfrm>
            <a:off x="579425" y="1414640"/>
            <a:ext cx="11026259"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32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color rock">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A6AC78-E7E1-4BFC-929A-70658542AA14}"/>
              </a:ext>
            </a:extLst>
          </p:cNvPr>
          <p:cNvGraphicFramePr>
            <a:graphicFrameLocks noChangeAspect="1"/>
          </p:cNvGraphicFramePr>
          <p:nvPr userDrawn="1">
            <p:custDataLst>
              <p:tags r:id="rId1"/>
            </p:custDataLst>
            <p:extLst>
              <p:ext uri="{D42A27DB-BD31-4B8C-83A1-F6EECF244321}">
                <p14:modId xmlns:p14="http://schemas.microsoft.com/office/powerpoint/2010/main" val="343736048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E7A6AC78-E7E1-4BFC-929A-70658542AA14}"/>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383ABB3A-8DF5-42D4-804E-0ED6D5D37644}"/>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B25B277A-69B1-49A6-B3FC-05B9E5275D71}"/>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2C071215-B600-4572-A198-86418351C420}"/>
              </a:ext>
            </a:extLst>
          </p:cNvPr>
          <p:cNvSpPr>
            <a:spLocks noGrp="1"/>
          </p:cNvSpPr>
          <p:nvPr>
            <p:ph idx="1" hasCustomPrompt="1"/>
            <p:custDataLst>
              <p:tags r:id="rId2"/>
            </p:custDataLst>
          </p:nvPr>
        </p:nvSpPr>
        <p:spPr>
          <a:xfrm>
            <a:off x="579425" y="1414640"/>
            <a:ext cx="11026259"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92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A6AC78-E7E1-4BFC-929A-70658542AA14}"/>
              </a:ext>
            </a:extLst>
          </p:cNvPr>
          <p:cNvGraphicFramePr>
            <a:graphicFrameLocks noChangeAspect="1"/>
          </p:cNvGraphicFramePr>
          <p:nvPr userDrawn="1">
            <p:custDataLst>
              <p:tags r:id="rId1"/>
            </p:custDataLst>
            <p:extLst>
              <p:ext uri="{D42A27DB-BD31-4B8C-83A1-F6EECF244321}">
                <p14:modId xmlns:p14="http://schemas.microsoft.com/office/powerpoint/2010/main" val="848995096"/>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E7A6AC78-E7E1-4BFC-929A-70658542AA14}"/>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383ABB3A-8DF5-42D4-804E-0ED6D5D37644}"/>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B25B277A-69B1-49A6-B3FC-05B9E5275D71}"/>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2C071215-B600-4572-A198-86418351C420}"/>
              </a:ext>
            </a:extLst>
          </p:cNvPr>
          <p:cNvSpPr>
            <a:spLocks noGrp="1"/>
          </p:cNvSpPr>
          <p:nvPr>
            <p:ph idx="1" hasCustomPrompt="1"/>
            <p:custDataLst>
              <p:tags r:id="rId2"/>
            </p:custDataLst>
          </p:nvPr>
        </p:nvSpPr>
        <p:spPr>
          <a:xfrm>
            <a:off x="579425" y="1414640"/>
            <a:ext cx="11026259"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475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AD65CB-C5A7-427F-B0FA-43BED3232BBB}"/>
              </a:ext>
            </a:extLst>
          </p:cNvPr>
          <p:cNvGraphicFramePr>
            <a:graphicFrameLocks noChangeAspect="1"/>
          </p:cNvGraphicFramePr>
          <p:nvPr userDrawn="1">
            <p:custDataLst>
              <p:tags r:id="rId1"/>
            </p:custDataLst>
            <p:extLst>
              <p:ext uri="{D42A27DB-BD31-4B8C-83A1-F6EECF244321}">
                <p14:modId xmlns:p14="http://schemas.microsoft.com/office/powerpoint/2010/main" val="314935916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2AAD65CB-C5A7-427F-B0FA-43BED3232BBB}"/>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241469BB-3847-4B68-A563-9CB2F5515ECE}"/>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8" name="Title 1">
            <a:extLst>
              <a:ext uri="{FF2B5EF4-FFF2-40B4-BE49-F238E27FC236}">
                <a16:creationId xmlns:a16="http://schemas.microsoft.com/office/drawing/2014/main" id="{D6F20C94-3895-4F83-BBDC-7744915EE6B4}"/>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3" name="Inhaltsplatzhalter 2">
            <a:extLst>
              <a:ext uri="{FF2B5EF4-FFF2-40B4-BE49-F238E27FC236}">
                <a16:creationId xmlns:a16="http://schemas.microsoft.com/office/drawing/2014/main" id="{3CCAAB41-9EFD-47C4-A475-2B6EA37FE86B}"/>
              </a:ext>
            </a:extLst>
          </p:cNvPr>
          <p:cNvSpPr>
            <a:spLocks noGrp="1"/>
          </p:cNvSpPr>
          <p:nvPr>
            <p:ph idx="1" hasCustomPrompt="1"/>
            <p:custDataLst>
              <p:tags r:id="rId2"/>
            </p:custDataLst>
          </p:nvPr>
        </p:nvSpPr>
        <p:spPr>
          <a:xfrm>
            <a:off x="579425" y="1414640"/>
            <a:ext cx="11036841"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73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5B248A-CC55-4C8E-854B-4097FDC2C0DA}"/>
              </a:ext>
            </a:extLst>
          </p:cNvPr>
          <p:cNvGraphicFramePr>
            <a:graphicFrameLocks noChangeAspect="1"/>
          </p:cNvGraphicFramePr>
          <p:nvPr userDrawn="1">
            <p:custDataLst>
              <p:tags r:id="rId1"/>
            </p:custDataLst>
            <p:extLst>
              <p:ext uri="{D42A27DB-BD31-4B8C-83A1-F6EECF244321}">
                <p14:modId xmlns:p14="http://schemas.microsoft.com/office/powerpoint/2010/main" val="51696197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A5B248A-CC55-4C8E-854B-4097FDC2C0DA}"/>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542E25A4-6FD5-4322-8E9F-E3A27C551234}"/>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6060"/>
            <a:ext cx="863600" cy="287409"/>
          </a:xfrm>
          <a:prstGeom prst="rect">
            <a:avLst/>
          </a:prstGeom>
        </p:spPr>
      </p:pic>
      <p:sp>
        <p:nvSpPr>
          <p:cNvPr id="8" name="Slide Number Placeholder 2">
            <a:extLst>
              <a:ext uri="{FF2B5EF4-FFF2-40B4-BE49-F238E27FC236}">
                <a16:creationId xmlns:a16="http://schemas.microsoft.com/office/drawing/2014/main" id="{DEB58DD9-800C-4740-822E-B3793E626018}"/>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0" name="Title 1">
            <a:extLst>
              <a:ext uri="{FF2B5EF4-FFF2-40B4-BE49-F238E27FC236}">
                <a16:creationId xmlns:a16="http://schemas.microsoft.com/office/drawing/2014/main" id="{A48A929B-22C6-4F42-9C9C-B9B791492D93}"/>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5CA15058-E9C8-4815-875D-145561F1384E}"/>
              </a:ext>
            </a:extLst>
          </p:cNvPr>
          <p:cNvSpPr>
            <a:spLocks noGrp="1"/>
          </p:cNvSpPr>
          <p:nvPr>
            <p:ph idx="1" hasCustomPrompt="1"/>
            <p:custDataLst>
              <p:tags r:id="rId2"/>
            </p:custDataLst>
          </p:nvPr>
        </p:nvSpPr>
        <p:spPr>
          <a:xfrm>
            <a:off x="579425" y="1414639"/>
            <a:ext cx="11036841"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32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4514A-61F2-4A85-8D32-8F30384B70AB}"/>
              </a:ext>
            </a:extLst>
          </p:cNvPr>
          <p:cNvGraphicFramePr>
            <a:graphicFrameLocks noChangeAspect="1"/>
          </p:cNvGraphicFramePr>
          <p:nvPr userDrawn="1">
            <p:custDataLst>
              <p:tags r:id="rId1"/>
            </p:custDataLst>
            <p:extLst>
              <p:ext uri="{D42A27DB-BD31-4B8C-83A1-F6EECF244321}">
                <p14:modId xmlns:p14="http://schemas.microsoft.com/office/powerpoint/2010/main" val="142252659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5194514A-61F2-4A85-8D32-8F30384B70AB}"/>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BBEFC43-743F-4CC2-A08C-64FE2C33170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1"/>
            <a:ext cx="12210740" cy="6858000"/>
          </a:xfrm>
          <a:prstGeom prst="rect">
            <a:avLst/>
          </a:prstGeom>
        </p:spPr>
      </p:pic>
      <p:sp>
        <p:nvSpPr>
          <p:cNvPr id="11" name="Textplatzhalter 64">
            <a:extLst>
              <a:ext uri="{FF2B5EF4-FFF2-40B4-BE49-F238E27FC236}">
                <a16:creationId xmlns:a16="http://schemas.microsoft.com/office/drawing/2014/main" id="{C7E1732A-0269-4EA8-9CBF-66F1CFF6BF60}"/>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12" name="Untertitel 2">
            <a:extLst>
              <a:ext uri="{FF2B5EF4-FFF2-40B4-BE49-F238E27FC236}">
                <a16:creationId xmlns:a16="http://schemas.microsoft.com/office/drawing/2014/main" id="{E39F91EE-5968-406A-931F-316685D8CB06}"/>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8" name="Textplatzhalter 64">
            <a:extLst>
              <a:ext uri="{FF2B5EF4-FFF2-40B4-BE49-F238E27FC236}">
                <a16:creationId xmlns:a16="http://schemas.microsoft.com/office/drawing/2014/main" id="{75725E24-059A-4107-A82F-4E086F8E8E13}"/>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9" name="Title 10">
            <a:extLst>
              <a:ext uri="{FF2B5EF4-FFF2-40B4-BE49-F238E27FC236}">
                <a16:creationId xmlns:a16="http://schemas.microsoft.com/office/drawing/2014/main" id="{58D9D323-1C95-4A97-AE9E-224E6A642DC6}"/>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bg1"/>
                </a:solidFill>
                <a:latin typeface="Noto Serif" panose="020B0502040504020204" pitchFamily="34" charset="0"/>
              </a:defRPr>
            </a:lvl1pPr>
          </a:lstStyle>
          <a:p>
            <a:r>
              <a:rPr lang="en-US"/>
              <a:t>Click to Edit Title</a:t>
            </a:r>
          </a:p>
        </p:txBody>
      </p:sp>
      <p:pic>
        <p:nvPicPr>
          <p:cNvPr id="10" name="Picture 9">
            <a:extLst>
              <a:ext uri="{FF2B5EF4-FFF2-40B4-BE49-F238E27FC236}">
                <a16:creationId xmlns:a16="http://schemas.microsoft.com/office/drawing/2014/main" id="{32BD4DE4-B5DB-4A02-8D5F-3B59B5B78CAE}"/>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5735" y="473088"/>
            <a:ext cx="1391808" cy="386617"/>
          </a:xfrm>
          <a:prstGeom prst="rect">
            <a:avLst/>
          </a:prstGeom>
        </p:spPr>
      </p:pic>
    </p:spTree>
    <p:extLst>
      <p:ext uri="{BB962C8B-B14F-4D97-AF65-F5344CB8AC3E}">
        <p14:creationId xmlns:p14="http://schemas.microsoft.com/office/powerpoint/2010/main" val="598502048"/>
      </p:ext>
    </p:extLst>
  </p:cSld>
  <p:clrMapOvr>
    <a:masterClrMapping/>
  </p:clrMapOvr>
  <p:hf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color indigo">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AD65CB-C5A7-427F-B0FA-43BED3232BBB}"/>
              </a:ext>
            </a:extLst>
          </p:cNvPr>
          <p:cNvGraphicFramePr>
            <a:graphicFrameLocks noChangeAspect="1"/>
          </p:cNvGraphicFramePr>
          <p:nvPr userDrawn="1">
            <p:custDataLst>
              <p:tags r:id="rId1"/>
            </p:custDataLst>
            <p:extLst>
              <p:ext uri="{D42A27DB-BD31-4B8C-83A1-F6EECF244321}">
                <p14:modId xmlns:p14="http://schemas.microsoft.com/office/powerpoint/2010/main" val="697832736"/>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2AAD65CB-C5A7-427F-B0FA-43BED3232BBB}"/>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241469BB-3847-4B68-A563-9CB2F5515ECE}"/>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8" name="Title 1">
            <a:extLst>
              <a:ext uri="{FF2B5EF4-FFF2-40B4-BE49-F238E27FC236}">
                <a16:creationId xmlns:a16="http://schemas.microsoft.com/office/drawing/2014/main" id="{D6F20C94-3895-4F83-BBDC-7744915EE6B4}"/>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3" name="Inhaltsplatzhalter 2">
            <a:extLst>
              <a:ext uri="{FF2B5EF4-FFF2-40B4-BE49-F238E27FC236}">
                <a16:creationId xmlns:a16="http://schemas.microsoft.com/office/drawing/2014/main" id="{3CCAAB41-9EFD-47C4-A475-2B6EA37FE86B}"/>
              </a:ext>
            </a:extLst>
          </p:cNvPr>
          <p:cNvSpPr>
            <a:spLocks noGrp="1"/>
          </p:cNvSpPr>
          <p:nvPr>
            <p:ph idx="1" hasCustomPrompt="1"/>
            <p:custDataLst>
              <p:tags r:id="rId2"/>
            </p:custDataLst>
          </p:nvPr>
        </p:nvSpPr>
        <p:spPr>
          <a:xfrm>
            <a:off x="579425" y="1414640"/>
            <a:ext cx="11036841" cy="1689154"/>
          </a:xfrm>
          <a:prstGeom prst="rect">
            <a:avLst/>
          </a:prstGeom>
        </p:spPr>
        <p:txBody>
          <a:bodyPr wrap="square" lIns="0" tIns="0" rIns="0" bIns="0">
            <a:spAutoFit/>
          </a:bodyPr>
          <a:lstStyle>
            <a:lvl1pPr marL="245306" indent="-245306" rtl="0">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rtl="0">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97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6C6DB-78B6-2BD6-FD39-CA6F5B48E601}"/>
              </a:ext>
            </a:extLst>
          </p:cNvPr>
          <p:cNvGraphicFramePr>
            <a:graphicFrameLocks noChangeAspect="1"/>
          </p:cNvGraphicFramePr>
          <p:nvPr userDrawn="1">
            <p:custDataLst>
              <p:tags r:id="rId1"/>
            </p:custDataLst>
            <p:extLst>
              <p:ext uri="{D42A27DB-BD31-4B8C-83A1-F6EECF244321}">
                <p14:modId xmlns:p14="http://schemas.microsoft.com/office/powerpoint/2010/main" val="6334860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C176C6DB-78B6-2BD6-FD39-CA6F5B48E601}"/>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3172"/>
            <a:ext cx="12192588" cy="6854828"/>
          </a:xfrm>
          <a:prstGeom prst="rect">
            <a:avLst/>
          </a:prstGeom>
          <a:noFill/>
          <a:ln>
            <a:noFill/>
          </a:ln>
        </p:spPr>
      </p:pic>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83589193-7EBE-488F-BC7D-6C77E94C7C8E}"/>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ext Placeholder 7">
            <a:extLst>
              <a:ext uri="{FF2B5EF4-FFF2-40B4-BE49-F238E27FC236}">
                <a16:creationId xmlns:a16="http://schemas.microsoft.com/office/drawing/2014/main" id="{EFF582C2-5BD3-48C2-B8BB-5FAB5B9701CA}"/>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spTree>
    <p:extLst>
      <p:ext uri="{BB962C8B-B14F-4D97-AF65-F5344CB8AC3E}">
        <p14:creationId xmlns:p14="http://schemas.microsoft.com/office/powerpoint/2010/main" val="32470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9737F-049E-4090-86C2-3EB817FB12BD}"/>
              </a:ext>
            </a:extLst>
          </p:cNvPr>
          <p:cNvGraphicFramePr>
            <a:graphicFrameLocks noChangeAspect="1"/>
          </p:cNvGraphicFramePr>
          <p:nvPr userDrawn="1">
            <p:custDataLst>
              <p:tags r:id="rId1"/>
            </p:custDataLst>
            <p:extLst>
              <p:ext uri="{D42A27DB-BD31-4B8C-83A1-F6EECF244321}">
                <p14:modId xmlns:p14="http://schemas.microsoft.com/office/powerpoint/2010/main" val="249041097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0C89737F-049E-4090-86C2-3EB817FB12BD}"/>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75590"/>
          <a:stretch/>
        </p:blipFill>
        <p:spPr>
          <a:xfrm>
            <a:off x="1" y="3172"/>
            <a:ext cx="2976033" cy="6854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46946A27-CF5D-4E14-9AE0-330F64E92222}"/>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88F7EBD5-28B3-4810-99FA-E70E5728DC71}"/>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5" name="Inhaltsplatzhalter 2">
            <a:extLst>
              <a:ext uri="{FF2B5EF4-FFF2-40B4-BE49-F238E27FC236}">
                <a16:creationId xmlns:a16="http://schemas.microsoft.com/office/drawing/2014/main" id="{FB720A40-07EE-40D8-8BA5-4D02040B3938}"/>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47634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yout X-Layer red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01B7E9-D7DE-43A0-8F54-84CFD81D3DC7}"/>
              </a:ext>
            </a:extLst>
          </p:cNvPr>
          <p:cNvGraphicFramePr>
            <a:graphicFrameLocks noChangeAspect="1"/>
          </p:cNvGraphicFramePr>
          <p:nvPr userDrawn="1">
            <p:custDataLst>
              <p:tags r:id="rId1"/>
            </p:custDataLst>
            <p:extLst>
              <p:ext uri="{D42A27DB-BD31-4B8C-83A1-F6EECF244321}">
                <p14:modId xmlns:p14="http://schemas.microsoft.com/office/powerpoint/2010/main" val="292454331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801B7E9-D7DE-43A0-8F54-84CFD81D3DC7}"/>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3173"/>
            <a:ext cx="12192000" cy="3424771"/>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lnSpc>
                <a:spcPct val="100000"/>
              </a:lnSpc>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9" name="Slide Number Placeholder 2">
            <a:extLst>
              <a:ext uri="{FF2B5EF4-FFF2-40B4-BE49-F238E27FC236}">
                <a16:creationId xmlns:a16="http://schemas.microsoft.com/office/drawing/2014/main" id="{D1A4EBF4-2044-424F-98D9-1339D01CFA6C}"/>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2" name="Title 1">
            <a:extLst>
              <a:ext uri="{FF2B5EF4-FFF2-40B4-BE49-F238E27FC236}">
                <a16:creationId xmlns:a16="http://schemas.microsoft.com/office/drawing/2014/main" id="{66718753-6119-446B-B447-56AF13729690}"/>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4" name="Inhaltsplatzhalter 2">
            <a:extLst>
              <a:ext uri="{FF2B5EF4-FFF2-40B4-BE49-F238E27FC236}">
                <a16:creationId xmlns:a16="http://schemas.microsoft.com/office/drawing/2014/main" id="{AEDA367F-94F7-4B46-BB0C-FD454DDB2F8C}"/>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06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yout X-Layer roc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71B5E2-121E-4884-B7F0-2D3AE9D93492}"/>
              </a:ext>
            </a:extLst>
          </p:cNvPr>
          <p:cNvGraphicFramePr>
            <a:graphicFrameLocks noChangeAspect="1"/>
          </p:cNvGraphicFramePr>
          <p:nvPr userDrawn="1">
            <p:custDataLst>
              <p:tags r:id="rId1"/>
            </p:custDataLst>
            <p:extLst>
              <p:ext uri="{D42A27DB-BD31-4B8C-83A1-F6EECF244321}">
                <p14:modId xmlns:p14="http://schemas.microsoft.com/office/powerpoint/2010/main" val="329411384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971B5E2-121E-4884-B7F0-2D3AE9D93492}"/>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3" name="Picture 2" descr="Background pattern&#10;&#10;Description automatically generated">
            <a:extLst>
              <a:ext uri="{FF2B5EF4-FFF2-40B4-BE49-F238E27FC236}">
                <a16:creationId xmlns:a16="http://schemas.microsoft.com/office/drawing/2014/main" id="{6A9D77F9-69DA-41E4-B8FF-78E9FD0DB73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186"/>
            <a:ext cx="12192000" cy="6852814"/>
          </a:xfrm>
          <a:prstGeom prst="rect">
            <a:avLst/>
          </a:prstGeom>
        </p:spPr>
      </p:pic>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83589193-7EBE-488F-BC7D-6C77E94C7C8E}"/>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ext Placeholder 7">
            <a:extLst>
              <a:ext uri="{FF2B5EF4-FFF2-40B4-BE49-F238E27FC236}">
                <a16:creationId xmlns:a16="http://schemas.microsoft.com/office/drawing/2014/main" id="{EFF582C2-5BD3-48C2-B8BB-5FAB5B9701CA}"/>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spTree>
    <p:extLst>
      <p:ext uri="{BB962C8B-B14F-4D97-AF65-F5344CB8AC3E}">
        <p14:creationId xmlns:p14="http://schemas.microsoft.com/office/powerpoint/2010/main" val="199675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yout X-Layer rock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9737F-049E-4090-86C2-3EB817FB12BD}"/>
              </a:ext>
            </a:extLst>
          </p:cNvPr>
          <p:cNvGraphicFramePr>
            <a:graphicFrameLocks noChangeAspect="1"/>
          </p:cNvGraphicFramePr>
          <p:nvPr userDrawn="1">
            <p:custDataLst>
              <p:tags r:id="rId1"/>
            </p:custDataLst>
            <p:extLst>
              <p:ext uri="{D42A27DB-BD31-4B8C-83A1-F6EECF244321}">
                <p14:modId xmlns:p14="http://schemas.microsoft.com/office/powerpoint/2010/main" val="322818874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0C89737F-049E-4090-86C2-3EB817FB12BD}"/>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10" name="Picture 9" descr="Background pattern&#10;&#10;Description automatically generated">
            <a:extLst>
              <a:ext uri="{FF2B5EF4-FFF2-40B4-BE49-F238E27FC236}">
                <a16:creationId xmlns:a16="http://schemas.microsoft.com/office/drawing/2014/main" id="{C0878F73-6674-44ED-A431-927A66CDD83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75590"/>
          <a:stretch/>
        </p:blipFill>
        <p:spPr>
          <a:xfrm>
            <a:off x="1" y="1"/>
            <a:ext cx="2976033" cy="685281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46946A27-CF5D-4E14-9AE0-330F64E92222}"/>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88F7EBD5-28B3-4810-99FA-E70E5728DC71}"/>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5" name="Inhaltsplatzhalter 2">
            <a:extLst>
              <a:ext uri="{FF2B5EF4-FFF2-40B4-BE49-F238E27FC236}">
                <a16:creationId xmlns:a16="http://schemas.microsoft.com/office/drawing/2014/main" id="{FB720A40-07EE-40D8-8BA5-4D02040B3938}"/>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01812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yout X-Layer rock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01B7E9-D7DE-43A0-8F54-84CFD81D3DC7}"/>
              </a:ext>
            </a:extLst>
          </p:cNvPr>
          <p:cNvGraphicFramePr>
            <a:graphicFrameLocks noChangeAspect="1"/>
          </p:cNvGraphicFramePr>
          <p:nvPr userDrawn="1">
            <p:custDataLst>
              <p:tags r:id="rId1"/>
            </p:custDataLst>
            <p:extLst>
              <p:ext uri="{D42A27DB-BD31-4B8C-83A1-F6EECF244321}">
                <p14:modId xmlns:p14="http://schemas.microsoft.com/office/powerpoint/2010/main" val="141425831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801B7E9-D7DE-43A0-8F54-84CFD81D3DC7}"/>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15BC9DAF-BA32-4CF7-B409-F50D56B662B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50015"/>
          <a:stretch/>
        </p:blipFill>
        <p:spPr>
          <a:xfrm>
            <a:off x="0" y="1"/>
            <a:ext cx="12192000" cy="3422757"/>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lnSpc>
                <a:spcPct val="100000"/>
              </a:lnSpc>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9" name="Slide Number Placeholder 2">
            <a:extLst>
              <a:ext uri="{FF2B5EF4-FFF2-40B4-BE49-F238E27FC236}">
                <a16:creationId xmlns:a16="http://schemas.microsoft.com/office/drawing/2014/main" id="{D1A4EBF4-2044-424F-98D9-1339D01CFA6C}"/>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2" name="Title 1">
            <a:extLst>
              <a:ext uri="{FF2B5EF4-FFF2-40B4-BE49-F238E27FC236}">
                <a16:creationId xmlns:a16="http://schemas.microsoft.com/office/drawing/2014/main" id="{66718753-6119-446B-B447-56AF13729690}"/>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4" name="Inhaltsplatzhalter 2">
            <a:extLst>
              <a:ext uri="{FF2B5EF4-FFF2-40B4-BE49-F238E27FC236}">
                <a16:creationId xmlns:a16="http://schemas.microsoft.com/office/drawing/2014/main" id="{AEDA367F-94F7-4B46-BB0C-FD454DDB2F8C}"/>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251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D43660-410A-F75C-BA45-CDF368475C9B}"/>
              </a:ext>
            </a:extLst>
          </p:cNvPr>
          <p:cNvGraphicFramePr>
            <a:graphicFrameLocks noChangeAspect="1"/>
          </p:cNvGraphicFramePr>
          <p:nvPr userDrawn="1">
            <p:custDataLst>
              <p:tags r:id="rId1"/>
            </p:custDataLst>
            <p:extLst>
              <p:ext uri="{D42A27DB-BD31-4B8C-83A1-F6EECF244321}">
                <p14:modId xmlns:p14="http://schemas.microsoft.com/office/powerpoint/2010/main" val="68079683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1D43660-410A-F75C-BA45-CDF368475C9B}"/>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3172"/>
            <a:ext cx="12192000" cy="6854828"/>
          </a:xfrm>
          <a:prstGeom prst="rect">
            <a:avLst/>
          </a:prstGeom>
        </p:spPr>
      </p:pic>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6654"/>
            <a:ext cx="863600" cy="287409"/>
          </a:xfrm>
          <a:prstGeom prst="rect">
            <a:avLst/>
          </a:prstGeom>
        </p:spPr>
      </p:pic>
      <p:sp>
        <p:nvSpPr>
          <p:cNvPr id="6" name="Slide Number Placeholder 2">
            <a:extLst>
              <a:ext uri="{FF2B5EF4-FFF2-40B4-BE49-F238E27FC236}">
                <a16:creationId xmlns:a16="http://schemas.microsoft.com/office/drawing/2014/main" id="{94D85C6A-9129-4A9F-BB0B-E04990142458}"/>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ext Placeholder 7">
            <a:extLst>
              <a:ext uri="{FF2B5EF4-FFF2-40B4-BE49-F238E27FC236}">
                <a16:creationId xmlns:a16="http://schemas.microsoft.com/office/drawing/2014/main" id="{ECF524D5-BF80-477F-A5A7-54DC19872B8A}"/>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spTree>
    <p:extLst>
      <p:ext uri="{BB962C8B-B14F-4D97-AF65-F5344CB8AC3E}">
        <p14:creationId xmlns:p14="http://schemas.microsoft.com/office/powerpoint/2010/main" val="417617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3368C1-ABD8-4137-9829-646684C216C0}"/>
              </a:ext>
            </a:extLst>
          </p:cNvPr>
          <p:cNvGraphicFramePr>
            <a:graphicFrameLocks noChangeAspect="1"/>
          </p:cNvGraphicFramePr>
          <p:nvPr userDrawn="1">
            <p:custDataLst>
              <p:tags r:id="rId1"/>
            </p:custDataLst>
            <p:extLst>
              <p:ext uri="{D42A27DB-BD31-4B8C-83A1-F6EECF244321}">
                <p14:modId xmlns:p14="http://schemas.microsoft.com/office/powerpoint/2010/main" val="152051606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6D3368C1-ABD8-4137-9829-646684C216C0}"/>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75590"/>
          <a:stretch/>
        </p:blipFill>
        <p:spPr>
          <a:xfrm>
            <a:off x="1" y="3172"/>
            <a:ext cx="2976033" cy="6854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2">
            <a:extLst>
              <a:ext uri="{FF2B5EF4-FFF2-40B4-BE49-F238E27FC236}">
                <a16:creationId xmlns:a16="http://schemas.microsoft.com/office/drawing/2014/main" id="{4EA052FF-4BA0-4846-A21B-C29C38DDB002}"/>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2" name="Title 1">
            <a:extLst>
              <a:ext uri="{FF2B5EF4-FFF2-40B4-BE49-F238E27FC236}">
                <a16:creationId xmlns:a16="http://schemas.microsoft.com/office/drawing/2014/main" id="{14286C9B-32A1-49E6-8760-0E0AD8ED1A4E}"/>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3" name="Inhaltsplatzhalter 2">
            <a:extLst>
              <a:ext uri="{FF2B5EF4-FFF2-40B4-BE49-F238E27FC236}">
                <a16:creationId xmlns:a16="http://schemas.microsoft.com/office/drawing/2014/main" id="{3010C8F2-9E94-44EC-BE78-AE509C8EC1FA}"/>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6200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6F497-1246-431C-9C00-7E29D38961AB}"/>
              </a:ext>
            </a:extLst>
          </p:cNvPr>
          <p:cNvGraphicFramePr>
            <a:graphicFrameLocks noChangeAspect="1"/>
          </p:cNvGraphicFramePr>
          <p:nvPr userDrawn="1">
            <p:custDataLst>
              <p:tags r:id="rId1"/>
            </p:custDataLst>
            <p:extLst>
              <p:ext uri="{D42A27DB-BD31-4B8C-83A1-F6EECF244321}">
                <p14:modId xmlns:p14="http://schemas.microsoft.com/office/powerpoint/2010/main" val="1480860136"/>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1916F497-1246-431C-9C00-7E29D38961AB}"/>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b="50000"/>
          <a:stretch/>
        </p:blipFill>
        <p:spPr>
          <a:xfrm>
            <a:off x="0" y="3172"/>
            <a:ext cx="12192000" cy="3425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0" name="Slide Number Placeholder 2">
            <a:extLst>
              <a:ext uri="{FF2B5EF4-FFF2-40B4-BE49-F238E27FC236}">
                <a16:creationId xmlns:a16="http://schemas.microsoft.com/office/drawing/2014/main" id="{485B27DE-B205-4D7C-B315-870B1784D35C}"/>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5FA0E987-C639-42B3-92D7-4475C22F65A0}"/>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5" name="Inhaltsplatzhalter 2">
            <a:extLst>
              <a:ext uri="{FF2B5EF4-FFF2-40B4-BE49-F238E27FC236}">
                <a16:creationId xmlns:a16="http://schemas.microsoft.com/office/drawing/2014/main" id="{735F4245-226C-475C-94C2-74442A93355B}"/>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72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A6365C-7E83-4A4E-98EA-442AFF039BBC}"/>
              </a:ext>
            </a:extLst>
          </p:cNvPr>
          <p:cNvGraphicFramePr>
            <a:graphicFrameLocks noChangeAspect="1"/>
          </p:cNvGraphicFramePr>
          <p:nvPr userDrawn="1">
            <p:custDataLst>
              <p:tags r:id="rId1"/>
            </p:custDataLst>
            <p:extLst>
              <p:ext uri="{D42A27DB-BD31-4B8C-83A1-F6EECF244321}">
                <p14:modId xmlns:p14="http://schemas.microsoft.com/office/powerpoint/2010/main" val="151595146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a:extLst>
                          <a:ext uri="{FF2B5EF4-FFF2-40B4-BE49-F238E27FC236}">
                            <a16:creationId xmlns:a16="http://schemas.microsoft.com/office/drawing/2014/main" id="{60A6365C-7E83-4A4E-98EA-442AFF039BBC}"/>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4" name="Picture 3" descr="Background pattern&#10;&#10;Description automatically generated with medium confidence">
            <a:extLst>
              <a:ext uri="{FF2B5EF4-FFF2-40B4-BE49-F238E27FC236}">
                <a16:creationId xmlns:a16="http://schemas.microsoft.com/office/drawing/2014/main" id="{D29641D8-9082-4EBF-BCDC-0FE5CB61C7D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 y="1"/>
            <a:ext cx="12190257" cy="6858980"/>
          </a:xfrm>
          <a:prstGeom prst="rect">
            <a:avLst/>
          </a:prstGeom>
        </p:spPr>
      </p:pic>
      <p:sp>
        <p:nvSpPr>
          <p:cNvPr id="15" name="Textplatzhalter 64">
            <a:extLst>
              <a:ext uri="{FF2B5EF4-FFF2-40B4-BE49-F238E27FC236}">
                <a16:creationId xmlns:a16="http://schemas.microsoft.com/office/drawing/2014/main" id="{682E3AB4-3B3A-4534-A9B0-C30AD8CF060C}"/>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16" name="Untertitel 2">
            <a:extLst>
              <a:ext uri="{FF2B5EF4-FFF2-40B4-BE49-F238E27FC236}">
                <a16:creationId xmlns:a16="http://schemas.microsoft.com/office/drawing/2014/main" id="{BB7E22D7-3167-45CB-A506-21DB351B572E}"/>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8" name="Textplatzhalter 64">
            <a:extLst>
              <a:ext uri="{FF2B5EF4-FFF2-40B4-BE49-F238E27FC236}">
                <a16:creationId xmlns:a16="http://schemas.microsoft.com/office/drawing/2014/main" id="{B5D1E24F-5A0A-4135-8EA5-51DD65C08685}"/>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9" name="Title 10">
            <a:extLst>
              <a:ext uri="{FF2B5EF4-FFF2-40B4-BE49-F238E27FC236}">
                <a16:creationId xmlns:a16="http://schemas.microsoft.com/office/drawing/2014/main" id="{E1459456-A465-427C-9C80-9183665C75BC}"/>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accent2"/>
                </a:solidFill>
                <a:latin typeface="Noto Serif" panose="020B0502040504020204" pitchFamily="34" charset="0"/>
              </a:defRPr>
            </a:lvl1pPr>
          </a:lstStyle>
          <a:p>
            <a:r>
              <a:rPr lang="en-US"/>
              <a:t>Click to Edit Title</a:t>
            </a:r>
          </a:p>
        </p:txBody>
      </p:sp>
      <p:pic>
        <p:nvPicPr>
          <p:cNvPr id="10" name="Picture 9">
            <a:extLst>
              <a:ext uri="{FF2B5EF4-FFF2-40B4-BE49-F238E27FC236}">
                <a16:creationId xmlns:a16="http://schemas.microsoft.com/office/drawing/2014/main" id="{A759D076-34E5-4FDC-8B30-D7E7C78F05D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5735" y="473088"/>
            <a:ext cx="1391808" cy="386617"/>
          </a:xfrm>
          <a:prstGeom prst="rect">
            <a:avLst/>
          </a:prstGeom>
        </p:spPr>
      </p:pic>
    </p:spTree>
    <p:extLst>
      <p:ext uri="{BB962C8B-B14F-4D97-AF65-F5344CB8AC3E}">
        <p14:creationId xmlns:p14="http://schemas.microsoft.com/office/powerpoint/2010/main" val="413810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57716F-99B7-C752-B70E-E841B4829B4F}"/>
              </a:ext>
            </a:extLst>
          </p:cNvPr>
          <p:cNvGraphicFramePr>
            <a:graphicFrameLocks noChangeAspect="1"/>
          </p:cNvGraphicFramePr>
          <p:nvPr userDrawn="1">
            <p:custDataLst>
              <p:tags r:id="rId1"/>
            </p:custDataLst>
            <p:extLst>
              <p:ext uri="{D42A27DB-BD31-4B8C-83A1-F6EECF244321}">
                <p14:modId xmlns:p14="http://schemas.microsoft.com/office/powerpoint/2010/main" val="997386976"/>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3957716F-99B7-C752-B70E-E841B4829B4F}"/>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3172"/>
            <a:ext cx="12192000" cy="6854828"/>
          </a:xfrm>
          <a:prstGeom prst="rect">
            <a:avLst/>
          </a:prstGeom>
        </p:spPr>
      </p:pic>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588F46C3-7B8D-40E5-B829-40069C218381}"/>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9" name="Text Placeholder 7">
            <a:extLst>
              <a:ext uri="{FF2B5EF4-FFF2-40B4-BE49-F238E27FC236}">
                <a16:creationId xmlns:a16="http://schemas.microsoft.com/office/drawing/2014/main" id="{3D4E352E-DF84-424F-B864-98B9BB3F85D9}"/>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spTree>
    <p:extLst>
      <p:ext uri="{BB962C8B-B14F-4D97-AF65-F5344CB8AC3E}">
        <p14:creationId xmlns:p14="http://schemas.microsoft.com/office/powerpoint/2010/main" val="87707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0F89C-914D-4597-A985-148CF6478AB5}"/>
              </a:ext>
            </a:extLst>
          </p:cNvPr>
          <p:cNvGraphicFramePr>
            <a:graphicFrameLocks noChangeAspect="1"/>
          </p:cNvGraphicFramePr>
          <p:nvPr userDrawn="1">
            <p:custDataLst>
              <p:tags r:id="rId1"/>
            </p:custDataLst>
            <p:extLst>
              <p:ext uri="{D42A27DB-BD31-4B8C-83A1-F6EECF244321}">
                <p14:modId xmlns:p14="http://schemas.microsoft.com/office/powerpoint/2010/main" val="61507879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4ED0F89C-914D-4597-A985-148CF6478AB5}"/>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3172"/>
            <a:ext cx="2976033" cy="6854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2">
            <a:extLst>
              <a:ext uri="{FF2B5EF4-FFF2-40B4-BE49-F238E27FC236}">
                <a16:creationId xmlns:a16="http://schemas.microsoft.com/office/drawing/2014/main" id="{D624DDE8-EB2D-4199-A6BE-9B4CD9B2C6D6}"/>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86735561-FA64-4325-9E32-D49AEEDD2404}"/>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4D0966E6-ACC7-4637-983B-D5DFF6AE78F3}"/>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67849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48B783-F7E6-4AC8-8AFB-F3692D047390}"/>
              </a:ext>
            </a:extLst>
          </p:cNvPr>
          <p:cNvGraphicFramePr>
            <a:graphicFrameLocks noChangeAspect="1"/>
          </p:cNvGraphicFramePr>
          <p:nvPr userDrawn="1">
            <p:custDataLst>
              <p:tags r:id="rId1"/>
            </p:custDataLst>
            <p:extLst>
              <p:ext uri="{D42A27DB-BD31-4B8C-83A1-F6EECF244321}">
                <p14:modId xmlns:p14="http://schemas.microsoft.com/office/powerpoint/2010/main" val="90535644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2D48B783-F7E6-4AC8-8AFB-F3692D047390}"/>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3385"/>
          <a:stretch/>
        </p:blipFill>
        <p:spPr>
          <a:xfrm>
            <a:off x="0" y="0"/>
            <a:ext cx="12192000" cy="342794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2" name="Slide Number Placeholder 2">
            <a:extLst>
              <a:ext uri="{FF2B5EF4-FFF2-40B4-BE49-F238E27FC236}">
                <a16:creationId xmlns:a16="http://schemas.microsoft.com/office/drawing/2014/main" id="{7A0913E3-6520-4DE3-AB14-AD2FDC00AF08}"/>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3" name="Title 1">
            <a:extLst>
              <a:ext uri="{FF2B5EF4-FFF2-40B4-BE49-F238E27FC236}">
                <a16:creationId xmlns:a16="http://schemas.microsoft.com/office/drawing/2014/main" id="{0279C29D-A665-4D53-B920-B0D8130C6FCA}"/>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4" name="Inhaltsplatzhalter 2">
            <a:extLst>
              <a:ext uri="{FF2B5EF4-FFF2-40B4-BE49-F238E27FC236}">
                <a16:creationId xmlns:a16="http://schemas.microsoft.com/office/drawing/2014/main" id="{E73E43D3-6770-47D2-B80E-D654FC3477F1}"/>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2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0A43E-B968-14B4-DF05-013F15CFE57F}"/>
              </a:ext>
            </a:extLst>
          </p:cNvPr>
          <p:cNvGraphicFramePr>
            <a:graphicFrameLocks noChangeAspect="1"/>
          </p:cNvGraphicFramePr>
          <p:nvPr userDrawn="1">
            <p:custDataLst>
              <p:tags r:id="rId1"/>
            </p:custDataLst>
            <p:extLst>
              <p:ext uri="{D42A27DB-BD31-4B8C-83A1-F6EECF244321}">
                <p14:modId xmlns:p14="http://schemas.microsoft.com/office/powerpoint/2010/main" val="131237601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EAB0A43E-B968-14B4-DF05-013F15CFE57F}"/>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3172"/>
            <a:ext cx="12192000" cy="6854828"/>
          </a:xfrm>
          <a:prstGeom prst="rect">
            <a:avLst/>
          </a:prstGeom>
        </p:spPr>
      </p:pic>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04A5B3DF-E578-464B-AA71-607CAAD28F5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423768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892759-CC34-4ED0-9AD6-062271E573CD}"/>
              </a:ext>
            </a:extLst>
          </p:cNvPr>
          <p:cNvGraphicFramePr>
            <a:graphicFrameLocks noChangeAspect="1"/>
          </p:cNvGraphicFramePr>
          <p:nvPr userDrawn="1">
            <p:custDataLst>
              <p:tags r:id="rId1"/>
            </p:custDataLst>
            <p:extLst>
              <p:ext uri="{D42A27DB-BD31-4B8C-83A1-F6EECF244321}">
                <p14:modId xmlns:p14="http://schemas.microsoft.com/office/powerpoint/2010/main" val="366128595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45892759-CC34-4ED0-9AD6-062271E573CD}"/>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3172"/>
            <a:ext cx="2976033" cy="6854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2">
            <a:extLst>
              <a:ext uri="{FF2B5EF4-FFF2-40B4-BE49-F238E27FC236}">
                <a16:creationId xmlns:a16="http://schemas.microsoft.com/office/drawing/2014/main" id="{ABC2008B-4331-4D72-84F2-5070DDF32396}"/>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CF6761FC-5692-4F01-91FC-B60A20F8EEAE}"/>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4AE6B948-7101-4D62-8ABA-414A463E30DC}"/>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34991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061E86-B868-40B6-B95B-0FCF1DECA539}"/>
              </a:ext>
            </a:extLst>
          </p:cNvPr>
          <p:cNvGraphicFramePr>
            <a:graphicFrameLocks noChangeAspect="1"/>
          </p:cNvGraphicFramePr>
          <p:nvPr userDrawn="1">
            <p:custDataLst>
              <p:tags r:id="rId1"/>
            </p:custDataLst>
            <p:extLst>
              <p:ext uri="{D42A27DB-BD31-4B8C-83A1-F6EECF244321}">
                <p14:modId xmlns:p14="http://schemas.microsoft.com/office/powerpoint/2010/main" val="185564689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6061E86-B868-40B6-B95B-0FCF1DECA539}"/>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b="50000"/>
          <a:stretch/>
        </p:blipFill>
        <p:spPr>
          <a:xfrm>
            <a:off x="0" y="3172"/>
            <a:ext cx="12192000" cy="3425828"/>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1" name="Slide Number Placeholder 2">
            <a:extLst>
              <a:ext uri="{FF2B5EF4-FFF2-40B4-BE49-F238E27FC236}">
                <a16:creationId xmlns:a16="http://schemas.microsoft.com/office/drawing/2014/main" id="{7584488B-8B5D-4972-B035-7F438116822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2" name="Title 1">
            <a:extLst>
              <a:ext uri="{FF2B5EF4-FFF2-40B4-BE49-F238E27FC236}">
                <a16:creationId xmlns:a16="http://schemas.microsoft.com/office/drawing/2014/main" id="{23E06B08-D2C9-49AD-A368-68F9627D5B2D}"/>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4" name="Inhaltsplatzhalter 2">
            <a:extLst>
              <a:ext uri="{FF2B5EF4-FFF2-40B4-BE49-F238E27FC236}">
                <a16:creationId xmlns:a16="http://schemas.microsoft.com/office/drawing/2014/main" id="{414016E8-AB94-477D-B7D2-7F88DC1C4F3D}"/>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054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yout X-Layer indigo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68117A-F344-4AC9-A70D-DDCAD510C5FF}"/>
              </a:ext>
            </a:extLst>
          </p:cNvPr>
          <p:cNvGraphicFramePr>
            <a:graphicFrameLocks noChangeAspect="1"/>
          </p:cNvGraphicFramePr>
          <p:nvPr userDrawn="1">
            <p:custDataLst>
              <p:tags r:id="rId1"/>
            </p:custDataLst>
            <p:extLst>
              <p:ext uri="{D42A27DB-BD31-4B8C-83A1-F6EECF244321}">
                <p14:modId xmlns:p14="http://schemas.microsoft.com/office/powerpoint/2010/main" val="184551648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9B68117A-F344-4AC9-A70D-DDCAD510C5FF}"/>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10" name="Picture 9" descr="Background pattern&#10;&#10;Description automatically generated">
            <a:extLst>
              <a:ext uri="{FF2B5EF4-FFF2-40B4-BE49-F238E27FC236}">
                <a16:creationId xmlns:a16="http://schemas.microsoft.com/office/drawing/2014/main" id="{831362F1-CD22-4E72-9754-72A292A38D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172"/>
            <a:ext cx="12192000" cy="6854828"/>
          </a:xfrm>
          <a:prstGeom prst="rect">
            <a:avLst/>
          </a:prstGeom>
        </p:spPr>
      </p:pic>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575734" y="2325898"/>
            <a:ext cx="11040533" cy="1229968"/>
          </a:xfrm>
          <a:prstGeom prst="rect">
            <a:avLst/>
          </a:prstGeom>
        </p:spPr>
        <p:txBody>
          <a:bodyPr lIns="0" tIns="0" rIns="0" bIns="0">
            <a:spAutoFit/>
          </a:bodyPr>
          <a:lstStyle>
            <a:lvl1pPr algn="ctr" rtl="0">
              <a:lnSpc>
                <a:spcPct val="100000"/>
              </a:lnSpc>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04A5B3DF-E578-464B-AA71-607CAAD28F5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Tree>
    <p:extLst>
      <p:ext uri="{BB962C8B-B14F-4D97-AF65-F5344CB8AC3E}">
        <p14:creationId xmlns:p14="http://schemas.microsoft.com/office/powerpoint/2010/main" val="119085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yout X-Layer indigo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68117A-F344-4AC9-A70D-DDCAD510C5FF}"/>
              </a:ext>
            </a:extLst>
          </p:cNvPr>
          <p:cNvGraphicFramePr>
            <a:graphicFrameLocks noChangeAspect="1"/>
          </p:cNvGraphicFramePr>
          <p:nvPr userDrawn="1">
            <p:custDataLst>
              <p:tags r:id="rId1"/>
            </p:custDataLst>
            <p:extLst>
              <p:ext uri="{D42A27DB-BD31-4B8C-83A1-F6EECF244321}">
                <p14:modId xmlns:p14="http://schemas.microsoft.com/office/powerpoint/2010/main" val="257357479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B68117A-F344-4AC9-A70D-DDCAD510C5FF}"/>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pic>
        <p:nvPicPr>
          <p:cNvPr id="10" name="Picture 9" descr="Background pattern&#10;&#10;Description automatically generated">
            <a:extLst>
              <a:ext uri="{FF2B5EF4-FFF2-40B4-BE49-F238E27FC236}">
                <a16:creationId xmlns:a16="http://schemas.microsoft.com/office/drawing/2014/main" id="{831362F1-CD22-4E72-9754-72A292A38DC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3172"/>
            <a:ext cx="2976033" cy="6854828"/>
          </a:xfrm>
          <a:prstGeom prst="rect">
            <a:avLst/>
          </a:prstGeom>
        </p:spPr>
      </p:pic>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04A5B3DF-E578-464B-AA71-607CAAD28F5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1" name="Title 1">
            <a:extLst>
              <a:ext uri="{FF2B5EF4-FFF2-40B4-BE49-F238E27FC236}">
                <a16:creationId xmlns:a16="http://schemas.microsoft.com/office/drawing/2014/main" id="{F3514046-88F8-4F9C-84B0-9750FCBD12E8}"/>
              </a:ext>
            </a:extLst>
          </p:cNvPr>
          <p:cNvSpPr>
            <a:spLocks noGrp="1"/>
          </p:cNvSpPr>
          <p:nvPr>
            <p:ph type="title" hasCustomPrompt="1"/>
          </p:nvPr>
        </p:nvSpPr>
        <p:spPr>
          <a:xfrm>
            <a:off x="575387" y="1414640"/>
            <a:ext cx="2052036" cy="819978"/>
          </a:xfrm>
          <a:prstGeom prst="rect">
            <a:avLst/>
          </a:prstGeom>
        </p:spPr>
        <p:txBody>
          <a:bodyPr vert="horz" wrap="square"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2" name="Inhaltsplatzhalter 2">
            <a:extLst>
              <a:ext uri="{FF2B5EF4-FFF2-40B4-BE49-F238E27FC236}">
                <a16:creationId xmlns:a16="http://schemas.microsoft.com/office/drawing/2014/main" id="{A1BD0F84-ACE6-4F3F-BF08-06EB3C8F0F52}"/>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0"/>
            <a:endParaRPr lang="en-US"/>
          </a:p>
          <a:p>
            <a:pPr lvl="0"/>
            <a:endParaRPr lang="en-US"/>
          </a:p>
          <a:p>
            <a:pPr lvl="0"/>
            <a:endParaRPr lang="en-US"/>
          </a:p>
          <a:p>
            <a:pPr lvl="0"/>
            <a:endParaRPr lang="en-US"/>
          </a:p>
          <a:p>
            <a:pPr lvl="0"/>
            <a:endParaRPr lang="en-US"/>
          </a:p>
          <a:p>
            <a:pPr lvl="0"/>
            <a:endParaRPr lang="en-US"/>
          </a:p>
        </p:txBody>
      </p:sp>
      <p:pic>
        <p:nvPicPr>
          <p:cNvPr id="9" name="Picture 2" descr="\\cooper\Projects\SIX Group - officeatwork\Projects\PowerPoint\2015\Desktriptoren\SIX Innen.png">
            <a:extLst>
              <a:ext uri="{FF2B5EF4-FFF2-40B4-BE49-F238E27FC236}">
                <a16:creationId xmlns:a16="http://schemas.microsoft.com/office/drawing/2014/main" id="{F42B2CD8-079E-4A5A-B0EF-449291BDF0C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1274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yout X-Layer indigo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68117A-F344-4AC9-A70D-DDCAD510C5FF}"/>
              </a:ext>
            </a:extLst>
          </p:cNvPr>
          <p:cNvGraphicFramePr>
            <a:graphicFrameLocks noChangeAspect="1"/>
          </p:cNvGraphicFramePr>
          <p:nvPr userDrawn="1">
            <p:custDataLst>
              <p:tags r:id="rId1"/>
            </p:custDataLst>
            <p:extLst>
              <p:ext uri="{D42A27DB-BD31-4B8C-83A1-F6EECF244321}">
                <p14:modId xmlns:p14="http://schemas.microsoft.com/office/powerpoint/2010/main" val="352610755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9B68117A-F344-4AC9-A70D-DDCAD510C5FF}"/>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10" name="Picture 9" descr="Background pattern&#10;&#10;Description automatically generated">
            <a:extLst>
              <a:ext uri="{FF2B5EF4-FFF2-40B4-BE49-F238E27FC236}">
                <a16:creationId xmlns:a16="http://schemas.microsoft.com/office/drawing/2014/main" id="{831362F1-CD22-4E72-9754-72A292A38DC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0" y="3172"/>
            <a:ext cx="12192000" cy="3425828"/>
          </a:xfrm>
          <a:prstGeom prst="rect">
            <a:avLst/>
          </a:prstGeom>
        </p:spPr>
      </p:pic>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t="9693" r="58924" b="1"/>
          <a:stretch/>
        </p:blipFill>
        <p:spPr>
          <a:xfrm>
            <a:off x="10752667" y="6307011"/>
            <a:ext cx="863600" cy="287409"/>
          </a:xfrm>
          <a:prstGeom prst="rect">
            <a:avLst/>
          </a:prstGeom>
        </p:spPr>
      </p:pic>
      <p:sp>
        <p:nvSpPr>
          <p:cNvPr id="6" name="Slide Number Placeholder 2">
            <a:extLst>
              <a:ext uri="{FF2B5EF4-FFF2-40B4-BE49-F238E27FC236}">
                <a16:creationId xmlns:a16="http://schemas.microsoft.com/office/drawing/2014/main" id="{04A5B3DF-E578-464B-AA71-607CAAD28F5B}"/>
              </a:ext>
            </a:extLst>
          </p:cNvPr>
          <p:cNvSpPr>
            <a:spLocks noGrp="1"/>
          </p:cNvSpPr>
          <p:nvPr>
            <p:ph type="sldNum" sz="quarter" idx="10"/>
          </p:nvPr>
        </p:nvSpPr>
        <p:spPr>
          <a:xfrm>
            <a:off x="575733" y="6296114"/>
            <a:ext cx="623541" cy="191821"/>
          </a:xfrm>
          <a:prstGeom prst="rect">
            <a:avLst/>
          </a:prstGeom>
        </p:spPr>
        <p:txBody>
          <a:bodyPr lIns="0" tIns="0" rIns="0" bIns="0"/>
          <a:lstStyle>
            <a:lvl1pPr rtl="0">
              <a:defRPr sz="1066">
                <a:solidFill>
                  <a:schemeClr val="accent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a:p>
        </p:txBody>
      </p:sp>
      <p:sp>
        <p:nvSpPr>
          <p:cNvPr id="13" name="Inhaltsplatzhalter 2">
            <a:extLst>
              <a:ext uri="{FF2B5EF4-FFF2-40B4-BE49-F238E27FC236}">
                <a16:creationId xmlns:a16="http://schemas.microsoft.com/office/drawing/2014/main" id="{DE956857-B111-4820-BF1A-2AD1757D84FE}"/>
              </a:ext>
            </a:extLst>
          </p:cNvPr>
          <p:cNvSpPr>
            <a:spLocks noGrp="1"/>
          </p:cNvSpPr>
          <p:nvPr>
            <p:ph idx="1" hasCustomPrompt="1"/>
            <p:custDataLst>
              <p:tags r:id="rId2"/>
            </p:custDataLst>
          </p:nvPr>
        </p:nvSpPr>
        <p:spPr>
          <a:xfrm>
            <a:off x="581271" y="1414641"/>
            <a:ext cx="11024413" cy="1535410"/>
          </a:xfrm>
          <a:prstGeom prst="rect">
            <a:avLst/>
          </a:prstGeom>
        </p:spPr>
        <p:txBody>
          <a:bodyPr lIns="0" tIns="0" rIns="0" bIns="0">
            <a:normAutofit/>
          </a:bodyPr>
          <a:lstStyle>
            <a:lvl1pPr marL="0" indent="0" rtl="0">
              <a:buFont typeface="Arial" panose="020B0604020202020204" pitchFamily="34" charset="0"/>
              <a:buNone/>
              <a:defRPr sz="186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4" name="Title 1">
            <a:extLst>
              <a:ext uri="{FF2B5EF4-FFF2-40B4-BE49-F238E27FC236}">
                <a16:creationId xmlns:a16="http://schemas.microsoft.com/office/drawing/2014/main" id="{ED052344-3724-4504-9BF8-7E4E1C203C7A}"/>
              </a:ext>
            </a:extLst>
          </p:cNvPr>
          <p:cNvSpPr>
            <a:spLocks noGrp="1"/>
          </p:cNvSpPr>
          <p:nvPr>
            <p:ph type="title" hasCustomPrompt="1"/>
          </p:nvPr>
        </p:nvSpPr>
        <p:spPr>
          <a:xfrm>
            <a:off x="575388" y="465976"/>
            <a:ext cx="11030297" cy="409990"/>
          </a:xfrm>
          <a:prstGeom prst="rect">
            <a:avLst/>
          </a:prstGeom>
        </p:spPr>
        <p:txBody>
          <a:bodyPr vert="horz" lIns="0" tIns="0" rIns="0" bIns="0">
            <a:spAutoFit/>
          </a:bodyPr>
          <a:lstStyle>
            <a:lvl1pPr rtl="0">
              <a:defRPr sz="2664"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5" name="Inhaltsplatzhalter 2">
            <a:extLst>
              <a:ext uri="{FF2B5EF4-FFF2-40B4-BE49-F238E27FC236}">
                <a16:creationId xmlns:a16="http://schemas.microsoft.com/office/drawing/2014/main" id="{153D20B8-CD84-42D9-925E-E4C56F437E22}"/>
              </a:ext>
            </a:extLst>
          </p:cNvPr>
          <p:cNvSpPr>
            <a:spLocks noGrp="1"/>
          </p:cNvSpPr>
          <p:nvPr>
            <p:ph idx="11" hasCustomPrompt="1"/>
            <p:custDataLst>
              <p:tags r:id="rId3"/>
            </p:custDataLst>
          </p:nvPr>
        </p:nvSpPr>
        <p:spPr>
          <a:xfrm>
            <a:off x="579425" y="3746917"/>
            <a:ext cx="11026259" cy="1639956"/>
          </a:xfrm>
          <a:prstGeom prst="rect">
            <a:avLst/>
          </a:prstGeom>
        </p:spPr>
        <p:txBody>
          <a:bodyPr wrap="square" lIns="0" tIns="0" rIns="0" bIns="0">
            <a:spAutoFit/>
          </a:bodyPr>
          <a:lstStyle>
            <a:lvl1pPr marL="245306" indent="-245306" rtl="0">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rtl="0">
              <a:lnSpc>
                <a:spcPct val="100000"/>
              </a:lnSpc>
              <a:spcBef>
                <a:spcPts val="799"/>
              </a:spcBef>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9" name="Picture 2" descr="\\cooper\Projects\SIX Group - officeatwork\Projects\PowerPoint\2015\Desktriptoren\SIX Innen.png">
            <a:extLst>
              <a:ext uri="{FF2B5EF4-FFF2-40B4-BE49-F238E27FC236}">
                <a16:creationId xmlns:a16="http://schemas.microsoft.com/office/drawing/2014/main" id="{A2D63328-68BC-4B96-A350-48EED41F551E}"/>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2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FC3555-5920-45A1-BFF9-BFA0671D002A}"/>
              </a:ext>
            </a:extLst>
          </p:cNvPr>
          <p:cNvGraphicFramePr>
            <a:graphicFrameLocks noChangeAspect="1"/>
          </p:cNvGraphicFramePr>
          <p:nvPr userDrawn="1">
            <p:custDataLst>
              <p:tags r:id="rId1"/>
            </p:custDataLst>
            <p:extLst>
              <p:ext uri="{D42A27DB-BD31-4B8C-83A1-F6EECF244321}">
                <p14:modId xmlns:p14="http://schemas.microsoft.com/office/powerpoint/2010/main" val="73450058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EEFC3555-5920-45A1-BFF9-BFA0671D002A}"/>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E375AAF7-B345-4760-A83F-1174AAAD9BB7}"/>
              </a:ext>
            </a:extLst>
          </p:cNvPr>
          <p:cNvSpPr txBox="1"/>
          <p:nvPr userDrawn="1"/>
        </p:nvSpPr>
        <p:spPr>
          <a:xfrm>
            <a:off x="575387" y="1406282"/>
            <a:ext cx="9178213" cy="4455040"/>
          </a:xfrm>
          <a:prstGeom prst="rect">
            <a:avLst/>
          </a:prstGeom>
          <a:noFill/>
        </p:spPr>
        <p:txBody>
          <a:bodyPr wrap="square" lIns="0" tIns="0" rIns="0" bIns="0" rtlCol="0">
            <a:noAutofit/>
          </a:bodyPr>
          <a:lstStyle/>
          <a:p>
            <a:pPr marL="0" indent="0" algn="l" rtl="0">
              <a:lnSpc>
                <a:spcPct val="114000"/>
              </a:lnSpc>
              <a:spcBef>
                <a:spcPts val="320"/>
              </a:spcBef>
              <a:spcAft>
                <a:spcPts val="1599"/>
              </a:spcAft>
              <a:buNone/>
            </a:pPr>
            <a:r>
              <a:rPr lang="en-US" sz="1132">
                <a:solidFill>
                  <a:schemeClr val="accent2"/>
                </a:solidFill>
              </a:rPr>
              <a:t>This material has been prepared by SIX Group Ltd, its subsidiaries, affiliates and/or their branches (together, “SIX”) for the exclusive </a:t>
            </a:r>
            <a:br>
              <a:rPr lang="en-US" sz="1132">
                <a:solidFill>
                  <a:schemeClr val="accent2"/>
                </a:solidFill>
              </a:rPr>
            </a:br>
            <a:r>
              <a:rPr lang="en-US" sz="1132">
                <a:solidFill>
                  <a:schemeClr val="accent2"/>
                </a:solidFill>
              </a:rPr>
              <a:t>use of the persons to whom SIX delivers this material. This material or any of its content is not to be construed as a binding agreement, recommendation, investment advice, solicitation, invitation or offer to buy or sell financial information, products, solutions or services. It is solely for information purposes and is subject to change without notice at any time. SIX is under no obligation to update, revise or keep current the content of this material. No representation, warranty, guarantee or undertaking – express or implied – is or will be given by SIX as to the accuracy, completeness, sufficiency, suitability or reliability of the content of this material. Neither SIX nor any </a:t>
            </a:r>
            <a:br>
              <a:rPr lang="en-US" sz="1132">
                <a:solidFill>
                  <a:schemeClr val="accent2"/>
                </a:solidFill>
              </a:rPr>
            </a:br>
            <a:r>
              <a:rPr lang="en-US" sz="1132">
                <a:solidFill>
                  <a:schemeClr val="accent2"/>
                </a:solidFill>
              </a:rPr>
              <a:t>of its directors, officers, employees, representatives or agents accept any liability for any loss, damage or injury arising out of or in relation to this material. This material is property of SIX and may not be printed, copied, reproduced, published, passed on, disclosed or distributed in any form without the express prior written consent of SIX. </a:t>
            </a:r>
          </a:p>
          <a:p>
            <a:pPr marL="0" indent="0" algn="l" rtl="0">
              <a:lnSpc>
                <a:spcPct val="114000"/>
              </a:lnSpc>
              <a:spcBef>
                <a:spcPts val="320"/>
              </a:spcBef>
              <a:spcAft>
                <a:spcPts val="1599"/>
              </a:spcAft>
              <a:buNone/>
            </a:pPr>
            <a:br>
              <a:rPr lang="en-US" sz="1132">
                <a:solidFill>
                  <a:schemeClr val="accent2"/>
                </a:solidFill>
              </a:rPr>
            </a:br>
            <a:r>
              <a:rPr lang="en-US" sz="1132">
                <a:solidFill>
                  <a:schemeClr val="accent2"/>
                </a:solidFill>
              </a:rPr>
              <a:t>© 2023 SIX Group Ltd. All rights reserved.</a:t>
            </a:r>
          </a:p>
        </p:txBody>
      </p:sp>
      <p:sp>
        <p:nvSpPr>
          <p:cNvPr id="8" name="TextBox 7">
            <a:extLst>
              <a:ext uri="{FF2B5EF4-FFF2-40B4-BE49-F238E27FC236}">
                <a16:creationId xmlns:a16="http://schemas.microsoft.com/office/drawing/2014/main" id="{E8F7BBB1-5FE6-4748-82F0-9E8B899B3934}"/>
              </a:ext>
            </a:extLst>
          </p:cNvPr>
          <p:cNvSpPr txBox="1"/>
          <p:nvPr userDrawn="1"/>
        </p:nvSpPr>
        <p:spPr>
          <a:xfrm>
            <a:off x="575388" y="448318"/>
            <a:ext cx="8886437" cy="862801"/>
          </a:xfrm>
          <a:prstGeom prst="rect">
            <a:avLst/>
          </a:prstGeom>
          <a:noFill/>
        </p:spPr>
        <p:txBody>
          <a:bodyPr wrap="square" lIns="0" tIns="0" rIns="0" bIns="0" rtlCol="0">
            <a:noAutofit/>
          </a:bodyPr>
          <a:lstStyle/>
          <a:p>
            <a:pPr algn="l" rtl="0"/>
            <a:r>
              <a:rPr lang="en-US" sz="2398" b="1">
                <a:solidFill>
                  <a:schemeClr val="accent2"/>
                </a:solidFill>
              </a:rPr>
              <a:t>Disclaimer</a:t>
            </a:r>
            <a:endParaRPr lang="en-US" sz="2398" b="1">
              <a:solidFill>
                <a:schemeClr val="accent2"/>
              </a:solidFill>
              <a:latin typeface="Noto Sans" panose="020B0502040504020204" pitchFamily="34" charset="0"/>
            </a:endParaRPr>
          </a:p>
        </p:txBody>
      </p:sp>
      <p:pic>
        <p:nvPicPr>
          <p:cNvPr id="10" name="Picture 2" descr="\\cooper\Projects\SIX Group - officeatwork\Projects\PowerPoint\2015\Desktriptoren\SIX Innen.png">
            <a:extLst>
              <a:ext uri="{FF2B5EF4-FFF2-40B4-BE49-F238E27FC236}">
                <a16:creationId xmlns:a16="http://schemas.microsoft.com/office/drawing/2014/main" id="{E53406B6-0BCA-4C7B-ADD4-C4AE8BB23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24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5">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4A5727-FC50-4E31-87F7-BEC9F7F22442}"/>
              </a:ext>
            </a:extLst>
          </p:cNvPr>
          <p:cNvGraphicFramePr>
            <a:graphicFrameLocks noChangeAspect="1"/>
          </p:cNvGraphicFramePr>
          <p:nvPr userDrawn="1">
            <p:custDataLst>
              <p:tags r:id="rId1"/>
            </p:custDataLst>
            <p:extLst>
              <p:ext uri="{D42A27DB-BD31-4B8C-83A1-F6EECF244321}">
                <p14:modId xmlns:p14="http://schemas.microsoft.com/office/powerpoint/2010/main" val="156269277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B44A5727-FC50-4E31-87F7-BEC9F7F22442}"/>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6" name="Picture 5" descr="Audio waveform abstract on neon colors">
            <a:extLst>
              <a:ext uri="{FF2B5EF4-FFF2-40B4-BE49-F238E27FC236}">
                <a16:creationId xmlns:a16="http://schemas.microsoft.com/office/drawing/2014/main" id="{EAE4040A-5CB8-4AAB-A52A-814BA8DB33DA}"/>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0" y="-622570"/>
            <a:ext cx="12192000" cy="7480571"/>
          </a:xfrm>
          <a:prstGeom prst="rect">
            <a:avLst/>
          </a:prstGeom>
        </p:spPr>
      </p:pic>
      <p:sp>
        <p:nvSpPr>
          <p:cNvPr id="10" name="Textplatzhalter 64">
            <a:extLst>
              <a:ext uri="{FF2B5EF4-FFF2-40B4-BE49-F238E27FC236}">
                <a16:creationId xmlns:a16="http://schemas.microsoft.com/office/drawing/2014/main" id="{AC7F66C7-0D32-4585-A847-FD39598C6787}"/>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11" name="Untertitel 2">
            <a:extLst>
              <a:ext uri="{FF2B5EF4-FFF2-40B4-BE49-F238E27FC236}">
                <a16:creationId xmlns:a16="http://schemas.microsoft.com/office/drawing/2014/main" id="{D3F50C2A-4DF7-46C9-92BA-6D73A4D9EAD4}"/>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6" name="Textplatzhalter 64">
            <a:extLst>
              <a:ext uri="{FF2B5EF4-FFF2-40B4-BE49-F238E27FC236}">
                <a16:creationId xmlns:a16="http://schemas.microsoft.com/office/drawing/2014/main" id="{35059C09-22CA-41FE-AD4E-55DBC09999B6}"/>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9" name="Title 10">
            <a:extLst>
              <a:ext uri="{FF2B5EF4-FFF2-40B4-BE49-F238E27FC236}">
                <a16:creationId xmlns:a16="http://schemas.microsoft.com/office/drawing/2014/main" id="{B8D3B4CE-9313-428C-8172-B36EC44BD2BC}"/>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bg1"/>
                </a:solidFill>
                <a:latin typeface="Noto Serif" panose="020B0502040504020204" pitchFamily="34" charset="0"/>
              </a:defRPr>
            </a:lvl1pPr>
          </a:lstStyle>
          <a:p>
            <a:r>
              <a:rPr lang="en-US"/>
              <a:t>Click to Edit Title</a:t>
            </a:r>
          </a:p>
        </p:txBody>
      </p:sp>
      <p:pic>
        <p:nvPicPr>
          <p:cNvPr id="12" name="Graphic 11">
            <a:extLst>
              <a:ext uri="{FF2B5EF4-FFF2-40B4-BE49-F238E27FC236}">
                <a16:creationId xmlns:a16="http://schemas.microsoft.com/office/drawing/2014/main" id="{75959A69-422A-45CB-BF34-9DE90587114F}"/>
              </a:ext>
            </a:extLst>
          </p:cNvPr>
          <p:cNvPicPr>
            <a:picLocks noChangeAspect="1"/>
          </p:cNvPicPr>
          <p:nvPr userDrawn="1"/>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t="9693" r="58924" b="1"/>
          <a:stretch/>
        </p:blipFill>
        <p:spPr>
          <a:xfrm>
            <a:off x="575733" y="453680"/>
            <a:ext cx="1391808" cy="463198"/>
          </a:xfrm>
          <a:prstGeom prst="rect">
            <a:avLst/>
          </a:prstGeom>
        </p:spPr>
      </p:pic>
    </p:spTree>
    <p:extLst>
      <p:ext uri="{BB962C8B-B14F-4D97-AF65-F5344CB8AC3E}">
        <p14:creationId xmlns:p14="http://schemas.microsoft.com/office/powerpoint/2010/main" val="1589835576"/>
      </p:ext>
    </p:extLst>
  </p:cSld>
  <p:clrMapOvr>
    <a:masterClrMapping/>
  </p:clrMapOvr>
  <p:hf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6EAC60-50D3-63CA-3BC3-BC96F12CAB0C}"/>
              </a:ext>
            </a:extLst>
          </p:cNvPr>
          <p:cNvSpPr>
            <a:spLocks noGrp="1"/>
          </p:cNvSpPr>
          <p:nvPr>
            <p:ph type="ctrTitle"/>
          </p:nvPr>
        </p:nvSpPr>
        <p:spPr>
          <a:xfrm>
            <a:off x="1524000" y="1122363"/>
            <a:ext cx="9144000" cy="2387600"/>
          </a:xfrm>
        </p:spPr>
        <p:txBody>
          <a:bodyPr anchor="b"/>
          <a:lstStyle>
            <a:lvl1pPr algn="ctr">
              <a:defRPr sz="5994"/>
            </a:lvl1pPr>
          </a:lstStyle>
          <a:p>
            <a:r>
              <a:rPr lang="fr-FR"/>
              <a:t>Modifiez le style du titre</a:t>
            </a:r>
            <a:endParaRPr lang="fr-CH"/>
          </a:p>
        </p:txBody>
      </p:sp>
      <p:sp>
        <p:nvSpPr>
          <p:cNvPr id="3" name="Sous-titre 2">
            <a:extLst>
              <a:ext uri="{FF2B5EF4-FFF2-40B4-BE49-F238E27FC236}">
                <a16:creationId xmlns:a16="http://schemas.microsoft.com/office/drawing/2014/main" id="{9ED1161D-06AE-57BA-AC97-20F4F398C19C}"/>
              </a:ext>
            </a:extLst>
          </p:cNvPr>
          <p:cNvSpPr>
            <a:spLocks noGrp="1"/>
          </p:cNvSpPr>
          <p:nvPr>
            <p:ph type="subTitle" idx="1"/>
          </p:nvPr>
        </p:nvSpPr>
        <p:spPr>
          <a:xfrm>
            <a:off x="1524000" y="3602039"/>
            <a:ext cx="9144000" cy="1655761"/>
          </a:xfrm>
        </p:spPr>
        <p:txBody>
          <a:bodyPr/>
          <a:lstStyle>
            <a:lvl1pPr marL="0" indent="0" algn="ctr">
              <a:buNone/>
              <a:defRPr sz="2398"/>
            </a:lvl1pPr>
            <a:lvl2pPr marL="456777" indent="0" algn="ctr">
              <a:buNone/>
              <a:defRPr sz="1998"/>
            </a:lvl2pPr>
            <a:lvl3pPr marL="913554" indent="0" algn="ctr">
              <a:buNone/>
              <a:defRPr sz="1798"/>
            </a:lvl3pPr>
            <a:lvl4pPr marL="1370331" indent="0" algn="ctr">
              <a:buNone/>
              <a:defRPr sz="1599"/>
            </a:lvl4pPr>
            <a:lvl5pPr marL="1827108" indent="0" algn="ctr">
              <a:buNone/>
              <a:defRPr sz="1599"/>
            </a:lvl5pPr>
            <a:lvl6pPr marL="2283885" indent="0" algn="ctr">
              <a:buNone/>
              <a:defRPr sz="1599"/>
            </a:lvl6pPr>
            <a:lvl7pPr marL="2740663" indent="0" algn="ctr">
              <a:buNone/>
              <a:defRPr sz="1599"/>
            </a:lvl7pPr>
            <a:lvl8pPr marL="3197440" indent="0" algn="ctr">
              <a:buNone/>
              <a:defRPr sz="1599"/>
            </a:lvl8pPr>
            <a:lvl9pPr marL="3654217" indent="0" algn="ctr">
              <a:buNone/>
              <a:defRPr sz="1599"/>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7F0D6A56-C471-E648-0E91-2FBE8E5684C1}"/>
              </a:ext>
            </a:extLst>
          </p:cNvPr>
          <p:cNvSpPr>
            <a:spLocks noGrp="1"/>
          </p:cNvSpPr>
          <p:nvPr>
            <p:ph type="dt" sz="half" idx="10"/>
          </p:nvPr>
        </p:nvSpPr>
        <p:spPr/>
        <p:txBody>
          <a:bodyPr/>
          <a:lstStyle/>
          <a:p>
            <a:fld id="{5808011F-7CF1-4C82-AF21-590180475CFA}" type="datetimeFigureOut">
              <a:rPr lang="fr-CH" smtClean="0"/>
              <a:t>10.03.2025</a:t>
            </a:fld>
            <a:endParaRPr lang="fr-CH"/>
          </a:p>
        </p:txBody>
      </p:sp>
      <p:sp>
        <p:nvSpPr>
          <p:cNvPr id="5" name="Espace réservé du pied de page 4">
            <a:extLst>
              <a:ext uri="{FF2B5EF4-FFF2-40B4-BE49-F238E27FC236}">
                <a16:creationId xmlns:a16="http://schemas.microsoft.com/office/drawing/2014/main" id="{DBF5A8A0-73CF-3077-073A-A238F2D2BFF3}"/>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8CDA2003-C119-853C-4B44-7ABA1420C26C}"/>
              </a:ext>
            </a:extLst>
          </p:cNvPr>
          <p:cNvSpPr>
            <a:spLocks noGrp="1"/>
          </p:cNvSpPr>
          <p:nvPr>
            <p:ph type="sldNum" sz="quarter" idx="12"/>
          </p:nvPr>
        </p:nvSpPr>
        <p:spPr/>
        <p:txBody>
          <a:bodyPr/>
          <a:lstStyle/>
          <a:p>
            <a:fld id="{9BC3CF0D-728F-4A02-8171-C08FFC7C4467}" type="slidenum">
              <a:rPr lang="fr-CH" smtClean="0"/>
              <a:t>‹#›</a:t>
            </a:fld>
            <a:endParaRPr lang="fr-CH"/>
          </a:p>
        </p:txBody>
      </p:sp>
    </p:spTree>
    <p:extLst>
      <p:ext uri="{BB962C8B-B14F-4D97-AF65-F5344CB8AC3E}">
        <p14:creationId xmlns:p14="http://schemas.microsoft.com/office/powerpoint/2010/main" val="29600363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Layout X-Layer red 2">
    <p:spTree>
      <p:nvGrpSpPr>
        <p:cNvPr id="1" name=""/>
        <p:cNvGrpSpPr/>
        <p:nvPr/>
      </p:nvGrpSpPr>
      <p:grpSpPr>
        <a:xfrm>
          <a:off x="0" y="0"/>
          <a:ext cx="0" cy="0"/>
          <a:chOff x="0" y="0"/>
          <a:chExt cx="0" cy="0"/>
        </a:xfrm>
      </p:grpSpPr>
      <p:pic>
        <p:nvPicPr>
          <p:cNvPr id="8" name="Picture 7" descr="A tall building with a glass wall&#10;&#10;Description automatically generated with medium confidence">
            <a:extLst>
              <a:ext uri="{FF2B5EF4-FFF2-40B4-BE49-F238E27FC236}">
                <a16:creationId xmlns:a16="http://schemas.microsoft.com/office/drawing/2014/main" id="{C9F6E99E-D88A-DBA8-F6E1-4A9668A5CE6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2976000" cy="6857650"/>
          </a:xfrm>
          <a:prstGeom prst="rect">
            <a:avLst/>
          </a:prstGeom>
        </p:spPr>
      </p:pic>
      <p:sp>
        <p:nvSpPr>
          <p:cNvPr id="2" name="Rectangle 1">
            <a:extLst>
              <a:ext uri="{FF2B5EF4-FFF2-40B4-BE49-F238E27FC236}">
                <a16:creationId xmlns:a16="http://schemas.microsoft.com/office/drawing/2014/main" id="{D090C82F-0A11-09AF-BC2E-0F5069C2A54C}"/>
              </a:ext>
            </a:extLst>
          </p:cNvPr>
          <p:cNvSpPr/>
          <p:nvPr userDrawn="1"/>
        </p:nvSpPr>
        <p:spPr bwMode="gray">
          <a:xfrm>
            <a:off x="1" y="1"/>
            <a:ext cx="2976033" cy="6858000"/>
          </a:xfrm>
          <a:prstGeom prst="rect">
            <a:avLst/>
          </a:prstGeom>
          <a:solidFill>
            <a:srgbClr val="5C1B5F">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en-150" sz="2398">
              <a:latin typeface="Noto Sans" panose="020B0502040504020204" pitchFamily="34" charset="0"/>
              <a:ea typeface="Noto Sans" panose="020B0502040504020204" pitchFamily="34" charset="0"/>
            </a:endParaRPr>
          </a:p>
        </p:txBody>
      </p:sp>
      <p:graphicFrame>
        <p:nvGraphicFramePr>
          <p:cNvPr id="5" name="Object 4" hidden="1">
            <a:extLst>
              <a:ext uri="{FF2B5EF4-FFF2-40B4-BE49-F238E27FC236}">
                <a16:creationId xmlns:a16="http://schemas.microsoft.com/office/drawing/2014/main" id="{0C89737F-049E-4090-86C2-3EB817FB12BD}"/>
              </a:ext>
            </a:extLst>
          </p:cNvPr>
          <p:cNvGraphicFramePr>
            <a:graphicFrameLocks noChangeAspect="1"/>
          </p:cNvGraphicFramePr>
          <p:nvPr userDrawn="1">
            <p:custDataLst>
              <p:tags r:id="rId1"/>
            </p:custDataLst>
            <p:extLst>
              <p:ext uri="{D42A27DB-BD31-4B8C-83A1-F6EECF244321}">
                <p14:modId xmlns:p14="http://schemas.microsoft.com/office/powerpoint/2010/main" val="263942106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0C89737F-049E-4090-86C2-3EB817FB12BD}"/>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sp>
        <p:nvSpPr>
          <p:cNvPr id="9" name="Slide Number Placeholder 2">
            <a:extLst>
              <a:ext uri="{FF2B5EF4-FFF2-40B4-BE49-F238E27FC236}">
                <a16:creationId xmlns:a16="http://schemas.microsoft.com/office/drawing/2014/main" id="{46946A27-CF5D-4E14-9AE0-330F64E92222}"/>
              </a:ext>
            </a:extLst>
          </p:cNvPr>
          <p:cNvSpPr>
            <a:spLocks noGrp="1"/>
          </p:cNvSpPr>
          <p:nvPr>
            <p:ph type="sldNum" sz="quarter" idx="10"/>
          </p:nvPr>
        </p:nvSpPr>
        <p:spPr>
          <a:xfrm>
            <a:off x="575733" y="6296114"/>
            <a:ext cx="623541" cy="191821"/>
          </a:xfrm>
          <a:prstGeom prst="rect">
            <a:avLst/>
          </a:prstGeom>
        </p:spPr>
        <p:txBody>
          <a:bodyPr lIns="0" tIns="0" rIns="0" bIns="0"/>
          <a:lstStyle>
            <a:lvl1pPr>
              <a:defRPr sz="1066">
                <a:solidFill>
                  <a:schemeClr val="bg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a:p>
        </p:txBody>
      </p:sp>
      <p:sp>
        <p:nvSpPr>
          <p:cNvPr id="11" name="Title 1">
            <a:extLst>
              <a:ext uri="{FF2B5EF4-FFF2-40B4-BE49-F238E27FC236}">
                <a16:creationId xmlns:a16="http://schemas.microsoft.com/office/drawing/2014/main" id="{88F7EBD5-28B3-4810-99FA-E70E5728DC71}"/>
              </a:ext>
            </a:extLst>
          </p:cNvPr>
          <p:cNvSpPr>
            <a:spLocks noGrp="1"/>
          </p:cNvSpPr>
          <p:nvPr>
            <p:ph type="title" hasCustomPrompt="1"/>
          </p:nvPr>
        </p:nvSpPr>
        <p:spPr>
          <a:xfrm>
            <a:off x="575387" y="1414640"/>
            <a:ext cx="2052036" cy="860977"/>
          </a:xfrm>
          <a:prstGeom prst="rect">
            <a:avLst/>
          </a:prstGeom>
        </p:spPr>
        <p:txBody>
          <a:bodyPr vert="horz" wrap="square" lIns="0" tIns="0" rIns="0" bIns="0">
            <a:spAutoFit/>
          </a:bodyPr>
          <a:lstStyle>
            <a:lvl1pPr>
              <a:defRPr sz="2797" b="1" i="1">
                <a:solidFill>
                  <a:schemeClr val="bg1"/>
                </a:solidFill>
                <a:latin typeface="Noto Serif Bold" panose="02020502060505020204" pitchFamily="18" charset="0"/>
                <a:ea typeface="Noto Serif Bold" panose="02020502060505020204" pitchFamily="18" charset="0"/>
                <a:cs typeface="Noto Serif Bold" panose="02020502060505020204" pitchFamily="18" charset="0"/>
              </a:defRPr>
            </a:lvl1pPr>
          </a:lstStyle>
          <a:p>
            <a:r>
              <a:rPr lang="en-US"/>
              <a:t>Add a title here</a:t>
            </a:r>
            <a:endParaRPr lang="de-CH"/>
          </a:p>
        </p:txBody>
      </p:sp>
      <p:sp>
        <p:nvSpPr>
          <p:cNvPr id="15" name="Inhaltsplatzhalter 2">
            <a:extLst>
              <a:ext uri="{FF2B5EF4-FFF2-40B4-BE49-F238E27FC236}">
                <a16:creationId xmlns:a16="http://schemas.microsoft.com/office/drawing/2014/main" id="{FB720A40-07EE-40D8-8BA5-4D02040B3938}"/>
              </a:ext>
            </a:extLst>
          </p:cNvPr>
          <p:cNvSpPr>
            <a:spLocks noGrp="1"/>
          </p:cNvSpPr>
          <p:nvPr>
            <p:ph idx="1" hasCustomPrompt="1"/>
            <p:custDataLst>
              <p:tags r:id="rId2"/>
            </p:custDataLst>
          </p:nvPr>
        </p:nvSpPr>
        <p:spPr>
          <a:xfrm>
            <a:off x="3498383" y="1414639"/>
            <a:ext cx="8107301" cy="2336937"/>
          </a:xfrm>
          <a:prstGeom prst="rect">
            <a:avLst/>
          </a:prstGeom>
        </p:spPr>
        <p:txBody>
          <a:bodyPr wrap="square" lIns="0" tIns="0" rIns="0" bIns="0">
            <a:spAutoFit/>
          </a:bodyPr>
          <a:lstStyle>
            <a:lvl1pPr marL="245306" indent="-245306">
              <a:lnSpc>
                <a:spcPct val="100000"/>
              </a:lnSpc>
              <a:spcBef>
                <a:spcPts val="799"/>
              </a:spcBef>
              <a:buClrTx/>
              <a:buFont typeface="Noto Sans" panose="020B0502040504020204" pitchFamily="34" charset="0"/>
              <a:buChar char="−"/>
              <a:tabLst>
                <a:tab pos="226275" algn="l"/>
              </a:tabLst>
              <a:defRPr sz="1599" baseline="0">
                <a:solidFill>
                  <a:schemeClr val="accent2"/>
                </a:solidFill>
                <a:latin typeface="Noto Sans" panose="020B0502040504020204" pitchFamily="34"/>
                <a:ea typeface="Noto Sans" panose="020B0502040504020204" pitchFamily="34"/>
                <a:cs typeface="Noto Sans" panose="020B0502040504020204" pitchFamily="34"/>
              </a:defRPr>
            </a:lvl1pPr>
            <a:lvl2pPr marL="594234" indent="-268569">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2pPr>
            <a:lvl3pPr marL="991799"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3pPr>
            <a:lvl4pPr marL="135975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4pPr>
            <a:lvl5pPr marL="1727718" indent="-302404">
              <a:buFont typeface="Symbol" panose="05050102010706020507" pitchFamily="18" charset="2"/>
              <a:buChar char="-"/>
              <a:defRPr sz="1599">
                <a:solidFill>
                  <a:schemeClr val="accent2"/>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0"/>
            <a:endParaRPr lang="de-DE"/>
          </a:p>
          <a:p>
            <a:pPr lvl="0"/>
            <a:endParaRPr lang="de-DE"/>
          </a:p>
          <a:p>
            <a:pPr lvl="0"/>
            <a:endParaRPr lang="de-DE"/>
          </a:p>
          <a:p>
            <a:pPr lvl="0"/>
            <a:endParaRPr lang="de-DE"/>
          </a:p>
          <a:p>
            <a:pPr lvl="0"/>
            <a:endParaRPr lang="de-DE"/>
          </a:p>
          <a:p>
            <a:pPr lvl="0"/>
            <a:endParaRPr lang="de-DE"/>
          </a:p>
        </p:txBody>
      </p:sp>
      <p:sp>
        <p:nvSpPr>
          <p:cNvPr id="3" name="MSIPCMContentMarking" descr="{&quot;HashCode&quot;:1216842255,&quot;Placement&quot;:&quot;Footer&quot;,&quot;Top&quot;:384.717957,&quot;Left&quot;:0.0,&quot;SlideWidth&quot;:720,&quot;SlideHeight&quot;:405}">
            <a:extLst>
              <a:ext uri="{FF2B5EF4-FFF2-40B4-BE49-F238E27FC236}">
                <a16:creationId xmlns:a16="http://schemas.microsoft.com/office/drawing/2014/main" id="{10750976-F1F9-A925-B276-8578AB49AF4A}"/>
              </a:ext>
            </a:extLst>
          </p:cNvPr>
          <p:cNvSpPr txBox="1"/>
          <p:nvPr userDrawn="1"/>
        </p:nvSpPr>
        <p:spPr>
          <a:xfrm>
            <a:off x="0" y="6508530"/>
            <a:ext cx="1932800" cy="349468"/>
          </a:xfrm>
          <a:prstGeom prst="rect">
            <a:avLst/>
          </a:prstGeom>
          <a:noFill/>
        </p:spPr>
        <p:txBody>
          <a:bodyPr vert="horz" wrap="square" lIns="0" tIns="0" rIns="0" bIns="0" rtlCol="0" anchor="ctr" anchorCtr="1">
            <a:noAutofit/>
          </a:bodyPr>
          <a:lstStyle/>
          <a:p>
            <a:pPr algn="l">
              <a:spcBef>
                <a:spcPts val="0"/>
              </a:spcBef>
              <a:spcAft>
                <a:spcPts val="0"/>
              </a:spcAft>
            </a:pPr>
            <a:r>
              <a:rPr lang="en-US" sz="1332">
                <a:solidFill>
                  <a:schemeClr val="bg2"/>
                </a:solidFill>
                <a:latin typeface="Calibri" panose="020F0502020204030204" pitchFamily="34" charset="0"/>
              </a:rPr>
              <a:t>Sensitivity: C1 Public</a:t>
            </a:r>
          </a:p>
        </p:txBody>
      </p:sp>
    </p:spTree>
    <p:extLst>
      <p:ext uri="{BB962C8B-B14F-4D97-AF65-F5344CB8AC3E}">
        <p14:creationId xmlns:p14="http://schemas.microsoft.com/office/powerpoint/2010/main" val="62510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4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Layout 1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F964C8-F4AA-426A-BEF7-2C37F7895E7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1"/>
          <a:stretch/>
        </p:blipFill>
        <p:spPr>
          <a:xfrm>
            <a:off x="0" y="0"/>
            <a:ext cx="12192000" cy="6857650"/>
          </a:xfrm>
          <a:prstGeom prst="rect">
            <a:avLst/>
          </a:prstGeom>
        </p:spPr>
      </p:pic>
      <p:sp>
        <p:nvSpPr>
          <p:cNvPr id="2" name="Rectangle 1">
            <a:extLst>
              <a:ext uri="{FF2B5EF4-FFF2-40B4-BE49-F238E27FC236}">
                <a16:creationId xmlns:a16="http://schemas.microsoft.com/office/drawing/2014/main" id="{D7DDD0B5-BED7-D4EC-33EE-B2DEC9174FB9}"/>
              </a:ext>
            </a:extLst>
          </p:cNvPr>
          <p:cNvSpPr/>
          <p:nvPr userDrawn="1"/>
        </p:nvSpPr>
        <p:spPr bwMode="gray">
          <a:xfrm>
            <a:off x="0" y="1"/>
            <a:ext cx="12192000" cy="6858000"/>
          </a:xfrm>
          <a:prstGeom prst="rect">
            <a:avLst/>
          </a:prstGeom>
          <a:solidFill>
            <a:srgbClr val="5C1B5F">
              <a:alpha val="1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en-150" sz="2398">
              <a:latin typeface="Noto Sans" panose="020B0502040504020204" pitchFamily="34" charset="0"/>
              <a:ea typeface="Noto Sans" panose="020B0502040504020204" pitchFamily="34" charset="0"/>
            </a:endParaRPr>
          </a:p>
        </p:txBody>
      </p:sp>
      <p:graphicFrame>
        <p:nvGraphicFramePr>
          <p:cNvPr id="4" name="Object 3" hidden="1">
            <a:extLst>
              <a:ext uri="{FF2B5EF4-FFF2-40B4-BE49-F238E27FC236}">
                <a16:creationId xmlns:a16="http://schemas.microsoft.com/office/drawing/2014/main" id="{67F96412-3A1D-4983-A634-BDDCCF535FEE}"/>
              </a:ext>
            </a:extLst>
          </p:cNvPr>
          <p:cNvGraphicFramePr>
            <a:graphicFrameLocks noChangeAspect="1"/>
          </p:cNvGraphicFramePr>
          <p:nvPr userDrawn="1">
            <p:custDataLst>
              <p:tags r:id="rId1"/>
            </p:custDataLst>
            <p:extLst>
              <p:ext uri="{D42A27DB-BD31-4B8C-83A1-F6EECF244321}">
                <p14:modId xmlns:p14="http://schemas.microsoft.com/office/powerpoint/2010/main" val="234575221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67F96412-3A1D-4983-A634-BDDCCF535FE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9" name="Slide Number Placeholder 2">
            <a:extLst>
              <a:ext uri="{FF2B5EF4-FFF2-40B4-BE49-F238E27FC236}">
                <a16:creationId xmlns:a16="http://schemas.microsoft.com/office/drawing/2014/main" id="{A30D665A-392D-4C67-9CA0-FF26C4D11EE3}"/>
              </a:ext>
            </a:extLst>
          </p:cNvPr>
          <p:cNvSpPr>
            <a:spLocks noGrp="1"/>
          </p:cNvSpPr>
          <p:nvPr>
            <p:ph type="sldNum" sz="quarter" idx="10"/>
          </p:nvPr>
        </p:nvSpPr>
        <p:spPr>
          <a:xfrm>
            <a:off x="575733" y="6296114"/>
            <a:ext cx="623541" cy="191821"/>
          </a:xfrm>
          <a:prstGeom prst="rect">
            <a:avLst/>
          </a:prstGeom>
        </p:spPr>
        <p:txBody>
          <a:bodyPr lIns="0" tIns="0" rIns="0" bIns="0"/>
          <a:lstStyle>
            <a:lvl1pPr>
              <a:defRPr sz="1066">
                <a:solidFill>
                  <a:schemeClr val="bg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a:p>
        </p:txBody>
      </p:sp>
      <p:sp>
        <p:nvSpPr>
          <p:cNvPr id="10" name="Title 1">
            <a:extLst>
              <a:ext uri="{FF2B5EF4-FFF2-40B4-BE49-F238E27FC236}">
                <a16:creationId xmlns:a16="http://schemas.microsoft.com/office/drawing/2014/main" id="{95471447-5880-44EC-AF49-6587697137EB}"/>
              </a:ext>
            </a:extLst>
          </p:cNvPr>
          <p:cNvSpPr>
            <a:spLocks noGrp="1"/>
          </p:cNvSpPr>
          <p:nvPr>
            <p:ph type="title" hasCustomPrompt="1"/>
          </p:nvPr>
        </p:nvSpPr>
        <p:spPr>
          <a:xfrm>
            <a:off x="575734" y="465976"/>
            <a:ext cx="11029951" cy="430488"/>
          </a:xfrm>
          <a:prstGeom prst="rect">
            <a:avLst/>
          </a:prstGeom>
        </p:spPr>
        <p:txBody>
          <a:bodyPr vert="horz" wrap="square" lIns="0" tIns="0" rIns="0" bIns="0">
            <a:spAutoFit/>
          </a:bodyPr>
          <a:lstStyle>
            <a:lvl1pPr>
              <a:defRPr sz="2797" b="1" i="1">
                <a:solidFill>
                  <a:schemeClr val="bg1"/>
                </a:solidFill>
                <a:latin typeface="Noto Serif Bold" panose="02020502060505020204" pitchFamily="18" charset="0"/>
                <a:ea typeface="Noto Serif Bold" panose="02020502060505020204" pitchFamily="18" charset="0"/>
                <a:cs typeface="Noto Serif Bold" panose="02020502060505020204" pitchFamily="18" charset="0"/>
              </a:defRPr>
            </a:lvl1pPr>
          </a:lstStyle>
          <a:p>
            <a:r>
              <a:rPr lang="en-US"/>
              <a:t>Add a title here</a:t>
            </a:r>
            <a:endParaRPr lang="de-CH"/>
          </a:p>
        </p:txBody>
      </p:sp>
      <p:sp>
        <p:nvSpPr>
          <p:cNvPr id="12" name="Inhaltsplatzhalter 2">
            <a:extLst>
              <a:ext uri="{FF2B5EF4-FFF2-40B4-BE49-F238E27FC236}">
                <a16:creationId xmlns:a16="http://schemas.microsoft.com/office/drawing/2014/main" id="{3816AE23-A0F4-4AAE-AF5B-377660FFA7E4}"/>
              </a:ext>
            </a:extLst>
          </p:cNvPr>
          <p:cNvSpPr>
            <a:spLocks noGrp="1"/>
          </p:cNvSpPr>
          <p:nvPr>
            <p:ph idx="1" hasCustomPrompt="1"/>
            <p:custDataLst>
              <p:tags r:id="rId2"/>
            </p:custDataLst>
          </p:nvPr>
        </p:nvSpPr>
        <p:spPr>
          <a:xfrm>
            <a:off x="592667" y="1739846"/>
            <a:ext cx="11023600" cy="1689154"/>
          </a:xfrm>
          <a:prstGeom prst="rect">
            <a:avLst/>
          </a:prstGeom>
        </p:spPr>
        <p:txBody>
          <a:bodyPr wrap="square" lIns="0" tIns="0" rIns="0" bIns="0">
            <a:spAutoFit/>
          </a:bodyPr>
          <a:lstStyle>
            <a:lvl1pPr marL="245306" indent="-245306">
              <a:lnSpc>
                <a:spcPct val="100000"/>
              </a:lnSpc>
              <a:spcBef>
                <a:spcPts val="799"/>
              </a:spcBef>
              <a:buClrTx/>
              <a:buFont typeface="Noto Sans" panose="020B0502040504020204" pitchFamily="34" charset="0"/>
              <a:buChar char="−"/>
              <a:tabLst>
                <a:tab pos="226275" algn="l"/>
              </a:tabLst>
              <a:defRPr sz="1599" baseline="0">
                <a:solidFill>
                  <a:schemeClr val="bg1"/>
                </a:solidFill>
                <a:latin typeface="Noto Sans" panose="020B0502040504020204" pitchFamily="34"/>
                <a:ea typeface="Noto Sans" panose="020B0502040504020204" pitchFamily="34"/>
                <a:cs typeface="Noto Sans" panose="020B0502040504020204" pitchFamily="34"/>
              </a:defRPr>
            </a:lvl1pPr>
            <a:lvl2pPr marL="594234" indent="-268569">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2pPr>
            <a:lvl3pPr marL="991799" indent="-302404">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3pPr>
            <a:lvl4pPr marL="1359758" indent="-302404">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1727718" indent="-302404">
              <a:lnSpc>
                <a:spcPct val="100000"/>
              </a:lnSpc>
              <a:spcBef>
                <a:spcPts val="799"/>
              </a:spcBef>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14" name="Graphic 13">
            <a:extLst>
              <a:ext uri="{FF2B5EF4-FFF2-40B4-BE49-F238E27FC236}">
                <a16:creationId xmlns:a16="http://schemas.microsoft.com/office/drawing/2014/main" id="{32B1962B-DAF0-4EBD-AA87-0EC7E6D0E95D}"/>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
        <p:nvSpPr>
          <p:cNvPr id="5" name="MSIPCMContentMarking" descr="{&quot;HashCode&quot;:1216842255,&quot;Placement&quot;:&quot;Footer&quot;,&quot;Top&quot;:384.717957,&quot;Left&quot;:0.0,&quot;SlideWidth&quot;:720,&quot;SlideHeight&quot;:405}">
            <a:extLst>
              <a:ext uri="{FF2B5EF4-FFF2-40B4-BE49-F238E27FC236}">
                <a16:creationId xmlns:a16="http://schemas.microsoft.com/office/drawing/2014/main" id="{9ED4E16E-7A92-CE17-A79A-5B1E8B3504A6}"/>
              </a:ext>
            </a:extLst>
          </p:cNvPr>
          <p:cNvSpPr txBox="1"/>
          <p:nvPr userDrawn="1"/>
        </p:nvSpPr>
        <p:spPr>
          <a:xfrm>
            <a:off x="0" y="6508530"/>
            <a:ext cx="1932800" cy="349468"/>
          </a:xfrm>
          <a:prstGeom prst="rect">
            <a:avLst/>
          </a:prstGeom>
          <a:noFill/>
        </p:spPr>
        <p:txBody>
          <a:bodyPr vert="horz" wrap="square" lIns="0" tIns="0" rIns="0" bIns="0" rtlCol="0" anchor="ctr" anchorCtr="1">
            <a:noAutofit/>
          </a:bodyPr>
          <a:lstStyle/>
          <a:p>
            <a:pPr algn="l">
              <a:spcBef>
                <a:spcPts val="0"/>
              </a:spcBef>
              <a:spcAft>
                <a:spcPts val="0"/>
              </a:spcAft>
            </a:pPr>
            <a:r>
              <a:rPr lang="en-US" sz="1332">
                <a:solidFill>
                  <a:schemeClr val="bg2"/>
                </a:solidFill>
                <a:latin typeface="Calibri" panose="020F0502020204030204" pitchFamily="34" charset="0"/>
              </a:rPr>
              <a:t>Sensitivity: C1 Public</a:t>
            </a:r>
          </a:p>
        </p:txBody>
      </p:sp>
    </p:spTree>
    <p:extLst>
      <p:ext uri="{BB962C8B-B14F-4D97-AF65-F5344CB8AC3E}">
        <p14:creationId xmlns:p14="http://schemas.microsoft.com/office/powerpoint/2010/main" val="138034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5FF8F0-9CE5-4090-9BFB-22741E1D91FA}"/>
              </a:ext>
            </a:extLst>
          </p:cNvPr>
          <p:cNvGraphicFramePr>
            <a:graphicFrameLocks noChangeAspect="1"/>
          </p:cNvGraphicFramePr>
          <p:nvPr userDrawn="1">
            <p:custDataLst>
              <p:tags r:id="rId1"/>
            </p:custDataLst>
            <p:extLst>
              <p:ext uri="{D42A27DB-BD31-4B8C-83A1-F6EECF244321}">
                <p14:modId xmlns:p14="http://schemas.microsoft.com/office/powerpoint/2010/main" val="324248136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7" name="Object 6" hidden="1">
                        <a:extLst>
                          <a:ext uri="{FF2B5EF4-FFF2-40B4-BE49-F238E27FC236}">
                            <a16:creationId xmlns:a16="http://schemas.microsoft.com/office/drawing/2014/main" id="{DA5FF8F0-9CE5-4090-9BFB-22741E1D91FA}"/>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4B9EF5A-7F5B-49BC-B429-8A66FD1729C9}"/>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575387" y="465975"/>
            <a:ext cx="10175511" cy="852744"/>
          </a:xfrm>
        </p:spPr>
        <p:txBody>
          <a:bodyPr/>
          <a:lstStyle>
            <a:lvl1pPr>
              <a:defRPr>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3"/>
            </p:custDataLst>
          </p:nvPr>
        </p:nvSpPr>
        <p:spPr>
          <a:xfrm>
            <a:off x="579425" y="1414641"/>
            <a:ext cx="10171472" cy="4603819"/>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990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B77C53-CF26-4866-A63D-D5D9FF2605CE}"/>
              </a:ext>
            </a:extLst>
          </p:cNvPr>
          <p:cNvGraphicFramePr>
            <a:graphicFrameLocks noChangeAspect="1"/>
          </p:cNvGraphicFramePr>
          <p:nvPr userDrawn="1">
            <p:custDataLst>
              <p:tags r:id="rId1"/>
            </p:custDataLst>
            <p:extLst>
              <p:ext uri="{D42A27DB-BD31-4B8C-83A1-F6EECF244321}">
                <p14:modId xmlns:p14="http://schemas.microsoft.com/office/powerpoint/2010/main" val="209914505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7" name="Object 6" hidden="1">
                        <a:extLst>
                          <a:ext uri="{FF2B5EF4-FFF2-40B4-BE49-F238E27FC236}">
                            <a16:creationId xmlns:a16="http://schemas.microsoft.com/office/drawing/2014/main" id="{53B77C53-CF26-4866-A63D-D5D9FF2605C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3451661-80B9-4F33-9AA1-2233A2549188}"/>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1" i="0" baseline="0">
              <a:latin typeface="Noto Serif" panose="020B0502040504020204" pitchFamily="34" charset="0"/>
              <a:ea typeface="Noto Sans" panose="020B0502040504020204" pitchFamily="34" charset="0"/>
              <a:sym typeface="Noto Serif" panose="020B0502040504020204" pitchFamily="34" charset="0"/>
            </a:endParaRPr>
          </a:p>
        </p:txBody>
      </p:sp>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575387" y="465975"/>
            <a:ext cx="10175511" cy="852744"/>
          </a:xfrm>
        </p:spPr>
        <p:txBody>
          <a:bodyPr/>
          <a:lstStyle>
            <a:lvl1pPr>
              <a:defRPr b="1">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3"/>
            </p:custDataLst>
          </p:nvPr>
        </p:nvSpPr>
        <p:spPr>
          <a:xfrm>
            <a:off x="579425" y="1414641"/>
            <a:ext cx="10171472" cy="4603819"/>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504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42FAB6-EACE-4036-B776-15B2E15C0E3C}"/>
              </a:ext>
            </a:extLst>
          </p:cNvPr>
          <p:cNvGraphicFramePr>
            <a:graphicFrameLocks noChangeAspect="1"/>
          </p:cNvGraphicFramePr>
          <p:nvPr userDrawn="1">
            <p:custDataLst>
              <p:tags r:id="rId1"/>
            </p:custDataLst>
            <p:extLst>
              <p:ext uri="{D42A27DB-BD31-4B8C-83A1-F6EECF244321}">
                <p14:modId xmlns:p14="http://schemas.microsoft.com/office/powerpoint/2010/main" val="325886555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E742FAB6-EACE-4036-B776-15B2E15C0E3C}"/>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1A2374-9654-4192-9AD3-1E8CFE1811B8}"/>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806" y="3172"/>
            <a:ext cx="12188388" cy="6851655"/>
          </a:xfrm>
          <a:prstGeom prst="rect">
            <a:avLst/>
          </a:prstGeom>
        </p:spPr>
      </p:pic>
      <p:sp>
        <p:nvSpPr>
          <p:cNvPr id="5" name="Textplatzhalter 64">
            <a:extLst>
              <a:ext uri="{FF2B5EF4-FFF2-40B4-BE49-F238E27FC236}">
                <a16:creationId xmlns:a16="http://schemas.microsoft.com/office/drawing/2014/main" id="{30A986E2-EBB1-442C-AA73-3AF5BBE311C7}"/>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rgbClr val="000000"/>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6" name="Titel 1">
            <a:extLst>
              <a:ext uri="{FF2B5EF4-FFF2-40B4-BE49-F238E27FC236}">
                <a16:creationId xmlns:a16="http://schemas.microsoft.com/office/drawing/2014/main" id="{BAA957BA-4C4D-4913-8338-1675B038D993}"/>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b="1">
                <a:solidFill>
                  <a:srgbClr val="000000"/>
                </a:solidFill>
                <a:latin typeface="Noto Serif" panose="02020502060505020204" pitchFamily="18"/>
                <a:ea typeface="Noto Serif" panose="02020502060505020204" pitchFamily="18"/>
                <a:cs typeface="Noto Serif" panose="02020502060505020204" pitchFamily="18"/>
              </a:defRPr>
            </a:lvl1pPr>
          </a:lstStyle>
          <a:p>
            <a:r>
              <a:rPr lang="en-US" noProof="0"/>
              <a:t>Add a title here</a:t>
            </a:r>
          </a:p>
        </p:txBody>
      </p:sp>
      <p:sp>
        <p:nvSpPr>
          <p:cNvPr id="7" name="Untertitel 2">
            <a:extLst>
              <a:ext uri="{FF2B5EF4-FFF2-40B4-BE49-F238E27FC236}">
                <a16:creationId xmlns:a16="http://schemas.microsoft.com/office/drawing/2014/main" id="{16C795E0-EFF9-4947-A3ED-405130730649}"/>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8" name="Picture 7">
            <a:extLst>
              <a:ext uri="{FF2B5EF4-FFF2-40B4-BE49-F238E27FC236}">
                <a16:creationId xmlns:a16="http://schemas.microsoft.com/office/drawing/2014/main" id="{CB29529F-70CB-4D1D-96F3-0CCDBB93C7D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308161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D569EC-7479-42CA-8C6E-DA3EC8A48995}"/>
              </a:ext>
            </a:extLst>
          </p:cNvPr>
          <p:cNvGraphicFramePr>
            <a:graphicFrameLocks noChangeAspect="1"/>
          </p:cNvGraphicFramePr>
          <p:nvPr userDrawn="1">
            <p:custDataLst>
              <p:tags r:id="rId1"/>
            </p:custDataLst>
            <p:extLst>
              <p:ext uri="{D42A27DB-BD31-4B8C-83A1-F6EECF244321}">
                <p14:modId xmlns:p14="http://schemas.microsoft.com/office/powerpoint/2010/main" val="412253094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63D569EC-7479-42CA-8C6E-DA3EC8A48995}"/>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9A9F02-19DC-4543-B39F-8FD27EBE63E8}"/>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6" name="Picture 5">
            <a:extLst>
              <a:ext uri="{FF2B5EF4-FFF2-40B4-BE49-F238E27FC236}">
                <a16:creationId xmlns:a16="http://schemas.microsoft.com/office/drawing/2014/main" id="{7532ACAA-A6C9-4514-8A4A-0B3D018FBCF6}"/>
              </a:ext>
            </a:extLst>
          </p:cNvPr>
          <p:cNvPicPr>
            <a:picLocks noChangeAspect="1"/>
          </p:cNvPicPr>
          <p:nvPr userDrawn="1"/>
        </p:nvPicPr>
        <p:blipFill rotWithShape="1">
          <a:blip r:embed="rId9">
            <a:extLst>
              <a:ext uri="{28A0092B-C50C-407E-A947-70E740481C1C}">
                <a14:useLocalDpi xmlns:a14="http://schemas.microsoft.com/office/drawing/2010/main"/>
              </a:ext>
            </a:extLst>
          </a:blip>
          <a:srcRect/>
          <a:stretch/>
        </p:blipFill>
        <p:spPr>
          <a:xfrm>
            <a:off x="-1" y="4440"/>
            <a:ext cx="12199905" cy="6853560"/>
          </a:xfrm>
          <a:prstGeom prst="rect">
            <a:avLst/>
          </a:prstGeom>
        </p:spPr>
      </p:pic>
      <p:sp>
        <p:nvSpPr>
          <p:cNvPr id="14" name="Textplatzhalter 64">
            <a:extLst>
              <a:ext uri="{FF2B5EF4-FFF2-40B4-BE49-F238E27FC236}">
                <a16:creationId xmlns:a16="http://schemas.microsoft.com/office/drawing/2014/main" id="{B6667D22-714A-4E54-833E-BAE798C6B87D}"/>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rgbClr val="000000"/>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15" name="Titel 1">
            <a:extLst>
              <a:ext uri="{FF2B5EF4-FFF2-40B4-BE49-F238E27FC236}">
                <a16:creationId xmlns:a16="http://schemas.microsoft.com/office/drawing/2014/main" id="{24098E67-953E-4B27-928C-24929DBA80A1}"/>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a:solidFill>
                  <a:srgbClr val="000000"/>
                </a:solidFill>
                <a:latin typeface="Noto Sans" panose="020B0502040504020204" pitchFamily="34"/>
                <a:ea typeface="Noto Sans" panose="020B0502040504020204" pitchFamily="34"/>
                <a:cs typeface="Noto Sans" panose="020B0502040504020204" pitchFamily="34"/>
              </a:defRPr>
            </a:lvl1pPr>
          </a:lstStyle>
          <a:p>
            <a:r>
              <a:rPr lang="en-US" noProof="0"/>
              <a:t>Add a title here</a:t>
            </a:r>
          </a:p>
        </p:txBody>
      </p:sp>
      <p:sp>
        <p:nvSpPr>
          <p:cNvPr id="16" name="Untertitel 2">
            <a:extLst>
              <a:ext uri="{FF2B5EF4-FFF2-40B4-BE49-F238E27FC236}">
                <a16:creationId xmlns:a16="http://schemas.microsoft.com/office/drawing/2014/main" id="{A3FF6BA1-C07B-4C5E-88DB-07E683C29110}"/>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13" name="Picture 12">
            <a:extLst>
              <a:ext uri="{FF2B5EF4-FFF2-40B4-BE49-F238E27FC236}">
                <a16:creationId xmlns:a16="http://schemas.microsoft.com/office/drawing/2014/main" id="{0D4CB0D5-05A7-4E40-916A-A0EA5E8D401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1753886695"/>
      </p:ext>
    </p:extLst>
  </p:cSld>
  <p:clrMapOvr>
    <a:masterClrMapping/>
  </p:clrMapOvr>
  <p:hf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11F12D-242F-45E8-B237-E4037627AB35}"/>
              </a:ext>
            </a:extLst>
          </p:cNvPr>
          <p:cNvGraphicFramePr>
            <a:graphicFrameLocks noChangeAspect="1"/>
          </p:cNvGraphicFramePr>
          <p:nvPr userDrawn="1">
            <p:custDataLst>
              <p:tags r:id="rId1"/>
            </p:custDataLst>
            <p:extLst>
              <p:ext uri="{D42A27DB-BD31-4B8C-83A1-F6EECF244321}">
                <p14:modId xmlns:p14="http://schemas.microsoft.com/office/powerpoint/2010/main" val="414556493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5611F12D-242F-45E8-B237-E4037627AB35}"/>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DB0EC4-3C30-4F56-8AFA-ABE63C695831}"/>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9" name="Picture 4">
            <a:extLst>
              <a:ext uri="{FF2B5EF4-FFF2-40B4-BE49-F238E27FC236}">
                <a16:creationId xmlns:a16="http://schemas.microsoft.com/office/drawing/2014/main" id="{4352BBC1-6770-468F-AA14-E7B779725C8A}"/>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p:blipFill>
        <p:spPr bwMode="auto">
          <a:xfrm>
            <a:off x="0" y="-237424"/>
            <a:ext cx="12284880" cy="7119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chemeClr val="tx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7" name="Titel 1">
            <a:extLst>
              <a:ext uri="{FF2B5EF4-FFF2-40B4-BE49-F238E27FC236}">
                <a16:creationId xmlns:a16="http://schemas.microsoft.com/office/drawing/2014/main" id="{8673546C-4C92-4642-A805-0D2ACBC5D7ED}"/>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b="1">
                <a:solidFill>
                  <a:schemeClr val="tx1"/>
                </a:solidFill>
                <a:latin typeface="Noto Serif" panose="02020502060505020204" pitchFamily="18"/>
                <a:ea typeface="Noto Serif" panose="02020502060505020204" pitchFamily="18"/>
                <a:cs typeface="Noto Serif" panose="02020502060505020204" pitchFamily="18"/>
              </a:defRPr>
            </a:lvl1pPr>
          </a:lstStyle>
          <a:p>
            <a:r>
              <a:rPr lang="en-US" noProof="0"/>
              <a:t>Add a title here</a:t>
            </a:r>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10" name="Picture 9">
            <a:extLst>
              <a:ext uri="{FF2B5EF4-FFF2-40B4-BE49-F238E27FC236}">
                <a16:creationId xmlns:a16="http://schemas.microsoft.com/office/drawing/2014/main" id="{4DBCE681-49DE-44CB-B6AE-7AB81F6D7728}"/>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164002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FEB978-A0DD-486F-8841-95A3107076B3}"/>
              </a:ext>
            </a:extLst>
          </p:cNvPr>
          <p:cNvGraphicFramePr>
            <a:graphicFrameLocks noChangeAspect="1"/>
          </p:cNvGraphicFramePr>
          <p:nvPr userDrawn="1">
            <p:custDataLst>
              <p:tags r:id="rId1"/>
            </p:custDataLst>
            <p:extLst>
              <p:ext uri="{D42A27DB-BD31-4B8C-83A1-F6EECF244321}">
                <p14:modId xmlns:p14="http://schemas.microsoft.com/office/powerpoint/2010/main" val="68136944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C5FEB978-A0DD-486F-8841-95A3107076B3}"/>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83A0A1-CE50-463B-802F-5128A0FC8A83}"/>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5" name="Picture 4">
            <a:extLst>
              <a:ext uri="{FF2B5EF4-FFF2-40B4-BE49-F238E27FC236}">
                <a16:creationId xmlns:a16="http://schemas.microsoft.com/office/drawing/2014/main" id="{A369AADB-4401-4624-9723-000625329AB0}"/>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0" y="2156"/>
            <a:ext cx="12192000" cy="6853685"/>
          </a:xfrm>
          <a:prstGeom prst="rect">
            <a:avLst/>
          </a:prstGeom>
        </p:spPr>
      </p:pic>
      <p:sp>
        <p:nvSpPr>
          <p:cNvPr id="7" name="Textplatzhalter 64">
            <a:extLst>
              <a:ext uri="{FF2B5EF4-FFF2-40B4-BE49-F238E27FC236}">
                <a16:creationId xmlns:a16="http://schemas.microsoft.com/office/drawing/2014/main" id="{6FCA9871-DF37-4E21-9159-AC37E7C139CA}"/>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rgbClr val="000000"/>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8" name="Titel 1">
            <a:extLst>
              <a:ext uri="{FF2B5EF4-FFF2-40B4-BE49-F238E27FC236}">
                <a16:creationId xmlns:a16="http://schemas.microsoft.com/office/drawing/2014/main" id="{2D0349F3-3DC2-4073-B179-04293FBA58ED}"/>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b="0">
                <a:solidFill>
                  <a:srgbClr val="000000"/>
                </a:solidFill>
                <a:latin typeface="Noto Sans" panose="020B0502040504020204" pitchFamily="34"/>
                <a:ea typeface="Noto Sans" panose="020B0502040504020204" pitchFamily="34"/>
                <a:cs typeface="Noto Sans" panose="020B0502040504020204" pitchFamily="34"/>
              </a:defRPr>
            </a:lvl1pPr>
          </a:lstStyle>
          <a:p>
            <a:r>
              <a:rPr lang="en-US" noProof="0"/>
              <a:t>Add a title here</a:t>
            </a:r>
          </a:p>
        </p:txBody>
      </p:sp>
      <p:sp>
        <p:nvSpPr>
          <p:cNvPr id="9" name="Untertitel 2">
            <a:extLst>
              <a:ext uri="{FF2B5EF4-FFF2-40B4-BE49-F238E27FC236}">
                <a16:creationId xmlns:a16="http://schemas.microsoft.com/office/drawing/2014/main" id="{3B4AC215-9D0D-449C-9C31-095892601171}"/>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10" name="Picture 9">
            <a:extLst>
              <a:ext uri="{FF2B5EF4-FFF2-40B4-BE49-F238E27FC236}">
                <a16:creationId xmlns:a16="http://schemas.microsoft.com/office/drawing/2014/main" id="{76463F71-30BE-40A6-88EC-CAED896E09E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172454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FD772-1280-4D6E-BCA8-511237441300}"/>
              </a:ext>
            </a:extLst>
          </p:cNvPr>
          <p:cNvGraphicFramePr>
            <a:graphicFrameLocks noChangeAspect="1"/>
          </p:cNvGraphicFramePr>
          <p:nvPr userDrawn="1">
            <p:custDataLst>
              <p:tags r:id="rId1"/>
            </p:custDataLst>
            <p:extLst>
              <p:ext uri="{D42A27DB-BD31-4B8C-83A1-F6EECF244321}">
                <p14:modId xmlns:p14="http://schemas.microsoft.com/office/powerpoint/2010/main" val="153750376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FA9FD772-1280-4D6E-BCA8-511237441300}"/>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C030EF-A197-4CAA-99D6-8A6ECFCA3FDB}"/>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4" name="Picture 3">
            <a:extLst>
              <a:ext uri="{FF2B5EF4-FFF2-40B4-BE49-F238E27FC236}">
                <a16:creationId xmlns:a16="http://schemas.microsoft.com/office/drawing/2014/main" id="{6A211A43-E6E7-4693-A01C-CAEAFADF929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0" y="2157"/>
            <a:ext cx="12192000" cy="6853685"/>
          </a:xfrm>
          <a:prstGeom prst="rect">
            <a:avLst/>
          </a:prstGeom>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7" name="Titel 1">
            <a:extLst>
              <a:ext uri="{FF2B5EF4-FFF2-40B4-BE49-F238E27FC236}">
                <a16:creationId xmlns:a16="http://schemas.microsoft.com/office/drawing/2014/main" id="{8673546C-4C92-4642-A805-0D2ACBC5D7ED}"/>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noProof="0"/>
              <a:t>Add a title here</a:t>
            </a:r>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t="9693" r="58924" b="1"/>
          <a:stretch/>
        </p:blipFill>
        <p:spPr>
          <a:xfrm>
            <a:off x="575733" y="543161"/>
            <a:ext cx="1391808" cy="463198"/>
          </a:xfrm>
          <a:prstGeom prst="rect">
            <a:avLst/>
          </a:prstGeom>
        </p:spPr>
      </p:pic>
    </p:spTree>
    <p:extLst>
      <p:ext uri="{BB962C8B-B14F-4D97-AF65-F5344CB8AC3E}">
        <p14:creationId xmlns:p14="http://schemas.microsoft.com/office/powerpoint/2010/main" val="29326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6">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A1984AD-EDC2-41E8-9941-C7AE0471C266}"/>
              </a:ext>
            </a:extLst>
          </p:cNvPr>
          <p:cNvGraphicFramePr>
            <a:graphicFrameLocks noChangeAspect="1"/>
          </p:cNvGraphicFramePr>
          <p:nvPr userDrawn="1">
            <p:custDataLst>
              <p:tags r:id="rId1"/>
            </p:custDataLst>
            <p:extLst>
              <p:ext uri="{D42A27DB-BD31-4B8C-83A1-F6EECF244321}">
                <p14:modId xmlns:p14="http://schemas.microsoft.com/office/powerpoint/2010/main" val="181178254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Object 12" hidden="1">
                        <a:extLst>
                          <a:ext uri="{FF2B5EF4-FFF2-40B4-BE49-F238E27FC236}">
                            <a16:creationId xmlns:a16="http://schemas.microsoft.com/office/drawing/2014/main" id="{5A1984AD-EDC2-41E8-9941-C7AE0471C266}"/>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4" name="Picture 3" descr="A grassy area with a mountain in the background&#10;&#10;Description automatically generated with medium confidence">
            <a:extLst>
              <a:ext uri="{FF2B5EF4-FFF2-40B4-BE49-F238E27FC236}">
                <a16:creationId xmlns:a16="http://schemas.microsoft.com/office/drawing/2014/main" id="{5A9A8B78-09D5-40F2-A098-D05F8A945E65}"/>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8" name="Textplatzhalter 64">
            <a:extLst>
              <a:ext uri="{FF2B5EF4-FFF2-40B4-BE49-F238E27FC236}">
                <a16:creationId xmlns:a16="http://schemas.microsoft.com/office/drawing/2014/main" id="{F8348BE0-59F4-4C19-A834-9A552373A990}"/>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9" name="Untertitel 2">
            <a:extLst>
              <a:ext uri="{FF2B5EF4-FFF2-40B4-BE49-F238E27FC236}">
                <a16:creationId xmlns:a16="http://schemas.microsoft.com/office/drawing/2014/main" id="{11C34508-42B1-4732-AAED-C539C7F95621}"/>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2" name="Textplatzhalter 64">
            <a:extLst>
              <a:ext uri="{FF2B5EF4-FFF2-40B4-BE49-F238E27FC236}">
                <a16:creationId xmlns:a16="http://schemas.microsoft.com/office/drawing/2014/main" id="{AC746C0D-37D9-46BC-AD40-6FB1A1FFF9B5}"/>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14" name="Title 10">
            <a:extLst>
              <a:ext uri="{FF2B5EF4-FFF2-40B4-BE49-F238E27FC236}">
                <a16:creationId xmlns:a16="http://schemas.microsoft.com/office/drawing/2014/main" id="{25294077-53BA-435A-86AA-7A28A48A64D5}"/>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bg1"/>
                </a:solidFill>
                <a:latin typeface="Noto Serif" panose="020B0502040504020204" pitchFamily="34" charset="0"/>
              </a:defRPr>
            </a:lvl1pPr>
          </a:lstStyle>
          <a:p>
            <a:r>
              <a:rPr lang="en-US"/>
              <a:t>Click to Edit Title</a:t>
            </a:r>
          </a:p>
        </p:txBody>
      </p:sp>
      <p:pic>
        <p:nvPicPr>
          <p:cNvPr id="10" name="Graphic 9">
            <a:extLst>
              <a:ext uri="{FF2B5EF4-FFF2-40B4-BE49-F238E27FC236}">
                <a16:creationId xmlns:a16="http://schemas.microsoft.com/office/drawing/2014/main" id="{64A8C5D2-E696-44FF-A7C2-4F08F3D3A469}"/>
              </a:ext>
            </a:extLst>
          </p:cNvPr>
          <p:cNvPicPr>
            <a:picLocks noChangeAspect="1"/>
          </p:cNvPicPr>
          <p:nvPr userDrawn="1"/>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t="9693" r="58924" b="1"/>
          <a:stretch/>
        </p:blipFill>
        <p:spPr>
          <a:xfrm>
            <a:off x="575733" y="453680"/>
            <a:ext cx="1391808" cy="463198"/>
          </a:xfrm>
          <a:prstGeom prst="rect">
            <a:avLst/>
          </a:prstGeom>
        </p:spPr>
      </p:pic>
    </p:spTree>
    <p:extLst>
      <p:ext uri="{BB962C8B-B14F-4D97-AF65-F5344CB8AC3E}">
        <p14:creationId xmlns:p14="http://schemas.microsoft.com/office/powerpoint/2010/main" val="939318772"/>
      </p:ext>
    </p:extLst>
  </p:cSld>
  <p:clrMapOvr>
    <a:masterClrMapping/>
  </p:clrMapOvr>
  <p:hf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A28ECF-740B-48C1-B06E-23985F4A2DAE}"/>
              </a:ext>
            </a:extLst>
          </p:cNvPr>
          <p:cNvGraphicFramePr>
            <a:graphicFrameLocks noChangeAspect="1"/>
          </p:cNvGraphicFramePr>
          <p:nvPr userDrawn="1">
            <p:custDataLst>
              <p:tags r:id="rId1"/>
            </p:custDataLst>
            <p:extLst>
              <p:ext uri="{D42A27DB-BD31-4B8C-83A1-F6EECF244321}">
                <p14:modId xmlns:p14="http://schemas.microsoft.com/office/powerpoint/2010/main" val="50533940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EDA28ECF-740B-48C1-B06E-23985F4A2DAE}"/>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7D7225-52F8-4938-BCCB-C02254DA8EE8}"/>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15" name="Picture 14">
            <a:extLst>
              <a:ext uri="{FF2B5EF4-FFF2-40B4-BE49-F238E27FC236}">
                <a16:creationId xmlns:a16="http://schemas.microsoft.com/office/drawing/2014/main" id="{13460293-793A-4269-93AA-EA06A27E8E4E}"/>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 y="2690"/>
            <a:ext cx="12263244" cy="6852618"/>
          </a:xfrm>
          <a:prstGeom prst="rect">
            <a:avLst/>
          </a:prstGeom>
        </p:spPr>
      </p:pic>
      <p:sp>
        <p:nvSpPr>
          <p:cNvPr id="9" name="Textplatzhalter 64">
            <a:extLst>
              <a:ext uri="{FF2B5EF4-FFF2-40B4-BE49-F238E27FC236}">
                <a16:creationId xmlns:a16="http://schemas.microsoft.com/office/drawing/2014/main" id="{4B6C4511-E899-4C0B-88B1-32073D0CB9D4}"/>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rgbClr val="000000"/>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12" name="Titel 1">
            <a:extLst>
              <a:ext uri="{FF2B5EF4-FFF2-40B4-BE49-F238E27FC236}">
                <a16:creationId xmlns:a16="http://schemas.microsoft.com/office/drawing/2014/main" id="{329899A1-3AAF-4651-BEA2-A42EC2B0CCFA}"/>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b="0">
                <a:solidFill>
                  <a:srgbClr val="000000"/>
                </a:solidFill>
                <a:latin typeface="Noto Sans" panose="020B0502040504020204" pitchFamily="34"/>
                <a:ea typeface="Noto Sans" panose="020B0502040504020204" pitchFamily="34"/>
                <a:cs typeface="Noto Sans" panose="020B0502040504020204" pitchFamily="34"/>
              </a:defRPr>
            </a:lvl1pPr>
          </a:lstStyle>
          <a:p>
            <a:r>
              <a:rPr lang="en-US" noProof="0"/>
              <a:t>Add a title here</a:t>
            </a:r>
          </a:p>
        </p:txBody>
      </p:sp>
      <p:sp>
        <p:nvSpPr>
          <p:cNvPr id="13" name="Untertitel 2">
            <a:extLst>
              <a:ext uri="{FF2B5EF4-FFF2-40B4-BE49-F238E27FC236}">
                <a16:creationId xmlns:a16="http://schemas.microsoft.com/office/drawing/2014/main" id="{C7624C1B-72BE-49CF-83D3-3ECC6B3EB30B}"/>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7" name="Picture 6">
            <a:extLst>
              <a:ext uri="{FF2B5EF4-FFF2-40B4-BE49-F238E27FC236}">
                <a16:creationId xmlns:a16="http://schemas.microsoft.com/office/drawing/2014/main" id="{65560AD9-F4C9-4CF9-8935-06DB9B4D6C3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957319424"/>
      </p:ext>
    </p:extLst>
  </p:cSld>
  <p:clrMapOvr>
    <a:masterClrMapping/>
  </p:clrMapOvr>
  <p:hf hdr="0" ft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AC0DEF-D381-42DC-904A-750705441129}"/>
              </a:ext>
            </a:extLst>
          </p:cNvPr>
          <p:cNvGraphicFramePr>
            <a:graphicFrameLocks noChangeAspect="1"/>
          </p:cNvGraphicFramePr>
          <p:nvPr userDrawn="1">
            <p:custDataLst>
              <p:tags r:id="rId1"/>
            </p:custDataLst>
            <p:extLst>
              <p:ext uri="{D42A27DB-BD31-4B8C-83A1-F6EECF244321}">
                <p14:modId xmlns:p14="http://schemas.microsoft.com/office/powerpoint/2010/main" val="16056674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7" imgW="473" imgH="476" progId="TCLayout.ActiveDocument.1">
                  <p:embed/>
                </p:oleObj>
              </mc:Choice>
              <mc:Fallback>
                <p:oleObj name="think-cell Folie" r:id="rId7" imgW="473" imgH="476" progId="TCLayout.ActiveDocument.1">
                  <p:embed/>
                  <p:pic>
                    <p:nvPicPr>
                      <p:cNvPr id="3" name="Object 2" hidden="1">
                        <a:extLst>
                          <a:ext uri="{FF2B5EF4-FFF2-40B4-BE49-F238E27FC236}">
                            <a16:creationId xmlns:a16="http://schemas.microsoft.com/office/drawing/2014/main" id="{91AC0DEF-D381-42DC-904A-750705441129}"/>
                          </a:ext>
                        </a:extLst>
                      </p:cNvPr>
                      <p:cNvPicPr/>
                      <p:nvPr/>
                    </p:nvPicPr>
                    <p:blipFill>
                      <a:blip r:embed="rId8"/>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03FCC8-658B-4CCA-881A-DD8CFA469F4F}"/>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3992"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10" name="Picture 2"/>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44007" y="-46323"/>
            <a:ext cx="12232013" cy="69461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platzhalter 64">
            <a:extLst>
              <a:ext uri="{FF2B5EF4-FFF2-40B4-BE49-F238E27FC236}">
                <a16:creationId xmlns:a16="http://schemas.microsoft.com/office/drawing/2014/main" id="{B6667D22-714A-4E54-833E-BAE798C6B87D}"/>
              </a:ext>
            </a:extLst>
          </p:cNvPr>
          <p:cNvSpPr>
            <a:spLocks noGrp="1"/>
          </p:cNvSpPr>
          <p:nvPr>
            <p:ph type="body" sz="quarter" idx="11" hasCustomPrompt="1"/>
            <p:custDataLst>
              <p:tags r:id="rId3"/>
            </p:custDataLst>
          </p:nvPr>
        </p:nvSpPr>
        <p:spPr>
          <a:xfrm>
            <a:off x="1967541" y="3987693"/>
            <a:ext cx="4128459" cy="496447"/>
          </a:xfrm>
        </p:spPr>
        <p:txBody>
          <a:bodyPr wrap="none" lIns="0" rIns="0">
            <a:noAutofit/>
          </a:bodyPr>
          <a:lstStyle>
            <a:lvl1pPr marL="0" indent="0">
              <a:buFontTx/>
              <a:buNone/>
              <a:defRPr sz="1864" baseline="0">
                <a:solidFill>
                  <a:srgbClr val="000000"/>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 Date</a:t>
            </a:r>
          </a:p>
        </p:txBody>
      </p:sp>
      <p:sp>
        <p:nvSpPr>
          <p:cNvPr id="15" name="Titel 1">
            <a:extLst>
              <a:ext uri="{FF2B5EF4-FFF2-40B4-BE49-F238E27FC236}">
                <a16:creationId xmlns:a16="http://schemas.microsoft.com/office/drawing/2014/main" id="{24098E67-953E-4B27-928C-24929DBA80A1}"/>
              </a:ext>
            </a:extLst>
          </p:cNvPr>
          <p:cNvSpPr>
            <a:spLocks noGrp="1"/>
          </p:cNvSpPr>
          <p:nvPr>
            <p:ph type="ctrTitle" hasCustomPrompt="1"/>
            <p:custDataLst>
              <p:tags r:id="rId4"/>
            </p:custDataLst>
          </p:nvPr>
        </p:nvSpPr>
        <p:spPr>
          <a:xfrm>
            <a:off x="1967545" y="1843174"/>
            <a:ext cx="7560071" cy="1230951"/>
          </a:xfrm>
          <a:prstGeom prst="rect">
            <a:avLst/>
          </a:prstGeom>
        </p:spPr>
        <p:txBody>
          <a:bodyPr lIns="0" tIns="0" rIns="0" bIns="0"/>
          <a:lstStyle>
            <a:lvl1pPr>
              <a:defRPr sz="3992">
                <a:solidFill>
                  <a:srgbClr val="000000"/>
                </a:solidFill>
                <a:latin typeface="Noto Sans" panose="020B0502040504020204" pitchFamily="34"/>
                <a:ea typeface="Noto Sans" panose="020B0502040504020204" pitchFamily="34"/>
                <a:cs typeface="Noto Sans" panose="020B0502040504020204" pitchFamily="34"/>
              </a:defRPr>
            </a:lvl1pPr>
          </a:lstStyle>
          <a:p>
            <a:r>
              <a:rPr lang="en-US" noProof="0"/>
              <a:t>Add a title here</a:t>
            </a:r>
          </a:p>
        </p:txBody>
      </p:sp>
      <p:sp>
        <p:nvSpPr>
          <p:cNvPr id="16" name="Untertitel 2">
            <a:extLst>
              <a:ext uri="{FF2B5EF4-FFF2-40B4-BE49-F238E27FC236}">
                <a16:creationId xmlns:a16="http://schemas.microsoft.com/office/drawing/2014/main" id="{A3FF6BA1-C07B-4C5E-88DB-07E683C29110}"/>
              </a:ext>
            </a:extLst>
          </p:cNvPr>
          <p:cNvSpPr>
            <a:spLocks noGrp="1"/>
          </p:cNvSpPr>
          <p:nvPr>
            <p:ph type="subTitle" idx="1" hasCustomPrompt="1"/>
            <p:custDataLst>
              <p:tags r:id="rId5"/>
            </p:custDataLst>
          </p:nvPr>
        </p:nvSpPr>
        <p:spPr>
          <a:xfrm>
            <a:off x="1967545" y="3074125"/>
            <a:ext cx="7560071" cy="913567"/>
          </a:xfrm>
          <a:prstGeom prst="rect">
            <a:avLst/>
          </a:prstGeom>
        </p:spPr>
        <p:txBody>
          <a:bodyPr lIns="0" tIns="0" rIns="0" bIns="0">
            <a:normAutofit/>
          </a:bodyPr>
          <a:lstStyle>
            <a:lvl1pPr marL="0" indent="0" algn="l">
              <a:buNone/>
              <a:defRPr sz="2395">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pic>
        <p:nvPicPr>
          <p:cNvPr id="9" name="Picture 8">
            <a:extLst>
              <a:ext uri="{FF2B5EF4-FFF2-40B4-BE49-F238E27FC236}">
                <a16:creationId xmlns:a16="http://schemas.microsoft.com/office/drawing/2014/main" id="{15D803CB-9805-4254-B179-378A89C26E7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75735" y="550342"/>
            <a:ext cx="1391808" cy="386617"/>
          </a:xfrm>
          <a:prstGeom prst="rect">
            <a:avLst/>
          </a:prstGeom>
        </p:spPr>
      </p:pic>
    </p:spTree>
    <p:extLst>
      <p:ext uri="{BB962C8B-B14F-4D97-AF65-F5344CB8AC3E}">
        <p14:creationId xmlns:p14="http://schemas.microsoft.com/office/powerpoint/2010/main" val="728473582"/>
      </p:ext>
    </p:extLst>
  </p:cSld>
  <p:clrMapOvr>
    <a:masterClrMapping/>
  </p:clrMapOvr>
  <p:hf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7F3B62-EB40-4A83-874D-273F48BEB9FC}"/>
              </a:ext>
            </a:extLst>
          </p:cNvPr>
          <p:cNvGraphicFramePr>
            <a:graphicFrameLocks noChangeAspect="1"/>
          </p:cNvGraphicFramePr>
          <p:nvPr userDrawn="1">
            <p:custDataLst>
              <p:tags r:id="rId1"/>
            </p:custDataLst>
            <p:extLst>
              <p:ext uri="{D42A27DB-BD31-4B8C-83A1-F6EECF244321}">
                <p14:modId xmlns:p14="http://schemas.microsoft.com/office/powerpoint/2010/main" val="56503354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8" name="Object 7" hidden="1">
                        <a:extLst>
                          <a:ext uri="{FF2B5EF4-FFF2-40B4-BE49-F238E27FC236}">
                            <a16:creationId xmlns:a16="http://schemas.microsoft.com/office/drawing/2014/main" id="{C37F3B62-EB40-4A83-874D-273F48BEB9FC}"/>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EB0918F-3932-4B10-8FEA-4AC2806420F5}"/>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le 1">
            <a:extLst>
              <a:ext uri="{FF2B5EF4-FFF2-40B4-BE49-F238E27FC236}">
                <a16:creationId xmlns:a16="http://schemas.microsoft.com/office/drawing/2014/main" id="{BABB7201-806C-41B6-B33B-E1446FD2BB06}"/>
              </a:ext>
            </a:extLst>
          </p:cNvPr>
          <p:cNvSpPr>
            <a:spLocks noGrp="1"/>
          </p:cNvSpPr>
          <p:nvPr>
            <p:ph type="title" hasCustomPrompt="1"/>
          </p:nvPr>
        </p:nvSpPr>
        <p:spPr>
          <a:xfrm>
            <a:off x="575387" y="465975"/>
            <a:ext cx="10177280" cy="852744"/>
          </a:xfrm>
        </p:spPr>
        <p:txBody>
          <a:bodyPr/>
          <a:lstStyle>
            <a:lvl1pPr>
              <a:defRPr>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3" name="Slide Number Placeholder 2">
            <a:extLst>
              <a:ext uri="{FF2B5EF4-FFF2-40B4-BE49-F238E27FC236}">
                <a16:creationId xmlns:a16="http://schemas.microsoft.com/office/drawing/2014/main" id="{01AF7B46-2C0C-4A35-8105-4D4D25EE61C8}"/>
              </a:ext>
            </a:extLst>
          </p:cNvPr>
          <p:cNvSpPr>
            <a:spLocks noGrp="1"/>
          </p:cNvSpPr>
          <p:nvPr>
            <p:ph type="sldNum" sz="quarter" idx="10"/>
          </p:nvPr>
        </p:nvSpPr>
        <p:spPr/>
        <p:txBody>
          <a:bodyPr/>
          <a:lstStyle/>
          <a:p>
            <a:fld id="{6F42FDE4-A7DD-41A7-A0A6-9B649FB43336}" type="slidenum">
              <a:rPr lang="en-US" smtClean="0"/>
              <a:pPr/>
              <a:t>‹#›</a:t>
            </a:fld>
            <a:endParaRPr lang="en-US" sz="1865">
              <a:solidFill>
                <a:srgbClr val="FFFFFF"/>
              </a:solidFill>
              <a:latin typeface="+mj-lt"/>
              <a:ea typeface="+mj-ea"/>
              <a:cs typeface="+mj-cs"/>
            </a:endParaRPr>
          </a:p>
        </p:txBody>
      </p:sp>
      <p:pic>
        <p:nvPicPr>
          <p:cNvPr id="4" name="Picture 2">
            <a:extLst>
              <a:ext uri="{FF2B5EF4-FFF2-40B4-BE49-F238E27FC236}">
                <a16:creationId xmlns:a16="http://schemas.microsoft.com/office/drawing/2014/main" id="{1D0D7058-9E34-48A0-9CA3-7464320C954F}"/>
              </a:ext>
            </a:extLst>
          </p:cNvPr>
          <p:cNvPicPr>
            <a:picLocks noChangeAspect="1"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575733" y="1511260"/>
            <a:ext cx="11612272" cy="4505842"/>
          </a:xfrm>
          <a:prstGeom prst="rect">
            <a:avLst/>
          </a:prstGeom>
          <a:noFill/>
          <a:extLst>
            <a:ext uri="{909E8E84-426E-40DD-AFC4-6F175D3DCCD1}">
              <a14:hiddenFill xmlns:a14="http://schemas.microsoft.com/office/drawing/2010/main">
                <a:solidFill>
                  <a:srgbClr val="FFFFFF"/>
                </a:solidFill>
              </a14:hiddenFill>
            </a:ext>
          </a:extLst>
        </p:spPr>
      </p:pic>
      <p:sp>
        <p:nvSpPr>
          <p:cNvPr id="5" name="Inhaltsplatzhalter 2">
            <a:extLst>
              <a:ext uri="{FF2B5EF4-FFF2-40B4-BE49-F238E27FC236}">
                <a16:creationId xmlns:a16="http://schemas.microsoft.com/office/drawing/2014/main" id="{CA86E83C-8380-4FF0-94DC-F0871A7E7017}"/>
              </a:ext>
            </a:extLst>
          </p:cNvPr>
          <p:cNvSpPr>
            <a:spLocks noGrp="1"/>
          </p:cNvSpPr>
          <p:nvPr>
            <p:ph idx="1" hasCustomPrompt="1"/>
            <p:custDataLst>
              <p:tags r:id="rId3"/>
            </p:custDataLst>
          </p:nvPr>
        </p:nvSpPr>
        <p:spPr>
          <a:xfrm>
            <a:off x="1151467" y="1821762"/>
            <a:ext cx="5904640" cy="3884835"/>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6" name="Picture 2" descr="\\cooper\Projects\SIX Group - officeatwork\Projects\PowerPoint\2015\Desktriptoren\SIX Innen.png">
            <a:extLst>
              <a:ext uri="{FF2B5EF4-FFF2-40B4-BE49-F238E27FC236}">
                <a16:creationId xmlns:a16="http://schemas.microsoft.com/office/drawing/2014/main" id="{BC9AA098-1576-4BC0-B22F-E87458F85456}"/>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38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4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6333CD-368B-41FA-9526-A22BF9D42527}"/>
              </a:ext>
            </a:extLst>
          </p:cNvPr>
          <p:cNvGraphicFramePr>
            <a:graphicFrameLocks noChangeAspect="1"/>
          </p:cNvGraphicFramePr>
          <p:nvPr userDrawn="1">
            <p:custDataLst>
              <p:tags r:id="rId1"/>
            </p:custDataLst>
            <p:extLst>
              <p:ext uri="{D42A27DB-BD31-4B8C-83A1-F6EECF244321}">
                <p14:modId xmlns:p14="http://schemas.microsoft.com/office/powerpoint/2010/main" val="118552036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C66333CD-368B-41FA-9526-A22BF9D42527}"/>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AF02D9-D8E6-44CE-9DC1-358FE8983ED4}"/>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88037375-1565-470C-BE47-A7FAEA1A628D}"/>
              </a:ext>
            </a:extLst>
          </p:cNvPr>
          <p:cNvSpPr>
            <a:spLocks noGrp="1"/>
          </p:cNvSpPr>
          <p:nvPr>
            <p:ph type="sldNum" sz="quarter" idx="10"/>
          </p:nvPr>
        </p:nvSpPr>
        <p:spPr/>
        <p:txBody>
          <a:bodyPr/>
          <a:lstStyle/>
          <a:p>
            <a:fld id="{6F42FDE4-A7DD-41A7-A0A6-9B649FB43336}" type="slidenum">
              <a:rPr lang="en-US" smtClean="0"/>
              <a:pPr/>
              <a:t>‹#›</a:t>
            </a:fld>
            <a:endParaRPr lang="en-US" sz="1865">
              <a:solidFill>
                <a:srgbClr val="FFFFFF"/>
              </a:solidFill>
              <a:latin typeface="+mj-lt"/>
              <a:ea typeface="+mj-ea"/>
              <a:cs typeface="+mj-cs"/>
            </a:endParaRPr>
          </a:p>
        </p:txBody>
      </p:sp>
      <p:pic>
        <p:nvPicPr>
          <p:cNvPr id="5" name="Picture 4">
            <a:extLst>
              <a:ext uri="{FF2B5EF4-FFF2-40B4-BE49-F238E27FC236}">
                <a16:creationId xmlns:a16="http://schemas.microsoft.com/office/drawing/2014/main" id="{5916D8AB-82F3-47C2-97E5-9D8E3BD51CD6}"/>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6912091" y="1511861"/>
            <a:ext cx="5280587" cy="4504637"/>
          </a:xfrm>
          <a:prstGeom prst="rect">
            <a:avLst/>
          </a:prstGeom>
        </p:spPr>
      </p:pic>
      <p:pic>
        <p:nvPicPr>
          <p:cNvPr id="6" name="Picture 2" descr="\\cooper\Projects\SIX Group - officeatwork\Projects\PowerPoint\2015\Desktriptoren\SIX Innen.png">
            <a:extLst>
              <a:ext uri="{FF2B5EF4-FFF2-40B4-BE49-F238E27FC236}">
                <a16:creationId xmlns:a16="http://schemas.microsoft.com/office/drawing/2014/main" id="{4FA2CC72-FC42-4769-8B9C-41E45D14E881}"/>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2">
            <a:extLst>
              <a:ext uri="{FF2B5EF4-FFF2-40B4-BE49-F238E27FC236}">
                <a16:creationId xmlns:a16="http://schemas.microsoft.com/office/drawing/2014/main" id="{EB70A2C7-2A72-4893-91C5-9AACD1F25F2B}"/>
              </a:ext>
            </a:extLst>
          </p:cNvPr>
          <p:cNvSpPr>
            <a:spLocks noGrp="1"/>
          </p:cNvSpPr>
          <p:nvPr>
            <p:ph idx="1" hasCustomPrompt="1"/>
            <p:custDataLst>
              <p:tags r:id="rId3"/>
            </p:custDataLst>
          </p:nvPr>
        </p:nvSpPr>
        <p:spPr>
          <a:xfrm>
            <a:off x="579426" y="1414641"/>
            <a:ext cx="5948623" cy="4603819"/>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6DE86CE-B821-49EB-9D00-D0F5AAE1B414}"/>
              </a:ext>
            </a:extLst>
          </p:cNvPr>
          <p:cNvSpPr>
            <a:spLocks noGrp="1"/>
          </p:cNvSpPr>
          <p:nvPr>
            <p:ph type="title" hasCustomPrompt="1"/>
          </p:nvPr>
        </p:nvSpPr>
        <p:spPr>
          <a:xfrm>
            <a:off x="575387" y="465975"/>
            <a:ext cx="11041227" cy="852744"/>
          </a:xfrm>
        </p:spPr>
        <p:txBody>
          <a:bodyPr/>
          <a:lstStyle>
            <a:lvl1pPr>
              <a:defRPr>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Tree>
    <p:extLst>
      <p:ext uri="{BB962C8B-B14F-4D97-AF65-F5344CB8AC3E}">
        <p14:creationId xmlns:p14="http://schemas.microsoft.com/office/powerpoint/2010/main" val="72036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E66EC4-E614-4543-A788-C978857E1190}"/>
              </a:ext>
            </a:extLst>
          </p:cNvPr>
          <p:cNvGraphicFramePr>
            <a:graphicFrameLocks noChangeAspect="1"/>
          </p:cNvGraphicFramePr>
          <p:nvPr userDrawn="1">
            <p:custDataLst>
              <p:tags r:id="rId1"/>
            </p:custDataLst>
            <p:extLst>
              <p:ext uri="{D42A27DB-BD31-4B8C-83A1-F6EECF244321}">
                <p14:modId xmlns:p14="http://schemas.microsoft.com/office/powerpoint/2010/main" val="396318448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6" name="Object 5" hidden="1">
                        <a:extLst>
                          <a:ext uri="{FF2B5EF4-FFF2-40B4-BE49-F238E27FC236}">
                            <a16:creationId xmlns:a16="http://schemas.microsoft.com/office/drawing/2014/main" id="{E0E66EC4-E614-4543-A788-C978857E1190}"/>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21FECF-4D3C-4838-A040-D94D0C9A251F}"/>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pic>
        <p:nvPicPr>
          <p:cNvPr id="5" name="Picture 4">
            <a:extLst>
              <a:ext uri="{FF2B5EF4-FFF2-40B4-BE49-F238E27FC236}">
                <a16:creationId xmlns:a16="http://schemas.microsoft.com/office/drawing/2014/main" id="{A201B1E3-DDC5-416C-9571-CAF0622C91E8}"/>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208235" y="676"/>
            <a:ext cx="3984443" cy="6856649"/>
          </a:xfrm>
          <a:prstGeom prst="rect">
            <a:avLst/>
          </a:prstGeom>
        </p:spPr>
      </p:pic>
      <p:sp>
        <p:nvSpPr>
          <p:cNvPr id="2" name="Title 1">
            <a:extLst>
              <a:ext uri="{FF2B5EF4-FFF2-40B4-BE49-F238E27FC236}">
                <a16:creationId xmlns:a16="http://schemas.microsoft.com/office/drawing/2014/main" id="{3146235A-34E7-46E4-88E0-0C5E51C6F98C}"/>
              </a:ext>
            </a:extLst>
          </p:cNvPr>
          <p:cNvSpPr>
            <a:spLocks noGrp="1"/>
          </p:cNvSpPr>
          <p:nvPr>
            <p:ph type="title" hasCustomPrompt="1"/>
          </p:nvPr>
        </p:nvSpPr>
        <p:spPr>
          <a:xfrm>
            <a:off x="575389" y="465975"/>
            <a:ext cx="7440825" cy="852744"/>
          </a:xfrm>
        </p:spPr>
        <p:txBody>
          <a:bodyPr/>
          <a:lstStyle>
            <a:lvl1pPr>
              <a:defRPr>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3" name="Slide Number Placeholder 2">
            <a:extLst>
              <a:ext uri="{FF2B5EF4-FFF2-40B4-BE49-F238E27FC236}">
                <a16:creationId xmlns:a16="http://schemas.microsoft.com/office/drawing/2014/main" id="{1E6E500B-4B21-47BA-B1E3-1B0E4A82554B}"/>
              </a:ext>
            </a:extLst>
          </p:cNvPr>
          <p:cNvSpPr>
            <a:spLocks noGrp="1"/>
          </p:cNvSpPr>
          <p:nvPr>
            <p:ph type="sldNum" sz="quarter" idx="10"/>
          </p:nvPr>
        </p:nvSpPr>
        <p:spPr/>
        <p:txBody>
          <a:bodyPr/>
          <a:lstStyle/>
          <a:p>
            <a:fld id="{6F42FDE4-A7DD-41A7-A0A6-9B649FB43336}" type="slidenum">
              <a:rPr lang="en-US" smtClean="0"/>
              <a:pPr/>
              <a:t>‹#›</a:t>
            </a:fld>
            <a:endParaRPr lang="en-US" sz="1865">
              <a:solidFill>
                <a:srgbClr val="FFFFFF"/>
              </a:solidFill>
              <a:latin typeface="+mj-lt"/>
              <a:ea typeface="+mj-ea"/>
              <a:cs typeface="+mj-cs"/>
            </a:endParaRPr>
          </a:p>
        </p:txBody>
      </p:sp>
      <p:sp>
        <p:nvSpPr>
          <p:cNvPr id="10" name="Inhaltsplatzhalter 2">
            <a:extLst>
              <a:ext uri="{FF2B5EF4-FFF2-40B4-BE49-F238E27FC236}">
                <a16:creationId xmlns:a16="http://schemas.microsoft.com/office/drawing/2014/main" id="{68805A76-DB20-4A4D-82F8-C65F64B912EF}"/>
              </a:ext>
            </a:extLst>
          </p:cNvPr>
          <p:cNvSpPr>
            <a:spLocks noGrp="1"/>
          </p:cNvSpPr>
          <p:nvPr>
            <p:ph idx="1" hasCustomPrompt="1"/>
            <p:custDataLst>
              <p:tags r:id="rId3"/>
            </p:custDataLst>
          </p:nvPr>
        </p:nvSpPr>
        <p:spPr>
          <a:xfrm>
            <a:off x="579427" y="1414641"/>
            <a:ext cx="7436915" cy="4603819"/>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BAD5A428-574C-46B2-89E2-58743C22E7E0}"/>
              </a:ext>
            </a:extLst>
          </p:cNvPr>
          <p:cNvPicPr>
            <a:picLocks noChangeAspect="1"/>
          </p:cNvPicPr>
          <p:nvPr userDrawn="1"/>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350213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107335-00E0-46A1-8F61-E584E881E9F9}"/>
              </a:ext>
            </a:extLst>
          </p:cNvPr>
          <p:cNvGraphicFramePr>
            <a:graphicFrameLocks noChangeAspect="1"/>
          </p:cNvGraphicFramePr>
          <p:nvPr userDrawn="1">
            <p:custDataLst>
              <p:tags r:id="rId1"/>
            </p:custDataLst>
            <p:extLst>
              <p:ext uri="{D42A27DB-BD31-4B8C-83A1-F6EECF244321}">
                <p14:modId xmlns:p14="http://schemas.microsoft.com/office/powerpoint/2010/main" val="371057422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5" name="Object 4" hidden="1">
                        <a:extLst>
                          <a:ext uri="{FF2B5EF4-FFF2-40B4-BE49-F238E27FC236}">
                            <a16:creationId xmlns:a16="http://schemas.microsoft.com/office/drawing/2014/main" id="{E6107335-00E0-46A1-8F61-E584E881E9F9}"/>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30D417-588E-4257-AB5C-221A0ADD64BB}"/>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4796"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le 1">
            <a:extLst>
              <a:ext uri="{FF2B5EF4-FFF2-40B4-BE49-F238E27FC236}">
                <a16:creationId xmlns:a16="http://schemas.microsoft.com/office/drawing/2014/main" id="{3146235A-34E7-46E4-88E0-0C5E51C6F98C}"/>
              </a:ext>
            </a:extLst>
          </p:cNvPr>
          <p:cNvSpPr>
            <a:spLocks noGrp="1"/>
          </p:cNvSpPr>
          <p:nvPr>
            <p:ph type="title" hasCustomPrompt="1"/>
          </p:nvPr>
        </p:nvSpPr>
        <p:spPr>
          <a:xfrm>
            <a:off x="575733" y="2858829"/>
            <a:ext cx="7728859" cy="1529389"/>
          </a:xfrm>
        </p:spPr>
        <p:txBody>
          <a:bodyPr>
            <a:noAutofit/>
          </a:bodyPr>
          <a:lstStyle>
            <a:lvl1pPr>
              <a:defRPr sz="4796" b="0">
                <a:latin typeface="Noto Sans" panose="020B0502040504020204" pitchFamily="34"/>
                <a:ea typeface="Noto Sans" panose="020B0502040504020204" pitchFamily="34"/>
                <a:cs typeface="Noto Sans" panose="020B0502040504020204" pitchFamily="34"/>
              </a:defRPr>
            </a:lvl1pPr>
          </a:lstStyle>
          <a:p>
            <a:r>
              <a:rPr lang="en-US"/>
              <a:t>Is it time for a break? </a:t>
            </a:r>
            <a:br>
              <a:rPr lang="en-US"/>
            </a:br>
            <a:r>
              <a:rPr lang="en-US"/>
              <a:t>(Say it here.)</a:t>
            </a:r>
          </a:p>
        </p:txBody>
      </p:sp>
      <p:sp>
        <p:nvSpPr>
          <p:cNvPr id="3" name="Slide Number Placeholder 2">
            <a:extLst>
              <a:ext uri="{FF2B5EF4-FFF2-40B4-BE49-F238E27FC236}">
                <a16:creationId xmlns:a16="http://schemas.microsoft.com/office/drawing/2014/main" id="{1E6E500B-4B21-47BA-B1E3-1B0E4A82554B}"/>
              </a:ext>
            </a:extLst>
          </p:cNvPr>
          <p:cNvSpPr>
            <a:spLocks noGrp="1"/>
          </p:cNvSpPr>
          <p:nvPr>
            <p:ph type="sldNum" sz="quarter" idx="10"/>
          </p:nvPr>
        </p:nvSpPr>
        <p:spPr/>
        <p:txBody>
          <a:bodyPr/>
          <a:lstStyle/>
          <a:p>
            <a:fld id="{6F42FDE4-A7DD-41A7-A0A6-9B649FB43336}" type="slidenum">
              <a:rPr lang="en-US" smtClean="0"/>
              <a:pPr/>
              <a:t>‹#›</a:t>
            </a:fld>
            <a:endParaRPr lang="en-US" sz="1865">
              <a:solidFill>
                <a:srgbClr val="FFFFFF"/>
              </a:solidFill>
              <a:latin typeface="+mj-lt"/>
              <a:ea typeface="+mj-ea"/>
              <a:cs typeface="+mj-cs"/>
            </a:endParaRPr>
          </a:p>
        </p:txBody>
      </p:sp>
      <p:pic>
        <p:nvPicPr>
          <p:cNvPr id="8" name="Picture 2" descr="\\cooper\Projects\SIX Group - officeatwork\Projects\PowerPoint\2015\Desktriptoren\SIX Innen.png">
            <a:extLst>
              <a:ext uri="{FF2B5EF4-FFF2-40B4-BE49-F238E27FC236}">
                <a16:creationId xmlns:a16="http://schemas.microsoft.com/office/drawing/2014/main" id="{52762B27-2B74-4E13-9493-BDA4E28F7B8F}"/>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37223AEC-FE39-4351-93FA-3169066FE1BE}"/>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554320" y="553372"/>
            <a:ext cx="3648520" cy="5463657"/>
          </a:xfrm>
          <a:prstGeom prst="rect">
            <a:avLst/>
          </a:prstGeom>
        </p:spPr>
      </p:pic>
    </p:spTree>
    <p:extLst>
      <p:ext uri="{BB962C8B-B14F-4D97-AF65-F5344CB8AC3E}">
        <p14:creationId xmlns:p14="http://schemas.microsoft.com/office/powerpoint/2010/main" val="250268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115212-1570-4E45-A286-456B6F99909F}"/>
              </a:ext>
            </a:extLst>
          </p:cNvPr>
          <p:cNvGraphicFramePr>
            <a:graphicFrameLocks noChangeAspect="1"/>
          </p:cNvGraphicFramePr>
          <p:nvPr userDrawn="1">
            <p:custDataLst>
              <p:tags r:id="rId1"/>
            </p:custDataLst>
            <p:extLst>
              <p:ext uri="{D42A27DB-BD31-4B8C-83A1-F6EECF244321}">
                <p14:modId xmlns:p14="http://schemas.microsoft.com/office/powerpoint/2010/main" val="147505751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F3115212-1570-4E45-A286-456B6F99909F}"/>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90609B-E901-4E9E-BFBD-246393AEFFF3}"/>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4CBC1B58-2B65-46CB-8C8D-E58F68D8D979}"/>
              </a:ext>
            </a:extLst>
          </p:cNvPr>
          <p:cNvSpPr>
            <a:spLocks noGrp="1"/>
          </p:cNvSpPr>
          <p:nvPr>
            <p:ph type="sldNum" sz="quarter" idx="10"/>
          </p:nvPr>
        </p:nvSpPr>
        <p:spPr/>
        <p:txBody>
          <a:bodyPr/>
          <a:lstStyle/>
          <a:p>
            <a:fld id="{6F42FDE4-A7DD-41A7-A0A6-9B649FB43336}" type="slidenum">
              <a:rPr lang="en-US" smtClean="0"/>
              <a:pPr/>
              <a:t>‹#›</a:t>
            </a:fld>
            <a:endParaRPr lang="en-US" sz="1865">
              <a:solidFill>
                <a:srgbClr val="FFFFFF"/>
              </a:solidFill>
              <a:latin typeface="+mj-lt"/>
              <a:ea typeface="+mj-ea"/>
              <a:cs typeface="+mj-cs"/>
            </a:endParaRPr>
          </a:p>
        </p:txBody>
      </p:sp>
      <p:pic>
        <p:nvPicPr>
          <p:cNvPr id="5" name="Picture 4">
            <a:extLst>
              <a:ext uri="{FF2B5EF4-FFF2-40B4-BE49-F238E27FC236}">
                <a16:creationId xmlns:a16="http://schemas.microsoft.com/office/drawing/2014/main" id="{53E72FCB-14A9-4538-BBB1-55793E83A762}"/>
              </a:ext>
            </a:extLst>
          </p:cNvPr>
          <p:cNvPicPr>
            <a:picLocks noChangeAspect="1" noChangeArrowheads="1"/>
          </p:cNvPicPr>
          <p:nvPr userDrawn="1"/>
        </p:nvPicPr>
        <p:blipFill>
          <a:blip r:embed="rId7">
            <a:extLst>
              <a:ext uri="{28A0092B-C50C-407E-A947-70E740481C1C}">
                <a14:useLocalDpi xmlns:a14="http://schemas.microsoft.com/office/drawing/2010/main"/>
              </a:ext>
            </a:extLst>
          </a:blip>
          <a:stretch>
            <a:fillRect/>
          </a:stretch>
        </p:blipFill>
        <p:spPr bwMode="auto">
          <a:xfrm>
            <a:off x="0" y="555245"/>
            <a:ext cx="4799856" cy="546076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7E2C679B-92DF-457B-9CE1-611C1B777FF5}"/>
              </a:ext>
            </a:extLst>
          </p:cNvPr>
          <p:cNvSpPr>
            <a:spLocks noGrp="1"/>
          </p:cNvSpPr>
          <p:nvPr>
            <p:ph type="title" hasCustomPrompt="1"/>
          </p:nvPr>
        </p:nvSpPr>
        <p:spPr>
          <a:xfrm>
            <a:off x="5135895" y="465975"/>
            <a:ext cx="5616773" cy="852744"/>
          </a:xfrm>
        </p:spPr>
        <p:txBody>
          <a:bodyPr/>
          <a:lstStyle>
            <a:lvl1pPr>
              <a:defRPr>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7" name="Inhaltsplatzhalter 2">
            <a:extLst>
              <a:ext uri="{FF2B5EF4-FFF2-40B4-BE49-F238E27FC236}">
                <a16:creationId xmlns:a16="http://schemas.microsoft.com/office/drawing/2014/main" id="{4655828F-5BD4-4474-A7A1-D64D48859AB4}"/>
              </a:ext>
            </a:extLst>
          </p:cNvPr>
          <p:cNvSpPr>
            <a:spLocks noGrp="1"/>
          </p:cNvSpPr>
          <p:nvPr>
            <p:ph idx="1" hasCustomPrompt="1"/>
            <p:custDataLst>
              <p:tags r:id="rId3"/>
            </p:custDataLst>
          </p:nvPr>
        </p:nvSpPr>
        <p:spPr>
          <a:xfrm>
            <a:off x="5139599" y="1414641"/>
            <a:ext cx="5613068" cy="4603819"/>
          </a:xfrm>
        </p:spPr>
        <p:txBody>
          <a:bodyPr lIns="0" tIns="0" rIns="0" bIns="0">
            <a:normAutofit/>
          </a:bodyPr>
          <a:lstStyle>
            <a:lvl1pPr marL="380305" indent="-380305">
              <a:buFont typeface="Arial" panose="020B0604020202020204" pitchFamily="34" charset="0"/>
              <a:buChar char="•"/>
              <a:defRPr sz="2395"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tx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tx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8" name="Picture 2" descr="\\cooper\Projects\SIX Group - officeatwork\Projects\PowerPoint\2015\Desktriptoren\SIX Innen.png">
            <a:extLst>
              <a:ext uri="{FF2B5EF4-FFF2-40B4-BE49-F238E27FC236}">
                <a16:creationId xmlns:a16="http://schemas.microsoft.com/office/drawing/2014/main" id="{F9B198D5-920F-41B2-9DBF-01471ABEE03C}"/>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83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yout 6">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FF1EED-3ED6-4739-94E6-8481D45A31FF}"/>
              </a:ext>
            </a:extLst>
          </p:cNvPr>
          <p:cNvGraphicFramePr>
            <a:graphicFrameLocks noChangeAspect="1"/>
          </p:cNvGraphicFramePr>
          <p:nvPr userDrawn="1">
            <p:custDataLst>
              <p:tags r:id="rId1"/>
            </p:custDataLst>
            <p:extLst>
              <p:ext uri="{D42A27DB-BD31-4B8C-83A1-F6EECF244321}">
                <p14:modId xmlns:p14="http://schemas.microsoft.com/office/powerpoint/2010/main" val="258551063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2" name="Object 1" hidden="1">
                        <a:extLst>
                          <a:ext uri="{FF2B5EF4-FFF2-40B4-BE49-F238E27FC236}">
                            <a16:creationId xmlns:a16="http://schemas.microsoft.com/office/drawing/2014/main" id="{F0FF1EED-3ED6-4739-94E6-8481D45A31FF}"/>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5" name="Inhaltsplatzhalter 2">
            <a:extLst>
              <a:ext uri="{FF2B5EF4-FFF2-40B4-BE49-F238E27FC236}">
                <a16:creationId xmlns:a16="http://schemas.microsoft.com/office/drawing/2014/main" id="{188765E4-1087-4E15-979B-18CDD99EE203}"/>
              </a:ext>
            </a:extLst>
          </p:cNvPr>
          <p:cNvSpPr>
            <a:spLocks noGrp="1"/>
          </p:cNvSpPr>
          <p:nvPr>
            <p:ph idx="1" hasCustomPrompt="1"/>
            <p:custDataLst>
              <p:tags r:id="rId2"/>
            </p:custDataLst>
          </p:nvPr>
        </p:nvSpPr>
        <p:spPr>
          <a:xfrm>
            <a:off x="973850" y="1318719"/>
            <a:ext cx="5520084" cy="4373217"/>
          </a:xfrm>
          <a:prstGeom prst="rect">
            <a:avLst/>
          </a:prstGeom>
        </p:spPr>
        <p:txBody>
          <a:bodyPr lIns="0" tIns="0" rIns="0" bIns="0">
            <a:normAutofit/>
          </a:bodyPr>
          <a:lstStyle>
            <a:lvl1pPr marL="0" indent="0">
              <a:buFont typeface="Arial" panose="020B0604020202020204" pitchFamily="34" charset="0"/>
              <a:buNone/>
              <a:defRPr sz="4796" b="0"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a:t>
            </a:r>
            <a:br>
              <a:rPr lang="en-US"/>
            </a:br>
            <a:r>
              <a:rPr lang="en-US"/>
              <a:t>or something </a:t>
            </a:r>
            <a:br>
              <a:rPr lang="en-US"/>
            </a:br>
            <a:r>
              <a:rPr lang="en-US"/>
              <a:t>else here»</a:t>
            </a:r>
          </a:p>
        </p:txBody>
      </p:sp>
      <p:pic>
        <p:nvPicPr>
          <p:cNvPr id="7" name="Picture 6">
            <a:extLst>
              <a:ext uri="{FF2B5EF4-FFF2-40B4-BE49-F238E27FC236}">
                <a16:creationId xmlns:a16="http://schemas.microsoft.com/office/drawing/2014/main" id="{3B2E8089-0683-4D05-8039-8AE3EE61EA7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5423927" y="1514996"/>
            <a:ext cx="6768075" cy="4499052"/>
          </a:xfrm>
          <a:prstGeom prst="rect">
            <a:avLst/>
          </a:prstGeom>
        </p:spPr>
      </p:pic>
      <p:pic>
        <p:nvPicPr>
          <p:cNvPr id="8" name="Graphic 7">
            <a:extLst>
              <a:ext uri="{FF2B5EF4-FFF2-40B4-BE49-F238E27FC236}">
                <a16:creationId xmlns:a16="http://schemas.microsoft.com/office/drawing/2014/main" id="{8854088D-D5C2-4400-8049-DB4FAF018984}"/>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69776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yout 8">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178002-7CBE-4E0A-A2A9-8F009F73E6A2}"/>
              </a:ext>
            </a:extLst>
          </p:cNvPr>
          <p:cNvGraphicFramePr>
            <a:graphicFrameLocks noChangeAspect="1"/>
          </p:cNvGraphicFramePr>
          <p:nvPr userDrawn="1">
            <p:custDataLst>
              <p:tags r:id="rId1"/>
            </p:custDataLst>
            <p:extLst>
              <p:ext uri="{D42A27DB-BD31-4B8C-83A1-F6EECF244321}">
                <p14:modId xmlns:p14="http://schemas.microsoft.com/office/powerpoint/2010/main" val="147962481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2" name="Object 1" hidden="1">
                        <a:extLst>
                          <a:ext uri="{FF2B5EF4-FFF2-40B4-BE49-F238E27FC236}">
                            <a16:creationId xmlns:a16="http://schemas.microsoft.com/office/drawing/2014/main" id="{1E178002-7CBE-4E0A-A2A9-8F009F73E6A2}"/>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5" name="Inhaltsplatzhalter 2">
            <a:extLst>
              <a:ext uri="{FF2B5EF4-FFF2-40B4-BE49-F238E27FC236}">
                <a16:creationId xmlns:a16="http://schemas.microsoft.com/office/drawing/2014/main" id="{16102FE7-74AA-4309-A048-87C86348EBE1}"/>
              </a:ext>
            </a:extLst>
          </p:cNvPr>
          <p:cNvSpPr>
            <a:spLocks noGrp="1"/>
          </p:cNvSpPr>
          <p:nvPr>
            <p:ph idx="1" hasCustomPrompt="1"/>
            <p:custDataLst>
              <p:tags r:id="rId2"/>
            </p:custDataLst>
          </p:nvPr>
        </p:nvSpPr>
        <p:spPr>
          <a:xfrm>
            <a:off x="579637" y="1318719"/>
            <a:ext cx="4604263" cy="4373217"/>
          </a:xfrm>
          <a:prstGeom prst="rect">
            <a:avLst/>
          </a:prstGeom>
        </p:spPr>
        <p:txBody>
          <a:bodyPr lIns="0" tIns="0" rIns="0" bIns="0" anchor="t">
            <a:normAutofit/>
          </a:bodyPr>
          <a:lstStyle>
            <a:lvl1pPr marL="0" indent="0">
              <a:buFont typeface="Arial" panose="020B0604020202020204" pitchFamily="34" charset="0"/>
              <a:buNone/>
              <a:defRPr sz="4796" b="0"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a:t>
            </a:r>
            <a:br>
              <a:rPr lang="en-US"/>
            </a:br>
            <a:r>
              <a:rPr lang="en-US"/>
              <a:t>or something </a:t>
            </a:r>
            <a:br>
              <a:rPr lang="en-US"/>
            </a:br>
            <a:r>
              <a:rPr lang="en-US"/>
              <a:t>else here»</a:t>
            </a:r>
          </a:p>
        </p:txBody>
      </p:sp>
      <p:pic>
        <p:nvPicPr>
          <p:cNvPr id="9" name="Picture 8">
            <a:extLst>
              <a:ext uri="{FF2B5EF4-FFF2-40B4-BE49-F238E27FC236}">
                <a16:creationId xmlns:a16="http://schemas.microsoft.com/office/drawing/2014/main" id="{8DA3A9D0-D5ED-4E6B-9741-17F2E7CB801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5419020" y="1509902"/>
            <a:ext cx="6773165" cy="4508558"/>
          </a:xfrm>
          <a:prstGeom prst="rect">
            <a:avLst/>
          </a:prstGeom>
        </p:spPr>
      </p:pic>
      <p:pic>
        <p:nvPicPr>
          <p:cNvPr id="6" name="Graphic 5">
            <a:extLst>
              <a:ext uri="{FF2B5EF4-FFF2-40B4-BE49-F238E27FC236}">
                <a16:creationId xmlns:a16="http://schemas.microsoft.com/office/drawing/2014/main" id="{55C2136F-A280-4750-A758-451CD0F81DEE}"/>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408771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yout 7">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22E281-82C5-439E-9E7A-F4556D35565B}"/>
              </a:ext>
            </a:extLst>
          </p:cNvPr>
          <p:cNvGraphicFramePr>
            <a:graphicFrameLocks noChangeAspect="1"/>
          </p:cNvGraphicFramePr>
          <p:nvPr userDrawn="1">
            <p:custDataLst>
              <p:tags r:id="rId1"/>
            </p:custDataLst>
            <p:extLst>
              <p:ext uri="{D42A27DB-BD31-4B8C-83A1-F6EECF244321}">
                <p14:modId xmlns:p14="http://schemas.microsoft.com/office/powerpoint/2010/main" val="3921347377"/>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2" name="Object 1" hidden="1">
                        <a:extLst>
                          <a:ext uri="{FF2B5EF4-FFF2-40B4-BE49-F238E27FC236}">
                            <a16:creationId xmlns:a16="http://schemas.microsoft.com/office/drawing/2014/main" id="{3D22E281-82C5-439E-9E7A-F4556D35565B}"/>
                          </a:ext>
                        </a:extLst>
                      </p:cNvPr>
                      <p:cNvPicPr/>
                      <p:nvPr/>
                    </p:nvPicPr>
                    <p:blipFill>
                      <a:blip r:embed="rId5"/>
                      <a:stretch>
                        <a:fillRect/>
                      </a:stretch>
                    </p:blipFill>
                    <p:spPr>
                      <a:xfrm>
                        <a:off x="2118" y="2116"/>
                        <a:ext cx="2117" cy="2115"/>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pic>
        <p:nvPicPr>
          <p:cNvPr id="7" name="Picture 6">
            <a:extLst>
              <a:ext uri="{FF2B5EF4-FFF2-40B4-BE49-F238E27FC236}">
                <a16:creationId xmlns:a16="http://schemas.microsoft.com/office/drawing/2014/main" id="{C9AD172F-DD05-412F-97EF-B77CFCB91835}"/>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 y="1510747"/>
            <a:ext cx="6096001" cy="4506867"/>
          </a:xfrm>
          <a:prstGeom prst="rect">
            <a:avLst/>
          </a:prstGeom>
        </p:spPr>
      </p:pic>
      <p:sp>
        <p:nvSpPr>
          <p:cNvPr id="5" name="Inhaltsplatzhalter 2">
            <a:extLst>
              <a:ext uri="{FF2B5EF4-FFF2-40B4-BE49-F238E27FC236}">
                <a16:creationId xmlns:a16="http://schemas.microsoft.com/office/drawing/2014/main" id="{46904206-9C4C-42C4-A3A1-0094D0FE875C}"/>
              </a:ext>
            </a:extLst>
          </p:cNvPr>
          <p:cNvSpPr>
            <a:spLocks noGrp="1"/>
          </p:cNvSpPr>
          <p:nvPr>
            <p:ph idx="1" hasCustomPrompt="1"/>
            <p:custDataLst>
              <p:tags r:id="rId2"/>
            </p:custDataLst>
          </p:nvPr>
        </p:nvSpPr>
        <p:spPr>
          <a:xfrm>
            <a:off x="6288022" y="1509902"/>
            <a:ext cx="5328245" cy="4508558"/>
          </a:xfrm>
          <a:prstGeom prst="rect">
            <a:avLst/>
          </a:prstGeom>
        </p:spPr>
        <p:txBody>
          <a:bodyPr lIns="0" tIns="0" rIns="0" bIns="0" anchor="ctr">
            <a:normAutofit/>
          </a:bodyPr>
          <a:lstStyle>
            <a:lvl1pPr marL="0" indent="0">
              <a:buFont typeface="Arial" panose="020B0604020202020204" pitchFamily="34" charset="0"/>
              <a:buNone/>
              <a:defRPr sz="4796" b="0" baseline="0">
                <a:solidFill>
                  <a:srgbClr val="FFFFFF"/>
                </a:solidFill>
                <a:latin typeface="Noto Serif" panose="02020502060505020204" pitchFamily="18"/>
                <a:ea typeface="Noto Serif" panose="02020502060505020204" pitchFamily="18"/>
                <a:cs typeface="Noto Serif" panose="02020502060505020204" pitchFamily="18"/>
              </a:defRPr>
            </a:lvl1pPr>
            <a:lvl2pPr marL="988793" indent="-380305">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rgbClr val="FFFFFF"/>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rgbClr val="FFFFFF"/>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baseline="0">
                <a:solidFill>
                  <a:srgbClr val="FFFFFF"/>
                </a:solidFill>
                <a:latin typeface="Arial" panose="020B0604020202020204" pitchFamily="34" charset="0"/>
                <a:cs typeface="Arial" panose="020B0604020202020204" pitchFamily="34" charset="0"/>
              </a:defRPr>
            </a:lvl5pPr>
          </a:lstStyle>
          <a:p>
            <a:pPr lvl="0"/>
            <a:r>
              <a:rPr lang="en-US"/>
              <a:t>«Add a quote or something else here»</a:t>
            </a:r>
          </a:p>
        </p:txBody>
      </p:sp>
      <p:pic>
        <p:nvPicPr>
          <p:cNvPr id="8" name="Graphic 7">
            <a:extLst>
              <a:ext uri="{FF2B5EF4-FFF2-40B4-BE49-F238E27FC236}">
                <a16:creationId xmlns:a16="http://schemas.microsoft.com/office/drawing/2014/main" id="{6F017C4F-ADD3-42E7-8896-F5DBC042BAAC}"/>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106107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7">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A1984AD-EDC2-41E8-9941-C7AE0471C266}"/>
              </a:ext>
            </a:extLst>
          </p:cNvPr>
          <p:cNvGraphicFramePr>
            <a:graphicFrameLocks noChangeAspect="1"/>
          </p:cNvGraphicFramePr>
          <p:nvPr userDrawn="1">
            <p:custDataLst>
              <p:tags r:id="rId1"/>
            </p:custDataLst>
            <p:extLst>
              <p:ext uri="{D42A27DB-BD31-4B8C-83A1-F6EECF244321}">
                <p14:modId xmlns:p14="http://schemas.microsoft.com/office/powerpoint/2010/main" val="280607408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Object 12" hidden="1">
                        <a:extLst>
                          <a:ext uri="{FF2B5EF4-FFF2-40B4-BE49-F238E27FC236}">
                            <a16:creationId xmlns:a16="http://schemas.microsoft.com/office/drawing/2014/main" id="{5A1984AD-EDC2-41E8-9941-C7AE0471C266}"/>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3" name="Picture 2" descr="A picture containing person&#10;&#10;Description automatically generated">
            <a:extLst>
              <a:ext uri="{FF2B5EF4-FFF2-40B4-BE49-F238E27FC236}">
                <a16:creationId xmlns:a16="http://schemas.microsoft.com/office/drawing/2014/main" id="{CB1D45DF-C2FD-4563-82EF-AF026967A3A5}"/>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 y="1"/>
            <a:ext cx="12191999" cy="6858000"/>
          </a:xfrm>
          <a:prstGeom prst="rect">
            <a:avLst/>
          </a:prstGeom>
        </p:spPr>
      </p:pic>
      <p:sp>
        <p:nvSpPr>
          <p:cNvPr id="14" name="Textplatzhalter 64">
            <a:extLst>
              <a:ext uri="{FF2B5EF4-FFF2-40B4-BE49-F238E27FC236}">
                <a16:creationId xmlns:a16="http://schemas.microsoft.com/office/drawing/2014/main" id="{AB86E94B-D7F9-48BD-A423-3CCA939CE205}"/>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15" name="Untertitel 2">
            <a:extLst>
              <a:ext uri="{FF2B5EF4-FFF2-40B4-BE49-F238E27FC236}">
                <a16:creationId xmlns:a16="http://schemas.microsoft.com/office/drawing/2014/main" id="{983A7B53-3B50-4B04-83BB-28773F1DA4EB}"/>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9" name="Textplatzhalter 64">
            <a:extLst>
              <a:ext uri="{FF2B5EF4-FFF2-40B4-BE49-F238E27FC236}">
                <a16:creationId xmlns:a16="http://schemas.microsoft.com/office/drawing/2014/main" id="{03D7E33F-5F67-401C-A646-A2E810580289}"/>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9" name="Title 10">
            <a:extLst>
              <a:ext uri="{FF2B5EF4-FFF2-40B4-BE49-F238E27FC236}">
                <a16:creationId xmlns:a16="http://schemas.microsoft.com/office/drawing/2014/main" id="{43B0AC77-8691-4F6F-B5AE-6CFBDE3849E4}"/>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accent2"/>
                </a:solidFill>
                <a:latin typeface="Noto Serif" panose="020B0502040504020204" pitchFamily="34" charset="0"/>
              </a:defRPr>
            </a:lvl1pPr>
          </a:lstStyle>
          <a:p>
            <a:r>
              <a:rPr lang="en-US"/>
              <a:t>Click to Edit Title</a:t>
            </a:r>
          </a:p>
        </p:txBody>
      </p:sp>
      <p:pic>
        <p:nvPicPr>
          <p:cNvPr id="10" name="Picture 9">
            <a:extLst>
              <a:ext uri="{FF2B5EF4-FFF2-40B4-BE49-F238E27FC236}">
                <a16:creationId xmlns:a16="http://schemas.microsoft.com/office/drawing/2014/main" id="{3AA9698E-5E06-4B4A-862C-A3B1DDAB2F4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5735" y="473088"/>
            <a:ext cx="1391808" cy="386617"/>
          </a:xfrm>
          <a:prstGeom prst="rect">
            <a:avLst/>
          </a:prstGeom>
        </p:spPr>
      </p:pic>
    </p:spTree>
    <p:extLst>
      <p:ext uri="{BB962C8B-B14F-4D97-AF65-F5344CB8AC3E}">
        <p14:creationId xmlns:p14="http://schemas.microsoft.com/office/powerpoint/2010/main" val="4215869596"/>
      </p:ext>
    </p:extLst>
  </p:cSld>
  <p:clrMapOvr>
    <a:masterClrMapping/>
  </p:clrMapOvr>
  <p:hf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D9AA5A-3E14-421F-B49E-4929660178DE}"/>
              </a:ext>
            </a:extLst>
          </p:cNvPr>
          <p:cNvGraphicFramePr>
            <a:graphicFrameLocks noChangeAspect="1"/>
          </p:cNvGraphicFramePr>
          <p:nvPr userDrawn="1">
            <p:custDataLst>
              <p:tags r:id="rId1"/>
            </p:custDataLst>
            <p:extLst>
              <p:ext uri="{D42A27DB-BD31-4B8C-83A1-F6EECF244321}">
                <p14:modId xmlns:p14="http://schemas.microsoft.com/office/powerpoint/2010/main" val="209638898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09D9AA5A-3E14-421F-B49E-4929660178D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C5C3ED-4280-4291-84C2-18D05685F8A8}"/>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itle 1">
            <a:extLst>
              <a:ext uri="{FF2B5EF4-FFF2-40B4-BE49-F238E27FC236}">
                <a16:creationId xmlns:a16="http://schemas.microsoft.com/office/drawing/2014/main" id="{7E112EED-374F-4593-8210-1F651B06CDA8}"/>
              </a:ext>
            </a:extLst>
          </p:cNvPr>
          <p:cNvSpPr>
            <a:spLocks noGrp="1"/>
          </p:cNvSpPr>
          <p:nvPr>
            <p:ph type="title" hasCustomPrompt="1"/>
          </p:nvPr>
        </p:nvSpPr>
        <p:spPr>
          <a:xfrm>
            <a:off x="575387" y="465975"/>
            <a:ext cx="10177280" cy="852744"/>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8" name="Inhaltsplatzhalter 2">
            <a:extLst>
              <a:ext uri="{FF2B5EF4-FFF2-40B4-BE49-F238E27FC236}">
                <a16:creationId xmlns:a16="http://schemas.microsoft.com/office/drawing/2014/main" id="{7DDC88A9-F6DD-4FD2-A8C4-3A88D5EF7941}"/>
              </a:ext>
            </a:extLst>
          </p:cNvPr>
          <p:cNvSpPr>
            <a:spLocks noGrp="1"/>
          </p:cNvSpPr>
          <p:nvPr>
            <p:ph idx="1" hasCustomPrompt="1"/>
            <p:custDataLst>
              <p:tags r:id="rId3"/>
            </p:custDataLst>
          </p:nvPr>
        </p:nvSpPr>
        <p:spPr>
          <a:xfrm>
            <a:off x="579426" y="1414641"/>
            <a:ext cx="10169103" cy="4603819"/>
          </a:xfrm>
        </p:spPr>
        <p:txBody>
          <a:bodyPr lIns="0" tIns="0" rIns="0" bIns="0">
            <a:normAutofit/>
          </a:bodyPr>
          <a:lstStyle>
            <a:lvl1pPr marL="380305" indent="-380305">
              <a:buFont typeface="Arial" panose="020B0604020202020204" pitchFamily="34" charset="0"/>
              <a:buChar char="•"/>
              <a:defRPr sz="239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bg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202105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20AC9C-8B78-4AAC-BCBC-68602C4A9016}"/>
              </a:ext>
            </a:extLst>
          </p:cNvPr>
          <p:cNvGraphicFramePr>
            <a:graphicFrameLocks noChangeAspect="1"/>
          </p:cNvGraphicFramePr>
          <p:nvPr userDrawn="1">
            <p:custDataLst>
              <p:tags r:id="rId1"/>
            </p:custDataLst>
            <p:extLst>
              <p:ext uri="{D42A27DB-BD31-4B8C-83A1-F6EECF244321}">
                <p14:modId xmlns:p14="http://schemas.microsoft.com/office/powerpoint/2010/main" val="298920793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FC20AC9C-8B78-4AAC-BCBC-68602C4A9016}"/>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D1A9EC-6D88-46CE-AA82-A7AC3A1C633B}"/>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itle 1">
            <a:extLst>
              <a:ext uri="{FF2B5EF4-FFF2-40B4-BE49-F238E27FC236}">
                <a16:creationId xmlns:a16="http://schemas.microsoft.com/office/drawing/2014/main" id="{1DBD9DDB-635C-4A05-85A5-72BCC1756EF0}"/>
              </a:ext>
            </a:extLst>
          </p:cNvPr>
          <p:cNvSpPr>
            <a:spLocks noGrp="1"/>
          </p:cNvSpPr>
          <p:nvPr>
            <p:ph type="title" hasCustomPrompt="1"/>
          </p:nvPr>
        </p:nvSpPr>
        <p:spPr>
          <a:xfrm>
            <a:off x="575387" y="465975"/>
            <a:ext cx="10177280" cy="852744"/>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8" name="Inhaltsplatzhalter 2">
            <a:extLst>
              <a:ext uri="{FF2B5EF4-FFF2-40B4-BE49-F238E27FC236}">
                <a16:creationId xmlns:a16="http://schemas.microsoft.com/office/drawing/2014/main" id="{5C678C02-E2A3-471C-BEE9-43A73A7356AF}"/>
              </a:ext>
            </a:extLst>
          </p:cNvPr>
          <p:cNvSpPr>
            <a:spLocks noGrp="1"/>
          </p:cNvSpPr>
          <p:nvPr>
            <p:ph idx="1" hasCustomPrompt="1"/>
            <p:custDataLst>
              <p:tags r:id="rId3"/>
            </p:custDataLst>
          </p:nvPr>
        </p:nvSpPr>
        <p:spPr>
          <a:xfrm>
            <a:off x="579426" y="1414641"/>
            <a:ext cx="10169103" cy="4603819"/>
          </a:xfrm>
        </p:spPr>
        <p:txBody>
          <a:bodyPr lIns="0" tIns="0" rIns="0" bIns="0">
            <a:normAutofit/>
          </a:bodyPr>
          <a:lstStyle>
            <a:lvl1pPr marL="380305" indent="-380305">
              <a:buFont typeface="Arial" panose="020B0604020202020204" pitchFamily="34" charset="0"/>
              <a:buChar char="•"/>
              <a:defRPr sz="239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bg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24494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7967A2-4551-4232-B404-F982A539225F}"/>
              </a:ext>
            </a:extLst>
          </p:cNvPr>
          <p:cNvGraphicFramePr>
            <a:graphicFrameLocks noChangeAspect="1"/>
          </p:cNvGraphicFramePr>
          <p:nvPr userDrawn="1">
            <p:custDataLst>
              <p:tags r:id="rId1"/>
            </p:custDataLst>
            <p:extLst>
              <p:ext uri="{D42A27DB-BD31-4B8C-83A1-F6EECF244321}">
                <p14:modId xmlns:p14="http://schemas.microsoft.com/office/powerpoint/2010/main" val="139003968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287967A2-4551-4232-B404-F982A539225F}"/>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6371C53-8208-4B8D-B9C9-0C25A4DDCB2E}"/>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itle 1">
            <a:extLst>
              <a:ext uri="{FF2B5EF4-FFF2-40B4-BE49-F238E27FC236}">
                <a16:creationId xmlns:a16="http://schemas.microsoft.com/office/drawing/2014/main" id="{BD74A8C6-D784-4E10-892C-AD4B98EE232B}"/>
              </a:ext>
            </a:extLst>
          </p:cNvPr>
          <p:cNvSpPr>
            <a:spLocks noGrp="1"/>
          </p:cNvSpPr>
          <p:nvPr>
            <p:ph type="title" hasCustomPrompt="1"/>
          </p:nvPr>
        </p:nvSpPr>
        <p:spPr>
          <a:xfrm>
            <a:off x="575387" y="465975"/>
            <a:ext cx="10177280" cy="852744"/>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9" name="Inhaltsplatzhalter 2">
            <a:extLst>
              <a:ext uri="{FF2B5EF4-FFF2-40B4-BE49-F238E27FC236}">
                <a16:creationId xmlns:a16="http://schemas.microsoft.com/office/drawing/2014/main" id="{CD461FB0-64B3-47B3-9032-0A58F84DB720}"/>
              </a:ext>
            </a:extLst>
          </p:cNvPr>
          <p:cNvSpPr>
            <a:spLocks noGrp="1"/>
          </p:cNvSpPr>
          <p:nvPr>
            <p:ph idx="1" hasCustomPrompt="1"/>
            <p:custDataLst>
              <p:tags r:id="rId3"/>
            </p:custDataLst>
          </p:nvPr>
        </p:nvSpPr>
        <p:spPr>
          <a:xfrm>
            <a:off x="579426" y="1414641"/>
            <a:ext cx="10169103" cy="4603819"/>
          </a:xfrm>
        </p:spPr>
        <p:txBody>
          <a:bodyPr lIns="0" tIns="0" rIns="0" bIns="0">
            <a:normAutofit/>
          </a:bodyPr>
          <a:lstStyle>
            <a:lvl1pPr marL="380305" indent="-380305">
              <a:buFont typeface="Arial" panose="020B0604020202020204" pitchFamily="34" charset="0"/>
              <a:buChar char="•"/>
              <a:defRPr sz="239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bg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542E25A4-6FD5-4322-8E9F-E3A27C551234}"/>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6060"/>
            <a:ext cx="863600" cy="287409"/>
          </a:xfrm>
          <a:prstGeom prst="rect">
            <a:avLst/>
          </a:prstGeom>
        </p:spPr>
      </p:pic>
    </p:spTree>
    <p:extLst>
      <p:ext uri="{BB962C8B-B14F-4D97-AF65-F5344CB8AC3E}">
        <p14:creationId xmlns:p14="http://schemas.microsoft.com/office/powerpoint/2010/main" val="282107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B34974-9552-4749-AE27-59D04E60703C}"/>
              </a:ext>
            </a:extLst>
          </p:cNvPr>
          <p:cNvGraphicFramePr>
            <a:graphicFrameLocks noChangeAspect="1"/>
          </p:cNvGraphicFramePr>
          <p:nvPr userDrawn="1">
            <p:custDataLst>
              <p:tags r:id="rId1"/>
            </p:custDataLst>
            <p:extLst>
              <p:ext uri="{D42A27DB-BD31-4B8C-83A1-F6EECF244321}">
                <p14:modId xmlns:p14="http://schemas.microsoft.com/office/powerpoint/2010/main" val="298322107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98B34974-9552-4749-AE27-59D04E60703C}"/>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6528F1-648D-4744-8DFF-17FDBBBC2640}"/>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11" name="Title 1">
            <a:extLst>
              <a:ext uri="{FF2B5EF4-FFF2-40B4-BE49-F238E27FC236}">
                <a16:creationId xmlns:a16="http://schemas.microsoft.com/office/drawing/2014/main" id="{C244BC3A-B508-47DB-AAA8-E753B543854D}"/>
              </a:ext>
            </a:extLst>
          </p:cNvPr>
          <p:cNvSpPr>
            <a:spLocks noGrp="1"/>
          </p:cNvSpPr>
          <p:nvPr>
            <p:ph type="title" hasCustomPrompt="1"/>
          </p:nvPr>
        </p:nvSpPr>
        <p:spPr>
          <a:xfrm>
            <a:off x="575387" y="465975"/>
            <a:ext cx="10177280" cy="852744"/>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p>
        </p:txBody>
      </p:sp>
      <p:sp>
        <p:nvSpPr>
          <p:cNvPr id="12" name="Inhaltsplatzhalter 2">
            <a:extLst>
              <a:ext uri="{FF2B5EF4-FFF2-40B4-BE49-F238E27FC236}">
                <a16:creationId xmlns:a16="http://schemas.microsoft.com/office/drawing/2014/main" id="{CCE84961-FAD6-4BEF-ABCD-CCF4DC22B9ED}"/>
              </a:ext>
            </a:extLst>
          </p:cNvPr>
          <p:cNvSpPr>
            <a:spLocks noGrp="1"/>
          </p:cNvSpPr>
          <p:nvPr>
            <p:ph idx="1" hasCustomPrompt="1"/>
            <p:custDataLst>
              <p:tags r:id="rId3"/>
            </p:custDataLst>
          </p:nvPr>
        </p:nvSpPr>
        <p:spPr>
          <a:xfrm>
            <a:off x="579426" y="1414641"/>
            <a:ext cx="10169103" cy="4603819"/>
          </a:xfrm>
        </p:spPr>
        <p:txBody>
          <a:bodyPr lIns="0" tIns="0" rIns="0" bIns="0">
            <a:normAutofit/>
          </a:bodyPr>
          <a:lstStyle>
            <a:lvl1pPr marL="380305" indent="-380305">
              <a:buFont typeface="Arial" panose="020B0604020202020204" pitchFamily="34" charset="0"/>
              <a:buChar char="•"/>
              <a:defRPr sz="2395"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2pPr>
            <a:lvl3pPr marL="1521220" indent="-304244">
              <a:buFont typeface="Symbol" panose="05050102010706020507" pitchFamily="18" charset="2"/>
              <a:buChar char="-"/>
              <a:defRPr sz="2395">
                <a:solidFill>
                  <a:schemeClr val="bg1"/>
                </a:solidFill>
                <a:latin typeface="Noto Sans" panose="020B0502040504020204" pitchFamily="34"/>
                <a:ea typeface="Noto Sans" panose="020B0502040504020204" pitchFamily="34"/>
                <a:cs typeface="Noto Sans" panose="020B0502040504020204" pitchFamily="34"/>
              </a:defRPr>
            </a:lvl3pPr>
            <a:lvl4pPr marL="2129708" indent="-304244">
              <a:buFont typeface="Symbol" panose="05050102010706020507" pitchFamily="18" charset="2"/>
              <a:buChar char="-"/>
              <a:defRPr sz="2130">
                <a:solidFill>
                  <a:schemeClr val="bg1"/>
                </a:solidFill>
                <a:latin typeface="Noto Sans" panose="020B0502040504020204" pitchFamily="34"/>
                <a:ea typeface="Noto Sans" panose="020B0502040504020204" pitchFamily="34"/>
                <a:cs typeface="Noto Sans" panose="020B0502040504020204" pitchFamily="34"/>
              </a:defRPr>
            </a:lvl4pPr>
            <a:lvl5pPr marL="2738195" indent="-304244">
              <a:buFont typeface="Symbol" panose="05050102010706020507" pitchFamily="18" charset="2"/>
              <a:buChar char="-"/>
              <a:defRPr sz="1864">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7727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59AD52-3485-407F-8A29-1AD03620F117}"/>
              </a:ext>
            </a:extLst>
          </p:cNvPr>
          <p:cNvGraphicFramePr>
            <a:graphicFrameLocks noChangeAspect="1"/>
          </p:cNvGraphicFramePr>
          <p:nvPr userDrawn="1">
            <p:custDataLst>
              <p:tags r:id="rId1"/>
            </p:custDataLst>
            <p:extLst>
              <p:ext uri="{D42A27DB-BD31-4B8C-83A1-F6EECF244321}">
                <p14:modId xmlns:p14="http://schemas.microsoft.com/office/powerpoint/2010/main" val="76481351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2" name="Object 1" hidden="1">
                        <a:extLst>
                          <a:ext uri="{FF2B5EF4-FFF2-40B4-BE49-F238E27FC236}">
                            <a16:creationId xmlns:a16="http://schemas.microsoft.com/office/drawing/2014/main" id="{C759AD52-3485-407F-8A29-1AD03620F117}"/>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3172"/>
            <a:ext cx="12192000" cy="6854828"/>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p>
        </p:txBody>
      </p:sp>
      <p:sp>
        <p:nvSpPr>
          <p:cNvPr id="8" name="Text Placeholder 7">
            <a:extLst>
              <a:ext uri="{FF2B5EF4-FFF2-40B4-BE49-F238E27FC236}">
                <a16:creationId xmlns:a16="http://schemas.microsoft.com/office/drawing/2014/main" id="{E2E21024-AF43-4789-8353-63976F982B33}"/>
              </a:ext>
            </a:extLst>
          </p:cNvPr>
          <p:cNvSpPr>
            <a:spLocks noGrp="1"/>
          </p:cNvSpPr>
          <p:nvPr>
            <p:ph type="body" sz="quarter" idx="11" hasCustomPrompt="1"/>
          </p:nvPr>
        </p:nvSpPr>
        <p:spPr>
          <a:xfrm>
            <a:off x="575734" y="2325898"/>
            <a:ext cx="11040533" cy="1294202"/>
          </a:xfrm>
        </p:spPr>
        <p:txBody>
          <a:bodyPr>
            <a:noAutofit/>
          </a:bodyPr>
          <a:lstStyle>
            <a:lvl1pPr algn="ctr">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305336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F1BE20-525F-4213-AD39-4BBD9C8BF62E}"/>
              </a:ext>
            </a:extLst>
          </p:cNvPr>
          <p:cNvGraphicFramePr>
            <a:graphicFrameLocks noChangeAspect="1"/>
          </p:cNvGraphicFramePr>
          <p:nvPr userDrawn="1">
            <p:custDataLst>
              <p:tags r:id="rId1"/>
            </p:custDataLst>
            <p:extLst>
              <p:ext uri="{D42A27DB-BD31-4B8C-83A1-F6EECF244321}">
                <p14:modId xmlns:p14="http://schemas.microsoft.com/office/powerpoint/2010/main" val="329151456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5" name="Object 4" hidden="1">
                        <a:extLst>
                          <a:ext uri="{FF2B5EF4-FFF2-40B4-BE49-F238E27FC236}">
                            <a16:creationId xmlns:a16="http://schemas.microsoft.com/office/drawing/2014/main" id="{3EF1BE20-525F-4213-AD39-4BBD9C8BF62E}"/>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43D65B-B735-452B-88F0-1F477887763F}"/>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3172"/>
            <a:ext cx="2976033"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575735" y="4747734"/>
            <a:ext cx="2255904" cy="124698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0" name="Inhaltsplatzhalter 2">
            <a:extLst>
              <a:ext uri="{FF2B5EF4-FFF2-40B4-BE49-F238E27FC236}">
                <a16:creationId xmlns:a16="http://schemas.microsoft.com/office/drawing/2014/main" id="{B67183BC-26B0-4B55-9C68-53EB4258FF86}"/>
              </a:ext>
            </a:extLst>
          </p:cNvPr>
          <p:cNvSpPr>
            <a:spLocks noGrp="1"/>
          </p:cNvSpPr>
          <p:nvPr>
            <p:ph idx="11" hasCustomPrompt="1"/>
            <p:custDataLst>
              <p:tags r:id="rId3"/>
            </p:custDataLst>
          </p:nvPr>
        </p:nvSpPr>
        <p:spPr>
          <a:xfrm>
            <a:off x="3215680" y="1414641"/>
            <a:ext cx="7536987" cy="4603819"/>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Tree>
    <p:extLst>
      <p:ext uri="{BB962C8B-B14F-4D97-AF65-F5344CB8AC3E}">
        <p14:creationId xmlns:p14="http://schemas.microsoft.com/office/powerpoint/2010/main" val="199790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yout X-Layer red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29587C-695B-4818-9047-ECA34CDE0AFF}"/>
              </a:ext>
            </a:extLst>
          </p:cNvPr>
          <p:cNvGraphicFramePr>
            <a:graphicFrameLocks noChangeAspect="1"/>
          </p:cNvGraphicFramePr>
          <p:nvPr userDrawn="1">
            <p:custDataLst>
              <p:tags r:id="rId1"/>
            </p:custDataLst>
            <p:extLst>
              <p:ext uri="{D42A27DB-BD31-4B8C-83A1-F6EECF244321}">
                <p14:modId xmlns:p14="http://schemas.microsoft.com/office/powerpoint/2010/main" val="275322506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6" imgW="473" imgH="476" progId="TCLayout.ActiveDocument.1">
                  <p:embed/>
                </p:oleObj>
              </mc:Choice>
              <mc:Fallback>
                <p:oleObj name="think-cell Folie" r:id="rId6" imgW="473" imgH="476" progId="TCLayout.ActiveDocument.1">
                  <p:embed/>
                  <p:pic>
                    <p:nvPicPr>
                      <p:cNvPr id="5" name="Object 4" hidden="1">
                        <a:extLst>
                          <a:ext uri="{FF2B5EF4-FFF2-40B4-BE49-F238E27FC236}">
                            <a16:creationId xmlns:a16="http://schemas.microsoft.com/office/drawing/2014/main" id="{EF29587C-695B-4818-9047-ECA34CDE0AFF}"/>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E38E9E-D75D-4135-90B4-E69268298CD0}"/>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31"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0" y="3173"/>
            <a:ext cx="12192000" cy="3424771"/>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9"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B101405-171A-47D3-80F6-59DD566FB835}"/>
              </a:ext>
            </a:extLst>
          </p:cNvPr>
          <p:cNvSpPr>
            <a:spLocks noGrp="1"/>
          </p:cNvSpPr>
          <p:nvPr>
            <p:ph type="title" hasCustomPrompt="1"/>
          </p:nvPr>
        </p:nvSpPr>
        <p:spPr>
          <a:xfrm>
            <a:off x="577580" y="465975"/>
            <a:ext cx="9194993" cy="852744"/>
          </a:xfrm>
          <a:prstGeom prst="rect">
            <a:avLst/>
          </a:prstGeom>
        </p:spPr>
        <p:txBody>
          <a:bodyPr>
            <a:normAutofit/>
          </a:bodyPr>
          <a:lstStyle>
            <a:lvl1pPr>
              <a:defRPr sz="2931"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3"/>
            </p:custDataLst>
          </p:nvPr>
        </p:nvSpPr>
        <p:spPr>
          <a:xfrm>
            <a:off x="581271" y="1414641"/>
            <a:ext cx="9191301" cy="1535410"/>
          </a:xfrm>
        </p:spPr>
        <p:txBody>
          <a:bodyPr lIns="0" tIns="0" rIns="0" bIns="0">
            <a:normAutofit/>
          </a:bodyPr>
          <a:lstStyle>
            <a:lvl1pPr marL="0" indent="0">
              <a:buFont typeface="Arial" panose="020B0604020202020204" pitchFamily="34" charset="0"/>
              <a:buNone/>
              <a:defRPr sz="2131"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4"/>
            </p:custDataLst>
          </p:nvPr>
        </p:nvSpPr>
        <p:spPr>
          <a:xfrm>
            <a:off x="579425" y="3764727"/>
            <a:ext cx="9193147" cy="2183142"/>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Tree>
    <p:extLst>
      <p:ext uri="{BB962C8B-B14F-4D97-AF65-F5344CB8AC3E}">
        <p14:creationId xmlns:p14="http://schemas.microsoft.com/office/powerpoint/2010/main" val="394708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6E4FA-0BE8-4872-8FA6-5E3356B1688F}"/>
              </a:ext>
            </a:extLst>
          </p:cNvPr>
          <p:cNvGraphicFramePr>
            <a:graphicFrameLocks noChangeAspect="1"/>
          </p:cNvGraphicFramePr>
          <p:nvPr userDrawn="1">
            <p:custDataLst>
              <p:tags r:id="rId1"/>
            </p:custDataLst>
            <p:extLst>
              <p:ext uri="{D42A27DB-BD31-4B8C-83A1-F6EECF244321}">
                <p14:modId xmlns:p14="http://schemas.microsoft.com/office/powerpoint/2010/main" val="194760443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2" name="Object 1" hidden="1">
                        <a:extLst>
                          <a:ext uri="{FF2B5EF4-FFF2-40B4-BE49-F238E27FC236}">
                            <a16:creationId xmlns:a16="http://schemas.microsoft.com/office/drawing/2014/main" id="{D8B6E4FA-0BE8-4872-8FA6-5E3356B1688F}"/>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3172"/>
            <a:ext cx="12192000"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ext Placeholder 7">
            <a:extLst>
              <a:ext uri="{FF2B5EF4-FFF2-40B4-BE49-F238E27FC236}">
                <a16:creationId xmlns:a16="http://schemas.microsoft.com/office/drawing/2014/main" id="{CED87DCB-6932-4D0D-A9D7-75361A3F35A0}"/>
              </a:ext>
            </a:extLst>
          </p:cNvPr>
          <p:cNvSpPr>
            <a:spLocks noGrp="1"/>
          </p:cNvSpPr>
          <p:nvPr>
            <p:ph type="body" sz="quarter" idx="11" hasCustomPrompt="1"/>
          </p:nvPr>
        </p:nvSpPr>
        <p:spPr>
          <a:xfrm>
            <a:off x="575734" y="2325898"/>
            <a:ext cx="11040533" cy="1294202"/>
          </a:xfrm>
        </p:spPr>
        <p:txBody>
          <a:bodyPr>
            <a:noAutofit/>
          </a:bodyPr>
          <a:lstStyle>
            <a:lvl1pPr algn="ctr">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9693" r="58924" b="1"/>
          <a:stretch/>
        </p:blipFill>
        <p:spPr>
          <a:xfrm>
            <a:off x="10752667" y="6306654"/>
            <a:ext cx="863600" cy="287409"/>
          </a:xfrm>
          <a:prstGeom prst="rect">
            <a:avLst/>
          </a:prstGeom>
        </p:spPr>
      </p:pic>
    </p:spTree>
    <p:extLst>
      <p:ext uri="{BB962C8B-B14F-4D97-AF65-F5344CB8AC3E}">
        <p14:creationId xmlns:p14="http://schemas.microsoft.com/office/powerpoint/2010/main" val="272750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1EAB64-B406-42AC-90DF-5A988951A8A3}"/>
              </a:ext>
            </a:extLst>
          </p:cNvPr>
          <p:cNvGraphicFramePr>
            <a:graphicFrameLocks noChangeAspect="1"/>
          </p:cNvGraphicFramePr>
          <p:nvPr userDrawn="1">
            <p:custDataLst>
              <p:tags r:id="rId1"/>
            </p:custDataLst>
            <p:extLst>
              <p:ext uri="{D42A27DB-BD31-4B8C-83A1-F6EECF244321}">
                <p14:modId xmlns:p14="http://schemas.microsoft.com/office/powerpoint/2010/main" val="579142680"/>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E61EAB64-B406-42AC-90DF-5A988951A8A3}"/>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25F2B1-5A35-43F8-A472-95F8441BF235}"/>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75590"/>
          <a:stretch/>
        </p:blipFill>
        <p:spPr>
          <a:xfrm>
            <a:off x="1" y="3172"/>
            <a:ext cx="2976033"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575735" y="4747734"/>
            <a:ext cx="2255904" cy="124698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9" name="Inhaltsplatzhalter 2">
            <a:extLst>
              <a:ext uri="{FF2B5EF4-FFF2-40B4-BE49-F238E27FC236}">
                <a16:creationId xmlns:a16="http://schemas.microsoft.com/office/drawing/2014/main" id="{9E0FD41E-F95D-40EB-B276-C7C239E3593B}"/>
              </a:ext>
            </a:extLst>
          </p:cNvPr>
          <p:cNvSpPr>
            <a:spLocks noGrp="1"/>
          </p:cNvSpPr>
          <p:nvPr>
            <p:ph idx="11" hasCustomPrompt="1"/>
            <p:custDataLst>
              <p:tags r:id="rId3"/>
            </p:custDataLst>
          </p:nvPr>
        </p:nvSpPr>
        <p:spPr>
          <a:xfrm>
            <a:off x="3215680" y="1414641"/>
            <a:ext cx="7536987" cy="4603819"/>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Tree>
    <p:extLst>
      <p:ext uri="{BB962C8B-B14F-4D97-AF65-F5344CB8AC3E}">
        <p14:creationId xmlns:p14="http://schemas.microsoft.com/office/powerpoint/2010/main" val="208221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0CC703-A888-44A5-B3D1-90CBC9492FFC}"/>
              </a:ext>
            </a:extLst>
          </p:cNvPr>
          <p:cNvGraphicFramePr>
            <a:graphicFrameLocks noChangeAspect="1"/>
          </p:cNvGraphicFramePr>
          <p:nvPr userDrawn="1">
            <p:custDataLst>
              <p:tags r:id="rId1"/>
            </p:custDataLst>
            <p:extLst>
              <p:ext uri="{D42A27DB-BD31-4B8C-83A1-F6EECF244321}">
                <p14:modId xmlns:p14="http://schemas.microsoft.com/office/powerpoint/2010/main" val="13334606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6" imgW="473" imgH="476" progId="TCLayout.ActiveDocument.1">
                  <p:embed/>
                </p:oleObj>
              </mc:Choice>
              <mc:Fallback>
                <p:oleObj name="think-cell Folie" r:id="rId6" imgW="473" imgH="476" progId="TCLayout.ActiveDocument.1">
                  <p:embed/>
                  <p:pic>
                    <p:nvPicPr>
                      <p:cNvPr id="4" name="Object 3" hidden="1">
                        <a:extLst>
                          <a:ext uri="{FF2B5EF4-FFF2-40B4-BE49-F238E27FC236}">
                            <a16:creationId xmlns:a16="http://schemas.microsoft.com/office/drawing/2014/main" id="{D00CC703-A888-44A5-B3D1-90CBC9492FFC}"/>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994E0D-F0BE-45EC-9384-ED1416C946FB}"/>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31"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50000"/>
          <a:stretch/>
        </p:blipFill>
        <p:spPr>
          <a:xfrm>
            <a:off x="0" y="3172"/>
            <a:ext cx="12192000" cy="3425828"/>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en-US" smtClean="0"/>
              <a:pPr/>
              <a:t>‹#›</a:t>
            </a:fld>
            <a:endParaRPr lang="en-US" sz="1865">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9"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3"/>
            </p:custDataLst>
          </p:nvPr>
        </p:nvSpPr>
        <p:spPr>
          <a:xfrm>
            <a:off x="579425" y="3764727"/>
            <a:ext cx="9193147" cy="2183142"/>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4"/>
            </p:custDataLst>
          </p:nvPr>
        </p:nvSpPr>
        <p:spPr>
          <a:xfrm>
            <a:off x="581271" y="1414641"/>
            <a:ext cx="9191301" cy="1535410"/>
          </a:xfrm>
        </p:spPr>
        <p:txBody>
          <a:bodyPr lIns="0" tIns="0" rIns="0" bIns="0">
            <a:normAutofit/>
          </a:bodyPr>
          <a:lstStyle>
            <a:lvl1pPr marL="0" indent="0">
              <a:buFont typeface="Arial" panose="020B0604020202020204" pitchFamily="34" charset="0"/>
              <a:buNone/>
              <a:defRPr sz="2131"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4" name="Title 1">
            <a:extLst>
              <a:ext uri="{FF2B5EF4-FFF2-40B4-BE49-F238E27FC236}">
                <a16:creationId xmlns:a16="http://schemas.microsoft.com/office/drawing/2014/main" id="{D854C64F-741A-4E32-BAA4-B7FA133FA5A5}"/>
              </a:ext>
            </a:extLst>
          </p:cNvPr>
          <p:cNvSpPr>
            <a:spLocks noGrp="1"/>
          </p:cNvSpPr>
          <p:nvPr>
            <p:ph type="title" hasCustomPrompt="1"/>
          </p:nvPr>
        </p:nvSpPr>
        <p:spPr>
          <a:xfrm>
            <a:off x="577580" y="465975"/>
            <a:ext cx="9194993" cy="852744"/>
          </a:xfrm>
          <a:prstGeom prst="rect">
            <a:avLst/>
          </a:prstGeom>
        </p:spPr>
        <p:txBody>
          <a:bodyPr>
            <a:normAutofit/>
          </a:bodyPr>
          <a:lstStyle>
            <a:lvl1pPr>
              <a:defRPr sz="2931"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Tree>
    <p:extLst>
      <p:ext uri="{BB962C8B-B14F-4D97-AF65-F5344CB8AC3E}">
        <p14:creationId xmlns:p14="http://schemas.microsoft.com/office/powerpoint/2010/main" val="156594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8">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A1984AD-EDC2-41E8-9941-C7AE0471C266}"/>
              </a:ext>
            </a:extLst>
          </p:cNvPr>
          <p:cNvGraphicFramePr>
            <a:graphicFrameLocks noChangeAspect="1"/>
          </p:cNvGraphicFramePr>
          <p:nvPr userDrawn="1">
            <p:custDataLst>
              <p:tags r:id="rId1"/>
            </p:custDataLst>
            <p:extLst>
              <p:ext uri="{D42A27DB-BD31-4B8C-83A1-F6EECF244321}">
                <p14:modId xmlns:p14="http://schemas.microsoft.com/office/powerpoint/2010/main" val="119100762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Object 12" hidden="1">
                        <a:extLst>
                          <a:ext uri="{FF2B5EF4-FFF2-40B4-BE49-F238E27FC236}">
                            <a16:creationId xmlns:a16="http://schemas.microsoft.com/office/drawing/2014/main" id="{5A1984AD-EDC2-41E8-9941-C7AE0471C266}"/>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3" name="Picture 2" descr="A person sitting on a toilet&#10;&#10;Description automatically generated with low confidence">
            <a:extLst>
              <a:ext uri="{FF2B5EF4-FFF2-40B4-BE49-F238E27FC236}">
                <a16:creationId xmlns:a16="http://schemas.microsoft.com/office/drawing/2014/main" id="{38E183BE-04AB-4E3A-93B5-D7A11E1D7642}"/>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0" y="1"/>
            <a:ext cx="12192000" cy="6858000"/>
          </a:xfrm>
          <a:prstGeom prst="rect">
            <a:avLst/>
          </a:prstGeom>
        </p:spPr>
      </p:pic>
      <p:pic>
        <p:nvPicPr>
          <p:cNvPr id="12" name="Picture 11">
            <a:extLst>
              <a:ext uri="{FF2B5EF4-FFF2-40B4-BE49-F238E27FC236}">
                <a16:creationId xmlns:a16="http://schemas.microsoft.com/office/drawing/2014/main" id="{476AB976-A360-4F28-A003-151E5AD09F4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5735" y="473088"/>
            <a:ext cx="1391808" cy="386617"/>
          </a:xfrm>
          <a:prstGeom prst="rect">
            <a:avLst/>
          </a:prstGeom>
        </p:spPr>
      </p:pic>
      <p:sp>
        <p:nvSpPr>
          <p:cNvPr id="8" name="Textplatzhalter 64">
            <a:extLst>
              <a:ext uri="{FF2B5EF4-FFF2-40B4-BE49-F238E27FC236}">
                <a16:creationId xmlns:a16="http://schemas.microsoft.com/office/drawing/2014/main" id="{EDCA24BC-E921-4B57-BF38-13055BFA93AA}"/>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9" name="Untertitel 2">
            <a:extLst>
              <a:ext uri="{FF2B5EF4-FFF2-40B4-BE49-F238E27FC236}">
                <a16:creationId xmlns:a16="http://schemas.microsoft.com/office/drawing/2014/main" id="{972CA09E-57CF-4E8D-B9FE-DDE8848E3077}"/>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1" name="Textplatzhalter 64">
            <a:extLst>
              <a:ext uri="{FF2B5EF4-FFF2-40B4-BE49-F238E27FC236}">
                <a16:creationId xmlns:a16="http://schemas.microsoft.com/office/drawing/2014/main" id="{4B66702F-177F-4C52-A584-1ECACA72E4D6}"/>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accent2"/>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14" name="Title 10">
            <a:extLst>
              <a:ext uri="{FF2B5EF4-FFF2-40B4-BE49-F238E27FC236}">
                <a16:creationId xmlns:a16="http://schemas.microsoft.com/office/drawing/2014/main" id="{ABB9A97D-66C7-4C59-9D0E-96CF2D1A5A6E}"/>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accent2"/>
                </a:solidFill>
                <a:latin typeface="Noto Serif" panose="020B0502040504020204" pitchFamily="34" charset="0"/>
              </a:defRPr>
            </a:lvl1pPr>
          </a:lstStyle>
          <a:p>
            <a:r>
              <a:rPr lang="en-US"/>
              <a:t>Click to Edit Title</a:t>
            </a:r>
          </a:p>
        </p:txBody>
      </p:sp>
    </p:spTree>
    <p:extLst>
      <p:ext uri="{BB962C8B-B14F-4D97-AF65-F5344CB8AC3E}">
        <p14:creationId xmlns:p14="http://schemas.microsoft.com/office/powerpoint/2010/main" val="4238137795"/>
      </p:ext>
    </p:extLst>
  </p:cSld>
  <p:clrMapOvr>
    <a:masterClrMapping/>
  </p:clrMapOvr>
  <p:hf hdr="0" ftr="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A0E24B-ADE7-4A3C-998D-91EDEAD67878}"/>
              </a:ext>
            </a:extLst>
          </p:cNvPr>
          <p:cNvGraphicFramePr>
            <a:graphicFrameLocks noChangeAspect="1"/>
          </p:cNvGraphicFramePr>
          <p:nvPr userDrawn="1">
            <p:custDataLst>
              <p:tags r:id="rId1"/>
            </p:custDataLst>
            <p:extLst>
              <p:ext uri="{D42A27DB-BD31-4B8C-83A1-F6EECF244321}">
                <p14:modId xmlns:p14="http://schemas.microsoft.com/office/powerpoint/2010/main" val="3010462499"/>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2" name="Object 1" hidden="1">
                        <a:extLst>
                          <a:ext uri="{FF2B5EF4-FFF2-40B4-BE49-F238E27FC236}">
                            <a16:creationId xmlns:a16="http://schemas.microsoft.com/office/drawing/2014/main" id="{1DA0E24B-ADE7-4A3C-998D-91EDEAD67878}"/>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3172"/>
            <a:ext cx="12192000"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ext Placeholder 7">
            <a:extLst>
              <a:ext uri="{FF2B5EF4-FFF2-40B4-BE49-F238E27FC236}">
                <a16:creationId xmlns:a16="http://schemas.microsoft.com/office/drawing/2014/main" id="{3686E557-EE99-46ED-A374-3D44A287936D}"/>
              </a:ext>
            </a:extLst>
          </p:cNvPr>
          <p:cNvSpPr>
            <a:spLocks noGrp="1"/>
          </p:cNvSpPr>
          <p:nvPr>
            <p:ph type="body" sz="quarter" idx="11" hasCustomPrompt="1"/>
          </p:nvPr>
        </p:nvSpPr>
        <p:spPr>
          <a:xfrm>
            <a:off x="575734" y="2325898"/>
            <a:ext cx="11040533" cy="1294202"/>
          </a:xfrm>
        </p:spPr>
        <p:txBody>
          <a:bodyPr>
            <a:noAutofit/>
          </a:bodyPr>
          <a:lstStyle>
            <a:lvl1pPr algn="ctr">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325645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6A0649-CB4C-4496-A391-8CC874272018}"/>
              </a:ext>
            </a:extLst>
          </p:cNvPr>
          <p:cNvGraphicFramePr>
            <a:graphicFrameLocks noChangeAspect="1"/>
          </p:cNvGraphicFramePr>
          <p:nvPr userDrawn="1">
            <p:custDataLst>
              <p:tags r:id="rId1"/>
            </p:custDataLst>
            <p:extLst>
              <p:ext uri="{D42A27DB-BD31-4B8C-83A1-F6EECF244321}">
                <p14:modId xmlns:p14="http://schemas.microsoft.com/office/powerpoint/2010/main" val="1974460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5" name="Object 4" hidden="1">
                        <a:extLst>
                          <a:ext uri="{FF2B5EF4-FFF2-40B4-BE49-F238E27FC236}">
                            <a16:creationId xmlns:a16="http://schemas.microsoft.com/office/drawing/2014/main" id="{376A0649-CB4C-4496-A391-8CC874272018}"/>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94FE1AC-D139-481A-9C0C-FE3E94C7AF9E}"/>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3172"/>
            <a:ext cx="2976033"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575735" y="4747734"/>
            <a:ext cx="2255904" cy="124698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3"/>
            </p:custDataLst>
          </p:nvPr>
        </p:nvSpPr>
        <p:spPr>
          <a:xfrm>
            <a:off x="3215680" y="1414641"/>
            <a:ext cx="7536987" cy="4603819"/>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Tree>
    <p:extLst>
      <p:ext uri="{BB962C8B-B14F-4D97-AF65-F5344CB8AC3E}">
        <p14:creationId xmlns:p14="http://schemas.microsoft.com/office/powerpoint/2010/main" val="333791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A3CF46-0E28-4E81-9436-17FEB0025E7A}"/>
              </a:ext>
            </a:extLst>
          </p:cNvPr>
          <p:cNvGraphicFramePr>
            <a:graphicFrameLocks noChangeAspect="1"/>
          </p:cNvGraphicFramePr>
          <p:nvPr userDrawn="1">
            <p:custDataLst>
              <p:tags r:id="rId1"/>
            </p:custDataLst>
            <p:extLst>
              <p:ext uri="{D42A27DB-BD31-4B8C-83A1-F6EECF244321}">
                <p14:modId xmlns:p14="http://schemas.microsoft.com/office/powerpoint/2010/main" val="269123742"/>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6" imgW="473" imgH="476" progId="TCLayout.ActiveDocument.1">
                  <p:embed/>
                </p:oleObj>
              </mc:Choice>
              <mc:Fallback>
                <p:oleObj name="think-cell Folie" r:id="rId6" imgW="473" imgH="476" progId="TCLayout.ActiveDocument.1">
                  <p:embed/>
                  <p:pic>
                    <p:nvPicPr>
                      <p:cNvPr id="4" name="Object 3" hidden="1">
                        <a:extLst>
                          <a:ext uri="{FF2B5EF4-FFF2-40B4-BE49-F238E27FC236}">
                            <a16:creationId xmlns:a16="http://schemas.microsoft.com/office/drawing/2014/main" id="{08A3CF46-0E28-4E81-9436-17FEB0025E7A}"/>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4F613A2-20DA-4521-80E3-B44551AAB2C0}"/>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31" b="1" i="0" baseline="0">
              <a:latin typeface="Noto Serif" panose="020B0502040504020204" pitchFamily="34" charset="0"/>
              <a:ea typeface="Noto Sans" panose="020B0502040504020204" pitchFamily="34" charset="0"/>
              <a:sym typeface="Noto Serif" panose="020B0502040504020204" pitchFamily="34" charset="0"/>
            </a:endParaRPr>
          </a:p>
        </p:txBody>
      </p:sp>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en-US" smtClean="0"/>
              <a:pPr/>
              <a:t>‹#›</a:t>
            </a:fld>
            <a:endParaRPr lang="en-US" sz="1865">
              <a:latin typeface="+mj-lt"/>
              <a:ea typeface="+mj-ea"/>
              <a:cs typeface="+mj-cs"/>
            </a:endParaRPr>
          </a:p>
        </p:txBody>
      </p:sp>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0" y="-120108"/>
            <a:ext cx="12192000" cy="3548052"/>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9"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3"/>
            </p:custDataLst>
          </p:nvPr>
        </p:nvSpPr>
        <p:spPr>
          <a:xfrm>
            <a:off x="579425" y="3764727"/>
            <a:ext cx="9193147" cy="2183142"/>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4"/>
            </p:custDataLst>
          </p:nvPr>
        </p:nvSpPr>
        <p:spPr>
          <a:xfrm>
            <a:off x="581271" y="1414641"/>
            <a:ext cx="9191301" cy="1535410"/>
          </a:xfrm>
        </p:spPr>
        <p:txBody>
          <a:bodyPr lIns="0" tIns="0" rIns="0" bIns="0">
            <a:normAutofit/>
          </a:bodyPr>
          <a:lstStyle>
            <a:lvl1pPr marL="0" indent="0">
              <a:buFont typeface="Arial" panose="020B0604020202020204" pitchFamily="34" charset="0"/>
              <a:buNone/>
              <a:defRPr sz="2131"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1" name="Title 1">
            <a:extLst>
              <a:ext uri="{FF2B5EF4-FFF2-40B4-BE49-F238E27FC236}">
                <a16:creationId xmlns:a16="http://schemas.microsoft.com/office/drawing/2014/main" id="{BBFFADE9-879E-4F1E-A905-25BFF7528DC3}"/>
              </a:ext>
            </a:extLst>
          </p:cNvPr>
          <p:cNvSpPr>
            <a:spLocks noGrp="1"/>
          </p:cNvSpPr>
          <p:nvPr>
            <p:ph type="title" hasCustomPrompt="1"/>
          </p:nvPr>
        </p:nvSpPr>
        <p:spPr>
          <a:xfrm>
            <a:off x="577580" y="465975"/>
            <a:ext cx="9194993" cy="852744"/>
          </a:xfrm>
          <a:prstGeom prst="rect">
            <a:avLst/>
          </a:prstGeom>
        </p:spPr>
        <p:txBody>
          <a:bodyPr>
            <a:normAutofit/>
          </a:bodyPr>
          <a:lstStyle>
            <a:lvl1pPr>
              <a:defRPr sz="2931"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Tree>
    <p:extLst>
      <p:ext uri="{BB962C8B-B14F-4D97-AF65-F5344CB8AC3E}">
        <p14:creationId xmlns:p14="http://schemas.microsoft.com/office/powerpoint/2010/main" val="92070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BBFFF3-828C-4876-BD9D-E232314AA1C0}"/>
              </a:ext>
            </a:extLst>
          </p:cNvPr>
          <p:cNvGraphicFramePr>
            <a:graphicFrameLocks noChangeAspect="1"/>
          </p:cNvGraphicFramePr>
          <p:nvPr userDrawn="1">
            <p:custDataLst>
              <p:tags r:id="rId1"/>
            </p:custDataLst>
            <p:extLst>
              <p:ext uri="{D42A27DB-BD31-4B8C-83A1-F6EECF244321}">
                <p14:modId xmlns:p14="http://schemas.microsoft.com/office/powerpoint/2010/main" val="3713325883"/>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2" name="Object 1" hidden="1">
                        <a:extLst>
                          <a:ext uri="{FF2B5EF4-FFF2-40B4-BE49-F238E27FC236}">
                            <a16:creationId xmlns:a16="http://schemas.microsoft.com/office/drawing/2014/main" id="{80BBFFF3-828C-4876-BD9D-E232314AA1C0}"/>
                          </a:ext>
                        </a:extLst>
                      </p:cNvPr>
                      <p:cNvPicPr/>
                      <p:nvPr/>
                    </p:nvPicPr>
                    <p:blipFill>
                      <a:blip r:embed="rId4"/>
                      <a:stretch>
                        <a:fillRect/>
                      </a:stretch>
                    </p:blipFill>
                    <p:spPr>
                      <a:xfrm>
                        <a:off x="2118" y="2116"/>
                        <a:ext cx="2117" cy="2115"/>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3172"/>
            <a:ext cx="12192000"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575734" y="2325898"/>
            <a:ext cx="11040533" cy="1294202"/>
          </a:xfrm>
        </p:spPr>
        <p:txBody>
          <a:bodyPr>
            <a:noAutofit/>
          </a:bodyPr>
          <a:lstStyle>
            <a:lvl1pPr algn="ctr">
              <a:defRPr sz="7993"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9693" r="58924" b="1"/>
          <a:stretch/>
        </p:blipFill>
        <p:spPr>
          <a:xfrm>
            <a:off x="10752667" y="6307011"/>
            <a:ext cx="863600" cy="287409"/>
          </a:xfrm>
          <a:prstGeom prst="rect">
            <a:avLst/>
          </a:prstGeom>
        </p:spPr>
      </p:pic>
    </p:spTree>
    <p:extLst>
      <p:ext uri="{BB962C8B-B14F-4D97-AF65-F5344CB8AC3E}">
        <p14:creationId xmlns:p14="http://schemas.microsoft.com/office/powerpoint/2010/main" val="18999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A45AE1-2D3B-4C86-B63B-14FDBEB16F43}"/>
              </a:ext>
            </a:extLst>
          </p:cNvPr>
          <p:cNvGraphicFramePr>
            <a:graphicFrameLocks noChangeAspect="1"/>
          </p:cNvGraphicFramePr>
          <p:nvPr userDrawn="1">
            <p:custDataLst>
              <p:tags r:id="rId1"/>
            </p:custDataLst>
            <p:extLst>
              <p:ext uri="{D42A27DB-BD31-4B8C-83A1-F6EECF244321}">
                <p14:modId xmlns:p14="http://schemas.microsoft.com/office/powerpoint/2010/main" val="2365467931"/>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4" name="Object 3" hidden="1">
                        <a:extLst>
                          <a:ext uri="{FF2B5EF4-FFF2-40B4-BE49-F238E27FC236}">
                            <a16:creationId xmlns:a16="http://schemas.microsoft.com/office/drawing/2014/main" id="{FCA45AE1-2D3B-4C86-B63B-14FDBEB16F43}"/>
                          </a:ext>
                        </a:extLst>
                      </p:cNvPr>
                      <p:cNvPicPr/>
                      <p:nvPr/>
                    </p:nvPicPr>
                    <p:blipFill>
                      <a:blip r:embed="rId6"/>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3544921-981E-4360-BCAA-52956E2D8D93}"/>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3172"/>
            <a:ext cx="2976033" cy="6851655"/>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en-US" smtClean="0"/>
              <a:pPr/>
              <a:t>‹#›</a:t>
            </a:fld>
            <a:endParaRPr lang="en-US" sz="1865">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575735" y="4747734"/>
            <a:ext cx="2255904" cy="124698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3"/>
            </p:custDataLst>
          </p:nvPr>
        </p:nvSpPr>
        <p:spPr>
          <a:xfrm>
            <a:off x="3215680" y="1414641"/>
            <a:ext cx="7536987" cy="4603819"/>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Tree>
    <p:extLst>
      <p:ext uri="{BB962C8B-B14F-4D97-AF65-F5344CB8AC3E}">
        <p14:creationId xmlns:p14="http://schemas.microsoft.com/office/powerpoint/2010/main" val="256575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0A2601-BDD9-4B6E-B542-770415D13314}"/>
              </a:ext>
            </a:extLst>
          </p:cNvPr>
          <p:cNvGraphicFramePr>
            <a:graphicFrameLocks noChangeAspect="1"/>
          </p:cNvGraphicFramePr>
          <p:nvPr userDrawn="1">
            <p:custDataLst>
              <p:tags r:id="rId1"/>
            </p:custDataLst>
            <p:extLst>
              <p:ext uri="{D42A27DB-BD31-4B8C-83A1-F6EECF244321}">
                <p14:modId xmlns:p14="http://schemas.microsoft.com/office/powerpoint/2010/main" val="83542253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6" imgW="473" imgH="476" progId="TCLayout.ActiveDocument.1">
                  <p:embed/>
                </p:oleObj>
              </mc:Choice>
              <mc:Fallback>
                <p:oleObj name="think-cell Folie" r:id="rId6" imgW="473" imgH="476" progId="TCLayout.ActiveDocument.1">
                  <p:embed/>
                  <p:pic>
                    <p:nvPicPr>
                      <p:cNvPr id="5" name="Object 4" hidden="1">
                        <a:extLst>
                          <a:ext uri="{FF2B5EF4-FFF2-40B4-BE49-F238E27FC236}">
                            <a16:creationId xmlns:a16="http://schemas.microsoft.com/office/drawing/2014/main" id="{190A2601-BDD9-4B6E-B542-770415D13314}"/>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6A88FA-4535-4140-8AA4-F677919BFE9F}"/>
              </a:ext>
            </a:extLst>
          </p:cNvPr>
          <p:cNvSpPr/>
          <p:nvPr userDrawn="1">
            <p:custDataLst>
              <p:tags r:id="rId2"/>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31" b="1" i="0" baseline="0">
              <a:latin typeface="Noto Serif" panose="020B0502040504020204" pitchFamily="34" charset="0"/>
              <a:ea typeface="Noto Sans" panose="020B0502040504020204" pitchFamily="34" charset="0"/>
              <a:sym typeface="Noto Serif" panose="020B0502040504020204" pitchFamily="34" charset="0"/>
            </a:endParaRPr>
          </a:p>
        </p:txBody>
      </p:sp>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50000"/>
          <a:stretch/>
        </p:blipFill>
        <p:spPr>
          <a:xfrm>
            <a:off x="0" y="3172"/>
            <a:ext cx="12192000" cy="3425828"/>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en-US" smtClean="0"/>
              <a:pPr/>
              <a:t>‹#›</a:t>
            </a:fld>
            <a:endParaRPr lang="en-US" sz="1865">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9" cstate="screen">
            <a:biLevel thresh="25000"/>
            <a:extLst>
              <a:ext uri="{28A0092B-C50C-407E-A947-70E740481C1C}">
                <a14:useLocalDpi xmlns:a14="http://schemas.microsoft.com/office/drawing/2010/main"/>
              </a:ext>
            </a:extLst>
          </a:blip>
          <a:stretch>
            <a:fillRect/>
          </a:stretch>
        </p:blipFill>
        <p:spPr>
          <a:xfrm>
            <a:off x="10756377" y="6310678"/>
            <a:ext cx="865633" cy="239554"/>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0750898" y="6306655"/>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3"/>
            </p:custDataLst>
          </p:nvPr>
        </p:nvSpPr>
        <p:spPr>
          <a:xfrm>
            <a:off x="579425" y="3764727"/>
            <a:ext cx="9193147" cy="2183142"/>
          </a:xfrm>
        </p:spPr>
        <p:txBody>
          <a:bodyPr lIns="0" tIns="0" rIns="0" bIns="0">
            <a:normAutofit/>
          </a:bodyPr>
          <a:lstStyle>
            <a:lvl1pPr marL="380305" indent="-380305">
              <a:buFont typeface="Arial" panose="020B0604020202020204" pitchFamily="34" charset="0"/>
              <a:buChar char="•"/>
              <a:defRPr sz="2131" baseline="0">
                <a:solidFill>
                  <a:schemeClr val="tx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tx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tx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tx1"/>
                </a:solidFill>
                <a:latin typeface="Arial" panose="020B0604020202020204" pitchFamily="34" charset="0"/>
                <a:cs typeface="Arial" panose="020B0604020202020204" pitchFamily="34" charset="0"/>
              </a:defRPr>
            </a:lvl5pPr>
          </a:lstStyle>
          <a:p>
            <a:pPr lvl="0"/>
            <a:r>
              <a:rPr lang="en-US"/>
              <a:t>Click to add text</a:t>
            </a:r>
          </a:p>
        </p:txBody>
      </p:sp>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4"/>
            </p:custDataLst>
          </p:nvPr>
        </p:nvSpPr>
        <p:spPr>
          <a:xfrm>
            <a:off x="581271" y="1414641"/>
            <a:ext cx="9191301" cy="1535410"/>
          </a:xfrm>
        </p:spPr>
        <p:txBody>
          <a:bodyPr lIns="0" tIns="0" rIns="0" bIns="0">
            <a:normAutofit/>
          </a:bodyPr>
          <a:lstStyle>
            <a:lvl1pPr marL="0" indent="0">
              <a:buFont typeface="Arial" panose="020B0604020202020204" pitchFamily="34" charset="0"/>
              <a:buNone/>
              <a:defRPr sz="2131" baseline="0">
                <a:solidFill>
                  <a:schemeClr val="bg1"/>
                </a:solidFill>
                <a:latin typeface="Noto Sans" panose="020B0502040504020204" pitchFamily="34"/>
                <a:ea typeface="Noto Sans" panose="020B0502040504020204" pitchFamily="34"/>
                <a:cs typeface="Noto Sans" panose="020B0502040504020204" pitchFamily="34"/>
              </a:defRPr>
            </a:lvl1pPr>
            <a:lvl2pPr marL="988793" indent="-380305">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2pPr>
            <a:lvl3pPr marL="1521220" indent="-304244">
              <a:buFont typeface="Symbol" panose="05050102010706020507" pitchFamily="18" charset="2"/>
              <a:buChar char="-"/>
              <a:defRPr sz="2395">
                <a:solidFill>
                  <a:schemeClr val="bg1"/>
                </a:solidFill>
                <a:latin typeface="Arial" panose="020B0604020202020204" pitchFamily="34" charset="0"/>
                <a:cs typeface="Arial" panose="020B0604020202020204" pitchFamily="34" charset="0"/>
              </a:defRPr>
            </a:lvl3pPr>
            <a:lvl4pPr marL="2129708" indent="-304244">
              <a:buFont typeface="Symbol" panose="05050102010706020507" pitchFamily="18" charset="2"/>
              <a:buChar char="-"/>
              <a:defRPr sz="2130">
                <a:solidFill>
                  <a:schemeClr val="bg1"/>
                </a:solidFill>
                <a:latin typeface="Arial" panose="020B0604020202020204" pitchFamily="34" charset="0"/>
                <a:cs typeface="Arial" panose="020B0604020202020204" pitchFamily="34" charset="0"/>
              </a:defRPr>
            </a:lvl4pPr>
            <a:lvl5pPr marL="2738195" indent="-304244">
              <a:buFont typeface="Symbol" panose="05050102010706020507" pitchFamily="18" charset="2"/>
              <a:buChar char="-"/>
              <a:defRPr sz="1864">
                <a:solidFill>
                  <a:schemeClr val="bg1"/>
                </a:solidFill>
                <a:latin typeface="Arial" panose="020B0604020202020204" pitchFamily="34" charset="0"/>
                <a:cs typeface="Arial" panose="020B0604020202020204" pitchFamily="34" charset="0"/>
              </a:defRPr>
            </a:lvl5pPr>
          </a:lstStyle>
          <a:p>
            <a:pPr lvl="0"/>
            <a:r>
              <a:rPr lang="en-US"/>
              <a:t>Click to add text</a:t>
            </a:r>
          </a:p>
        </p:txBody>
      </p:sp>
      <p:sp>
        <p:nvSpPr>
          <p:cNvPr id="10" name="Title 1">
            <a:extLst>
              <a:ext uri="{FF2B5EF4-FFF2-40B4-BE49-F238E27FC236}">
                <a16:creationId xmlns:a16="http://schemas.microsoft.com/office/drawing/2014/main" id="{94CC890A-2743-4B45-B32F-9FA01F230C2C}"/>
              </a:ext>
            </a:extLst>
          </p:cNvPr>
          <p:cNvSpPr>
            <a:spLocks noGrp="1"/>
          </p:cNvSpPr>
          <p:nvPr>
            <p:ph type="title" hasCustomPrompt="1"/>
          </p:nvPr>
        </p:nvSpPr>
        <p:spPr>
          <a:xfrm>
            <a:off x="577580" y="465975"/>
            <a:ext cx="9194993" cy="852744"/>
          </a:xfrm>
          <a:prstGeom prst="rect">
            <a:avLst/>
          </a:prstGeom>
        </p:spPr>
        <p:txBody>
          <a:bodyPr>
            <a:normAutofit/>
          </a:bodyPr>
          <a:lstStyle>
            <a:lvl1pPr>
              <a:defRPr sz="2931"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p>
        </p:txBody>
      </p:sp>
    </p:spTree>
    <p:extLst>
      <p:ext uri="{BB962C8B-B14F-4D97-AF65-F5344CB8AC3E}">
        <p14:creationId xmlns:p14="http://schemas.microsoft.com/office/powerpoint/2010/main" val="377461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Inhalt">
    <p:bg>
      <p:bgPr>
        <a:blipFill dpi="0"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a:fillRect l="-7000" r="-7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ct 3" hidden="1"/>
                      <p:cNvPicPr/>
                      <p:nvPr/>
                    </p:nvPicPr>
                    <p:blipFill>
                      <a:blip r:embed="rId6"/>
                      <a:stretch>
                        <a:fillRect/>
                      </a:stretch>
                    </p:blipFill>
                    <p:spPr>
                      <a:xfrm>
                        <a:off x="2121" y="1590"/>
                        <a:ext cx="2116" cy="1587"/>
                      </a:xfrm>
                      <a:prstGeom prst="rect">
                        <a:avLst/>
                      </a:prstGeom>
                    </p:spPr>
                  </p:pic>
                </p:oleObj>
              </mc:Fallback>
            </mc:AlternateContent>
          </a:graphicData>
        </a:graphic>
      </p:graphicFrame>
      <p:pic>
        <p:nvPicPr>
          <p:cNvPr id="9"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7" cstate="screen">
            <a:biLevel thresh="25000"/>
            <a:extLst>
              <a:ext uri="{28A0092B-C50C-407E-A947-70E740481C1C}">
                <a14:useLocalDpi xmlns:a14="http://schemas.microsoft.com/office/drawing/2010/main"/>
              </a:ext>
            </a:extLst>
          </a:blip>
          <a:srcRect/>
          <a:stretch>
            <a:fillRect/>
          </a:stretch>
        </p:blipFill>
        <p:spPr bwMode="auto">
          <a:xfrm>
            <a:off x="10750929" y="6330140"/>
            <a:ext cx="865716" cy="23896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DCD4E8F7-67E3-44A6-A606-24408025143A}"/>
              </a:ext>
            </a:extLst>
          </p:cNvPr>
          <p:cNvSpPr/>
          <p:nvPr userDrawn="1"/>
        </p:nvSpPr>
        <p:spPr bwMode="white">
          <a:xfrm>
            <a:off x="1" y="6619039"/>
            <a:ext cx="1821084" cy="238961"/>
          </a:xfrm>
          <a:prstGeom prst="rect">
            <a:avLst/>
          </a:prstGeom>
          <a:solidFill>
            <a:srgbClr val="1A374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en-150" sz="2398">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414430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Agenda" type="obj">
  <p:cSld name="Agenda">
    <p:spTree>
      <p:nvGrpSpPr>
        <p:cNvPr id="1" name="Shape 49"/>
        <p:cNvGrpSpPr/>
        <p:nvPr/>
      </p:nvGrpSpPr>
      <p:grpSpPr>
        <a:xfrm>
          <a:off x="0" y="0"/>
          <a:ext cx="0" cy="0"/>
          <a:chOff x="0" y="0"/>
          <a:chExt cx="0" cy="0"/>
        </a:xfrm>
      </p:grpSpPr>
      <p:sp>
        <p:nvSpPr>
          <p:cNvPr id="50" name="Google Shape;50;p7"/>
          <p:cNvSpPr txBox="1">
            <a:spLocks noGrp="1"/>
          </p:cNvSpPr>
          <p:nvPr>
            <p:ph type="title"/>
          </p:nvPr>
        </p:nvSpPr>
        <p:spPr>
          <a:xfrm>
            <a:off x="731837" y="260351"/>
            <a:ext cx="10728325" cy="900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7"/>
          <p:cNvSpPr txBox="1">
            <a:spLocks noGrp="1"/>
          </p:cNvSpPr>
          <p:nvPr>
            <p:ph type="body" idx="1"/>
          </p:nvPr>
        </p:nvSpPr>
        <p:spPr>
          <a:xfrm>
            <a:off x="731837" y="1412875"/>
            <a:ext cx="10728325" cy="4680000"/>
          </a:xfrm>
          <a:prstGeom prst="rect">
            <a:avLst/>
          </a:prstGeom>
          <a:noFill/>
          <a:ln>
            <a:noFill/>
          </a:ln>
        </p:spPr>
        <p:txBody>
          <a:bodyPr spcFirstLastPara="1" wrap="square" lIns="0" tIns="0" rIns="0" bIns="0" anchor="t" anchorCtr="0">
            <a:noAutofit/>
          </a:bodyPr>
          <a:lstStyle>
            <a:lvl1pPr marL="457200" lvl="0" indent="-342900" algn="l">
              <a:lnSpc>
                <a:spcPct val="100000"/>
              </a:lnSpc>
              <a:spcBef>
                <a:spcPts val="1000"/>
              </a:spcBef>
              <a:spcAft>
                <a:spcPts val="0"/>
              </a:spcAft>
              <a:buClr>
                <a:schemeClr val="dk1"/>
              </a:buClr>
              <a:buSzPts val="1800"/>
              <a:buFont typeface="Arial"/>
              <a:buAutoNum type="arabicPeriod"/>
              <a:defRPr/>
            </a:lvl1pPr>
            <a:lvl2pPr marL="914400" lvl="1" indent="-342900" algn="l">
              <a:lnSpc>
                <a:spcPct val="100000"/>
              </a:lnSpc>
              <a:spcBef>
                <a:spcPts val="500"/>
              </a:spcBef>
              <a:spcAft>
                <a:spcPts val="0"/>
              </a:spcAft>
              <a:buClr>
                <a:schemeClr val="dk1"/>
              </a:buClr>
              <a:buSzPts val="1800"/>
              <a:buFont typeface="Arial"/>
              <a:buAutoNum type="arabicPeriod"/>
              <a:defRPr/>
            </a:lvl2pPr>
            <a:lvl3pPr marL="1371600" lvl="2" indent="-342900" algn="l">
              <a:lnSpc>
                <a:spcPct val="100000"/>
              </a:lnSpc>
              <a:spcBef>
                <a:spcPts val="500"/>
              </a:spcBef>
              <a:spcAft>
                <a:spcPts val="0"/>
              </a:spcAft>
              <a:buClr>
                <a:schemeClr val="dk1"/>
              </a:buClr>
              <a:buSzPts val="1800"/>
              <a:buFont typeface="Arial"/>
              <a:buAutoNum type="arabicPeriod"/>
              <a:defRPr/>
            </a:lvl3pPr>
            <a:lvl4pPr marL="1828800" lvl="3" indent="-342900" algn="l">
              <a:lnSpc>
                <a:spcPct val="100000"/>
              </a:lnSpc>
              <a:spcBef>
                <a:spcPts val="500"/>
              </a:spcBef>
              <a:spcAft>
                <a:spcPts val="0"/>
              </a:spcAft>
              <a:buClr>
                <a:schemeClr val="dk1"/>
              </a:buClr>
              <a:buSzPts val="1800"/>
              <a:buFont typeface="Arial"/>
              <a:buAutoNum type="arabicPeriod"/>
              <a:defRPr/>
            </a:lvl4pPr>
            <a:lvl5pPr marL="2286000" lvl="4" indent="-342900" algn="l">
              <a:lnSpc>
                <a:spcPct val="100000"/>
              </a:lnSpc>
              <a:spcBef>
                <a:spcPts val="500"/>
              </a:spcBef>
              <a:spcAft>
                <a:spcPts val="0"/>
              </a:spcAft>
              <a:buClr>
                <a:schemeClr val="dk1"/>
              </a:buClr>
              <a:buSzPts val="1800"/>
              <a:buFont typeface="Arial"/>
              <a:buAutoNum type="arabicPeriod"/>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 name="Google Shape;52;p7"/>
          <p:cNvSpPr txBox="1">
            <a:spLocks noGrp="1"/>
          </p:cNvSpPr>
          <p:nvPr>
            <p:ph type="dt" idx="10"/>
          </p:nvPr>
        </p:nvSpPr>
        <p:spPr>
          <a:xfrm>
            <a:off x="10473692" y="6522444"/>
            <a:ext cx="612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7"/>
          <p:cNvSpPr txBox="1">
            <a:spLocks noGrp="1"/>
          </p:cNvSpPr>
          <p:nvPr>
            <p:ph type="ftr" idx="11"/>
          </p:nvPr>
        </p:nvSpPr>
        <p:spPr>
          <a:xfrm>
            <a:off x="2171700" y="6522444"/>
            <a:ext cx="5400000" cy="2160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7"/>
          <p:cNvSpPr txBox="1">
            <a:spLocks noGrp="1"/>
          </p:cNvSpPr>
          <p:nvPr>
            <p:ph type="sldNum" idx="12"/>
          </p:nvPr>
        </p:nvSpPr>
        <p:spPr>
          <a:xfrm>
            <a:off x="11137585" y="6522444"/>
            <a:ext cx="322577" cy="2160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de-CH"/>
              <a:t>‹#›</a:t>
            </a:fld>
            <a:endParaRPr/>
          </a:p>
        </p:txBody>
      </p:sp>
      <p:pic>
        <p:nvPicPr>
          <p:cNvPr id="55" name="Google Shape;55;p7"/>
          <p:cNvPicPr preferRelativeResize="0"/>
          <p:nvPr/>
        </p:nvPicPr>
        <p:blipFill rotWithShape="1">
          <a:blip r:embed="rId2">
            <a:alphaModFix/>
          </a:blip>
          <a:srcRect/>
          <a:stretch/>
        </p:blipFill>
        <p:spPr>
          <a:xfrm>
            <a:off x="731837" y="6507088"/>
            <a:ext cx="984462" cy="162000"/>
          </a:xfrm>
          <a:prstGeom prst="rect">
            <a:avLst/>
          </a:prstGeom>
          <a:noFill/>
          <a:ln>
            <a:noFill/>
          </a:ln>
        </p:spPr>
      </p:pic>
    </p:spTree>
    <p:extLst>
      <p:ext uri="{BB962C8B-B14F-4D97-AF65-F5344CB8AC3E}">
        <p14:creationId xmlns:p14="http://schemas.microsoft.com/office/powerpoint/2010/main" val="184911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9">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A1984AD-EDC2-41E8-9941-C7AE0471C266}"/>
              </a:ext>
            </a:extLst>
          </p:cNvPr>
          <p:cNvGraphicFramePr>
            <a:graphicFrameLocks noChangeAspect="1"/>
          </p:cNvGraphicFramePr>
          <p:nvPr userDrawn="1">
            <p:custDataLst>
              <p:tags r:id="rId1"/>
            </p:custDataLst>
            <p:extLst>
              <p:ext uri="{D42A27DB-BD31-4B8C-83A1-F6EECF244321}">
                <p14:modId xmlns:p14="http://schemas.microsoft.com/office/powerpoint/2010/main" val="4027791185"/>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Object 12" hidden="1">
                        <a:extLst>
                          <a:ext uri="{FF2B5EF4-FFF2-40B4-BE49-F238E27FC236}">
                            <a16:creationId xmlns:a16="http://schemas.microsoft.com/office/drawing/2014/main" id="{5A1984AD-EDC2-41E8-9941-C7AE0471C266}"/>
                          </a:ext>
                        </a:extLst>
                      </p:cNvPr>
                      <p:cNvPicPr/>
                      <p:nvPr/>
                    </p:nvPicPr>
                    <p:blipFill>
                      <a:blip r:embed="rId7"/>
                      <a:stretch>
                        <a:fillRect/>
                      </a:stretch>
                    </p:blipFill>
                    <p:spPr>
                      <a:xfrm>
                        <a:off x="2118" y="2116"/>
                        <a:ext cx="2117" cy="2115"/>
                      </a:xfrm>
                      <a:prstGeom prst="rect">
                        <a:avLst/>
                      </a:prstGeom>
                    </p:spPr>
                  </p:pic>
                </p:oleObj>
              </mc:Fallback>
            </mc:AlternateContent>
          </a:graphicData>
        </a:graphic>
      </p:graphicFrame>
      <p:pic>
        <p:nvPicPr>
          <p:cNvPr id="3" name="Picture 2" descr="Close-up of graph on screen">
            <a:extLst>
              <a:ext uri="{FF2B5EF4-FFF2-40B4-BE49-F238E27FC236}">
                <a16:creationId xmlns:a16="http://schemas.microsoft.com/office/drawing/2014/main" id="{CF5A8000-D2B5-4F25-989F-E6B3CDF06A79}"/>
              </a:ext>
            </a:extLst>
          </p:cNvPr>
          <p:cNvPicPr>
            <a:picLocks noChangeAspect="1"/>
          </p:cNvPicPr>
          <p:nvPr userDrawn="1"/>
        </p:nvPicPr>
        <p:blipFill>
          <a:blip r:embed="rId8">
            <a:extLst>
              <a:ext uri="{28A0092B-C50C-407E-A947-70E740481C1C}">
                <a14:useLocalDpi xmlns:a14="http://schemas.microsoft.com/office/drawing/2010/main" val="0"/>
              </a:ext>
            </a:extLst>
          </a:blip>
          <a:srcRect t="7795" b="7795"/>
          <a:stretch/>
        </p:blipFill>
        <p:spPr>
          <a:xfrm>
            <a:off x="0" y="1"/>
            <a:ext cx="12192000" cy="6858000"/>
          </a:xfrm>
          <a:prstGeom prst="rect">
            <a:avLst/>
          </a:prstGeom>
        </p:spPr>
      </p:pic>
      <p:sp>
        <p:nvSpPr>
          <p:cNvPr id="8" name="Textplatzhalter 64">
            <a:extLst>
              <a:ext uri="{FF2B5EF4-FFF2-40B4-BE49-F238E27FC236}">
                <a16:creationId xmlns:a16="http://schemas.microsoft.com/office/drawing/2014/main" id="{352D5833-65C8-4385-BA30-1D01C2B64B55}"/>
              </a:ext>
            </a:extLst>
          </p:cNvPr>
          <p:cNvSpPr>
            <a:spLocks noGrp="1"/>
          </p:cNvSpPr>
          <p:nvPr>
            <p:ph type="body" sz="quarter" idx="11" hasCustomPrompt="1"/>
            <p:custDataLst>
              <p:tags r:id="rId2"/>
            </p:custDataLst>
          </p:nvPr>
        </p:nvSpPr>
        <p:spPr>
          <a:xfrm>
            <a:off x="1967541" y="4827651"/>
            <a:ext cx="4128459" cy="496447"/>
          </a:xfrm>
          <a:prstGeom prst="rect">
            <a:avLst/>
          </a:prstGeom>
        </p:spPr>
        <p:txBody>
          <a:bodyPr wrap="none" lIns="0" tIns="0" rIns="0" bIns="0">
            <a:noAutofit/>
          </a:bodyPr>
          <a:lstStyle>
            <a:lvl1pPr marL="0" indent="0" rtl="0">
              <a:buFontTx/>
              <a:buNone/>
              <a:defRPr sz="1864"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Author</a:t>
            </a:r>
          </a:p>
        </p:txBody>
      </p:sp>
      <p:sp>
        <p:nvSpPr>
          <p:cNvPr id="9" name="Untertitel 2">
            <a:extLst>
              <a:ext uri="{FF2B5EF4-FFF2-40B4-BE49-F238E27FC236}">
                <a16:creationId xmlns:a16="http://schemas.microsoft.com/office/drawing/2014/main" id="{666CD534-F87E-4728-BE5C-EEA0C22908CF}"/>
              </a:ext>
            </a:extLst>
          </p:cNvPr>
          <p:cNvSpPr>
            <a:spLocks noGrp="1"/>
          </p:cNvSpPr>
          <p:nvPr>
            <p:ph type="subTitle" idx="1" hasCustomPrompt="1"/>
            <p:custDataLst>
              <p:tags r:id="rId3"/>
            </p:custDataLst>
          </p:nvPr>
        </p:nvSpPr>
        <p:spPr>
          <a:xfrm>
            <a:off x="1967545" y="3914084"/>
            <a:ext cx="7560071" cy="913567"/>
          </a:xfrm>
          <a:prstGeom prst="rect">
            <a:avLst/>
          </a:prstGeom>
        </p:spPr>
        <p:txBody>
          <a:bodyPr lIns="0" tIns="0" rIns="0" bIns="0">
            <a:normAutofit/>
          </a:bodyPr>
          <a:lstStyle>
            <a:lvl1pPr marL="0" indent="0" algn="l" rtl="0">
              <a:buNone/>
              <a:defRPr sz="2395">
                <a:solidFill>
                  <a:schemeClr val="bg1"/>
                </a:solidFill>
                <a:latin typeface="Noto Sans" panose="020B0502040504020204" pitchFamily="34"/>
                <a:ea typeface="Noto Sans" panose="020B0502040504020204" pitchFamily="34"/>
                <a:cs typeface="Noto Sans" panose="020B0502040504020204" pitchFamily="34"/>
              </a:defRPr>
            </a:lvl1pPr>
            <a:lvl2pPr marL="608489" indent="0" algn="ctr">
              <a:buNone/>
              <a:defRPr>
                <a:solidFill>
                  <a:schemeClr val="tx1">
                    <a:tint val="75000"/>
                  </a:schemeClr>
                </a:solidFill>
              </a:defRPr>
            </a:lvl2pPr>
            <a:lvl3pPr marL="1216976" indent="0" algn="ctr">
              <a:buNone/>
              <a:defRPr>
                <a:solidFill>
                  <a:schemeClr val="tx1">
                    <a:tint val="75000"/>
                  </a:schemeClr>
                </a:solidFill>
              </a:defRPr>
            </a:lvl3pPr>
            <a:lvl4pPr marL="1825465" indent="0" algn="ctr">
              <a:buNone/>
              <a:defRPr>
                <a:solidFill>
                  <a:schemeClr val="tx1">
                    <a:tint val="75000"/>
                  </a:schemeClr>
                </a:solidFill>
              </a:defRPr>
            </a:lvl4pPr>
            <a:lvl5pPr marL="2433952" indent="0" algn="ctr">
              <a:buNone/>
              <a:defRPr>
                <a:solidFill>
                  <a:schemeClr val="tx1">
                    <a:tint val="75000"/>
                  </a:schemeClr>
                </a:solidFill>
              </a:defRPr>
            </a:lvl5pPr>
            <a:lvl6pPr marL="3042440" indent="0" algn="ctr">
              <a:buNone/>
              <a:defRPr>
                <a:solidFill>
                  <a:schemeClr val="tx1">
                    <a:tint val="75000"/>
                  </a:schemeClr>
                </a:solidFill>
              </a:defRPr>
            </a:lvl6pPr>
            <a:lvl7pPr marL="3650928" indent="0" algn="ctr">
              <a:buNone/>
              <a:defRPr>
                <a:solidFill>
                  <a:schemeClr val="tx1">
                    <a:tint val="75000"/>
                  </a:schemeClr>
                </a:solidFill>
              </a:defRPr>
            </a:lvl7pPr>
            <a:lvl8pPr marL="4259416" indent="0" algn="ctr">
              <a:buNone/>
              <a:defRPr>
                <a:solidFill>
                  <a:schemeClr val="tx1">
                    <a:tint val="75000"/>
                  </a:schemeClr>
                </a:solidFill>
              </a:defRPr>
            </a:lvl8pPr>
            <a:lvl9pPr marL="4867904" indent="0" algn="ctr">
              <a:buNone/>
              <a:defRPr>
                <a:solidFill>
                  <a:schemeClr val="tx1">
                    <a:tint val="75000"/>
                  </a:schemeClr>
                </a:solidFill>
              </a:defRPr>
            </a:lvl9pPr>
          </a:lstStyle>
          <a:p>
            <a:r>
              <a:rPr lang="en-US" noProof="0"/>
              <a:t>Need a Subtitle? Add It Here.</a:t>
            </a:r>
          </a:p>
        </p:txBody>
      </p:sp>
      <p:sp>
        <p:nvSpPr>
          <p:cNvPr id="12" name="Textplatzhalter 64">
            <a:extLst>
              <a:ext uri="{FF2B5EF4-FFF2-40B4-BE49-F238E27FC236}">
                <a16:creationId xmlns:a16="http://schemas.microsoft.com/office/drawing/2014/main" id="{8D1BEA60-1651-4D00-9D13-8D15C723A1F8}"/>
              </a:ext>
            </a:extLst>
          </p:cNvPr>
          <p:cNvSpPr>
            <a:spLocks noGrp="1"/>
          </p:cNvSpPr>
          <p:nvPr>
            <p:ph type="body" sz="quarter" idx="12" hasCustomPrompt="1"/>
            <p:custDataLst>
              <p:tags r:id="rId4"/>
            </p:custDataLst>
          </p:nvPr>
        </p:nvSpPr>
        <p:spPr>
          <a:xfrm>
            <a:off x="1967544" y="5509454"/>
            <a:ext cx="4128459" cy="496447"/>
          </a:xfrm>
          <a:prstGeom prst="rect">
            <a:avLst/>
          </a:prstGeom>
        </p:spPr>
        <p:txBody>
          <a:bodyPr wrap="none" lIns="0" tIns="0" rIns="0" bIns="0">
            <a:noAutofit/>
          </a:bodyPr>
          <a:lstStyle>
            <a:lvl1pPr marL="0" indent="0" rtl="0">
              <a:buFontTx/>
              <a:buNone/>
              <a:defRPr sz="1465" baseline="0">
                <a:solidFill>
                  <a:schemeClr val="bg1"/>
                </a:solidFill>
                <a:latin typeface="Noto Sans" panose="020B0502040504020204" pitchFamily="34"/>
                <a:ea typeface="Noto Sans" panose="020B0502040504020204" pitchFamily="34"/>
                <a:cs typeface="Noto Sans" panose="020B0502040504020204" pitchFamily="34"/>
              </a:defRPr>
            </a:lvl1pPr>
            <a:lvl2pPr marL="608489" indent="0">
              <a:buFontTx/>
              <a:buNone/>
              <a:defRPr/>
            </a:lvl2pPr>
            <a:lvl3pPr marL="1216976" indent="0">
              <a:buFontTx/>
              <a:buNone/>
              <a:defRPr/>
            </a:lvl3pPr>
            <a:lvl4pPr marL="1825465" indent="0">
              <a:buFontTx/>
              <a:buNone/>
              <a:defRPr/>
            </a:lvl4pPr>
            <a:lvl5pPr marL="2433952" indent="0">
              <a:buFontTx/>
              <a:buNone/>
              <a:defRPr/>
            </a:lvl5pPr>
          </a:lstStyle>
          <a:p>
            <a:pPr lvl="0"/>
            <a:r>
              <a:rPr lang="en-US"/>
              <a:t>Date</a:t>
            </a:r>
          </a:p>
        </p:txBody>
      </p:sp>
      <p:sp>
        <p:nvSpPr>
          <p:cNvPr id="14" name="Title 10">
            <a:extLst>
              <a:ext uri="{FF2B5EF4-FFF2-40B4-BE49-F238E27FC236}">
                <a16:creationId xmlns:a16="http://schemas.microsoft.com/office/drawing/2014/main" id="{00CA732F-6C4C-4BC0-9526-10CBB7FEF00C}"/>
              </a:ext>
            </a:extLst>
          </p:cNvPr>
          <p:cNvSpPr>
            <a:spLocks noGrp="1"/>
          </p:cNvSpPr>
          <p:nvPr>
            <p:ph type="title" hasCustomPrompt="1"/>
          </p:nvPr>
        </p:nvSpPr>
        <p:spPr>
          <a:xfrm>
            <a:off x="1967542" y="2502418"/>
            <a:ext cx="7560071" cy="1323807"/>
          </a:xfrm>
          <a:prstGeom prst="rect">
            <a:avLst/>
          </a:prstGeom>
        </p:spPr>
        <p:txBody>
          <a:bodyPr vert="horz" lIns="0" tIns="0" rIns="0" bIns="0" anchor="b"/>
          <a:lstStyle>
            <a:lvl1pPr rtl="0">
              <a:defRPr sz="4529" b="1">
                <a:solidFill>
                  <a:schemeClr val="bg1"/>
                </a:solidFill>
                <a:latin typeface="Noto Serif" panose="020B0502040504020204" pitchFamily="34" charset="0"/>
              </a:defRPr>
            </a:lvl1pPr>
          </a:lstStyle>
          <a:p>
            <a:r>
              <a:rPr lang="en-US"/>
              <a:t>Click to Edit Title</a:t>
            </a:r>
          </a:p>
        </p:txBody>
      </p:sp>
      <p:pic>
        <p:nvPicPr>
          <p:cNvPr id="10" name="Graphic 9">
            <a:extLst>
              <a:ext uri="{FF2B5EF4-FFF2-40B4-BE49-F238E27FC236}">
                <a16:creationId xmlns:a16="http://schemas.microsoft.com/office/drawing/2014/main" id="{19D1B968-2E37-48CD-A6CF-A79E7BE3AC12}"/>
              </a:ext>
            </a:extLst>
          </p:cNvPr>
          <p:cNvPicPr>
            <a:picLocks noChangeAspect="1"/>
          </p:cNvPicPr>
          <p:nvPr userDrawn="1"/>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t="9693" r="58924" b="1"/>
          <a:stretch/>
        </p:blipFill>
        <p:spPr>
          <a:xfrm>
            <a:off x="575733" y="453680"/>
            <a:ext cx="1391808" cy="463198"/>
          </a:xfrm>
          <a:prstGeom prst="rect">
            <a:avLst/>
          </a:prstGeom>
        </p:spPr>
      </p:pic>
    </p:spTree>
    <p:extLst>
      <p:ext uri="{BB962C8B-B14F-4D97-AF65-F5344CB8AC3E}">
        <p14:creationId xmlns:p14="http://schemas.microsoft.com/office/powerpoint/2010/main" val="1415469753"/>
      </p:ext>
    </p:extLst>
  </p:cSld>
  <p:clrMapOvr>
    <a:masterClrMapping/>
  </p:clrMapOvr>
  <p:hf hdr="0" ft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tags" Target="../tags/tag126.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tags" Target="../tags/tag129.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tags" Target="../tags/tag12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tags" Target="../tags/tag12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customXml" Target="../../customXml/item4.xml"/><Relationship Id="rId40" Type="http://schemas.openxmlformats.org/officeDocument/2006/relationships/tags" Target="../tags/tag127.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theme" Target="../theme/theme2.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image" Target="../media/image42.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oleObject" Target="../embeddings/oleObject5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A54EF1-8770-40B0-B525-29290D9B1E09}"/>
              </a:ext>
            </a:extLst>
          </p:cNvPr>
          <p:cNvGraphicFramePr>
            <a:graphicFrameLocks noChangeAspect="1"/>
          </p:cNvGraphicFramePr>
          <p:nvPr>
            <p:custDataLst>
              <p:tags r:id="rId54"/>
            </p:custDataLst>
            <p:extLst>
              <p:ext uri="{D42A27DB-BD31-4B8C-83A1-F6EECF244321}">
                <p14:modId xmlns:p14="http://schemas.microsoft.com/office/powerpoint/2010/main" val="1841893526"/>
              </p:ext>
            </p:extLst>
          </p:nvPr>
        </p:nvGraphicFramePr>
        <p:xfrm>
          <a:off x="1695" y="1824"/>
          <a:ext cx="1693" cy="1824"/>
        </p:xfrm>
        <a:graphic>
          <a:graphicData uri="http://schemas.openxmlformats.org/presentationml/2006/ole">
            <mc:AlternateContent xmlns:mc="http://schemas.openxmlformats.org/markup-compatibility/2006">
              <mc:Choice xmlns:v="urn:schemas-microsoft-com:vml" Requires="v">
                <p:oleObj name="think-cell Slide" r:id="rId56" imgW="347" imgH="348" progId="TCLayout.ActiveDocument.1">
                  <p:embed/>
                </p:oleObj>
              </mc:Choice>
              <mc:Fallback>
                <p:oleObj name="think-cell Slide" r:id="rId56" imgW="347" imgH="348" progId="TCLayout.ActiveDocument.1">
                  <p:embed/>
                  <p:pic>
                    <p:nvPicPr>
                      <p:cNvPr id="3" name="Object 2" hidden="1">
                        <a:extLst>
                          <a:ext uri="{FF2B5EF4-FFF2-40B4-BE49-F238E27FC236}">
                            <a16:creationId xmlns:a16="http://schemas.microsoft.com/office/drawing/2014/main" id="{D3A54EF1-8770-40B0-B525-29290D9B1E09}"/>
                          </a:ext>
                        </a:extLst>
                      </p:cNvPr>
                      <p:cNvPicPr/>
                      <p:nvPr/>
                    </p:nvPicPr>
                    <p:blipFill>
                      <a:blip r:embed="rId57"/>
                      <a:stretch>
                        <a:fillRect/>
                      </a:stretch>
                    </p:blipFill>
                    <p:spPr>
                      <a:xfrm>
                        <a:off x="1695" y="1824"/>
                        <a:ext cx="1693" cy="182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8A3F05A-CCEC-4E2A-8D20-51C3331EF85B}"/>
              </a:ext>
            </a:extLst>
          </p:cNvPr>
          <p:cNvSpPr/>
          <p:nvPr userDrawn="1">
            <p:custDataLst>
              <p:tags r:id="rId55"/>
            </p:custDataLst>
          </p:nvPr>
        </p:nvSpPr>
        <p:spPr>
          <a:xfrm>
            <a:off x="0" y="0"/>
            <a:ext cx="211667" cy="211471"/>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rtl="0"/>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4" name="MSIPCMContentMarking" descr="{&quot;HashCode&quot;:1216842255,&quot;Placement&quot;:&quot;Footer&quot;,&quot;Top&quot;:384.717957,&quot;Left&quot;:0.0,&quot;SlideWidth&quot;:720,&quot;SlideHeight&quot;:405}">
            <a:extLst>
              <a:ext uri="{FF2B5EF4-FFF2-40B4-BE49-F238E27FC236}">
                <a16:creationId xmlns:a16="http://schemas.microsoft.com/office/drawing/2014/main" id="{4B5C2FFE-A98E-4077-9478-E8A0A85DDE97}"/>
              </a:ext>
            </a:extLst>
          </p:cNvPr>
          <p:cNvSpPr txBox="1"/>
          <p:nvPr userDrawn="1"/>
        </p:nvSpPr>
        <p:spPr>
          <a:xfrm>
            <a:off x="0" y="6508530"/>
            <a:ext cx="1932800" cy="349468"/>
          </a:xfrm>
          <a:prstGeom prst="rect">
            <a:avLst/>
          </a:prstGeom>
          <a:noFill/>
        </p:spPr>
        <p:txBody>
          <a:bodyPr vert="horz" wrap="square" lIns="0" tIns="0" rIns="0" bIns="0" rtlCol="0" anchor="ctr" anchorCtr="1">
            <a:noAutofit/>
          </a:bodyPr>
          <a:lstStyle/>
          <a:p>
            <a:pPr algn="l" rtl="0">
              <a:spcBef>
                <a:spcPts val="0"/>
              </a:spcBef>
              <a:spcAft>
                <a:spcPts val="0"/>
              </a:spcAft>
            </a:pPr>
            <a:r>
              <a:rPr lang="en-US" sz="1332">
                <a:solidFill>
                  <a:srgbClr val="000000"/>
                </a:solidFill>
                <a:latin typeface="Calibri" panose="020F0502020204030204" pitchFamily="34" charset="0"/>
              </a:rPr>
              <a:t>Sensitivity: C2 Internal</a:t>
            </a:r>
          </a:p>
        </p:txBody>
      </p:sp>
    </p:spTree>
    <p:extLst>
      <p:ext uri="{BB962C8B-B14F-4D97-AF65-F5344CB8AC3E}">
        <p14:creationId xmlns:p14="http://schemas.microsoft.com/office/powerpoint/2010/main" val="282283134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41" r:id="rId51"/>
    <p:sldLayoutId id="2147483842"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339395" rtl="0" eaLnBrk="1" latinLnBrk="0" hangingPunct="1">
        <a:spcBef>
          <a:spcPct val="0"/>
        </a:spcBef>
        <a:buNone/>
        <a:defRPr lang="de-CH" sz="1633" kern="1200" dirty="0" smtClean="0">
          <a:solidFill>
            <a:schemeClr val="tx1"/>
          </a:solidFill>
          <a:latin typeface="Arial"/>
          <a:ea typeface="+mj-ea"/>
          <a:cs typeface="Arial"/>
        </a:defRPr>
      </a:lvl1pPr>
    </p:titleStyle>
    <p:bodyStyle>
      <a:lvl1pPr marL="0" indent="0" algn="l" defTabSz="339395" rtl="0" eaLnBrk="1" latinLnBrk="0" hangingPunct="1">
        <a:lnSpc>
          <a:spcPct val="120000"/>
        </a:lnSpc>
        <a:spcBef>
          <a:spcPts val="0"/>
        </a:spcBef>
        <a:buFont typeface="Arial"/>
        <a:buNone/>
        <a:defRPr sz="1188" kern="1200">
          <a:solidFill>
            <a:schemeClr val="tx1"/>
          </a:solidFill>
          <a:latin typeface="Arial"/>
          <a:ea typeface="+mn-ea"/>
          <a:cs typeface="Arial"/>
        </a:defRPr>
      </a:lvl1pPr>
      <a:lvl2pPr marL="339395" indent="0" algn="l" defTabSz="339395" rtl="0" eaLnBrk="1" latinLnBrk="0" hangingPunct="1">
        <a:spcBef>
          <a:spcPct val="20000"/>
        </a:spcBef>
        <a:buFont typeface="Arial"/>
        <a:buNone/>
        <a:defRPr sz="1188" kern="1200">
          <a:solidFill>
            <a:schemeClr val="tx1"/>
          </a:solidFill>
          <a:latin typeface="Arial"/>
          <a:ea typeface="+mn-ea"/>
          <a:cs typeface="Arial"/>
        </a:defRPr>
      </a:lvl2pPr>
      <a:lvl3pPr marL="678790" indent="0" algn="l" defTabSz="339395" rtl="0" eaLnBrk="1" latinLnBrk="0" hangingPunct="1">
        <a:spcBef>
          <a:spcPct val="20000"/>
        </a:spcBef>
        <a:buFont typeface="Arial"/>
        <a:buNone/>
        <a:defRPr sz="1188" kern="1200">
          <a:solidFill>
            <a:schemeClr val="tx1"/>
          </a:solidFill>
          <a:latin typeface="Arial"/>
          <a:ea typeface="+mn-ea"/>
          <a:cs typeface="Arial"/>
        </a:defRPr>
      </a:lvl3pPr>
      <a:lvl4pPr marL="1018185" indent="0" algn="l" defTabSz="339395" rtl="0" eaLnBrk="1" latinLnBrk="0" hangingPunct="1">
        <a:spcBef>
          <a:spcPct val="20000"/>
        </a:spcBef>
        <a:buFont typeface="Arial"/>
        <a:buNone/>
        <a:defRPr sz="1188" kern="1200">
          <a:solidFill>
            <a:schemeClr val="tx1"/>
          </a:solidFill>
          <a:latin typeface="Arial"/>
          <a:ea typeface="+mn-ea"/>
          <a:cs typeface="Arial"/>
        </a:defRPr>
      </a:lvl4pPr>
      <a:lvl5pPr marL="1357579" indent="0" algn="l" defTabSz="339395" rtl="0" eaLnBrk="1" latinLnBrk="0" hangingPunct="1">
        <a:spcBef>
          <a:spcPct val="20000"/>
        </a:spcBef>
        <a:buFont typeface="Arial"/>
        <a:buNone/>
        <a:defRPr sz="1188" kern="1200">
          <a:solidFill>
            <a:schemeClr val="tx1"/>
          </a:solidFill>
          <a:latin typeface="Arial"/>
          <a:ea typeface="+mn-ea"/>
          <a:cs typeface="Arial"/>
        </a:defRPr>
      </a:lvl5pPr>
      <a:lvl6pPr marL="1866673" indent="-169698" algn="l" defTabSz="339395" rtl="0" eaLnBrk="1" latinLnBrk="0" hangingPunct="1">
        <a:spcBef>
          <a:spcPct val="20000"/>
        </a:spcBef>
        <a:buFont typeface="Arial"/>
        <a:buChar char="•"/>
        <a:defRPr sz="1484" kern="1200">
          <a:solidFill>
            <a:schemeClr val="tx1"/>
          </a:solidFill>
          <a:latin typeface="+mn-lt"/>
          <a:ea typeface="+mn-ea"/>
          <a:cs typeface="+mn-cs"/>
        </a:defRPr>
      </a:lvl6pPr>
      <a:lvl7pPr marL="2206067" indent="-169698" algn="l" defTabSz="339395" rtl="0" eaLnBrk="1" latinLnBrk="0" hangingPunct="1">
        <a:spcBef>
          <a:spcPct val="20000"/>
        </a:spcBef>
        <a:buFont typeface="Arial"/>
        <a:buChar char="•"/>
        <a:defRPr sz="1484" kern="1200">
          <a:solidFill>
            <a:schemeClr val="tx1"/>
          </a:solidFill>
          <a:latin typeface="+mn-lt"/>
          <a:ea typeface="+mn-ea"/>
          <a:cs typeface="+mn-cs"/>
        </a:defRPr>
      </a:lvl7pPr>
      <a:lvl8pPr marL="2545462" indent="-169698" algn="l" defTabSz="339395" rtl="0" eaLnBrk="1" latinLnBrk="0" hangingPunct="1">
        <a:spcBef>
          <a:spcPct val="20000"/>
        </a:spcBef>
        <a:buFont typeface="Arial"/>
        <a:buChar char="•"/>
        <a:defRPr sz="1484" kern="1200">
          <a:solidFill>
            <a:schemeClr val="tx1"/>
          </a:solidFill>
          <a:latin typeface="+mn-lt"/>
          <a:ea typeface="+mn-ea"/>
          <a:cs typeface="+mn-cs"/>
        </a:defRPr>
      </a:lvl8pPr>
      <a:lvl9pPr marL="2884857" indent="-169698" algn="l" defTabSz="339395" rtl="0" eaLnBrk="1" latinLnBrk="0" hangingPunct="1">
        <a:spcBef>
          <a:spcPct val="20000"/>
        </a:spcBef>
        <a:buFont typeface="Arial"/>
        <a:buChar char="•"/>
        <a:defRPr sz="1484" kern="1200">
          <a:solidFill>
            <a:schemeClr val="tx1"/>
          </a:solidFill>
          <a:latin typeface="+mn-lt"/>
          <a:ea typeface="+mn-ea"/>
          <a:cs typeface="+mn-cs"/>
        </a:defRPr>
      </a:lvl9pPr>
    </p:bodyStyle>
    <p:otherStyle>
      <a:defPPr>
        <a:defRPr lang="de-DE"/>
      </a:defPPr>
      <a:lvl1pPr marL="0" algn="l" defTabSz="339395" rtl="0" eaLnBrk="1" latinLnBrk="0" hangingPunct="1">
        <a:defRPr sz="1336" kern="1200">
          <a:solidFill>
            <a:schemeClr val="tx1"/>
          </a:solidFill>
          <a:latin typeface="+mn-lt"/>
          <a:ea typeface="+mn-ea"/>
          <a:cs typeface="+mn-cs"/>
        </a:defRPr>
      </a:lvl1pPr>
      <a:lvl2pPr marL="339395" algn="l" defTabSz="339395" rtl="0" eaLnBrk="1" latinLnBrk="0" hangingPunct="1">
        <a:defRPr sz="1336" kern="1200">
          <a:solidFill>
            <a:schemeClr val="tx1"/>
          </a:solidFill>
          <a:latin typeface="+mn-lt"/>
          <a:ea typeface="+mn-ea"/>
          <a:cs typeface="+mn-cs"/>
        </a:defRPr>
      </a:lvl2pPr>
      <a:lvl3pPr marL="678790" algn="l" defTabSz="339395" rtl="0" eaLnBrk="1" latinLnBrk="0" hangingPunct="1">
        <a:defRPr sz="1336" kern="1200">
          <a:solidFill>
            <a:schemeClr val="tx1"/>
          </a:solidFill>
          <a:latin typeface="+mn-lt"/>
          <a:ea typeface="+mn-ea"/>
          <a:cs typeface="+mn-cs"/>
        </a:defRPr>
      </a:lvl3pPr>
      <a:lvl4pPr marL="1018185" algn="l" defTabSz="339395" rtl="0" eaLnBrk="1" latinLnBrk="0" hangingPunct="1">
        <a:defRPr sz="1336" kern="1200">
          <a:solidFill>
            <a:schemeClr val="tx1"/>
          </a:solidFill>
          <a:latin typeface="+mn-lt"/>
          <a:ea typeface="+mn-ea"/>
          <a:cs typeface="+mn-cs"/>
        </a:defRPr>
      </a:lvl4pPr>
      <a:lvl5pPr marL="1357579" algn="l" defTabSz="339395" rtl="0" eaLnBrk="1" latinLnBrk="0" hangingPunct="1">
        <a:defRPr sz="1336" kern="1200">
          <a:solidFill>
            <a:schemeClr val="tx1"/>
          </a:solidFill>
          <a:latin typeface="+mn-lt"/>
          <a:ea typeface="+mn-ea"/>
          <a:cs typeface="+mn-cs"/>
        </a:defRPr>
      </a:lvl5pPr>
      <a:lvl6pPr marL="1696974" algn="l" defTabSz="339395" rtl="0" eaLnBrk="1" latinLnBrk="0" hangingPunct="1">
        <a:defRPr sz="1336" kern="1200">
          <a:solidFill>
            <a:schemeClr val="tx1"/>
          </a:solidFill>
          <a:latin typeface="+mn-lt"/>
          <a:ea typeface="+mn-ea"/>
          <a:cs typeface="+mn-cs"/>
        </a:defRPr>
      </a:lvl6pPr>
      <a:lvl7pPr marL="2036369" algn="l" defTabSz="339395" rtl="0" eaLnBrk="1" latinLnBrk="0" hangingPunct="1">
        <a:defRPr sz="1336" kern="1200">
          <a:solidFill>
            <a:schemeClr val="tx1"/>
          </a:solidFill>
          <a:latin typeface="+mn-lt"/>
          <a:ea typeface="+mn-ea"/>
          <a:cs typeface="+mn-cs"/>
        </a:defRPr>
      </a:lvl7pPr>
      <a:lvl8pPr marL="2375764" algn="l" defTabSz="339395" rtl="0" eaLnBrk="1" latinLnBrk="0" hangingPunct="1">
        <a:defRPr sz="1336" kern="1200">
          <a:solidFill>
            <a:schemeClr val="tx1"/>
          </a:solidFill>
          <a:latin typeface="+mn-lt"/>
          <a:ea typeface="+mn-ea"/>
          <a:cs typeface="+mn-cs"/>
        </a:defRPr>
      </a:lvl8pPr>
      <a:lvl9pPr marL="2715159" algn="l" defTabSz="339395" rtl="0" eaLnBrk="1" latinLnBrk="0" hangingPunct="1">
        <a:defRPr sz="13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46">
          <p15:clr>
            <a:srgbClr val="F26B43"/>
          </p15:clr>
        </p15:guide>
        <p15:guide id="2" pos="268">
          <p15:clr>
            <a:srgbClr val="F26B43"/>
          </p15:clr>
        </p15:guide>
        <p15:guide id="3" orient="horz" pos="219">
          <p15:clr>
            <a:srgbClr val="F26B43"/>
          </p15:clr>
        </p15:guide>
        <p15:guide id="11" orient="horz" pos="2844">
          <p15:clr>
            <a:srgbClr val="F26B43"/>
          </p15:clr>
        </p15:guide>
        <p15:guide id="12" orient="horz" pos="664">
          <p15:clr>
            <a:srgbClr val="F26B43"/>
          </p15:clr>
        </p15:guide>
        <p15:guide id="13" pos="54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B0D400-C42C-4A52-BE1C-15E9779A1B2C}"/>
              </a:ext>
            </a:extLst>
          </p:cNvPr>
          <p:cNvGraphicFramePr>
            <a:graphicFrameLocks noChangeAspect="1"/>
          </p:cNvGraphicFramePr>
          <p:nvPr userDrawn="1">
            <p:custDataLst>
              <p:tags r:id="rId38"/>
            </p:custDataLst>
            <p:extLst>
              <p:ext uri="{D42A27DB-BD31-4B8C-83A1-F6EECF244321}">
                <p14:modId xmlns:p14="http://schemas.microsoft.com/office/powerpoint/2010/main" val="101879994"/>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Folie" r:id="rId43" imgW="473" imgH="476" progId="TCLayout.ActiveDocument.1">
                  <p:embed/>
                </p:oleObj>
              </mc:Choice>
              <mc:Fallback>
                <p:oleObj name="think-cell Folie" r:id="rId43" imgW="473" imgH="476" progId="TCLayout.ActiveDocument.1">
                  <p:embed/>
                  <p:pic>
                    <p:nvPicPr>
                      <p:cNvPr id="6" name="Object 5" hidden="1">
                        <a:extLst>
                          <a:ext uri="{FF2B5EF4-FFF2-40B4-BE49-F238E27FC236}">
                            <a16:creationId xmlns:a16="http://schemas.microsoft.com/office/drawing/2014/main" id="{90B0D400-C42C-4A52-BE1C-15E9779A1B2C}"/>
                          </a:ext>
                        </a:extLst>
                      </p:cNvPr>
                      <p:cNvPicPr/>
                      <p:nvPr/>
                    </p:nvPicPr>
                    <p:blipFill>
                      <a:blip r:embed="rId44"/>
                      <a:stretch>
                        <a:fillRect/>
                      </a:stretch>
                    </p:blipFill>
                    <p:spPr>
                      <a:xfrm>
                        <a:off x="2118" y="2116"/>
                        <a:ext cx="2117" cy="2115"/>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49D0517-3528-419F-AF03-0A1BFAE0F0AE}"/>
              </a:ext>
            </a:extLst>
          </p:cNvPr>
          <p:cNvSpPr/>
          <p:nvPr userDrawn="1">
            <p:custDataLst>
              <p:tags r:id="rId39"/>
            </p:custDataLst>
          </p:nvPr>
        </p:nvSpPr>
        <p:spPr>
          <a:xfrm>
            <a:off x="0" y="0"/>
            <a:ext cx="211667" cy="2114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en-US" sz="292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elplatzhalter 1"/>
          <p:cNvSpPr>
            <a:spLocks noGrp="1"/>
          </p:cNvSpPr>
          <p:nvPr>
            <p:ph type="title"/>
            <p:custDataLst>
              <p:tags r:id="rId40"/>
            </p:custDataLst>
          </p:nvPr>
        </p:nvSpPr>
        <p:spPr>
          <a:xfrm>
            <a:off x="575388" y="455422"/>
            <a:ext cx="10177281" cy="852744"/>
          </a:xfrm>
          <a:prstGeom prst="rect">
            <a:avLst/>
          </a:prstGeom>
        </p:spPr>
        <p:txBody>
          <a:bodyPr vert="horz" lIns="0" tIns="0" rIns="0" bIns="0" rtlCol="0" anchor="t" anchorCtr="0">
            <a:normAutofit/>
          </a:bodyPr>
          <a:lstStyle/>
          <a:p>
            <a:r>
              <a:rPr lang="en-US"/>
              <a:t>Edit master title format</a:t>
            </a:r>
          </a:p>
        </p:txBody>
      </p:sp>
      <p:sp>
        <p:nvSpPr>
          <p:cNvPr id="3" name="Textplatzhalter 2"/>
          <p:cNvSpPr>
            <a:spLocks noGrp="1"/>
          </p:cNvSpPr>
          <p:nvPr>
            <p:ph type="body" idx="1"/>
            <p:custDataLst>
              <p:tags r:id="rId41"/>
            </p:custDataLst>
          </p:nvPr>
        </p:nvSpPr>
        <p:spPr>
          <a:xfrm>
            <a:off x="575387" y="1413628"/>
            <a:ext cx="10177280" cy="4604833"/>
          </a:xfrm>
          <a:prstGeom prst="rect">
            <a:avLst/>
          </a:prstGeom>
        </p:spPr>
        <p:txBody>
          <a:bodyPr vert="horz" lIns="0" tIns="0" rIns="0" bIns="0" rtlCol="0">
            <a:normAutofit/>
          </a:bodyPr>
          <a:lstStyle/>
          <a:p>
            <a:pPr lvl="0"/>
            <a:r>
              <a:rPr lang="en-US"/>
              <a:t>Edit Master text styles</a:t>
            </a:r>
          </a:p>
        </p:txBody>
      </p:sp>
      <p:sp>
        <p:nvSpPr>
          <p:cNvPr id="8" name="Foliennummernplatzhalter 3"/>
          <p:cNvSpPr>
            <a:spLocks noGrp="1"/>
          </p:cNvSpPr>
          <p:nvPr>
            <p:ph type="sldNum" sz="quarter" idx="4"/>
            <p:custDataLst>
              <p:tags r:id="rId42"/>
            </p:custDataLst>
          </p:nvPr>
        </p:nvSpPr>
        <p:spPr>
          <a:xfrm>
            <a:off x="575733" y="6330498"/>
            <a:ext cx="623541" cy="191821"/>
          </a:xfrm>
          <a:prstGeom prst="rect">
            <a:avLst/>
          </a:prstGeom>
        </p:spPr>
        <p:txBody>
          <a:bodyPr vert="horz" lIns="0" tIns="0" rIns="0" bIns="0" rtlCol="0" anchor="ctr"/>
          <a:lstStyle>
            <a:lvl1pPr algn="l">
              <a:defRPr sz="1064" b="0">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en-US" smtClean="0"/>
              <a:pPr/>
              <a:t>‹#›</a:t>
            </a:fld>
            <a:endParaRPr lang="en-US" sz="1865">
              <a:solidFill>
                <a:srgbClr val="FFFFFF"/>
              </a:solidFill>
            </a:endParaRPr>
          </a:p>
        </p:txBody>
      </p:sp>
    </p:spTree>
    <p:custDataLst>
      <p:custData r:id="rId37"/>
    </p:custDataLst>
    <p:extLst>
      <p:ext uri="{BB962C8B-B14F-4D97-AF65-F5344CB8AC3E}">
        <p14:creationId xmlns:p14="http://schemas.microsoft.com/office/powerpoint/2010/main" val="170069031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608489" rtl="0" eaLnBrk="1" latinLnBrk="0" hangingPunct="1">
        <a:spcBef>
          <a:spcPct val="0"/>
        </a:spcBef>
        <a:buNone/>
        <a:defRPr lang="de-CH" sz="2928" kern="1200" dirty="0" smtClean="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0" indent="0" algn="l" defTabSz="1218072" rtl="0" eaLnBrk="1" latinLnBrk="0" hangingPunct="1">
        <a:lnSpc>
          <a:spcPct val="120000"/>
        </a:lnSpc>
        <a:spcBef>
          <a:spcPct val="20000"/>
        </a:spcBef>
        <a:buFont typeface="Arial" panose="020B0604020202020204" pitchFamily="34" charset="0"/>
        <a:buNone/>
        <a:defRPr lang="en-US" sz="23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608489" indent="0" algn="l" defTabSz="1218072" rtl="0" eaLnBrk="1" latinLnBrk="0" hangingPunct="1">
        <a:spcBef>
          <a:spcPct val="20000"/>
        </a:spcBef>
        <a:buFont typeface="Arial" panose="020B0604020202020204" pitchFamily="34" charset="0"/>
        <a:buNone/>
        <a:defRPr lang="en-US" sz="2664"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1216976" indent="0" algn="l" defTabSz="1218072" rtl="0" eaLnBrk="1" latinLnBrk="0" hangingPunct="1">
        <a:spcBef>
          <a:spcPct val="20000"/>
        </a:spcBef>
        <a:buFont typeface="Arial" panose="020B0604020202020204" pitchFamily="34" charset="0"/>
        <a:buNone/>
        <a:defRPr lang="en-US" sz="2664"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825465" indent="0" algn="l" defTabSz="1218072" rtl="0" eaLnBrk="1" latinLnBrk="0" hangingPunct="1">
        <a:spcBef>
          <a:spcPct val="20000"/>
        </a:spcBef>
        <a:buFont typeface="Arial" panose="020B0604020202020204" pitchFamily="34" charset="0"/>
        <a:buNone/>
        <a:defRPr lang="en-US" sz="2664"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2433952" indent="0" algn="l" defTabSz="1218072" rtl="0" eaLnBrk="1" latinLnBrk="0" hangingPunct="1">
        <a:spcBef>
          <a:spcPct val="20000"/>
        </a:spcBef>
        <a:buFont typeface="Arial" panose="020B0604020202020204" pitchFamily="34" charset="0"/>
        <a:buNone/>
        <a:defRPr lang="en-US" sz="2664" kern="1200" dirty="0">
          <a:solidFill>
            <a:schemeClr val="tx1"/>
          </a:solidFill>
          <a:latin typeface="Noto Sans" panose="020B0502040504020204" pitchFamily="34"/>
          <a:ea typeface="Noto Sans" panose="020B0502040504020204" pitchFamily="34"/>
          <a:cs typeface="Noto Sans" panose="020B0502040504020204" pitchFamily="34"/>
        </a:defRPr>
      </a:lvl5pPr>
      <a:lvl6pPr marL="3346684" indent="-304244" algn="l" defTabSz="608489" rtl="0" eaLnBrk="1" latinLnBrk="0" hangingPunct="1">
        <a:spcBef>
          <a:spcPct val="20000"/>
        </a:spcBef>
        <a:buFont typeface="Arial"/>
        <a:buChar char="•"/>
        <a:defRPr sz="2662" kern="1200">
          <a:solidFill>
            <a:schemeClr val="tx1"/>
          </a:solidFill>
          <a:latin typeface="+mn-lt"/>
          <a:ea typeface="+mn-ea"/>
          <a:cs typeface="+mn-cs"/>
        </a:defRPr>
      </a:lvl6pPr>
      <a:lvl7pPr marL="3955171" indent="-304244" algn="l" defTabSz="608489" rtl="0" eaLnBrk="1" latinLnBrk="0" hangingPunct="1">
        <a:spcBef>
          <a:spcPct val="20000"/>
        </a:spcBef>
        <a:buFont typeface="Arial"/>
        <a:buChar char="•"/>
        <a:defRPr sz="2662" kern="1200">
          <a:solidFill>
            <a:schemeClr val="tx1"/>
          </a:solidFill>
          <a:latin typeface="+mn-lt"/>
          <a:ea typeface="+mn-ea"/>
          <a:cs typeface="+mn-cs"/>
        </a:defRPr>
      </a:lvl7pPr>
      <a:lvl8pPr marL="4563660" indent="-304244" algn="l" defTabSz="608489" rtl="0" eaLnBrk="1" latinLnBrk="0" hangingPunct="1">
        <a:spcBef>
          <a:spcPct val="20000"/>
        </a:spcBef>
        <a:buFont typeface="Arial"/>
        <a:buChar char="•"/>
        <a:defRPr sz="2662" kern="1200">
          <a:solidFill>
            <a:schemeClr val="tx1"/>
          </a:solidFill>
          <a:latin typeface="+mn-lt"/>
          <a:ea typeface="+mn-ea"/>
          <a:cs typeface="+mn-cs"/>
        </a:defRPr>
      </a:lvl8pPr>
      <a:lvl9pPr marL="5172147" indent="-304244" algn="l" defTabSz="608489" rtl="0" eaLnBrk="1" latinLnBrk="0" hangingPunct="1">
        <a:spcBef>
          <a:spcPct val="20000"/>
        </a:spcBef>
        <a:buFont typeface="Arial"/>
        <a:buChar char="•"/>
        <a:defRPr sz="2662" kern="1200">
          <a:solidFill>
            <a:schemeClr val="tx1"/>
          </a:solidFill>
          <a:latin typeface="+mn-lt"/>
          <a:ea typeface="+mn-ea"/>
          <a:cs typeface="+mn-cs"/>
        </a:defRPr>
      </a:lvl9pPr>
    </p:bodyStyle>
    <p:otherStyle>
      <a:defPPr>
        <a:defRPr lang="de-DE"/>
      </a:defPPr>
      <a:lvl1pPr marL="0" algn="l" defTabSz="608489" rtl="0" eaLnBrk="1" latinLnBrk="0" hangingPunct="1">
        <a:defRPr sz="2395" kern="1200">
          <a:solidFill>
            <a:schemeClr val="tx1"/>
          </a:solidFill>
          <a:latin typeface="+mn-lt"/>
          <a:ea typeface="+mn-ea"/>
          <a:cs typeface="+mn-cs"/>
        </a:defRPr>
      </a:lvl1pPr>
      <a:lvl2pPr marL="608489" algn="l" defTabSz="608489" rtl="0" eaLnBrk="1" latinLnBrk="0" hangingPunct="1">
        <a:defRPr sz="2395" kern="1200">
          <a:solidFill>
            <a:schemeClr val="tx1"/>
          </a:solidFill>
          <a:latin typeface="+mn-lt"/>
          <a:ea typeface="+mn-ea"/>
          <a:cs typeface="+mn-cs"/>
        </a:defRPr>
      </a:lvl2pPr>
      <a:lvl3pPr marL="1216976" algn="l" defTabSz="608489" rtl="0" eaLnBrk="1" latinLnBrk="0" hangingPunct="1">
        <a:defRPr sz="2395" kern="1200">
          <a:solidFill>
            <a:schemeClr val="tx1"/>
          </a:solidFill>
          <a:latin typeface="+mn-lt"/>
          <a:ea typeface="+mn-ea"/>
          <a:cs typeface="+mn-cs"/>
        </a:defRPr>
      </a:lvl3pPr>
      <a:lvl4pPr marL="1825465" algn="l" defTabSz="608489" rtl="0" eaLnBrk="1" latinLnBrk="0" hangingPunct="1">
        <a:defRPr sz="2395" kern="1200">
          <a:solidFill>
            <a:schemeClr val="tx1"/>
          </a:solidFill>
          <a:latin typeface="+mn-lt"/>
          <a:ea typeface="+mn-ea"/>
          <a:cs typeface="+mn-cs"/>
        </a:defRPr>
      </a:lvl4pPr>
      <a:lvl5pPr marL="2433952" algn="l" defTabSz="608489" rtl="0" eaLnBrk="1" latinLnBrk="0" hangingPunct="1">
        <a:defRPr sz="2395" kern="1200">
          <a:solidFill>
            <a:schemeClr val="tx1"/>
          </a:solidFill>
          <a:latin typeface="+mn-lt"/>
          <a:ea typeface="+mn-ea"/>
          <a:cs typeface="+mn-cs"/>
        </a:defRPr>
      </a:lvl5pPr>
      <a:lvl6pPr marL="3042440" algn="l" defTabSz="608489" rtl="0" eaLnBrk="1" latinLnBrk="0" hangingPunct="1">
        <a:defRPr sz="2395" kern="1200">
          <a:solidFill>
            <a:schemeClr val="tx1"/>
          </a:solidFill>
          <a:latin typeface="+mn-lt"/>
          <a:ea typeface="+mn-ea"/>
          <a:cs typeface="+mn-cs"/>
        </a:defRPr>
      </a:lvl6pPr>
      <a:lvl7pPr marL="3650928" algn="l" defTabSz="608489" rtl="0" eaLnBrk="1" latinLnBrk="0" hangingPunct="1">
        <a:defRPr sz="2395" kern="1200">
          <a:solidFill>
            <a:schemeClr val="tx1"/>
          </a:solidFill>
          <a:latin typeface="+mn-lt"/>
          <a:ea typeface="+mn-ea"/>
          <a:cs typeface="+mn-cs"/>
        </a:defRPr>
      </a:lvl7pPr>
      <a:lvl8pPr marL="4259416" algn="l" defTabSz="608489" rtl="0" eaLnBrk="1" latinLnBrk="0" hangingPunct="1">
        <a:defRPr sz="2395" kern="1200">
          <a:solidFill>
            <a:schemeClr val="tx1"/>
          </a:solidFill>
          <a:latin typeface="+mn-lt"/>
          <a:ea typeface="+mn-ea"/>
          <a:cs typeface="+mn-cs"/>
        </a:defRPr>
      </a:lvl8pPr>
      <a:lvl9pPr marL="4867904" algn="l" defTabSz="608489" rtl="0" eaLnBrk="1" latinLnBrk="0" hangingPunct="1">
        <a:defRPr sz="23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p15:clr>
            <a:srgbClr val="F26B43"/>
          </p15:clr>
        </p15:guide>
        <p15:guide id="5" pos="5488">
          <p15:clr>
            <a:srgbClr val="F26B43"/>
          </p15:clr>
        </p15:guide>
        <p15:guide id="6" pos="272">
          <p15:clr>
            <a:srgbClr val="F26B43"/>
          </p15:clr>
        </p15:guide>
        <p15:guide id="7" orient="horz" pos="205">
          <p15:clr>
            <a:srgbClr val="F26B43"/>
          </p15:clr>
        </p15:guide>
        <p15:guide id="8" orient="horz" pos="2846">
          <p15:clr>
            <a:srgbClr val="F26B43"/>
          </p15:clr>
        </p15:guide>
        <p15:guide id="9"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2.xml"/><Relationship Id="rId4" Type="http://schemas.openxmlformats.org/officeDocument/2006/relationships/image" Target="../media/image9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2.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236.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4.svg"/><Relationship Id="rId2" Type="http://schemas.openxmlformats.org/officeDocument/2006/relationships/notesSlide" Target="../notesSlides/notesSlide2.xml"/><Relationship Id="rId16" Type="http://schemas.openxmlformats.org/officeDocument/2006/relationships/image" Target="../media/image83.png"/><Relationship Id="rId1" Type="http://schemas.openxmlformats.org/officeDocument/2006/relationships/slideLayout" Target="../slideLayouts/slideLayout29.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45.sv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28.xml"/><Relationship Id="rId4" Type="http://schemas.openxmlformats.org/officeDocument/2006/relationships/image" Target="../media/image87.svg"/></Relationships>
</file>

<file path=ppt/slides/_rels/slide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4.xml"/><Relationship Id="rId1" Type="http://schemas.openxmlformats.org/officeDocument/2006/relationships/slideLayout" Target="../slideLayouts/slideLayout54.xml"/><Relationship Id="rId5" Type="http://schemas.openxmlformats.org/officeDocument/2006/relationships/image" Target="../media/image87.svg"/><Relationship Id="rId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8158712-F302-1028-D6C1-7AF0AB8DFE29}"/>
              </a:ext>
            </a:extLst>
          </p:cNvPr>
          <p:cNvSpPr>
            <a:spLocks noGrp="1"/>
          </p:cNvSpPr>
          <p:nvPr>
            <p:ph type="body" sz="quarter" idx="11"/>
          </p:nvPr>
        </p:nvSpPr>
        <p:spPr/>
        <p:txBody>
          <a:bodyPr/>
          <a:lstStyle/>
          <a:p>
            <a:r>
              <a:rPr lang="en-US"/>
              <a:t>David de Lame, Guillermo  Fajardo Calvache, Marin Puskaric</a:t>
            </a:r>
          </a:p>
        </p:txBody>
      </p:sp>
      <p:sp>
        <p:nvSpPr>
          <p:cNvPr id="7" name="Subtitle 6">
            <a:extLst>
              <a:ext uri="{FF2B5EF4-FFF2-40B4-BE49-F238E27FC236}">
                <a16:creationId xmlns:a16="http://schemas.microsoft.com/office/drawing/2014/main" id="{053AAAE4-58E4-6A6D-30FF-612CE9C99FDF}"/>
              </a:ext>
            </a:extLst>
          </p:cNvPr>
          <p:cNvSpPr>
            <a:spLocks noGrp="1"/>
          </p:cNvSpPr>
          <p:nvPr>
            <p:ph type="subTitle" idx="1"/>
          </p:nvPr>
        </p:nvSpPr>
        <p:spPr/>
        <p:txBody>
          <a:bodyPr/>
          <a:lstStyle/>
          <a:p>
            <a:r>
              <a:rPr lang="en-US"/>
              <a:t>START Hack 2025 - Materials</a:t>
            </a:r>
          </a:p>
        </p:txBody>
      </p:sp>
      <p:sp>
        <p:nvSpPr>
          <p:cNvPr id="9" name="Text Placeholder 8">
            <a:extLst>
              <a:ext uri="{FF2B5EF4-FFF2-40B4-BE49-F238E27FC236}">
                <a16:creationId xmlns:a16="http://schemas.microsoft.com/office/drawing/2014/main" id="{F6FEA52F-311B-E197-72D7-45613D28BBB8}"/>
              </a:ext>
            </a:extLst>
          </p:cNvPr>
          <p:cNvSpPr>
            <a:spLocks noGrp="1"/>
          </p:cNvSpPr>
          <p:nvPr>
            <p:ph type="body" sz="quarter" idx="12"/>
          </p:nvPr>
        </p:nvSpPr>
        <p:spPr/>
        <p:txBody>
          <a:bodyPr wrap="none" lIns="0" tIns="0" rIns="0" bIns="0" anchor="t">
            <a:noAutofit/>
          </a:bodyPr>
          <a:lstStyle/>
          <a:p>
            <a:r>
              <a:rPr lang="en-US" sz="1450">
                <a:latin typeface="Noto Sans"/>
                <a:ea typeface="Noto Sans"/>
                <a:cs typeface="Noto Sans"/>
              </a:rPr>
              <a:t>10.03.2025</a:t>
            </a:r>
            <a:endParaRPr lang="en-US"/>
          </a:p>
        </p:txBody>
      </p:sp>
      <p:sp>
        <p:nvSpPr>
          <p:cNvPr id="6" name="Title 5">
            <a:extLst>
              <a:ext uri="{FF2B5EF4-FFF2-40B4-BE49-F238E27FC236}">
                <a16:creationId xmlns:a16="http://schemas.microsoft.com/office/drawing/2014/main" id="{BF0CC1C7-28EE-336C-D009-F2F1D16E2842}"/>
              </a:ext>
            </a:extLst>
          </p:cNvPr>
          <p:cNvSpPr>
            <a:spLocks noGrp="1"/>
          </p:cNvSpPr>
          <p:nvPr>
            <p:ph type="title"/>
          </p:nvPr>
        </p:nvSpPr>
        <p:spPr>
          <a:xfrm>
            <a:off x="1967542" y="2502418"/>
            <a:ext cx="9621484" cy="1323807"/>
          </a:xfrm>
        </p:spPr>
        <p:txBody>
          <a:bodyPr/>
          <a:lstStyle/>
          <a:p>
            <a:r>
              <a:rPr lang="en-US" b="0" i="0">
                <a:effectLst/>
              </a:rPr>
              <a:t>Innovative Human-AI Interaction for Financial Data Exploration</a:t>
            </a:r>
            <a:endParaRPr lang="en-US"/>
          </a:p>
        </p:txBody>
      </p:sp>
    </p:spTree>
    <p:extLst>
      <p:ext uri="{BB962C8B-B14F-4D97-AF65-F5344CB8AC3E}">
        <p14:creationId xmlns:p14="http://schemas.microsoft.com/office/powerpoint/2010/main" val="266950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AB9FEC-C5A9-0D62-A7F2-85DA5C6FE1E7}"/>
              </a:ext>
            </a:extLst>
          </p:cNvPr>
          <p:cNvSpPr>
            <a:spLocks noGrp="1"/>
          </p:cNvSpPr>
          <p:nvPr>
            <p:ph type="sldNum" sz="quarter" idx="10"/>
          </p:nvPr>
        </p:nvSpPr>
        <p:spPr/>
        <p:txBody>
          <a:bodyPr/>
          <a:lstStyle/>
          <a:p>
            <a:fld id="{6F42FDE4-A7DD-41A7-A0A6-9B649FB43336}" type="slidenum">
              <a:rPr lang="en-US" smtClean="0"/>
              <a:pPr/>
              <a:t>10</a:t>
            </a:fld>
            <a:endParaRPr lang="en-US" sz="1865">
              <a:latin typeface="+mj-lt"/>
              <a:ea typeface="+mj-ea"/>
              <a:cs typeface="+mj-cs"/>
            </a:endParaRPr>
          </a:p>
        </p:txBody>
      </p:sp>
      <p:sp>
        <p:nvSpPr>
          <p:cNvPr id="8" name="Title 7">
            <a:extLst>
              <a:ext uri="{FF2B5EF4-FFF2-40B4-BE49-F238E27FC236}">
                <a16:creationId xmlns:a16="http://schemas.microsoft.com/office/drawing/2014/main" id="{7D4BBBBB-28B4-5073-A857-3CCD9C456095}"/>
              </a:ext>
            </a:extLst>
          </p:cNvPr>
          <p:cNvSpPr>
            <a:spLocks noGrp="1"/>
          </p:cNvSpPr>
          <p:nvPr>
            <p:ph type="title"/>
          </p:nvPr>
        </p:nvSpPr>
        <p:spPr>
          <a:xfrm>
            <a:off x="575387" y="465975"/>
            <a:ext cx="11340388" cy="852744"/>
          </a:xfrm>
        </p:spPr>
        <p:txBody>
          <a:bodyPr>
            <a:noAutofit/>
          </a:bodyPr>
          <a:lstStyle/>
          <a:p>
            <a:r>
              <a:rPr lang="en-US" sz="2400" b="1">
                <a:latin typeface="Noto Serif" panose="020B0502040504020204" pitchFamily="34" charset="0"/>
              </a:rPr>
              <a:t>Evolution of Data Queries in the Financial Industry</a:t>
            </a:r>
          </a:p>
        </p:txBody>
      </p:sp>
      <p:pic>
        <p:nvPicPr>
          <p:cNvPr id="5" name="Picture 4" descr="A screenshot of a computer&#10;&#10;Description automatically generated">
            <a:extLst>
              <a:ext uri="{FF2B5EF4-FFF2-40B4-BE49-F238E27FC236}">
                <a16:creationId xmlns:a16="http://schemas.microsoft.com/office/drawing/2014/main" id="{0F0793FD-E53B-7CD8-9FFC-353F5A76A7BC}"/>
              </a:ext>
            </a:extLst>
          </p:cNvPr>
          <p:cNvPicPr>
            <a:picLocks noChangeAspect="1"/>
          </p:cNvPicPr>
          <p:nvPr/>
        </p:nvPicPr>
        <p:blipFill>
          <a:blip r:embed="rId2"/>
          <a:stretch>
            <a:fillRect/>
          </a:stretch>
        </p:blipFill>
        <p:spPr>
          <a:xfrm>
            <a:off x="431800" y="2066925"/>
            <a:ext cx="3511550" cy="1173452"/>
          </a:xfrm>
          <a:prstGeom prst="rect">
            <a:avLst/>
          </a:prstGeom>
          <a:ln w="38100">
            <a:noFill/>
          </a:ln>
          <a:effectLst>
            <a:outerShdw blurRad="50800" dist="38100" dir="5400000" algn="t" rotWithShape="0">
              <a:prstClr val="black">
                <a:alpha val="40000"/>
              </a:prstClr>
            </a:outerShdw>
          </a:effectLst>
        </p:spPr>
      </p:pic>
      <p:pic>
        <p:nvPicPr>
          <p:cNvPr id="6" name="Picture 5" descr="A screenshot of a computer&#10;&#10;Description automatically generated">
            <a:extLst>
              <a:ext uri="{FF2B5EF4-FFF2-40B4-BE49-F238E27FC236}">
                <a16:creationId xmlns:a16="http://schemas.microsoft.com/office/drawing/2014/main" id="{5D8C42A3-AE1B-8667-18E3-5385EE0E9C9A}"/>
              </a:ext>
            </a:extLst>
          </p:cNvPr>
          <p:cNvPicPr>
            <a:picLocks noChangeAspect="1"/>
          </p:cNvPicPr>
          <p:nvPr/>
        </p:nvPicPr>
        <p:blipFill>
          <a:blip r:embed="rId3"/>
          <a:stretch>
            <a:fillRect/>
          </a:stretch>
        </p:blipFill>
        <p:spPr>
          <a:xfrm>
            <a:off x="4316412" y="2055963"/>
            <a:ext cx="3559175" cy="1861987"/>
          </a:xfrm>
          <a:prstGeom prst="rect">
            <a:avLst/>
          </a:prstGeom>
          <a:ln w="38100">
            <a:noFill/>
          </a:ln>
          <a:effectLst>
            <a:outerShdw blurRad="50800" dist="38100" dir="5400000" algn="t" rotWithShape="0">
              <a:prstClr val="black">
                <a:alpha val="40000"/>
              </a:prstClr>
            </a:outerShdw>
          </a:effectLst>
        </p:spPr>
      </p:pic>
      <p:pic>
        <p:nvPicPr>
          <p:cNvPr id="7" name="Picture 6" descr="A screenshot of a computer&#10;&#10;Description automatically generated">
            <a:extLst>
              <a:ext uri="{FF2B5EF4-FFF2-40B4-BE49-F238E27FC236}">
                <a16:creationId xmlns:a16="http://schemas.microsoft.com/office/drawing/2014/main" id="{62DDF049-25CC-1168-F8C6-775B13E54EF9}"/>
              </a:ext>
            </a:extLst>
          </p:cNvPr>
          <p:cNvPicPr>
            <a:picLocks noChangeAspect="1"/>
          </p:cNvPicPr>
          <p:nvPr/>
        </p:nvPicPr>
        <p:blipFill>
          <a:blip r:embed="rId4"/>
          <a:stretch>
            <a:fillRect/>
          </a:stretch>
        </p:blipFill>
        <p:spPr>
          <a:xfrm>
            <a:off x="8271237" y="2102002"/>
            <a:ext cx="3501663" cy="2536673"/>
          </a:xfrm>
          <a:prstGeom prst="rect">
            <a:avLst/>
          </a:prstGeom>
          <a:ln w="38100">
            <a:noFill/>
          </a:ln>
          <a:effectLst>
            <a:outerShdw blurRad="50800" dist="38100" dir="5400000" algn="t" rotWithShape="0">
              <a:prstClr val="black">
                <a:alpha val="40000"/>
              </a:prstClr>
            </a:outerShdw>
          </a:effectLst>
        </p:spPr>
      </p:pic>
      <p:sp>
        <p:nvSpPr>
          <p:cNvPr id="11" name="TextBox 10">
            <a:extLst>
              <a:ext uri="{FF2B5EF4-FFF2-40B4-BE49-F238E27FC236}">
                <a16:creationId xmlns:a16="http://schemas.microsoft.com/office/drawing/2014/main" id="{D5897DD3-86D3-E1DD-CD88-4AB29A6B5EF5}"/>
              </a:ext>
            </a:extLst>
          </p:cNvPr>
          <p:cNvSpPr txBox="1"/>
          <p:nvPr/>
        </p:nvSpPr>
        <p:spPr>
          <a:xfrm>
            <a:off x="431800" y="3305860"/>
            <a:ext cx="3502025" cy="461665"/>
          </a:xfrm>
          <a:prstGeom prst="rect">
            <a:avLst/>
          </a:prstGeom>
          <a:noFill/>
        </p:spPr>
        <p:txBody>
          <a:bodyPr wrap="square">
            <a:spAutoFit/>
          </a:bodyPr>
          <a:lstStyle/>
          <a:p>
            <a:r>
              <a:rPr lang="en-US" sz="1200" b="1">
                <a:solidFill>
                  <a:schemeClr val="bg1"/>
                </a:solidFill>
              </a:rPr>
              <a:t>Command Search</a:t>
            </a:r>
          </a:p>
          <a:p>
            <a:r>
              <a:rPr lang="en-US" sz="1200">
                <a:solidFill>
                  <a:schemeClr val="bg1"/>
                </a:solidFill>
              </a:rPr>
              <a:t>Traditional method, structured and specific. </a:t>
            </a:r>
          </a:p>
        </p:txBody>
      </p:sp>
      <p:sp>
        <p:nvSpPr>
          <p:cNvPr id="13" name="TextBox 12">
            <a:extLst>
              <a:ext uri="{FF2B5EF4-FFF2-40B4-BE49-F238E27FC236}">
                <a16:creationId xmlns:a16="http://schemas.microsoft.com/office/drawing/2014/main" id="{3CE88152-CA7A-28D5-AAFE-11FB9D6940F5}"/>
              </a:ext>
            </a:extLst>
          </p:cNvPr>
          <p:cNvSpPr txBox="1"/>
          <p:nvPr/>
        </p:nvSpPr>
        <p:spPr>
          <a:xfrm>
            <a:off x="4267200" y="4051984"/>
            <a:ext cx="3657600" cy="646331"/>
          </a:xfrm>
          <a:prstGeom prst="rect">
            <a:avLst/>
          </a:prstGeom>
          <a:noFill/>
        </p:spPr>
        <p:txBody>
          <a:bodyPr wrap="square">
            <a:spAutoFit/>
          </a:bodyPr>
          <a:lstStyle/>
          <a:p>
            <a:r>
              <a:rPr lang="en-US" sz="1200" b="1">
                <a:solidFill>
                  <a:schemeClr val="bg1"/>
                </a:solidFill>
              </a:rPr>
              <a:t>Natural Search</a:t>
            </a:r>
          </a:p>
          <a:p>
            <a:r>
              <a:rPr lang="en-US" sz="1200">
                <a:solidFill>
                  <a:schemeClr val="bg1"/>
                </a:solidFill>
              </a:rPr>
              <a:t>Use of keywords &amp; criteria, more intuitive, “Google-like”.</a:t>
            </a:r>
          </a:p>
        </p:txBody>
      </p:sp>
      <p:sp>
        <p:nvSpPr>
          <p:cNvPr id="15" name="TextBox 14">
            <a:extLst>
              <a:ext uri="{FF2B5EF4-FFF2-40B4-BE49-F238E27FC236}">
                <a16:creationId xmlns:a16="http://schemas.microsoft.com/office/drawing/2014/main" id="{DFFA1F9D-3D41-351A-09B1-8FD6005D7B8C}"/>
              </a:ext>
            </a:extLst>
          </p:cNvPr>
          <p:cNvSpPr txBox="1"/>
          <p:nvPr/>
        </p:nvSpPr>
        <p:spPr>
          <a:xfrm>
            <a:off x="8286750" y="4734610"/>
            <a:ext cx="3486150" cy="646331"/>
          </a:xfrm>
          <a:prstGeom prst="rect">
            <a:avLst/>
          </a:prstGeom>
          <a:noFill/>
        </p:spPr>
        <p:txBody>
          <a:bodyPr wrap="square">
            <a:spAutoFit/>
          </a:bodyPr>
          <a:lstStyle/>
          <a:p>
            <a:r>
              <a:rPr lang="en-US" sz="1200" b="1">
                <a:solidFill>
                  <a:schemeClr val="bg1"/>
                </a:solidFill>
              </a:rPr>
              <a:t>AI Search</a:t>
            </a:r>
          </a:p>
          <a:p>
            <a:r>
              <a:rPr lang="en-US" sz="1200">
                <a:solidFill>
                  <a:schemeClr val="bg1"/>
                </a:solidFill>
              </a:rPr>
              <a:t>Understanding context, compounded questions capabilities.</a:t>
            </a:r>
          </a:p>
        </p:txBody>
      </p:sp>
      <p:cxnSp>
        <p:nvCxnSpPr>
          <p:cNvPr id="17" name="Straight Arrow Connector 16">
            <a:extLst>
              <a:ext uri="{FF2B5EF4-FFF2-40B4-BE49-F238E27FC236}">
                <a16:creationId xmlns:a16="http://schemas.microsoft.com/office/drawing/2014/main" id="{4E42F78E-D206-9AC1-1B05-553201F5025A}"/>
              </a:ext>
            </a:extLst>
          </p:cNvPr>
          <p:cNvCxnSpPr/>
          <p:nvPr/>
        </p:nvCxnSpPr>
        <p:spPr>
          <a:xfrm>
            <a:off x="431800" y="1857375"/>
            <a:ext cx="11341100"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8" name="TextBox 17">
            <a:extLst>
              <a:ext uri="{FF2B5EF4-FFF2-40B4-BE49-F238E27FC236}">
                <a16:creationId xmlns:a16="http://schemas.microsoft.com/office/drawing/2014/main" id="{1BE44550-9B37-23F8-A2FA-5FD8F95434EA}"/>
              </a:ext>
            </a:extLst>
          </p:cNvPr>
          <p:cNvSpPr txBox="1"/>
          <p:nvPr/>
        </p:nvSpPr>
        <p:spPr>
          <a:xfrm>
            <a:off x="431800" y="1515160"/>
            <a:ext cx="3473450" cy="338554"/>
          </a:xfrm>
          <a:prstGeom prst="rect">
            <a:avLst/>
          </a:prstGeom>
          <a:noFill/>
        </p:spPr>
        <p:txBody>
          <a:bodyPr wrap="square">
            <a:spAutoFit/>
          </a:bodyPr>
          <a:lstStyle/>
          <a:p>
            <a:r>
              <a:rPr lang="en-US" sz="1600" b="1">
                <a:solidFill>
                  <a:schemeClr val="accent4"/>
                </a:solidFill>
                <a:latin typeface="Noto Serif" panose="020B0502040504020204" pitchFamily="34" charset="0"/>
              </a:rPr>
              <a:t>Past</a:t>
            </a:r>
          </a:p>
        </p:txBody>
      </p:sp>
      <p:sp>
        <p:nvSpPr>
          <p:cNvPr id="19" name="TextBox 18">
            <a:extLst>
              <a:ext uri="{FF2B5EF4-FFF2-40B4-BE49-F238E27FC236}">
                <a16:creationId xmlns:a16="http://schemas.microsoft.com/office/drawing/2014/main" id="{DC755E50-752B-A1D6-1EF6-5E9B33A03DEA}"/>
              </a:ext>
            </a:extLst>
          </p:cNvPr>
          <p:cNvSpPr txBox="1"/>
          <p:nvPr/>
        </p:nvSpPr>
        <p:spPr>
          <a:xfrm>
            <a:off x="4349750" y="1515160"/>
            <a:ext cx="3473450" cy="338554"/>
          </a:xfrm>
          <a:prstGeom prst="rect">
            <a:avLst/>
          </a:prstGeom>
          <a:noFill/>
        </p:spPr>
        <p:txBody>
          <a:bodyPr wrap="square">
            <a:spAutoFit/>
          </a:bodyPr>
          <a:lstStyle/>
          <a:p>
            <a:r>
              <a:rPr lang="en-US" sz="1600" b="1">
                <a:solidFill>
                  <a:schemeClr val="accent4"/>
                </a:solidFill>
                <a:latin typeface="Noto Serif" panose="020B0502040504020204" pitchFamily="34" charset="0"/>
              </a:rPr>
              <a:t>Present</a:t>
            </a:r>
          </a:p>
        </p:txBody>
      </p:sp>
      <p:sp>
        <p:nvSpPr>
          <p:cNvPr id="20" name="TextBox 19">
            <a:extLst>
              <a:ext uri="{FF2B5EF4-FFF2-40B4-BE49-F238E27FC236}">
                <a16:creationId xmlns:a16="http://schemas.microsoft.com/office/drawing/2014/main" id="{46EA5E17-D9EE-0F82-A274-4550BC0DA0FA}"/>
              </a:ext>
            </a:extLst>
          </p:cNvPr>
          <p:cNvSpPr txBox="1"/>
          <p:nvPr/>
        </p:nvSpPr>
        <p:spPr>
          <a:xfrm>
            <a:off x="8264525" y="1515160"/>
            <a:ext cx="3473450" cy="338554"/>
          </a:xfrm>
          <a:prstGeom prst="rect">
            <a:avLst/>
          </a:prstGeom>
          <a:noFill/>
        </p:spPr>
        <p:txBody>
          <a:bodyPr wrap="square">
            <a:spAutoFit/>
          </a:bodyPr>
          <a:lstStyle/>
          <a:p>
            <a:r>
              <a:rPr lang="en-US" sz="1600" b="1">
                <a:solidFill>
                  <a:schemeClr val="accent4"/>
                </a:solidFill>
                <a:latin typeface="Noto Serif" panose="020B0502040504020204" pitchFamily="34" charset="0"/>
              </a:rPr>
              <a:t>Future</a:t>
            </a:r>
          </a:p>
        </p:txBody>
      </p:sp>
    </p:spTree>
    <p:extLst>
      <p:ext uri="{BB962C8B-B14F-4D97-AF65-F5344CB8AC3E}">
        <p14:creationId xmlns:p14="http://schemas.microsoft.com/office/powerpoint/2010/main" val="319557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8ABD-92DD-FB00-DD13-0F736B25DFA5}"/>
              </a:ext>
            </a:extLst>
          </p:cNvPr>
          <p:cNvSpPr>
            <a:spLocks noGrp="1"/>
          </p:cNvSpPr>
          <p:nvPr>
            <p:ph type="sldNum" sz="quarter" idx="10"/>
          </p:nvPr>
        </p:nvSpPr>
        <p:spPr/>
        <p:txBody>
          <a:bodyPr/>
          <a:lstStyle/>
          <a:p>
            <a:fld id="{6F42FDE4-A7DD-41A7-A0A6-9B649FB43336}" type="slidenum">
              <a:rPr lang="en-US" smtClean="0"/>
              <a:pPr/>
              <a:t>11</a:t>
            </a:fld>
            <a:endParaRPr lang="en-US"/>
          </a:p>
        </p:txBody>
      </p:sp>
      <p:sp>
        <p:nvSpPr>
          <p:cNvPr id="3" name="Text Placeholder 2">
            <a:extLst>
              <a:ext uri="{FF2B5EF4-FFF2-40B4-BE49-F238E27FC236}">
                <a16:creationId xmlns:a16="http://schemas.microsoft.com/office/drawing/2014/main" id="{707EBD6C-6AB3-122C-5FFE-B314DAA0EE1A}"/>
              </a:ext>
            </a:extLst>
          </p:cNvPr>
          <p:cNvSpPr>
            <a:spLocks noGrp="1"/>
          </p:cNvSpPr>
          <p:nvPr>
            <p:ph type="body" sz="quarter" idx="11"/>
          </p:nvPr>
        </p:nvSpPr>
        <p:spPr>
          <a:xfrm>
            <a:off x="575733" y="1968091"/>
            <a:ext cx="11040533" cy="2921962"/>
          </a:xfrm>
        </p:spPr>
        <p:txBody>
          <a:bodyPr/>
          <a:lstStyle/>
          <a:p>
            <a:r>
              <a:rPr lang="en-US" sz="8000" b="1">
                <a:solidFill>
                  <a:schemeClr val="bg1"/>
                </a:solidFill>
                <a:latin typeface="Noto Serif" panose="020B0502040504020204" pitchFamily="34" charset="0"/>
                <a:ea typeface="Noto Sans" panose="020B0502040504020204" pitchFamily="34" charset="0"/>
                <a:cs typeface="Noto Sans" panose="020B0502040504020204" pitchFamily="34" charset="0"/>
              </a:rPr>
              <a:t>Users &amp; User Journeys</a:t>
            </a:r>
          </a:p>
        </p:txBody>
      </p:sp>
    </p:spTree>
    <p:extLst>
      <p:ext uri="{BB962C8B-B14F-4D97-AF65-F5344CB8AC3E}">
        <p14:creationId xmlns:p14="http://schemas.microsoft.com/office/powerpoint/2010/main" val="64791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seated men looking at tablet screen">
            <a:extLst>
              <a:ext uri="{FF2B5EF4-FFF2-40B4-BE49-F238E27FC236}">
                <a16:creationId xmlns:a16="http://schemas.microsoft.com/office/drawing/2014/main" id="{E7B596A4-1AD7-D5E9-6DE0-86EDE525EB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7030" y="-1"/>
            <a:ext cx="10290772" cy="6860515"/>
          </a:xfrm>
          <a:prstGeom prst="rect">
            <a:avLst/>
          </a:prstGeom>
        </p:spPr>
      </p:pic>
      <p:sp>
        <p:nvSpPr>
          <p:cNvPr id="12" name="Rectangle 11">
            <a:extLst>
              <a:ext uri="{FF2B5EF4-FFF2-40B4-BE49-F238E27FC236}">
                <a16:creationId xmlns:a16="http://schemas.microsoft.com/office/drawing/2014/main" id="{8628647B-0BAF-8007-4FF6-8F3993A1C1D1}"/>
              </a:ext>
            </a:extLst>
          </p:cNvPr>
          <p:cNvSpPr/>
          <p:nvPr/>
        </p:nvSpPr>
        <p:spPr>
          <a:xfrm>
            <a:off x="0" y="0"/>
            <a:ext cx="4246075" cy="6858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err="1"/>
          </a:p>
        </p:txBody>
      </p:sp>
      <p:sp>
        <p:nvSpPr>
          <p:cNvPr id="28" name="Title 1">
            <a:extLst>
              <a:ext uri="{FF2B5EF4-FFF2-40B4-BE49-F238E27FC236}">
                <a16:creationId xmlns:a16="http://schemas.microsoft.com/office/drawing/2014/main" id="{595363AF-C8F9-AD81-436A-7442F3BDBECF}"/>
              </a:ext>
            </a:extLst>
          </p:cNvPr>
          <p:cNvSpPr txBox="1">
            <a:spLocks/>
          </p:cNvSpPr>
          <p:nvPr/>
        </p:nvSpPr>
        <p:spPr>
          <a:xfrm>
            <a:off x="422275" y="353580"/>
            <a:ext cx="3407341" cy="700520"/>
          </a:xfrm>
          <a:prstGeom prst="rect">
            <a:avLst/>
          </a:prstGeom>
        </p:spPr>
        <p:txBody>
          <a:bodyPr vert="horz" lIns="137160" tIns="0" rIns="91440" bIns="0" rtlCol="0" anchor="t" anchorCtr="0">
            <a:noAutofit/>
          </a:bodyPr>
          <a:lstStyle>
            <a:lvl1pPr algn="l" defTabSz="608489" rtl="0" eaLnBrk="1" latinLnBrk="0" hangingPunct="1">
              <a:spcBef>
                <a:spcPct val="0"/>
              </a:spcBef>
              <a:buNone/>
              <a:defRPr lang="de-CH" sz="2928" kern="1200" spc="-27" baseline="0" dirty="0" smtClean="0">
                <a:solidFill>
                  <a:schemeClr val="accent5"/>
                </a:solidFill>
                <a:latin typeface="Noto Sans" panose="020B0502040504020204" pitchFamily="34"/>
                <a:ea typeface="Noto Sans" panose="020B0502040504020204" pitchFamily="34"/>
                <a:cs typeface="Noto Sans" panose="020B0502040504020204" pitchFamily="34"/>
              </a:defRPr>
            </a:lvl1pPr>
          </a:lstStyle>
          <a:p>
            <a:pPr defTabSz="810568">
              <a:defRPr/>
            </a:pPr>
            <a:r>
              <a:rPr lang="en-US" sz="2400" b="1" spc="0">
                <a:solidFill>
                  <a:schemeClr val="bg1"/>
                </a:solidFill>
                <a:latin typeface="Noto Serif" panose="020B0502040504020204" pitchFamily="34" charset="0"/>
                <a:ea typeface="Noto Sans Blk" panose="020B0502040504020204" pitchFamily="34" charset="0"/>
                <a:cs typeface="Noto Sans Blk" panose="020B0502040504020204" pitchFamily="34" charset="0"/>
              </a:rPr>
              <a:t>SIX iD Users</a:t>
            </a:r>
          </a:p>
        </p:txBody>
      </p:sp>
      <p:sp>
        <p:nvSpPr>
          <p:cNvPr id="13" name="TextBox 12">
            <a:extLst>
              <a:ext uri="{FF2B5EF4-FFF2-40B4-BE49-F238E27FC236}">
                <a16:creationId xmlns:a16="http://schemas.microsoft.com/office/drawing/2014/main" id="{6CBF9AA8-CF11-EA55-2EFF-B4C11E07E56A}"/>
              </a:ext>
            </a:extLst>
          </p:cNvPr>
          <p:cNvSpPr txBox="1"/>
          <p:nvPr/>
        </p:nvSpPr>
        <p:spPr>
          <a:xfrm>
            <a:off x="425451" y="1146961"/>
            <a:ext cx="3295524" cy="5027502"/>
          </a:xfrm>
          <a:prstGeom prst="rect">
            <a:avLst/>
          </a:prstGeom>
          <a:noFill/>
        </p:spPr>
        <p:txBody>
          <a:bodyPr wrap="square" lIns="0" tIns="0" rIns="0" bIns="0" rtlCol="0">
            <a:noAutofit/>
          </a:bodyPr>
          <a:lstStyle/>
          <a:p>
            <a:pPr algn="l">
              <a:spcAft>
                <a:spcPts val="600"/>
              </a:spcAft>
            </a:pPr>
            <a:r>
              <a:rPr lang="en-US" sz="1200" b="1">
                <a:solidFill>
                  <a:schemeClr val="accent5"/>
                </a:solidFill>
              </a:rPr>
              <a:t>The Wealth Manager</a:t>
            </a:r>
          </a:p>
          <a:p>
            <a:pPr algn="l">
              <a:spcAft>
                <a:spcPts val="600"/>
              </a:spcAft>
            </a:pPr>
            <a:r>
              <a:rPr lang="en-US" sz="1200">
                <a:solidFill>
                  <a:schemeClr val="bg1"/>
                </a:solidFill>
              </a:rPr>
              <a:t>A Wealth Manager is helping his clients grow their wealth while minimizing financial uncertainty. </a:t>
            </a:r>
          </a:p>
          <a:p>
            <a:pPr algn="l">
              <a:spcAft>
                <a:spcPts val="600"/>
              </a:spcAft>
            </a:pPr>
            <a:r>
              <a:rPr lang="en-US" sz="1200">
                <a:solidFill>
                  <a:schemeClr val="bg1"/>
                </a:solidFill>
              </a:rPr>
              <a:t>A Wealth Manager’s work encompasses investment management, risk mitigation, tax optimization and retirement planning.</a:t>
            </a:r>
          </a:p>
          <a:p>
            <a:pPr algn="l">
              <a:spcAft>
                <a:spcPts val="600"/>
              </a:spcAft>
            </a:pPr>
            <a:endParaRPr lang="en-US" sz="1200">
              <a:solidFill>
                <a:schemeClr val="bg1"/>
              </a:solidFill>
            </a:endParaRPr>
          </a:p>
          <a:p>
            <a:pPr algn="l">
              <a:spcAft>
                <a:spcPts val="600"/>
              </a:spcAft>
              <a:tabLst>
                <a:tab pos="1946275" algn="l"/>
              </a:tabLst>
            </a:pPr>
            <a:r>
              <a:rPr lang="en-US" sz="1200" b="1">
                <a:solidFill>
                  <a:schemeClr val="accent5"/>
                </a:solidFill>
              </a:rPr>
              <a:t>Context of a Wealth Manager’s Job</a:t>
            </a:r>
          </a:p>
          <a:p>
            <a:pPr algn="l">
              <a:spcAft>
                <a:spcPts val="600"/>
              </a:spcAft>
            </a:pPr>
            <a:r>
              <a:rPr lang="en-US" sz="1200">
                <a:solidFill>
                  <a:schemeClr val="bg1"/>
                </a:solidFill>
              </a:rPr>
              <a:t>Wealth Managers provide financial advice, build trust and confidence and help clients establish long-term financial success. </a:t>
            </a:r>
          </a:p>
          <a:p>
            <a:pPr algn="l">
              <a:spcAft>
                <a:spcPts val="600"/>
              </a:spcAft>
            </a:pPr>
            <a:r>
              <a:rPr lang="en-US" sz="1200">
                <a:solidFill>
                  <a:schemeClr val="bg1"/>
                </a:solidFill>
              </a:rPr>
              <a:t>As such a Wealth Manager serves as a trusted partner in managing finances confidently. Their guidance aims to align financial strategies with personal values of their client.</a:t>
            </a:r>
          </a:p>
        </p:txBody>
      </p:sp>
    </p:spTree>
    <p:extLst>
      <p:ext uri="{BB962C8B-B14F-4D97-AF65-F5344CB8AC3E}">
        <p14:creationId xmlns:p14="http://schemas.microsoft.com/office/powerpoint/2010/main" val="171486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2EDDA2A2-3785-B802-DAEF-2AF4017E98E3}"/>
              </a:ext>
            </a:extLst>
          </p:cNvPr>
          <p:cNvSpPr txBox="1">
            <a:spLocks/>
          </p:cNvSpPr>
          <p:nvPr/>
        </p:nvSpPr>
        <p:spPr>
          <a:xfrm>
            <a:off x="354473" y="6470631"/>
            <a:ext cx="622965" cy="191821"/>
          </a:xfrm>
          <a:prstGeom prst="rect">
            <a:avLst/>
          </a:prstGeom>
        </p:spPr>
        <p:txBody>
          <a:bodyPr vert="horz" lIns="0" tIns="0" rIns="0" bIns="0" rtlCol="0">
            <a:norm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defTabSz="1218072">
              <a:defRPr/>
            </a:pPr>
            <a:fld id="{6F42FDE4-A7DD-41A7-A0A6-9B649FB43336}" type="slidenum">
              <a:rPr lang="de-CH" sz="932">
                <a:solidFill>
                  <a:srgbClr val="FFFFFF"/>
                </a:solidFill>
                <a:latin typeface="Noto Sans Light" panose="020B0402040504020204" pitchFamily="34" charset="0"/>
                <a:ea typeface="Noto Sans Light" panose="020B0402040504020204" pitchFamily="34" charset="0"/>
                <a:cs typeface="Noto Sans Light" panose="020B0402040504020204" pitchFamily="34" charset="0"/>
              </a:rPr>
              <a:pPr defTabSz="1218072">
                <a:defRPr/>
              </a:pPr>
              <a:t>13</a:t>
            </a:fld>
            <a:endParaRPr lang="de-CH" sz="1599">
              <a:solidFill>
                <a:srgbClr val="FFFFFF"/>
              </a:solidFill>
              <a:latin typeface="Noto Sans Light" panose="020B0402040504020204" pitchFamily="34" charset="0"/>
              <a:ea typeface="Noto Sans Light" panose="020B0402040504020204" pitchFamily="34" charset="0"/>
              <a:cs typeface="Noto Sans Light" panose="020B0402040504020204" pitchFamily="34" charset="0"/>
            </a:endParaRPr>
          </a:p>
        </p:txBody>
      </p:sp>
      <p:sp>
        <p:nvSpPr>
          <p:cNvPr id="6" name="Title 1">
            <a:extLst>
              <a:ext uri="{FF2B5EF4-FFF2-40B4-BE49-F238E27FC236}">
                <a16:creationId xmlns:a16="http://schemas.microsoft.com/office/drawing/2014/main" id="{4AC1E707-6F22-54BF-50E7-48CDEA15E141}"/>
              </a:ext>
            </a:extLst>
          </p:cNvPr>
          <p:cNvSpPr txBox="1">
            <a:spLocks/>
          </p:cNvSpPr>
          <p:nvPr/>
        </p:nvSpPr>
        <p:spPr>
          <a:xfrm>
            <a:off x="3810000" y="353580"/>
            <a:ext cx="7962899" cy="911801"/>
          </a:xfrm>
          <a:prstGeom prst="rect">
            <a:avLst/>
          </a:prstGeom>
        </p:spPr>
        <p:txBody>
          <a:bodyPr vert="horz" lIns="137160" tIns="0" rIns="91440" bIns="0" rtlCol="0" anchor="t" anchorCtr="0">
            <a:noAutofit/>
          </a:bodyPr>
          <a:lstStyle>
            <a:lvl1pPr algn="l" defTabSz="608489" rtl="0" eaLnBrk="1" latinLnBrk="0" hangingPunct="1">
              <a:spcBef>
                <a:spcPct val="0"/>
              </a:spcBef>
              <a:buNone/>
              <a:defRPr lang="de-CH" sz="2928" kern="1200" spc="-27" baseline="0" dirty="0" smtClean="0">
                <a:solidFill>
                  <a:schemeClr val="accent5"/>
                </a:solidFill>
                <a:latin typeface="Noto Sans" panose="020B0502040504020204" pitchFamily="34"/>
                <a:ea typeface="Noto Sans" panose="020B0502040504020204" pitchFamily="34"/>
                <a:cs typeface="Noto Sans" panose="020B0502040504020204" pitchFamily="34"/>
              </a:defRPr>
            </a:lvl1pPr>
          </a:lstStyle>
          <a:p>
            <a:pPr defTabSz="810568">
              <a:defRPr/>
            </a:pPr>
            <a:r>
              <a:rPr lang="en-US" sz="2400" b="1" spc="0">
                <a:solidFill>
                  <a:schemeClr val="bg1"/>
                </a:solidFill>
                <a:latin typeface="Noto Serif" panose="020B0502040504020204" pitchFamily="34" charset="0"/>
                <a:ea typeface="Noto Sans Blk" panose="020B0502040504020204" pitchFamily="34" charset="0"/>
                <a:cs typeface="Noto Sans Blk" panose="020B0502040504020204" pitchFamily="34" charset="0"/>
              </a:rPr>
              <a:t>Wilson</a:t>
            </a:r>
          </a:p>
          <a:p>
            <a:pPr defTabSz="810568">
              <a:defRPr/>
            </a:pPr>
            <a:r>
              <a:rPr lang="en-US" sz="2400" spc="0">
                <a:solidFill>
                  <a:schemeClr val="bg1"/>
                </a:solidFill>
                <a:latin typeface="Noto Sans" panose="020B0502040504020204" pitchFamily="34" charset="0"/>
                <a:ea typeface="Noto Sans Blk" panose="020B0502040504020204" pitchFamily="34" charset="0"/>
                <a:cs typeface="Noto Sans Blk" panose="020B0502040504020204" pitchFamily="34" charset="0"/>
              </a:rPr>
              <a:t>Wealth Manager - Persona</a:t>
            </a:r>
          </a:p>
        </p:txBody>
      </p:sp>
      <p:graphicFrame>
        <p:nvGraphicFramePr>
          <p:cNvPr id="3" name="Table 2">
            <a:extLst>
              <a:ext uri="{FF2B5EF4-FFF2-40B4-BE49-F238E27FC236}">
                <a16:creationId xmlns:a16="http://schemas.microsoft.com/office/drawing/2014/main" id="{D101F369-6DF4-96AB-A394-962ACB39DB11}"/>
              </a:ext>
            </a:extLst>
          </p:cNvPr>
          <p:cNvGraphicFramePr>
            <a:graphicFrameLocks noGrp="1"/>
          </p:cNvGraphicFramePr>
          <p:nvPr>
            <p:extLst>
              <p:ext uri="{D42A27DB-BD31-4B8C-83A1-F6EECF244321}">
                <p14:modId xmlns:p14="http://schemas.microsoft.com/office/powerpoint/2010/main" val="1060898924"/>
              </p:ext>
            </p:extLst>
          </p:nvPr>
        </p:nvGraphicFramePr>
        <p:xfrm>
          <a:off x="3810000" y="1598381"/>
          <a:ext cx="7962900" cy="4402369"/>
        </p:xfrm>
        <a:graphic>
          <a:graphicData uri="http://schemas.openxmlformats.org/drawingml/2006/table">
            <a:tbl>
              <a:tblPr firstRow="1" bandRow="1">
                <a:tableStyleId>{5C22544A-7EE6-4342-B048-85BDC9FD1C3A}</a:tableStyleId>
              </a:tblPr>
              <a:tblGrid>
                <a:gridCol w="3985491">
                  <a:extLst>
                    <a:ext uri="{9D8B030D-6E8A-4147-A177-3AD203B41FA5}">
                      <a16:colId xmlns:a16="http://schemas.microsoft.com/office/drawing/2014/main" val="3803763437"/>
                    </a:ext>
                  </a:extLst>
                </a:gridCol>
                <a:gridCol w="3977409">
                  <a:extLst>
                    <a:ext uri="{9D8B030D-6E8A-4147-A177-3AD203B41FA5}">
                      <a16:colId xmlns:a16="http://schemas.microsoft.com/office/drawing/2014/main" val="542304288"/>
                    </a:ext>
                  </a:extLst>
                </a:gridCol>
              </a:tblGrid>
              <a:tr h="944436">
                <a:tc gridSpan="2">
                  <a:txBody>
                    <a:bodyPr/>
                    <a:lstStyle/>
                    <a:p>
                      <a:pPr marL="0" indent="0">
                        <a:spcAft>
                          <a:spcPts val="600"/>
                        </a:spcAft>
                        <a:buFont typeface="Arial" panose="020B0604020202020204" pitchFamily="34" charset="0"/>
                        <a:buNone/>
                      </a:pPr>
                      <a:r>
                        <a:rPr lang="en-US" sz="1200" b="1">
                          <a:solidFill>
                            <a:schemeClr val="accent5"/>
                          </a:solidFill>
                          <a:latin typeface="+mn-lt"/>
                          <a:ea typeface="Noto Sans"/>
                        </a:rPr>
                        <a:t>Background</a:t>
                      </a:r>
                    </a:p>
                    <a:p>
                      <a:pPr marL="0" indent="0">
                        <a:buNone/>
                      </a:pPr>
                      <a:r>
                        <a:rPr lang="en-US" sz="1200" b="0"/>
                        <a:t>Walter is an experienced wealth manager specializing in investment strategies and tax-efficient financial planning. Over the years, he has cultivated deep relationships with high-</a:t>
                      </a:r>
                      <a:r>
                        <a:rPr lang="en-US" sz="1200" b="0" err="1"/>
                        <a:t>networth</a:t>
                      </a:r>
                      <a:r>
                        <a:rPr lang="en-US" sz="1200" b="0"/>
                        <a:t>-individuals, helping them to manage complex financial needs and grow their financial wealth.</a:t>
                      </a:r>
                    </a:p>
                    <a:p>
                      <a:pPr marL="0" indent="0">
                        <a:buNone/>
                      </a:pPr>
                      <a:endParaRPr lang="en-US" sz="1200" b="0"/>
                    </a:p>
                  </a:txBody>
                  <a:tcPr marL="137160" marR="13716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spcBef>
                          <a:spcPts val="0"/>
                        </a:spcBef>
                        <a:spcAft>
                          <a:spcPts val="600"/>
                        </a:spcAft>
                        <a:buFont typeface="Arial" panose="020B0604020202020204" pitchFamily="34" charset="0"/>
                        <a:buChar char="•"/>
                      </a:pPr>
                      <a:endParaRPr lang="en-GB" sz="1400" b="0">
                        <a:solidFill>
                          <a:schemeClr val="bg1"/>
                        </a:solidFill>
                        <a:latin typeface="+mn-lt"/>
                      </a:endParaRPr>
                    </a:p>
                  </a:txBody>
                  <a:tcPr marL="137160" marR="13716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713763"/>
                  </a:ext>
                </a:extLst>
              </a:tr>
              <a:tr h="1376636">
                <a:tc>
                  <a:txBody>
                    <a:bodyPr/>
                    <a:lstStyle/>
                    <a:p>
                      <a:pPr>
                        <a:spcAft>
                          <a:spcPts val="600"/>
                        </a:spcAft>
                      </a:pPr>
                      <a:r>
                        <a:rPr lang="en-US" sz="1200" b="1">
                          <a:solidFill>
                            <a:schemeClr val="accent5"/>
                          </a:solidFill>
                          <a:latin typeface="+mn-lt"/>
                          <a:ea typeface="Noto Sans"/>
                        </a:rPr>
                        <a:t>Use Cases</a:t>
                      </a:r>
                    </a:p>
                    <a:p>
                      <a:pPr marL="285750" indent="-285750">
                        <a:spcAft>
                          <a:spcPts val="600"/>
                        </a:spcAft>
                        <a:buFont typeface="Arial" panose="020B0604020202020204" pitchFamily="34" charset="0"/>
                        <a:buChar char="•"/>
                      </a:pPr>
                      <a:r>
                        <a:rPr lang="en-US" sz="1200" b="0" i="0" kern="1200">
                          <a:solidFill>
                            <a:schemeClr val="bg1"/>
                          </a:solidFill>
                          <a:effectLst/>
                          <a:latin typeface="+mn-lt"/>
                          <a:ea typeface="+mn-ea"/>
                          <a:cs typeface="+mn-cs"/>
                        </a:rPr>
                        <a:t>Asses his clients' financial needs and goals</a:t>
                      </a:r>
                    </a:p>
                    <a:p>
                      <a:pPr marL="285750" indent="-285750">
                        <a:spcAft>
                          <a:spcPts val="600"/>
                        </a:spcAft>
                        <a:buFont typeface="Arial" panose="020B0604020202020204" pitchFamily="34" charset="0"/>
                        <a:buChar char="•"/>
                      </a:pPr>
                      <a:r>
                        <a:rPr lang="en-US" sz="1200" b="0" i="0" kern="1200">
                          <a:solidFill>
                            <a:schemeClr val="bg1"/>
                          </a:solidFill>
                          <a:effectLst/>
                          <a:latin typeface="+mn-lt"/>
                          <a:ea typeface="+mn-ea"/>
                          <a:cs typeface="+mn-cs"/>
                        </a:rPr>
                        <a:t>Manage his clients’ financial portfolio</a:t>
                      </a:r>
                    </a:p>
                    <a:p>
                      <a:pPr marL="285750" indent="-285750">
                        <a:spcAft>
                          <a:spcPts val="600"/>
                        </a:spcAft>
                        <a:buFont typeface="Arial" panose="020B0604020202020204" pitchFamily="34" charset="0"/>
                        <a:buChar char="•"/>
                      </a:pPr>
                      <a:r>
                        <a:rPr lang="en-US" sz="1200" b="0" i="0" kern="1200">
                          <a:solidFill>
                            <a:schemeClr val="bg1"/>
                          </a:solidFill>
                          <a:effectLst/>
                          <a:latin typeface="+mn-lt"/>
                          <a:ea typeface="+mn-ea"/>
                          <a:cs typeface="+mn-cs"/>
                        </a:rPr>
                        <a:t>Mitigate financial risks and tax impa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9" rtl="0" eaLnBrk="1" fontAlgn="auto" latinLnBrk="0" hangingPunct="1">
                        <a:lnSpc>
                          <a:spcPct val="100000"/>
                        </a:lnSpc>
                        <a:spcBef>
                          <a:spcPts val="0"/>
                        </a:spcBef>
                        <a:spcAft>
                          <a:spcPts val="600"/>
                        </a:spcAft>
                        <a:buClrTx/>
                        <a:buSzTx/>
                        <a:buFontTx/>
                        <a:buNone/>
                        <a:tabLst/>
                        <a:defRPr/>
                      </a:pPr>
                      <a:r>
                        <a:rPr lang="en-US" sz="1200" b="1">
                          <a:solidFill>
                            <a:schemeClr val="accent5"/>
                          </a:solidFill>
                          <a:latin typeface="+mn-lt"/>
                          <a:ea typeface="Noto Sans"/>
                        </a:rPr>
                        <a:t>Goals</a:t>
                      </a:r>
                    </a:p>
                    <a:p>
                      <a:pPr marL="171450" indent="-171450">
                        <a:spcBef>
                          <a:spcPts val="0"/>
                        </a:spcBef>
                        <a:spcAft>
                          <a:spcPts val="600"/>
                        </a:spcAft>
                        <a:buFont typeface="Arial" panose="020B0604020202020204" pitchFamily="34" charset="0"/>
                        <a:buChar char="•"/>
                      </a:pPr>
                      <a:r>
                        <a:rPr lang="en-US" sz="1200" b="0">
                          <a:solidFill>
                            <a:schemeClr val="bg1"/>
                          </a:solidFill>
                          <a:latin typeface="+mn-lt"/>
                        </a:rPr>
                        <a:t>Achieve strong returns and grow client's wealth</a:t>
                      </a:r>
                      <a:endParaRPr lang="en-GB" sz="1200" b="0">
                        <a:solidFill>
                          <a:schemeClr val="bg1"/>
                        </a:solidFill>
                        <a:latin typeface="+mn-lt"/>
                      </a:endParaRPr>
                    </a:p>
                    <a:p>
                      <a:pPr marL="171450" marR="0" lvl="0" indent="-171450" algn="l" defTabSz="339395"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i="0" kern="1200">
                          <a:solidFill>
                            <a:schemeClr val="bg1"/>
                          </a:solidFill>
                          <a:effectLst/>
                          <a:latin typeface="+mn-lt"/>
                          <a:ea typeface="+mn-ea"/>
                          <a:cs typeface="+mn-cs"/>
                        </a:rPr>
                        <a:t>Instill confidence and b</a:t>
                      </a:r>
                      <a:r>
                        <a:rPr lang="en-GB" sz="1200" b="0">
                          <a:solidFill>
                            <a:schemeClr val="bg1"/>
                          </a:solidFill>
                          <a:latin typeface="+mn-lt"/>
                        </a:rPr>
                        <a:t>e a trusted partner</a:t>
                      </a:r>
                      <a:endParaRPr lang="en-US" sz="1200" b="0">
                        <a:solidFill>
                          <a:schemeClr val="bg1"/>
                        </a:solidFill>
                        <a:latin typeface="+mn-lt"/>
                      </a:endParaRPr>
                    </a:p>
                  </a:txBody>
                  <a:tcPr marL="137160" marR="13716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2885934"/>
                  </a:ext>
                </a:extLst>
              </a:tr>
              <a:tr h="1760813">
                <a:tc>
                  <a:txBody>
                    <a:bodyPr/>
                    <a:lstStyle/>
                    <a:p>
                      <a:pPr>
                        <a:spcAft>
                          <a:spcPts val="600"/>
                        </a:spcAft>
                      </a:pPr>
                      <a:r>
                        <a:rPr lang="en-US" sz="1200" b="1">
                          <a:solidFill>
                            <a:schemeClr val="accent5"/>
                          </a:solidFill>
                          <a:latin typeface="+mn-lt"/>
                          <a:ea typeface="Noto Sans"/>
                        </a:rPr>
                        <a:t>Pain-Points</a:t>
                      </a:r>
                    </a:p>
                    <a:p>
                      <a:pPr marL="171450" indent="-171450">
                        <a:spcAft>
                          <a:spcPts val="600"/>
                        </a:spcAft>
                        <a:buFont typeface="Arial" panose="020B0604020202020204" pitchFamily="34" charset="0"/>
                        <a:buChar char="•"/>
                      </a:pPr>
                      <a:r>
                        <a:rPr lang="en-US" sz="1200" b="0">
                          <a:solidFill>
                            <a:schemeClr val="bg1"/>
                          </a:solidFill>
                          <a:latin typeface="+mn-lt"/>
                        </a:rPr>
                        <a:t>Time-pressure to answer client queries</a:t>
                      </a:r>
                    </a:p>
                    <a:p>
                      <a:pPr marL="171450" indent="-171450">
                        <a:spcAft>
                          <a:spcPts val="600"/>
                        </a:spcAft>
                        <a:buFont typeface="Arial" panose="020B0604020202020204" pitchFamily="34" charset="0"/>
                        <a:buChar char="•"/>
                      </a:pPr>
                      <a:r>
                        <a:rPr lang="en-US" sz="1200" b="0">
                          <a:solidFill>
                            <a:schemeClr val="bg1"/>
                          </a:solidFill>
                          <a:latin typeface="+mn-lt"/>
                        </a:rPr>
                        <a:t>Communicate financial concepts understandably</a:t>
                      </a:r>
                    </a:p>
                    <a:p>
                      <a:pPr marL="171450" indent="-171450">
                        <a:spcAft>
                          <a:spcPts val="600"/>
                        </a:spcAft>
                        <a:buFont typeface="Arial" panose="020B0604020202020204" pitchFamily="34" charset="0"/>
                        <a:buChar char="•"/>
                      </a:pPr>
                      <a:r>
                        <a:rPr lang="en-US" sz="1200" b="0">
                          <a:solidFill>
                            <a:schemeClr val="bg1"/>
                          </a:solidFill>
                          <a:latin typeface="+mn-lt"/>
                        </a:rPr>
                        <a:t>Assess a complex client's preference and needs</a:t>
                      </a:r>
                    </a:p>
                    <a:p>
                      <a:pPr marL="171450" indent="-171450">
                        <a:spcAft>
                          <a:spcPts val="600"/>
                        </a:spcAft>
                        <a:buFont typeface="Arial" panose="020B0604020202020204" pitchFamily="34" charset="0"/>
                        <a:buChar char="•"/>
                      </a:pPr>
                      <a:r>
                        <a:rPr lang="en-US" sz="1200" b="0">
                          <a:solidFill>
                            <a:schemeClr val="bg1"/>
                          </a:solidFill>
                          <a:latin typeface="+mn-lt"/>
                        </a:rPr>
                        <a:t>Manage clients' expectations during downturns</a:t>
                      </a:r>
                    </a:p>
                    <a:p>
                      <a:pPr marL="171450" indent="-171450">
                        <a:spcAft>
                          <a:spcPts val="600"/>
                        </a:spcAft>
                        <a:buFont typeface="Arial" panose="020B0604020202020204" pitchFamily="34" charset="0"/>
                        <a:buChar char="•"/>
                      </a:pPr>
                      <a:r>
                        <a:rPr lang="en-US" sz="1200" b="0">
                          <a:solidFill>
                            <a:schemeClr val="bg1"/>
                          </a:solidFill>
                          <a:latin typeface="+mn-lt"/>
                        </a:rPr>
                        <a:t>Navigate complex regulatory landscape</a:t>
                      </a:r>
                    </a:p>
                  </a:txBody>
                  <a:tcPr marL="137160" marR="13716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9" rtl="0" eaLnBrk="1" fontAlgn="auto" latinLnBrk="0" hangingPunct="1">
                        <a:lnSpc>
                          <a:spcPct val="100000"/>
                        </a:lnSpc>
                        <a:spcBef>
                          <a:spcPts val="0"/>
                        </a:spcBef>
                        <a:spcAft>
                          <a:spcPts val="600"/>
                        </a:spcAft>
                        <a:buClrTx/>
                        <a:buSzTx/>
                        <a:buFontTx/>
                        <a:buNone/>
                        <a:tabLst/>
                        <a:defRPr/>
                      </a:pPr>
                      <a:r>
                        <a:rPr lang="en-US" sz="1200" b="1">
                          <a:solidFill>
                            <a:schemeClr val="accent5"/>
                          </a:solidFill>
                          <a:latin typeface="+mn-lt"/>
                          <a:ea typeface="Noto Sans"/>
                        </a:rPr>
                        <a:t>Gains from Financial Displays</a:t>
                      </a:r>
                    </a:p>
                    <a:p>
                      <a:pPr marL="171450" marR="0" lvl="0" indent="-171450" algn="l" defTabSz="45678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a:solidFill>
                            <a:schemeClr val="bg1"/>
                          </a:solidFill>
                          <a:latin typeface="+mn-lt"/>
                          <a:ea typeface="Noto Sans"/>
                        </a:rPr>
                        <a:t>Monitoring of global markets</a:t>
                      </a:r>
                    </a:p>
                    <a:p>
                      <a:pPr marL="171450" marR="0" lvl="0" indent="-171450" algn="l" defTabSz="45678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a:solidFill>
                            <a:schemeClr val="bg1"/>
                          </a:solidFill>
                          <a:latin typeface="+mn-lt"/>
                          <a:ea typeface="Noto Sans"/>
                        </a:rPr>
                        <a:t>Portfolio management</a:t>
                      </a:r>
                    </a:p>
                    <a:p>
                      <a:pPr marL="171450" marR="0" lvl="0" indent="-171450" algn="l" defTabSz="45678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a:solidFill>
                            <a:schemeClr val="bg1"/>
                          </a:solidFill>
                          <a:latin typeface="+mn-lt"/>
                          <a:ea typeface="Noto Sans"/>
                        </a:rPr>
                        <a:t>Identify tax and regulatory restrictions</a:t>
                      </a:r>
                    </a:p>
                    <a:p>
                      <a:pPr marL="171450" marR="0" lvl="0" indent="-171450" algn="l" defTabSz="45678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a:solidFill>
                            <a:schemeClr val="bg1"/>
                          </a:solidFill>
                          <a:latin typeface="+mn-lt"/>
                          <a:ea typeface="Noto Sans"/>
                        </a:rPr>
                        <a:t>Client reporting and presentations</a:t>
                      </a:r>
                    </a:p>
                    <a:p>
                      <a:pPr marL="171450" marR="0" lvl="0" indent="-171450" algn="l" defTabSz="456789"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b="0">
                        <a:solidFill>
                          <a:schemeClr val="bg1"/>
                        </a:solidFill>
                        <a:latin typeface="+mn-lt"/>
                        <a:ea typeface="Noto Sans"/>
                      </a:endParaRPr>
                    </a:p>
                  </a:txBody>
                  <a:tcPr marL="137160" marR="137160" marT="137160" marB="1371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4198516"/>
                  </a:ext>
                </a:extLst>
              </a:tr>
            </a:tbl>
          </a:graphicData>
        </a:graphic>
      </p:graphicFrame>
      <p:pic>
        <p:nvPicPr>
          <p:cNvPr id="10" name="Picture 9" descr="Portrait of businessman">
            <a:extLst>
              <a:ext uri="{FF2B5EF4-FFF2-40B4-BE49-F238E27FC236}">
                <a16:creationId xmlns:a16="http://schemas.microsoft.com/office/drawing/2014/main" id="{3C447FEC-73A4-5B59-05D2-AEBA6E263D6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285" r="4017" b="134"/>
          <a:stretch/>
        </p:blipFill>
        <p:spPr>
          <a:xfrm>
            <a:off x="0" y="0"/>
            <a:ext cx="3403317" cy="6858000"/>
          </a:xfrm>
          <a:prstGeom prst="rect">
            <a:avLst/>
          </a:prstGeom>
          <a:effectLst>
            <a:innerShdw blurRad="63500" dist="50800" dir="2700000">
              <a:prstClr val="black">
                <a:alpha val="50000"/>
              </a:prstClr>
            </a:innerShdw>
          </a:effectLst>
        </p:spPr>
      </p:pic>
    </p:spTree>
    <p:extLst>
      <p:ext uri="{BB962C8B-B14F-4D97-AF65-F5344CB8AC3E}">
        <p14:creationId xmlns:p14="http://schemas.microsoft.com/office/powerpoint/2010/main" val="128576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2EDDA2A2-3785-B802-DAEF-2AF4017E98E3}"/>
              </a:ext>
            </a:extLst>
          </p:cNvPr>
          <p:cNvSpPr txBox="1">
            <a:spLocks/>
          </p:cNvSpPr>
          <p:nvPr/>
        </p:nvSpPr>
        <p:spPr>
          <a:xfrm>
            <a:off x="354473" y="6470631"/>
            <a:ext cx="622965" cy="191821"/>
          </a:xfrm>
          <a:prstGeom prst="rect">
            <a:avLst/>
          </a:prstGeom>
        </p:spPr>
        <p:txBody>
          <a:bodyPr vert="horz" lIns="0" tIns="0" rIns="0" bIns="0" rtlCol="0">
            <a:norm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defTabSz="1218072">
              <a:defRPr/>
            </a:pPr>
            <a:fld id="{6F42FDE4-A7DD-41A7-A0A6-9B649FB43336}" type="slidenum">
              <a:rPr lang="de-CH" sz="932">
                <a:solidFill>
                  <a:srgbClr val="FFFFFF"/>
                </a:solidFill>
                <a:latin typeface="Noto Sans Light" panose="020B0402040504020204" pitchFamily="34" charset="0"/>
                <a:ea typeface="Noto Sans Light" panose="020B0402040504020204" pitchFamily="34" charset="0"/>
                <a:cs typeface="Noto Sans Light" panose="020B0402040504020204" pitchFamily="34" charset="0"/>
              </a:rPr>
              <a:pPr defTabSz="1218072">
                <a:defRPr/>
              </a:pPr>
              <a:t>14</a:t>
            </a:fld>
            <a:endParaRPr lang="de-CH" sz="1599">
              <a:solidFill>
                <a:srgbClr val="FFFFFF"/>
              </a:solidFill>
              <a:latin typeface="Noto Sans Light" panose="020B0402040504020204" pitchFamily="34" charset="0"/>
              <a:ea typeface="Noto Sans Light" panose="020B0402040504020204" pitchFamily="34" charset="0"/>
              <a:cs typeface="Noto Sans Light" panose="020B0402040504020204" pitchFamily="34" charset="0"/>
            </a:endParaRPr>
          </a:p>
        </p:txBody>
      </p:sp>
      <p:sp>
        <p:nvSpPr>
          <p:cNvPr id="6" name="Title 1">
            <a:extLst>
              <a:ext uri="{FF2B5EF4-FFF2-40B4-BE49-F238E27FC236}">
                <a16:creationId xmlns:a16="http://schemas.microsoft.com/office/drawing/2014/main" id="{4AC1E707-6F22-54BF-50E7-48CDEA15E141}"/>
              </a:ext>
            </a:extLst>
          </p:cNvPr>
          <p:cNvSpPr txBox="1">
            <a:spLocks/>
          </p:cNvSpPr>
          <p:nvPr/>
        </p:nvSpPr>
        <p:spPr>
          <a:xfrm>
            <a:off x="3810000" y="353580"/>
            <a:ext cx="7962899" cy="911801"/>
          </a:xfrm>
          <a:prstGeom prst="rect">
            <a:avLst/>
          </a:prstGeom>
        </p:spPr>
        <p:txBody>
          <a:bodyPr vert="horz" lIns="137160" tIns="0" rIns="91440" bIns="0" rtlCol="0" anchor="t" anchorCtr="0">
            <a:noAutofit/>
          </a:bodyPr>
          <a:lstStyle>
            <a:lvl1pPr algn="l" defTabSz="608489" rtl="0" eaLnBrk="1" latinLnBrk="0" hangingPunct="1">
              <a:spcBef>
                <a:spcPct val="0"/>
              </a:spcBef>
              <a:buNone/>
              <a:defRPr lang="de-CH" sz="2928" kern="1200" spc="-27" baseline="0" dirty="0" smtClean="0">
                <a:solidFill>
                  <a:schemeClr val="accent5"/>
                </a:solidFill>
                <a:latin typeface="Noto Sans" panose="020B0502040504020204" pitchFamily="34"/>
                <a:ea typeface="Noto Sans" panose="020B0502040504020204" pitchFamily="34"/>
                <a:cs typeface="Noto Sans" panose="020B0502040504020204" pitchFamily="34"/>
              </a:defRPr>
            </a:lvl1pPr>
          </a:lstStyle>
          <a:p>
            <a:pPr defTabSz="810568">
              <a:defRPr/>
            </a:pPr>
            <a:r>
              <a:rPr lang="en-US" sz="2400" b="1" spc="0">
                <a:solidFill>
                  <a:schemeClr val="bg1"/>
                </a:solidFill>
                <a:latin typeface="Noto Serif" panose="020B0502040504020204" pitchFamily="34" charset="0"/>
                <a:ea typeface="Noto Sans Blk" panose="020B0502040504020204" pitchFamily="34" charset="0"/>
                <a:cs typeface="Noto Sans Blk" panose="020B0502040504020204" pitchFamily="34" charset="0"/>
              </a:rPr>
              <a:t>Wilson</a:t>
            </a:r>
          </a:p>
          <a:p>
            <a:pPr defTabSz="810568">
              <a:defRPr/>
            </a:pPr>
            <a:r>
              <a:rPr lang="en-US" sz="2400" spc="0">
                <a:solidFill>
                  <a:schemeClr val="bg1"/>
                </a:solidFill>
                <a:latin typeface="Noto Sans" panose="020B0502040504020204" pitchFamily="34" charset="0"/>
                <a:ea typeface="Noto Sans Blk" panose="020B0502040504020204" pitchFamily="34" charset="0"/>
                <a:cs typeface="Noto Sans Blk" panose="020B0502040504020204" pitchFamily="34" charset="0"/>
              </a:rPr>
              <a:t>Wealth Manager – Use Cases</a:t>
            </a:r>
          </a:p>
        </p:txBody>
      </p:sp>
      <p:pic>
        <p:nvPicPr>
          <p:cNvPr id="10" name="Picture 9" descr="Portrait of businessman">
            <a:extLst>
              <a:ext uri="{FF2B5EF4-FFF2-40B4-BE49-F238E27FC236}">
                <a16:creationId xmlns:a16="http://schemas.microsoft.com/office/drawing/2014/main" id="{3C447FEC-73A4-5B59-05D2-AEBA6E263D6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285" r="4017" b="134"/>
          <a:stretch/>
        </p:blipFill>
        <p:spPr>
          <a:xfrm>
            <a:off x="0" y="0"/>
            <a:ext cx="3403317" cy="6858000"/>
          </a:xfrm>
          <a:prstGeom prst="rect">
            <a:avLst/>
          </a:prstGeom>
          <a:effectLst>
            <a:innerShdw blurRad="63500" dist="50800" dir="2700000">
              <a:prstClr val="black">
                <a:alpha val="50000"/>
              </a:prstClr>
            </a:innerShdw>
          </a:effectLst>
        </p:spPr>
      </p:pic>
      <p:sp>
        <p:nvSpPr>
          <p:cNvPr id="5" name="TextBox 4">
            <a:extLst>
              <a:ext uri="{FF2B5EF4-FFF2-40B4-BE49-F238E27FC236}">
                <a16:creationId xmlns:a16="http://schemas.microsoft.com/office/drawing/2014/main" id="{CA71C19B-9EF5-564F-A28F-2612D657BEDC}"/>
              </a:ext>
            </a:extLst>
          </p:cNvPr>
          <p:cNvSpPr txBox="1"/>
          <p:nvPr/>
        </p:nvSpPr>
        <p:spPr>
          <a:xfrm>
            <a:off x="3857185" y="1674280"/>
            <a:ext cx="3840480" cy="4478149"/>
          </a:xfrm>
          <a:prstGeom prst="rect">
            <a:avLst/>
          </a:prstGeom>
          <a:noFill/>
        </p:spPr>
        <p:txBody>
          <a:bodyPr wrap="square" rtlCol="0">
            <a:spAutoFit/>
          </a:bodyPr>
          <a:lstStyle/>
          <a:p>
            <a:pPr>
              <a:spcAft>
                <a:spcPts val="600"/>
              </a:spcAft>
              <a:buClrTx/>
              <a:buFontTx/>
              <a:buNone/>
            </a:pPr>
            <a:r>
              <a:rPr lang="en-US" sz="1200" b="1" kern="1200">
                <a:solidFill>
                  <a:schemeClr val="accent1"/>
                </a:solidFill>
                <a:latin typeface="+mj-lt"/>
                <a:cs typeface="Arial" panose="020B0604020202020204" pitchFamily="34" charset="0"/>
              </a:rPr>
              <a:t>Functional Tasks</a:t>
            </a:r>
          </a:p>
          <a:p>
            <a:pPr>
              <a:spcAft>
                <a:spcPts val="600"/>
              </a:spcAft>
              <a:buClrTx/>
              <a:buFontTx/>
              <a:buNone/>
            </a:pPr>
            <a:r>
              <a:rPr lang="en-US" sz="1200" b="1" kern="1200">
                <a:solidFill>
                  <a:schemeClr val="accent5"/>
                </a:solidFill>
                <a:latin typeface="+mj-lt"/>
                <a:ea typeface="+mn-ea"/>
                <a:cs typeface="Arial" panose="020B0604020202020204" pitchFamily="34" charset="0"/>
              </a:rPr>
              <a:t>Wealth Management</a:t>
            </a:r>
          </a:p>
          <a:p>
            <a:pPr marL="171450" indent="-171450">
              <a:spcAft>
                <a:spcPts val="600"/>
              </a:spcAft>
              <a:buFont typeface="Arial" panose="020B0604020202020204" pitchFamily="34" charset="0"/>
              <a:buChar char="•"/>
            </a:pPr>
            <a:r>
              <a:rPr lang="en-US" sz="1200" b="1">
                <a:solidFill>
                  <a:schemeClr val="bg1"/>
                </a:solidFill>
                <a:latin typeface="+mj-lt"/>
              </a:rPr>
              <a:t>Assess financial goals &amp; risk tolerance</a:t>
            </a:r>
            <a:br>
              <a:rPr lang="en-US" sz="1200" b="1">
                <a:solidFill>
                  <a:schemeClr val="bg1"/>
                </a:solidFill>
                <a:latin typeface="+mj-lt"/>
              </a:rPr>
            </a:br>
            <a:r>
              <a:rPr lang="en-US" sz="1200">
                <a:solidFill>
                  <a:schemeClr val="bg1"/>
                </a:solidFill>
                <a:latin typeface="+mj-lt"/>
              </a:rPr>
              <a:t>Determine client needs based on income, preferences and financial objectives.</a:t>
            </a:r>
          </a:p>
          <a:p>
            <a:pPr marL="171450" indent="-171450">
              <a:spcAft>
                <a:spcPts val="600"/>
              </a:spcAft>
              <a:buFont typeface="Arial" panose="020B0604020202020204" pitchFamily="34" charset="0"/>
              <a:buChar char="•"/>
            </a:pPr>
            <a:r>
              <a:rPr lang="en-US" sz="1200" b="1">
                <a:solidFill>
                  <a:schemeClr val="bg1"/>
                </a:solidFill>
                <a:latin typeface="+mj-lt"/>
              </a:rPr>
              <a:t>Manage investment portfolio</a:t>
            </a:r>
            <a:br>
              <a:rPr lang="en-US" sz="1200" b="1">
                <a:solidFill>
                  <a:schemeClr val="bg1"/>
                </a:solidFill>
                <a:latin typeface="+mj-lt"/>
              </a:rPr>
            </a:br>
            <a:r>
              <a:rPr lang="en-US" sz="1200">
                <a:solidFill>
                  <a:schemeClr val="bg1"/>
                </a:solidFill>
                <a:latin typeface="+mj-lt"/>
              </a:rPr>
              <a:t>Use financial display to assess the financial market developments and adjust portfolio.</a:t>
            </a:r>
            <a:endParaRPr lang="en-US" sz="1200">
              <a:solidFill>
                <a:schemeClr val="bg1"/>
              </a:solidFill>
              <a:latin typeface="+mj-lt"/>
              <a:cs typeface="Arial" panose="020B0604020202020204" pitchFamily="34" charset="0"/>
            </a:endParaRPr>
          </a:p>
          <a:p>
            <a:pPr>
              <a:spcAft>
                <a:spcPts val="600"/>
              </a:spcAft>
              <a:buClrTx/>
            </a:pPr>
            <a:r>
              <a:rPr lang="en-US" sz="1200" b="1" kern="1200">
                <a:solidFill>
                  <a:schemeClr val="accent5"/>
                </a:solidFill>
                <a:latin typeface="+mj-lt"/>
                <a:ea typeface="+mn-ea"/>
                <a:cs typeface="Arial" panose="020B0604020202020204" pitchFamily="34" charset="0"/>
              </a:rPr>
              <a:t>Risk Management</a:t>
            </a:r>
          </a:p>
          <a:p>
            <a:pPr marL="171450" indent="-171450">
              <a:spcAft>
                <a:spcPts val="600"/>
              </a:spcAft>
              <a:buClrTx/>
              <a:buFont typeface="Arial" panose="020B0604020202020204" pitchFamily="34" charset="0"/>
              <a:buChar char="•"/>
            </a:pPr>
            <a:r>
              <a:rPr lang="en-US" sz="1200" b="1">
                <a:solidFill>
                  <a:schemeClr val="bg1"/>
                </a:solidFill>
                <a:latin typeface="+mj-lt"/>
              </a:rPr>
              <a:t>Mitigate financial risks</a:t>
            </a:r>
            <a:br>
              <a:rPr lang="en-US" sz="1200" b="1">
                <a:solidFill>
                  <a:schemeClr val="bg1"/>
                </a:solidFill>
                <a:latin typeface="+mj-lt"/>
              </a:rPr>
            </a:br>
            <a:r>
              <a:rPr lang="en-US" sz="1200">
                <a:solidFill>
                  <a:schemeClr val="bg1"/>
                </a:solidFill>
                <a:latin typeface="+mj-lt"/>
              </a:rPr>
              <a:t>Hedge against market downturns, inflation, or interest rate changes.</a:t>
            </a:r>
            <a:endParaRPr lang="en-US" sz="1200" b="1">
              <a:solidFill>
                <a:schemeClr val="bg1"/>
              </a:solidFill>
            </a:endParaRPr>
          </a:p>
          <a:p>
            <a:pPr>
              <a:spcAft>
                <a:spcPts val="600"/>
              </a:spcAft>
            </a:pPr>
            <a:r>
              <a:rPr lang="en-US" sz="1200" b="1">
                <a:solidFill>
                  <a:schemeClr val="accent5"/>
                </a:solidFill>
              </a:rPr>
              <a:t>Tax Optimization</a:t>
            </a:r>
          </a:p>
          <a:p>
            <a:pPr marL="171450" indent="-171450">
              <a:spcAft>
                <a:spcPts val="600"/>
              </a:spcAft>
              <a:buFont typeface="Arial" panose="020B0604020202020204" pitchFamily="34" charset="0"/>
              <a:buChar char="•"/>
            </a:pPr>
            <a:r>
              <a:rPr lang="en-US" sz="1200" b="1">
                <a:solidFill>
                  <a:schemeClr val="bg1"/>
                </a:solidFill>
              </a:rPr>
              <a:t>Reduce tax exposure</a:t>
            </a:r>
            <a:br>
              <a:rPr lang="en-US" sz="1200" b="1">
                <a:solidFill>
                  <a:schemeClr val="bg1"/>
                </a:solidFill>
              </a:rPr>
            </a:br>
            <a:r>
              <a:rPr lang="en-US" sz="1200">
                <a:solidFill>
                  <a:schemeClr val="bg1"/>
                </a:solidFill>
              </a:rPr>
              <a:t>Assess the complexity of the client’s possessions and utilize tax-efficient management strategies</a:t>
            </a:r>
          </a:p>
          <a:p>
            <a:pPr>
              <a:spcAft>
                <a:spcPts val="600"/>
              </a:spcAft>
            </a:pPr>
            <a:r>
              <a:rPr lang="en-US" sz="1200" b="1">
                <a:solidFill>
                  <a:schemeClr val="accent5"/>
                </a:solidFill>
              </a:rPr>
              <a:t>Long-Term Financial Planning</a:t>
            </a:r>
          </a:p>
          <a:p>
            <a:pPr marL="171450" indent="-171450">
              <a:spcAft>
                <a:spcPts val="600"/>
              </a:spcAft>
              <a:buClrTx/>
              <a:buFont typeface="Arial" panose="020B0604020202020204" pitchFamily="34" charset="0"/>
              <a:buChar char="•"/>
            </a:pPr>
            <a:r>
              <a:rPr lang="en-US" sz="1200" b="1">
                <a:solidFill>
                  <a:schemeClr val="bg1"/>
                </a:solidFill>
              </a:rPr>
              <a:t>Develop a long-term financial roadmap</a:t>
            </a:r>
            <a:br>
              <a:rPr lang="en-US" sz="1200" b="1">
                <a:solidFill>
                  <a:schemeClr val="bg1"/>
                </a:solidFill>
              </a:rPr>
            </a:br>
            <a:r>
              <a:rPr lang="en-US" sz="1200">
                <a:solidFill>
                  <a:schemeClr val="bg1"/>
                </a:solidFill>
              </a:rPr>
              <a:t>Plan for major life events such as retirement, wealth transfer or inheritance.</a:t>
            </a:r>
          </a:p>
        </p:txBody>
      </p:sp>
      <p:sp>
        <p:nvSpPr>
          <p:cNvPr id="9" name="TextBox 8">
            <a:extLst>
              <a:ext uri="{FF2B5EF4-FFF2-40B4-BE49-F238E27FC236}">
                <a16:creationId xmlns:a16="http://schemas.microsoft.com/office/drawing/2014/main" id="{EE6DA492-7777-993A-E3C6-6907DF15206A}"/>
              </a:ext>
            </a:extLst>
          </p:cNvPr>
          <p:cNvSpPr txBox="1"/>
          <p:nvPr/>
        </p:nvSpPr>
        <p:spPr>
          <a:xfrm>
            <a:off x="7827645" y="1682769"/>
            <a:ext cx="3840480" cy="4216539"/>
          </a:xfrm>
          <a:prstGeom prst="rect">
            <a:avLst/>
          </a:prstGeom>
          <a:noFill/>
        </p:spPr>
        <p:txBody>
          <a:bodyPr wrap="square" rtlCol="0">
            <a:spAutoFit/>
          </a:bodyPr>
          <a:lstStyle/>
          <a:p>
            <a:pPr>
              <a:spcAft>
                <a:spcPts val="600"/>
              </a:spcAft>
              <a:buClrTx/>
              <a:buFontTx/>
              <a:buNone/>
            </a:pPr>
            <a:r>
              <a:rPr lang="en-US" sz="1200" b="1">
                <a:solidFill>
                  <a:schemeClr val="accent1"/>
                </a:solidFill>
                <a:latin typeface="+mj-lt"/>
                <a:cs typeface="Arial" panose="020B0604020202020204" pitchFamily="34" charset="0"/>
              </a:rPr>
              <a:t>Relationship Tasks</a:t>
            </a:r>
            <a:endParaRPr lang="en-US" sz="1200" b="1" kern="1200">
              <a:solidFill>
                <a:schemeClr val="accent1"/>
              </a:solidFill>
              <a:latin typeface="+mj-lt"/>
              <a:ea typeface="+mn-ea"/>
              <a:cs typeface="Arial" panose="020B0604020202020204" pitchFamily="34" charset="0"/>
            </a:endParaRPr>
          </a:p>
          <a:p>
            <a:pPr>
              <a:spcAft>
                <a:spcPts val="600"/>
              </a:spcAft>
            </a:pPr>
            <a:r>
              <a:rPr lang="en-US" sz="1200" b="1">
                <a:solidFill>
                  <a:schemeClr val="accent5"/>
                </a:solidFill>
                <a:latin typeface="+mj-lt"/>
              </a:rPr>
              <a:t>Instill Trust and Confidence</a:t>
            </a:r>
          </a:p>
          <a:p>
            <a:pPr marL="171450" indent="-171450">
              <a:spcAft>
                <a:spcPts val="600"/>
              </a:spcAft>
              <a:buFont typeface="Arial" panose="020B0604020202020204" pitchFamily="34" charset="0"/>
              <a:buChar char="•"/>
            </a:pPr>
            <a:r>
              <a:rPr lang="en-US" sz="1200" b="1">
                <a:solidFill>
                  <a:schemeClr val="bg1"/>
                </a:solidFill>
                <a:latin typeface="+mj-lt"/>
              </a:rPr>
              <a:t>Be a trusted partner </a:t>
            </a:r>
            <a:br>
              <a:rPr lang="en-US" sz="1200" b="1">
                <a:solidFill>
                  <a:schemeClr val="bg1"/>
                </a:solidFill>
                <a:latin typeface="+mj-lt"/>
              </a:rPr>
            </a:br>
            <a:r>
              <a:rPr lang="en-US" sz="1200">
                <a:solidFill>
                  <a:schemeClr val="bg1"/>
                </a:solidFill>
                <a:latin typeface="+mj-lt"/>
              </a:rPr>
              <a:t>Build long-term relationships beyond just managing money.</a:t>
            </a:r>
          </a:p>
          <a:p>
            <a:pPr marL="171450" indent="-171450">
              <a:spcAft>
                <a:spcPts val="600"/>
              </a:spcAft>
              <a:buFont typeface="Arial" panose="020B0604020202020204" pitchFamily="34" charset="0"/>
              <a:buChar char="•"/>
            </a:pPr>
            <a:r>
              <a:rPr lang="en-US" sz="1200" b="1">
                <a:solidFill>
                  <a:schemeClr val="bg1"/>
                </a:solidFill>
                <a:latin typeface="+mj-lt"/>
              </a:rPr>
              <a:t>Reduce uncertainty </a:t>
            </a:r>
            <a:br>
              <a:rPr lang="en-US" sz="1200" b="1">
                <a:solidFill>
                  <a:schemeClr val="bg1"/>
                </a:solidFill>
                <a:latin typeface="+mj-lt"/>
              </a:rPr>
            </a:br>
            <a:r>
              <a:rPr lang="en-US" sz="1200">
                <a:solidFill>
                  <a:schemeClr val="bg1"/>
                </a:solidFill>
                <a:latin typeface="+mj-lt"/>
              </a:rPr>
              <a:t>Help clients navigate market volatility and economic downturns.</a:t>
            </a:r>
          </a:p>
          <a:p>
            <a:pPr marL="171450" indent="-171450">
              <a:spcAft>
                <a:spcPts val="600"/>
              </a:spcAft>
              <a:buFont typeface="Arial" panose="020B0604020202020204" pitchFamily="34" charset="0"/>
              <a:buChar char="•"/>
            </a:pPr>
            <a:r>
              <a:rPr lang="en-US" sz="1200" b="1">
                <a:solidFill>
                  <a:schemeClr val="bg1"/>
                </a:solidFill>
                <a:latin typeface="+mj-lt"/>
              </a:rPr>
              <a:t>Provide confidence in financial decisions</a:t>
            </a:r>
            <a:r>
              <a:rPr lang="en-US" sz="1200">
                <a:solidFill>
                  <a:schemeClr val="bg1"/>
                </a:solidFill>
                <a:latin typeface="+mj-lt"/>
              </a:rPr>
              <a:t> Communicate complex financial concepts and strategies in understandable terms.</a:t>
            </a:r>
            <a:endParaRPr lang="en-US" sz="1200">
              <a:solidFill>
                <a:schemeClr val="bg1"/>
              </a:solidFill>
              <a:latin typeface="+mj-lt"/>
              <a:cs typeface="Arial" panose="020B0604020202020204" pitchFamily="34" charset="0"/>
            </a:endParaRPr>
          </a:p>
          <a:p>
            <a:pPr>
              <a:spcAft>
                <a:spcPts val="600"/>
              </a:spcAft>
              <a:buClrTx/>
            </a:pPr>
            <a:r>
              <a:rPr lang="en-US" sz="1200" b="1">
                <a:solidFill>
                  <a:schemeClr val="accent5"/>
                </a:solidFill>
                <a:latin typeface="+mj-lt"/>
              </a:rPr>
              <a:t>Work in Alignment with the Client’s Values</a:t>
            </a:r>
          </a:p>
          <a:p>
            <a:pPr marL="171450" indent="-171450">
              <a:spcAft>
                <a:spcPts val="600"/>
              </a:spcAft>
              <a:buFont typeface="Arial" panose="020B0604020202020204" pitchFamily="34" charset="0"/>
              <a:buChar char="•"/>
            </a:pPr>
            <a:r>
              <a:rPr lang="en-US" sz="1200" b="1">
                <a:solidFill>
                  <a:schemeClr val="bg1"/>
                </a:solidFill>
                <a:latin typeface="+mj-lt"/>
              </a:rPr>
              <a:t>Assess Risk-Appetite</a:t>
            </a:r>
            <a:br>
              <a:rPr lang="en-US" sz="1200">
                <a:solidFill>
                  <a:schemeClr val="bg1"/>
                </a:solidFill>
                <a:latin typeface="+mj-lt"/>
              </a:rPr>
            </a:br>
            <a:r>
              <a:rPr lang="en-US" sz="1200">
                <a:solidFill>
                  <a:schemeClr val="bg1"/>
                </a:solidFill>
                <a:latin typeface="+mj-lt"/>
              </a:rPr>
              <a:t>Aligning financial goals with social good.</a:t>
            </a:r>
            <a:endParaRPr lang="en-US" sz="1200">
              <a:solidFill>
                <a:schemeClr val="bg1"/>
              </a:solidFill>
            </a:endParaRPr>
          </a:p>
          <a:p>
            <a:pPr marL="171450" indent="-171450">
              <a:spcAft>
                <a:spcPts val="600"/>
              </a:spcAft>
              <a:buClrTx/>
              <a:buFont typeface="Arial" panose="020B0604020202020204" pitchFamily="34" charset="0"/>
              <a:buChar char="•"/>
            </a:pPr>
            <a:r>
              <a:rPr lang="en-US" sz="1200" b="1">
                <a:solidFill>
                  <a:schemeClr val="bg1"/>
                </a:solidFill>
                <a:latin typeface="+mj-lt"/>
              </a:rPr>
              <a:t>Discretion </a:t>
            </a:r>
            <a:br>
              <a:rPr lang="en-US" sz="1200">
                <a:solidFill>
                  <a:schemeClr val="bg1"/>
                </a:solidFill>
                <a:latin typeface="+mj-lt"/>
              </a:rPr>
            </a:br>
            <a:r>
              <a:rPr lang="en-US" sz="1200">
                <a:solidFill>
                  <a:schemeClr val="bg1"/>
                </a:solidFill>
                <a:latin typeface="+mj-lt"/>
              </a:rPr>
              <a:t>Clients want their wealth handled with discretion and professionalism.</a:t>
            </a:r>
          </a:p>
          <a:p>
            <a:pPr marL="171450" indent="-171450">
              <a:spcAft>
                <a:spcPts val="600"/>
              </a:spcAft>
              <a:buClrTx/>
              <a:buFont typeface="Arial" panose="020B0604020202020204" pitchFamily="34" charset="0"/>
              <a:buChar char="•"/>
            </a:pPr>
            <a:r>
              <a:rPr lang="en-US" sz="1200" b="1">
                <a:solidFill>
                  <a:schemeClr val="bg1"/>
                </a:solidFill>
                <a:latin typeface="+mj-lt"/>
              </a:rPr>
              <a:t>Support Causes</a:t>
            </a:r>
            <a:br>
              <a:rPr lang="en-US" sz="1200">
                <a:solidFill>
                  <a:schemeClr val="bg1"/>
                </a:solidFill>
                <a:latin typeface="+mj-lt"/>
              </a:rPr>
            </a:br>
            <a:r>
              <a:rPr lang="en-US" sz="1200">
                <a:solidFill>
                  <a:schemeClr val="bg1"/>
                </a:solidFill>
                <a:latin typeface="+mj-lt"/>
              </a:rPr>
              <a:t>Aligning financial goals with social good.</a:t>
            </a:r>
            <a:endParaRPr lang="en-US" sz="1200">
              <a:solidFill>
                <a:schemeClr val="bg1"/>
              </a:solidFill>
            </a:endParaRPr>
          </a:p>
        </p:txBody>
      </p:sp>
    </p:spTree>
    <p:extLst>
      <p:ext uri="{BB962C8B-B14F-4D97-AF65-F5344CB8AC3E}">
        <p14:creationId xmlns:p14="http://schemas.microsoft.com/office/powerpoint/2010/main" val="55129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148BD1A-6B91-232E-7BE2-E1040E435D79}"/>
              </a:ext>
            </a:extLst>
          </p:cNvPr>
          <p:cNvGraphicFramePr>
            <a:graphicFrameLocks/>
          </p:cNvGraphicFramePr>
          <p:nvPr>
            <p:extLst>
              <p:ext uri="{D42A27DB-BD31-4B8C-83A1-F6EECF244321}">
                <p14:modId xmlns:p14="http://schemas.microsoft.com/office/powerpoint/2010/main" val="2835538830"/>
              </p:ext>
            </p:extLst>
          </p:nvPr>
        </p:nvGraphicFramePr>
        <p:xfrm>
          <a:off x="425450" y="1054100"/>
          <a:ext cx="11347450" cy="5118101"/>
        </p:xfrm>
        <a:graphic>
          <a:graphicData uri="http://schemas.openxmlformats.org/drawingml/2006/table">
            <a:tbl>
              <a:tblPr>
                <a:tableStyleId>{616DA210-FB5B-4158-B5E0-FEB733F419BA}</a:tableStyleId>
              </a:tblPr>
              <a:tblGrid>
                <a:gridCol w="441389">
                  <a:extLst>
                    <a:ext uri="{9D8B030D-6E8A-4147-A177-3AD203B41FA5}">
                      <a16:colId xmlns:a16="http://schemas.microsoft.com/office/drawing/2014/main" val="3878681801"/>
                    </a:ext>
                  </a:extLst>
                </a:gridCol>
                <a:gridCol w="1549875">
                  <a:extLst>
                    <a:ext uri="{9D8B030D-6E8A-4147-A177-3AD203B41FA5}">
                      <a16:colId xmlns:a16="http://schemas.microsoft.com/office/drawing/2014/main" val="3984837015"/>
                    </a:ext>
                  </a:extLst>
                </a:gridCol>
                <a:gridCol w="1549875">
                  <a:extLst>
                    <a:ext uri="{9D8B030D-6E8A-4147-A177-3AD203B41FA5}">
                      <a16:colId xmlns:a16="http://schemas.microsoft.com/office/drawing/2014/main" val="37657870"/>
                    </a:ext>
                  </a:extLst>
                </a:gridCol>
                <a:gridCol w="1549875">
                  <a:extLst>
                    <a:ext uri="{9D8B030D-6E8A-4147-A177-3AD203B41FA5}">
                      <a16:colId xmlns:a16="http://schemas.microsoft.com/office/drawing/2014/main" val="1115792023"/>
                    </a:ext>
                  </a:extLst>
                </a:gridCol>
                <a:gridCol w="1549875">
                  <a:extLst>
                    <a:ext uri="{9D8B030D-6E8A-4147-A177-3AD203B41FA5}">
                      <a16:colId xmlns:a16="http://schemas.microsoft.com/office/drawing/2014/main" val="4086333829"/>
                    </a:ext>
                  </a:extLst>
                </a:gridCol>
                <a:gridCol w="1492939">
                  <a:extLst>
                    <a:ext uri="{9D8B030D-6E8A-4147-A177-3AD203B41FA5}">
                      <a16:colId xmlns:a16="http://schemas.microsoft.com/office/drawing/2014/main" val="3584851586"/>
                    </a:ext>
                  </a:extLst>
                </a:gridCol>
                <a:gridCol w="1606811">
                  <a:extLst>
                    <a:ext uri="{9D8B030D-6E8A-4147-A177-3AD203B41FA5}">
                      <a16:colId xmlns:a16="http://schemas.microsoft.com/office/drawing/2014/main" val="1783622741"/>
                    </a:ext>
                  </a:extLst>
                </a:gridCol>
                <a:gridCol w="1606811">
                  <a:extLst>
                    <a:ext uri="{9D8B030D-6E8A-4147-A177-3AD203B41FA5}">
                      <a16:colId xmlns:a16="http://schemas.microsoft.com/office/drawing/2014/main" val="1302393573"/>
                    </a:ext>
                  </a:extLst>
                </a:gridCol>
              </a:tblGrid>
              <a:tr h="423360">
                <a:tc>
                  <a:txBody>
                    <a:bodyPr/>
                    <a:lstStyle/>
                    <a:p>
                      <a:pPr algn="ctr" fontAlgn="ctr"/>
                      <a:endParaRPr lang="en-US" sz="600" b="1" i="0" u="none" strike="noStrike">
                        <a:solidFill>
                          <a:schemeClr val="accent4"/>
                        </a:solidFill>
                        <a:effectLst/>
                        <a:latin typeface="+mn-lt"/>
                      </a:endParaRP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fontAlgn="ctr"/>
                      <a:r>
                        <a:rPr lang="en-US" sz="800" b="1" u="none" strike="noStrike">
                          <a:solidFill>
                            <a:schemeClr val="accent4"/>
                          </a:solidFill>
                          <a:effectLst/>
                          <a:latin typeface="+mn-lt"/>
                        </a:rPr>
                        <a:t>Client Engagement</a:t>
                      </a:r>
                    </a:p>
                  </a:txBody>
                  <a:tcPr marL="4813" marR="4813" marT="4813"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a:p>
                  </a:txBody>
                  <a:tcPr marL="89204" marR="89204"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2">
                  <a:txBody>
                    <a:bodyPr/>
                    <a:lstStyle/>
                    <a:p>
                      <a:pPr algn="ctr" fontAlgn="ctr"/>
                      <a:r>
                        <a:rPr lang="en-US" sz="800" b="1">
                          <a:solidFill>
                            <a:schemeClr val="accent4"/>
                          </a:solidFill>
                        </a:rPr>
                        <a:t>Investment Strategy Definition</a:t>
                      </a:r>
                      <a:endParaRPr lang="en-US" sz="600" b="1" i="0" u="none" strike="noStrike">
                        <a:solidFill>
                          <a:schemeClr val="accent4"/>
                        </a:solidFill>
                        <a:effectLst/>
                        <a:latin typeface="+mn-lt"/>
                      </a:endParaRPr>
                    </a:p>
                  </a:txBody>
                  <a:tcPr marL="4813" marR="4813" marT="4813"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a:p>
                  </a:txBody>
                  <a:tcPr marL="89204" marR="89204"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3">
                  <a:txBody>
                    <a:bodyPr/>
                    <a:lstStyle/>
                    <a:p>
                      <a:pPr algn="ctr" fontAlgn="ctr"/>
                      <a:r>
                        <a:rPr lang="en-US" sz="800" b="1" i="0" u="none" strike="noStrike">
                          <a:solidFill>
                            <a:schemeClr val="accent4"/>
                          </a:solidFill>
                          <a:effectLst/>
                          <a:latin typeface="+mn-lt"/>
                        </a:rPr>
                        <a:t>Wealth Management</a:t>
                      </a:r>
                    </a:p>
                  </a:txBody>
                  <a:tcPr marL="4813" marR="4813" marT="4813"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a:p>
                  </a:txBody>
                  <a:tcPr marL="4813" marR="4813" marT="4813"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ctr"/>
                      <a:endParaRPr lang="en-US" sz="600" b="1" i="0" u="none" strike="noStrike">
                        <a:solidFill>
                          <a:schemeClr val="accent6">
                            <a:lumMod val="50000"/>
                          </a:schemeClr>
                        </a:solidFill>
                        <a:effectLst/>
                        <a:latin typeface="+mn-lt"/>
                      </a:endParaRPr>
                    </a:p>
                  </a:txBody>
                  <a:tcPr marL="4813" marR="4813" marT="4813"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839480954"/>
                  </a:ext>
                </a:extLst>
              </a:tr>
              <a:tr h="1079112">
                <a:tc>
                  <a:txBody>
                    <a:bodyPr/>
                    <a:lstStyle/>
                    <a:p>
                      <a:pPr algn="r" fontAlgn="ctr"/>
                      <a:r>
                        <a:rPr lang="en-US" sz="800" b="1" u="none" strike="noStrike">
                          <a:solidFill>
                            <a:schemeClr val="accent4"/>
                          </a:solidFill>
                          <a:effectLst/>
                          <a:latin typeface="+mn-lt"/>
                        </a:rPr>
                        <a:t>Action</a:t>
                      </a:r>
                      <a:endParaRPr lang="en-US" sz="800" b="1" i="0" u="none" strike="noStrike">
                        <a:solidFill>
                          <a:schemeClr val="accent4"/>
                        </a:solidFill>
                        <a:effectLst/>
                        <a:latin typeface="+mn-lt"/>
                      </a:endParaRPr>
                    </a:p>
                  </a:txBody>
                  <a:tcPr marL="44602" marR="44602"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ctr">
                        <a:lnSpc>
                          <a:spcPct val="100000"/>
                        </a:lnSpc>
                        <a:spcBef>
                          <a:spcPts val="0"/>
                        </a:spcBef>
                        <a:spcAft>
                          <a:spcPts val="600"/>
                        </a:spcAft>
                        <a:buFont typeface="Arial" panose="020B0604020202020204" pitchFamily="34" charset="0"/>
                        <a:buNone/>
                      </a:pPr>
                      <a:r>
                        <a:rPr lang="en-US" sz="600"/>
                        <a:t>In the initial engagement the Wealth Manager is focused on building a relationship with their client.</a:t>
                      </a:r>
                      <a:endParaRPr lang="en-GB" sz="600" b="0" kern="1200">
                        <a:solidFill>
                          <a:schemeClr val="accent4"/>
                        </a:solidFill>
                        <a:latin typeface="+mn-lt"/>
                        <a:ea typeface="+mn-ea"/>
                        <a:cs typeface="+mn-cs"/>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indent="0" algn="ctr" defTabSz="456789" rtl="0" eaLnBrk="1" latinLnBrk="0" hangingPunct="1">
                        <a:lnSpc>
                          <a:spcPct val="100000"/>
                        </a:lnSpc>
                        <a:spcBef>
                          <a:spcPts val="0"/>
                        </a:spcBef>
                        <a:spcAft>
                          <a:spcPts val="600"/>
                        </a:spcAft>
                        <a:buFont typeface="Arial" panose="020B0604020202020204" pitchFamily="34" charset="0"/>
                        <a:buNone/>
                      </a:pPr>
                      <a:r>
                        <a:rPr lang="en-US" sz="600"/>
                        <a:t>When assessing the financial situation, the Wealth Manager is gathering all the hard data about their client’s finances.</a:t>
                      </a:r>
                      <a:endParaRPr lang="en-US" sz="600" b="0" kern="1200" noProof="0">
                        <a:solidFill>
                          <a:schemeClr val="accent4"/>
                        </a:solidFill>
                        <a:latin typeface="+mn-lt"/>
                        <a:ea typeface="+mn-ea"/>
                        <a:cs typeface="+mn-cs"/>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456789"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600"/>
                        <a:t>The Wealth Manager then crafts a </a:t>
                      </a:r>
                      <a:r>
                        <a:rPr lang="en-US" sz="600" b="0"/>
                        <a:t>tailored wealth management strategy.</a:t>
                      </a:r>
                      <a:br>
                        <a:rPr lang="en-US" sz="600" b="0"/>
                      </a:br>
                      <a:endParaRPr lang="en-GB" sz="600" b="0" kern="1200">
                        <a:solidFill>
                          <a:schemeClr val="accent4"/>
                        </a:solidFill>
                        <a:latin typeface="+mn-lt"/>
                        <a:ea typeface="+mn-ea"/>
                        <a:cs typeface="+mn-cs"/>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indent="0" algn="ctr">
                        <a:lnSpc>
                          <a:spcPct val="100000"/>
                        </a:lnSpc>
                        <a:spcBef>
                          <a:spcPts val="0"/>
                        </a:spcBef>
                        <a:spcAft>
                          <a:spcPts val="600"/>
                        </a:spcAft>
                        <a:buFont typeface="Arial" panose="020B0604020202020204" pitchFamily="34" charset="0"/>
                        <a:buNone/>
                      </a:pPr>
                      <a:r>
                        <a:rPr lang="en-US" sz="600"/>
                        <a:t>Wit the investment strategy, the wealth manager is deciding how to allocate the assets across investments opportunities.</a:t>
                      </a:r>
                      <a:endParaRPr lang="en-US" sz="600" b="0" i="0" u="none" strike="noStrike">
                        <a:solidFill>
                          <a:schemeClr val="accent4"/>
                        </a:solidFill>
                        <a:effectLst/>
                        <a:latin typeface="+mn-lt"/>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indent="0" algn="ctr" fontAlgn="ctr">
                        <a:buFont typeface="Arial" panose="020B0604020202020204" pitchFamily="34" charset="0"/>
                        <a:buNone/>
                      </a:pPr>
                      <a:r>
                        <a:rPr lang="en-US" sz="600"/>
                        <a:t>The Wealth Manger executes on the strategies by opening investment accounts and allocating the assets.</a:t>
                      </a:r>
                      <a:endParaRPr lang="en-US" sz="600" b="0" i="0" u="none" strike="noStrike">
                        <a:solidFill>
                          <a:schemeClr val="accent4"/>
                        </a:solidFill>
                        <a:effectLst/>
                        <a:latin typeface="+mn-lt"/>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indent="0" algn="ctr" fontAlgn="ctr">
                        <a:buFont typeface="Arial" panose="020B0604020202020204" pitchFamily="34" charset="0"/>
                        <a:buNone/>
                      </a:pPr>
                      <a:r>
                        <a:rPr lang="en-US" sz="600"/>
                        <a:t>The Wealth Manager is </a:t>
                      </a:r>
                      <a:r>
                        <a:rPr lang="en-US" sz="600" b="0"/>
                        <a:t>monitoring performance and keeping the client informed.</a:t>
                      </a:r>
                      <a:endParaRPr lang="en-US" sz="600" b="0" i="0" u="none" strike="noStrike">
                        <a:solidFill>
                          <a:schemeClr val="accent4"/>
                        </a:solidFill>
                        <a:effectLst/>
                        <a:latin typeface="+mn-lt"/>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indent="0" algn="ctr" fontAlgn="ctr">
                        <a:buFont typeface="Arial" panose="020B0604020202020204" pitchFamily="34" charset="0"/>
                        <a:buNone/>
                      </a:pPr>
                      <a:r>
                        <a:rPr lang="en-US" sz="600" b="0"/>
                        <a:t>The wealth manager aims to foster and ongoing, positive relationship </a:t>
                      </a:r>
                      <a:r>
                        <a:rPr lang="en-US" sz="600"/>
                        <a:t>that can span decades, even generations.</a:t>
                      </a:r>
                      <a:endParaRPr lang="en-US" sz="400" b="0" i="0" u="none" strike="noStrike">
                        <a:solidFill>
                          <a:schemeClr val="accent4"/>
                        </a:solidFill>
                        <a:effectLst/>
                        <a:latin typeface="+mn-lt"/>
                      </a:endParaRPr>
                    </a:p>
                  </a:txBody>
                  <a:tcPr marL="44561" marR="44561" marT="44561" marB="44561" anchor="b">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00503662"/>
                  </a:ext>
                </a:extLst>
              </a:tr>
              <a:tr h="481368">
                <a:tc>
                  <a:txBody>
                    <a:bodyPr/>
                    <a:lstStyle/>
                    <a:p>
                      <a:pPr algn="r" fontAlgn="ctr"/>
                      <a:r>
                        <a:rPr lang="en-US" sz="800" b="1" u="none" strike="noStrike">
                          <a:solidFill>
                            <a:schemeClr val="accent4"/>
                          </a:solidFill>
                          <a:effectLst/>
                          <a:latin typeface="+mn-lt"/>
                        </a:rPr>
                        <a:t>Goal</a:t>
                      </a:r>
                      <a:endParaRPr lang="en-US" sz="800" b="1" i="0" u="none" strike="noStrike">
                        <a:solidFill>
                          <a:schemeClr val="accent4"/>
                        </a:solidFill>
                        <a:effectLst/>
                        <a:latin typeface="+mn-lt"/>
                      </a:endParaRPr>
                    </a:p>
                  </a:txBody>
                  <a:tcPr marL="44602" marR="44602"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600" b="1" u="none" strike="noStrike">
                          <a:solidFill>
                            <a:schemeClr val="accent4"/>
                          </a:solidFill>
                          <a:effectLst/>
                          <a:latin typeface="+mn-lt"/>
                        </a:rPr>
                        <a:t>Get to know the Client</a:t>
                      </a:r>
                      <a:endParaRPr lang="en-US" sz="600" b="1" i="0" u="none" strike="noStrike">
                        <a:solidFill>
                          <a:schemeClr val="accent4"/>
                        </a:solidFill>
                        <a:effectLst/>
                        <a:latin typeface="+mn-lt"/>
                      </a:endParaRP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u="none" strike="noStrike">
                          <a:solidFill>
                            <a:schemeClr val="accent4"/>
                          </a:solidFill>
                          <a:effectLst/>
                          <a:latin typeface="+mn-lt"/>
                        </a:rPr>
                        <a:t>Exhaustive Assessment of Finances</a:t>
                      </a:r>
                      <a:endParaRPr lang="en-US" sz="600" b="1" i="0" u="none" strike="noStrike">
                        <a:solidFill>
                          <a:schemeClr val="accent4"/>
                        </a:solidFill>
                        <a:effectLst/>
                        <a:latin typeface="+mn-lt"/>
                      </a:endParaRP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i="0" u="none" strike="noStrike">
                          <a:solidFill>
                            <a:schemeClr val="accent4"/>
                          </a:solidFill>
                          <a:effectLst/>
                          <a:latin typeface="+mn-lt"/>
                        </a:rPr>
                        <a:t>Create High-Level Strategy</a:t>
                      </a: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i="0" u="none" strike="noStrike">
                          <a:solidFill>
                            <a:schemeClr val="accent4"/>
                          </a:solidFill>
                          <a:effectLst/>
                          <a:latin typeface="+mn-lt"/>
                        </a:rPr>
                        <a:t>Invest in accordance with client’s Goals and Risk-Appetite</a:t>
                      </a: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i="0" u="none" strike="noStrike">
                          <a:solidFill>
                            <a:schemeClr val="accent4"/>
                          </a:solidFill>
                          <a:effectLst/>
                          <a:latin typeface="+mn-lt"/>
                        </a:rPr>
                        <a:t>Successful Implementation of the Investment Strategy</a:t>
                      </a: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i="0" u="none" strike="noStrike">
                          <a:solidFill>
                            <a:schemeClr val="accent4"/>
                          </a:solidFill>
                          <a:effectLst/>
                          <a:latin typeface="+mn-lt"/>
                        </a:rPr>
                        <a:t>Ensure the Plan is on Track</a:t>
                      </a: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fontAlgn="ctr"/>
                      <a:r>
                        <a:rPr lang="en-US" sz="600" b="1" i="0" u="none" strike="noStrike">
                          <a:solidFill>
                            <a:schemeClr val="accent4"/>
                          </a:solidFill>
                          <a:effectLst/>
                          <a:latin typeface="+mn-lt"/>
                        </a:rPr>
                        <a:t>Maintaining a good Relationship </a:t>
                      </a:r>
                      <a:br>
                        <a:rPr lang="en-US" sz="600" b="1" i="0" u="none" strike="noStrike">
                          <a:solidFill>
                            <a:schemeClr val="accent4"/>
                          </a:solidFill>
                          <a:effectLst/>
                          <a:latin typeface="+mn-lt"/>
                        </a:rPr>
                      </a:br>
                      <a:r>
                        <a:rPr lang="en-US" sz="600" b="1" i="0" u="none" strike="noStrike">
                          <a:solidFill>
                            <a:schemeClr val="accent4"/>
                          </a:solidFill>
                          <a:effectLst/>
                          <a:latin typeface="+mn-lt"/>
                        </a:rPr>
                        <a:t>with the Client</a:t>
                      </a:r>
                    </a:p>
                  </a:txBody>
                  <a:tcPr marL="44561" marR="44561" marT="44561" marB="4456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42112792"/>
                  </a:ext>
                </a:extLst>
              </a:tr>
              <a:tr h="1518080">
                <a:tc>
                  <a:txBody>
                    <a:bodyPr/>
                    <a:lstStyle/>
                    <a:p>
                      <a:pPr algn="r" fontAlgn="ctr"/>
                      <a:r>
                        <a:rPr lang="en-US" sz="800" b="1" i="0" u="none" strike="noStrike">
                          <a:solidFill>
                            <a:schemeClr val="accent4"/>
                          </a:solidFill>
                          <a:effectLst/>
                          <a:latin typeface="+mn-lt"/>
                        </a:rPr>
                        <a:t>Tasks</a:t>
                      </a:r>
                    </a:p>
                  </a:txBody>
                  <a:tcPr marL="44602" marR="44602"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Listen and Learn</a:t>
                      </a:r>
                      <a:br>
                        <a:rPr lang="en-US" sz="600" b="1"/>
                      </a:br>
                      <a:r>
                        <a:rPr lang="en-US" sz="600" b="0"/>
                        <a:t>U</a:t>
                      </a:r>
                      <a:r>
                        <a:rPr lang="en-US" sz="600"/>
                        <a:t>ncover the client’s financial goals, fears, aspirations, and priorities</a:t>
                      </a:r>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Build Trust</a:t>
                      </a:r>
                      <a:br>
                        <a:rPr lang="en-US" sz="600" b="1"/>
                      </a:br>
                      <a:r>
                        <a:rPr lang="en-US" sz="600"/>
                        <a:t>High-net-worth families have unique dynamics and concerns. Discuss with tact and empathy.</a:t>
                      </a:r>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Partnership, Not Products</a:t>
                      </a:r>
                      <a:br>
                        <a:rPr lang="en-US" sz="600" b="1"/>
                      </a:br>
                      <a:r>
                        <a:rPr lang="en-US" sz="600"/>
                        <a:t>Don’t provide pre-packaged solutions but engage in a collaborative discovery.</a:t>
                      </a:r>
                      <a:endParaRPr lang="en-US" sz="600" b="0" kern="1200" noProof="0">
                        <a:solidFill>
                          <a:schemeClr val="accent4"/>
                        </a:solidFill>
                        <a:latin typeface="+mn-lt"/>
                        <a:ea typeface="+mn-ea"/>
                        <a:cs typeface="+mn-cs"/>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Comprehensive Inventory</a:t>
                      </a:r>
                      <a:br>
                        <a:rPr lang="en-US" sz="600" b="1"/>
                      </a:br>
                      <a:r>
                        <a:rPr lang="en-US" sz="600"/>
                        <a:t>Gather relevant financial documents, such as current assets and investments, liabilities, retirement accounts, insurance coverage, and other asserts.</a:t>
                      </a:r>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Clarify Current Financial Position</a:t>
                      </a:r>
                      <a:r>
                        <a:rPr lang="en-US" sz="600"/>
                        <a:t> Create a net worth statement and cash flow analysis for the client. </a:t>
                      </a:r>
                      <a:endParaRPr lang="en-US" sz="600" b="0" kern="1200" noProof="0">
                        <a:solidFill>
                          <a:schemeClr val="accent4"/>
                        </a:solidFill>
                        <a:latin typeface="+mn-lt"/>
                        <a:ea typeface="+mn-ea"/>
                        <a:cs typeface="+mn-cs"/>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ctr">
                        <a:spcAft>
                          <a:spcPts val="600"/>
                        </a:spcAft>
                        <a:buFont typeface="Arial" panose="020B0604020202020204" pitchFamily="34" charset="0"/>
                        <a:buChar char="•"/>
                      </a:pPr>
                      <a:endParaRPr lang="en-US" sz="600" b="1"/>
                    </a:p>
                    <a:p>
                      <a:pPr marL="171450" indent="-171450" algn="l" fontAlgn="ctr">
                        <a:spcAft>
                          <a:spcPts val="600"/>
                        </a:spcAft>
                        <a:buFont typeface="Arial" panose="020B0604020202020204" pitchFamily="34" charset="0"/>
                        <a:buChar char="•"/>
                      </a:pPr>
                      <a:r>
                        <a:rPr lang="en-US" sz="600" b="1"/>
                        <a:t>Align with Goals and Risk Profile</a:t>
                      </a:r>
                      <a:br>
                        <a:rPr lang="en-US" sz="600" b="1"/>
                      </a:br>
                      <a:r>
                        <a:rPr lang="en-US" sz="600"/>
                        <a:t>Base the strategy on the specific goals and the client’s risk tolerance.</a:t>
                      </a:r>
                    </a:p>
                    <a:p>
                      <a:pPr marL="171450" indent="-171450">
                        <a:buFont typeface="Arial" panose="020B0604020202020204" pitchFamily="34" charset="0"/>
                        <a:buChar char="•"/>
                      </a:pPr>
                      <a:r>
                        <a:rPr lang="en-US" sz="600" b="1"/>
                        <a:t>Holistic and Customized Plan:</a:t>
                      </a:r>
                      <a:r>
                        <a:rPr lang="en-US" sz="600"/>
                        <a:t> Develop a </a:t>
                      </a:r>
                      <a:r>
                        <a:rPr lang="en-US" sz="600" b="0"/>
                        <a:t>comprehensive plan </a:t>
                      </a:r>
                      <a:r>
                        <a:rPr lang="en-US" sz="600"/>
                        <a:t>that covers asset allocation strategy </a:t>
                      </a:r>
                      <a:r>
                        <a:rPr lang="en-US" sz="600" i="1"/>
                        <a:t>and</a:t>
                      </a:r>
                      <a:r>
                        <a:rPr lang="en-US" sz="600"/>
                        <a:t> tax optimization or insurance.</a:t>
                      </a:r>
                    </a:p>
                    <a:p>
                      <a:pPr marL="171450" indent="-171450">
                        <a:buFont typeface="Arial" panose="020B0604020202020204" pitchFamily="34" charset="0"/>
                        <a:buChar char="•"/>
                      </a:pPr>
                      <a:endParaRPr lang="en-US" sz="600"/>
                    </a:p>
                    <a:p>
                      <a:pPr marL="171450" indent="-171450">
                        <a:buFont typeface="Arial" panose="020B0604020202020204" pitchFamily="34" charset="0"/>
                        <a:buChar char="•"/>
                      </a:pPr>
                      <a:r>
                        <a:rPr lang="en-US" sz="600" b="1"/>
                        <a:t>Collaborative Review </a:t>
                      </a:r>
                      <a:br>
                        <a:rPr lang="en-US" sz="600" b="1"/>
                      </a:br>
                      <a:r>
                        <a:rPr lang="en-US" sz="600" b="0"/>
                        <a:t>Review the </a:t>
                      </a:r>
                      <a:r>
                        <a:rPr lang="en-US" sz="600"/>
                        <a:t>strategy is prepared, review it in detail with the client.  </a:t>
                      </a:r>
                      <a:endParaRPr lang="en-US" sz="600" b="0" i="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Strategic Asset Allocation</a:t>
                      </a:r>
                      <a:br>
                        <a:rPr lang="en-US" sz="600" b="1"/>
                      </a:br>
                      <a:r>
                        <a:rPr lang="en-US" sz="600"/>
                        <a:t>Determine an optimal mix of asset classes that aligns with the client’s return objectives and risk tolerance.</a:t>
                      </a:r>
                    </a:p>
                    <a:p>
                      <a:pPr marL="171450" marR="0" lvl="0" indent="-171450" algn="l" defTabSz="339395" rtl="0" eaLnBrk="1" fontAlgn="ctr" latinLnBrk="0" hangingPunct="1">
                        <a:lnSpc>
                          <a:spcPct val="100000"/>
                        </a:lnSpc>
                        <a:spcBef>
                          <a:spcPts val="0"/>
                        </a:spcBef>
                        <a:spcAft>
                          <a:spcPts val="600"/>
                        </a:spcAft>
                        <a:buClrTx/>
                        <a:buSzTx/>
                        <a:buFont typeface="Arial" panose="020B0604020202020204" pitchFamily="34" charset="0"/>
                        <a:buChar char="•"/>
                        <a:tabLst/>
                        <a:defRPr/>
                      </a:pPr>
                      <a:r>
                        <a:rPr lang="en-US" sz="600" b="1"/>
                        <a:t>Diversification</a:t>
                      </a:r>
                      <a:r>
                        <a:rPr lang="en-US" sz="600"/>
                        <a:t> </a:t>
                      </a:r>
                      <a:br>
                        <a:rPr lang="en-US" sz="600"/>
                      </a:br>
                      <a:r>
                        <a:rPr lang="en-US" sz="600"/>
                        <a:t>Create a well-diversified portfolio to reduce market risks. </a:t>
                      </a:r>
                    </a:p>
                    <a:p>
                      <a:pPr marL="171450" indent="-171450" algn="l" fontAlgn="ctr">
                        <a:spcAft>
                          <a:spcPts val="600"/>
                        </a:spcAft>
                        <a:buFont typeface="Arial" panose="020B0604020202020204" pitchFamily="34" charset="0"/>
                        <a:buChar char="•"/>
                      </a:pPr>
                      <a:r>
                        <a:rPr lang="en-US" sz="600" b="1"/>
                        <a:t>Tax-Efficient Investments</a:t>
                      </a:r>
                      <a:br>
                        <a:rPr lang="en-US" sz="600" b="1"/>
                      </a:br>
                      <a:r>
                        <a:rPr lang="en-US" sz="600"/>
                        <a:t>Align the investment plan with tax strategy. </a:t>
                      </a: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ctr">
                        <a:spcAft>
                          <a:spcPts val="600"/>
                        </a:spcAft>
                        <a:buFont typeface="Arial" panose="020B0604020202020204" pitchFamily="34" charset="0"/>
                        <a:buChar char="•"/>
                      </a:pPr>
                      <a:endParaRPr lang="en-US" sz="600" b="1"/>
                    </a:p>
                    <a:p>
                      <a:pPr marL="171450" indent="-171450" algn="l" fontAlgn="ctr">
                        <a:spcAft>
                          <a:spcPts val="600"/>
                        </a:spcAft>
                        <a:buFont typeface="Arial" panose="020B0604020202020204" pitchFamily="34" charset="0"/>
                        <a:buChar char="•"/>
                      </a:pPr>
                      <a:r>
                        <a:rPr lang="en-US" sz="600" b="1"/>
                        <a:t>Coordinated Action</a:t>
                      </a:r>
                      <a:br>
                        <a:rPr lang="en-US" sz="600" b="1"/>
                      </a:br>
                      <a:r>
                        <a:rPr lang="en-US" sz="600"/>
                        <a:t>Create a detailed implementation checklist covering all aspects.</a:t>
                      </a:r>
                    </a:p>
                    <a:p>
                      <a:pPr marL="171450" indent="-171450" algn="l" fontAlgn="ctr">
                        <a:spcAft>
                          <a:spcPts val="600"/>
                        </a:spcAft>
                        <a:buFont typeface="Arial" panose="020B0604020202020204" pitchFamily="34" charset="0"/>
                        <a:buChar char="•"/>
                      </a:pPr>
                      <a:r>
                        <a:rPr lang="en-US" sz="600" b="1"/>
                        <a:t>Timely Execution</a:t>
                      </a:r>
                      <a:br>
                        <a:rPr lang="en-US" sz="600" b="1"/>
                      </a:br>
                      <a:r>
                        <a:rPr lang="en-US" sz="600"/>
                        <a:t>Prioritize actions by importance and dependencies. Some steps might be time-sensitive.</a:t>
                      </a:r>
                    </a:p>
                    <a:p>
                      <a:pPr marL="171450" indent="-171450" algn="l" fontAlgn="ctr">
                        <a:spcAft>
                          <a:spcPts val="600"/>
                        </a:spcAft>
                        <a:buFont typeface="Arial" panose="020B0604020202020204" pitchFamily="34" charset="0"/>
                        <a:buChar char="•"/>
                      </a:pPr>
                      <a:r>
                        <a:rPr lang="en-US" sz="600" b="1"/>
                        <a:t>Administrative Diligence</a:t>
                      </a:r>
                      <a:br>
                        <a:rPr lang="en-US" sz="600" b="1"/>
                      </a:br>
                      <a:r>
                        <a:rPr lang="en-US" sz="600"/>
                        <a:t>Given the volume of paperwork attention to detail is essential.</a:t>
                      </a:r>
                      <a:endParaRPr lang="en-US" sz="600" b="0" i="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ctr">
                        <a:spcAft>
                          <a:spcPts val="600"/>
                        </a:spcAft>
                        <a:buFont typeface="Arial" panose="020B0604020202020204" pitchFamily="34" charset="0"/>
                        <a:buChar char="•"/>
                      </a:pPr>
                      <a:endParaRPr lang="en-US" sz="600" b="1"/>
                    </a:p>
                    <a:p>
                      <a:pPr marL="171450" indent="-171450" algn="l" fontAlgn="ctr">
                        <a:spcAft>
                          <a:spcPts val="600"/>
                        </a:spcAft>
                        <a:buFont typeface="Arial" panose="020B0604020202020204" pitchFamily="34" charset="0"/>
                        <a:buChar char="•"/>
                      </a:pPr>
                      <a:r>
                        <a:rPr lang="en-US" sz="600" b="1"/>
                        <a:t>High-Quality Reporting</a:t>
                      </a:r>
                      <a:br>
                        <a:rPr lang="en-US" sz="600" b="1"/>
                      </a:br>
                      <a:r>
                        <a:rPr lang="en-US" sz="600"/>
                        <a:t>Provide the client with clear, comprehensive portfolio reports at agreed intervals.</a:t>
                      </a:r>
                    </a:p>
                    <a:p>
                      <a:pPr marL="171450" indent="-171450" algn="l" fontAlgn="ctr">
                        <a:spcAft>
                          <a:spcPts val="600"/>
                        </a:spcAft>
                        <a:buFont typeface="Arial" panose="020B0604020202020204" pitchFamily="34" charset="0"/>
                        <a:buChar char="•"/>
                      </a:pPr>
                      <a:r>
                        <a:rPr lang="en-US" sz="600" b="1"/>
                        <a:t>Proactive Adjustments</a:t>
                      </a:r>
                      <a:br>
                        <a:rPr lang="en-US" sz="600" b="1"/>
                      </a:br>
                      <a:r>
                        <a:rPr lang="en-US" sz="600"/>
                        <a:t>When the data indicates a need for change, act on it.</a:t>
                      </a:r>
                      <a:endParaRPr lang="en-US" sz="600" b="0" i="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ctr">
                        <a:spcAft>
                          <a:spcPts val="600"/>
                        </a:spcAft>
                        <a:buFont typeface="Arial" panose="020B0604020202020204" pitchFamily="34" charset="0"/>
                        <a:buChar char="•"/>
                      </a:pPr>
                      <a:endParaRPr lang="en-US" sz="600" b="1"/>
                    </a:p>
                    <a:p>
                      <a:pPr marL="171450" indent="-171450" algn="l" fontAlgn="ctr">
                        <a:spcAft>
                          <a:spcPts val="600"/>
                        </a:spcAft>
                        <a:buFont typeface="Arial" panose="020B0604020202020204" pitchFamily="34" charset="0"/>
                        <a:buChar char="•"/>
                      </a:pPr>
                      <a:r>
                        <a:rPr lang="en-US" sz="600" b="1"/>
                        <a:t>Regular Review Meetings</a:t>
                      </a:r>
                      <a:br>
                        <a:rPr lang="en-US" sz="600" b="1"/>
                      </a:br>
                      <a:r>
                        <a:rPr lang="en-US" sz="600" b="0"/>
                        <a:t>P</a:t>
                      </a:r>
                      <a:r>
                        <a:rPr lang="en-US" sz="600"/>
                        <a:t>eriodic reviews to discuss the financial plan and do changes based on the client’s circumstances.</a:t>
                      </a:r>
                    </a:p>
                    <a:p>
                      <a:pPr marL="171450" indent="-171450" algn="l" fontAlgn="ctr">
                        <a:spcAft>
                          <a:spcPts val="600"/>
                        </a:spcAft>
                        <a:buFont typeface="Arial" panose="020B0604020202020204" pitchFamily="34" charset="0"/>
                        <a:buChar char="•"/>
                      </a:pPr>
                      <a:r>
                        <a:rPr lang="en-US" sz="600" b="1"/>
                        <a:t>Continuous Communication</a:t>
                      </a:r>
                      <a:br>
                        <a:rPr lang="en-US" sz="600" b="1"/>
                      </a:br>
                      <a:r>
                        <a:rPr lang="en-US" sz="600"/>
                        <a:t>Always maintain availability for the client and be proactive to reach out.</a:t>
                      </a:r>
                    </a:p>
                    <a:p>
                      <a:pPr marL="171450" indent="-171450" algn="l" fontAlgn="ctr">
                        <a:spcAft>
                          <a:spcPts val="600"/>
                        </a:spcAft>
                        <a:buFont typeface="Arial" panose="020B0604020202020204" pitchFamily="34" charset="0"/>
                        <a:buChar char="•"/>
                      </a:pPr>
                      <a:r>
                        <a:rPr lang="en-US" sz="600" b="1"/>
                        <a:t>Adapt and Evolve with the Client:</a:t>
                      </a:r>
                      <a:r>
                        <a:rPr lang="en-US" sz="600"/>
                        <a:t> Treat the wealth plan as a living document, as over time, the client’s objectives may shift. </a:t>
                      </a:r>
                      <a:endParaRPr lang="en-US" sz="600" b="0" i="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54219169"/>
                  </a:ext>
                </a:extLst>
              </a:tr>
              <a:tr h="1616181">
                <a:tc>
                  <a:txBody>
                    <a:bodyPr/>
                    <a:lstStyle/>
                    <a:p>
                      <a:pPr algn="r" fontAlgn="ctr"/>
                      <a:endParaRPr lang="en-US" sz="800" b="1" u="none" strike="noStrike">
                        <a:solidFill>
                          <a:schemeClr val="accent4"/>
                        </a:solidFill>
                        <a:effectLst/>
                        <a:latin typeface="+mn-lt"/>
                      </a:endParaRPr>
                    </a:p>
                    <a:p>
                      <a:pPr algn="r" fontAlgn="ctr"/>
                      <a:r>
                        <a:rPr lang="en-US" sz="800" b="1" u="none" strike="noStrike">
                          <a:solidFill>
                            <a:schemeClr val="accent4"/>
                          </a:solidFill>
                          <a:effectLst/>
                          <a:latin typeface="+mn-lt"/>
                        </a:rPr>
                        <a:t>Pain-Points</a:t>
                      </a:r>
                      <a:endParaRPr lang="en-US" sz="800" b="1" i="0" u="none" strike="noStrike">
                        <a:solidFill>
                          <a:schemeClr val="accent4"/>
                        </a:solidFill>
                        <a:effectLst/>
                        <a:latin typeface="+mn-lt"/>
                      </a:endParaRPr>
                    </a:p>
                  </a:txBody>
                  <a:tcPr marL="44602" marR="44602" marT="44602" marB="44602"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171450" indent="-171450">
                        <a:lnSpc>
                          <a:spcPct val="100000"/>
                        </a:lnSpc>
                        <a:spcBef>
                          <a:spcPts val="0"/>
                        </a:spcBef>
                        <a:spcAft>
                          <a:spcPts val="600"/>
                        </a:spcAft>
                        <a:buFont typeface="Arial" panose="020B0604020202020204" pitchFamily="34" charset="0"/>
                        <a:buChar char="•"/>
                      </a:pPr>
                      <a:endParaRPr lang="en-US" sz="600" b="1"/>
                    </a:p>
                    <a:p>
                      <a:pPr marL="171450" indent="-171450">
                        <a:lnSpc>
                          <a:spcPct val="100000"/>
                        </a:lnSpc>
                        <a:spcBef>
                          <a:spcPts val="0"/>
                        </a:spcBef>
                        <a:spcAft>
                          <a:spcPts val="600"/>
                        </a:spcAft>
                        <a:buFont typeface="Arial" panose="020B0604020202020204" pitchFamily="34" charset="0"/>
                        <a:buChar char="•"/>
                      </a:pPr>
                      <a:r>
                        <a:rPr lang="en-US" sz="600" b="1"/>
                        <a:t>Establishing Rapport</a:t>
                      </a:r>
                      <a:br>
                        <a:rPr lang="en-US" sz="600" b="1"/>
                      </a:br>
                      <a:r>
                        <a:rPr lang="en-US" sz="600"/>
                        <a:t>Wealthy clients may be cautious. Overcoming skepticism takes time. </a:t>
                      </a:r>
                    </a:p>
                    <a:p>
                      <a:pPr marL="171450" indent="-171450">
                        <a:lnSpc>
                          <a:spcPct val="100000"/>
                        </a:lnSpc>
                        <a:spcBef>
                          <a:spcPts val="0"/>
                        </a:spcBef>
                        <a:spcAft>
                          <a:spcPts val="600"/>
                        </a:spcAft>
                        <a:buFont typeface="Arial" panose="020B0604020202020204" pitchFamily="34" charset="0"/>
                        <a:buChar char="•"/>
                      </a:pPr>
                      <a:r>
                        <a:rPr lang="en-US" sz="600" b="1"/>
                        <a:t>Uncovering Hidden Goals</a:t>
                      </a:r>
                      <a:br>
                        <a:rPr lang="en-US" sz="600" b="1"/>
                      </a:br>
                      <a:r>
                        <a:rPr lang="en-US" sz="600" b="0"/>
                        <a:t>Clients</a:t>
                      </a:r>
                      <a:r>
                        <a:rPr lang="en-US" sz="600" b="1"/>
                        <a:t> </a:t>
                      </a:r>
                      <a:r>
                        <a:rPr lang="en-US" sz="600"/>
                        <a:t>might not immediately disclose all their objectives. It can be difficult to draw out all information.</a:t>
                      </a:r>
                    </a:p>
                    <a:p>
                      <a:pPr marL="171450" indent="-171450">
                        <a:lnSpc>
                          <a:spcPct val="100000"/>
                        </a:lnSpc>
                        <a:spcBef>
                          <a:spcPts val="0"/>
                        </a:spcBef>
                        <a:spcAft>
                          <a:spcPts val="600"/>
                        </a:spcAft>
                        <a:buFont typeface="Arial" panose="020B0604020202020204" pitchFamily="34" charset="0"/>
                        <a:buChar char="•"/>
                      </a:pPr>
                      <a:r>
                        <a:rPr lang="en-US" sz="600" b="1"/>
                        <a:t>Family Dynamics</a:t>
                      </a:r>
                      <a:br>
                        <a:rPr lang="en-US" sz="600" b="1"/>
                      </a:br>
                      <a:r>
                        <a:rPr lang="en-US" sz="600"/>
                        <a:t>Complex family structures lead to different expectations. Aligning them can be challenging.</a:t>
                      </a:r>
                      <a:endParaRPr lang="en-US" sz="600" b="0" kern="1200" noProof="0">
                        <a:solidFill>
                          <a:schemeClr val="accent4"/>
                        </a:solidFill>
                        <a:latin typeface="+mn-lt"/>
                        <a:ea typeface="+mn-ea"/>
                        <a:cs typeface="+mn-cs"/>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spcAft>
                          <a:spcPts val="600"/>
                        </a:spcAft>
                        <a:buFont typeface="Arial" panose="020B0604020202020204" pitchFamily="34" charset="0"/>
                        <a:buChar char="•"/>
                      </a:pPr>
                      <a:endParaRPr lang="en-US" sz="600" b="1"/>
                    </a:p>
                    <a:p>
                      <a:pPr marL="171450" indent="-171450">
                        <a:spcAft>
                          <a:spcPts val="600"/>
                        </a:spcAft>
                        <a:buFont typeface="Arial" panose="020B0604020202020204" pitchFamily="34" charset="0"/>
                        <a:buChar char="•"/>
                      </a:pPr>
                      <a:r>
                        <a:rPr lang="en-US" sz="600" b="1"/>
                        <a:t>Complexity and Volume</a:t>
                      </a:r>
                      <a:br>
                        <a:rPr lang="en-US" sz="600" b="1"/>
                      </a:br>
                      <a:r>
                        <a:rPr lang="en-US" sz="600"/>
                        <a:t>HNW individuals tend to have many accounts and documents to track ​. Gathering them is time-consuming.</a:t>
                      </a:r>
                    </a:p>
                    <a:p>
                      <a:pPr marL="171450" indent="-171450">
                        <a:spcAft>
                          <a:spcPts val="600"/>
                        </a:spcAft>
                        <a:buFont typeface="Arial" panose="020B0604020202020204" pitchFamily="34" charset="0"/>
                        <a:buChar char="•"/>
                      </a:pPr>
                      <a:r>
                        <a:rPr lang="en-US" sz="600" b="1"/>
                        <a:t>Client’s Time and Patience</a:t>
                      </a:r>
                      <a:br>
                        <a:rPr lang="en-US" sz="600" b="1"/>
                      </a:br>
                      <a:r>
                        <a:rPr lang="en-US" sz="600"/>
                        <a:t>Clients might have </a:t>
                      </a:r>
                      <a:r>
                        <a:rPr lang="en-US" sz="600" i="1"/>
                        <a:t>little patience</a:t>
                      </a:r>
                      <a:r>
                        <a:rPr lang="en-US" sz="600"/>
                        <a:t> for lengthy data gathering process. </a:t>
                      </a:r>
                    </a:p>
                    <a:p>
                      <a:pPr marL="171450" indent="-171450">
                        <a:spcAft>
                          <a:spcPts val="600"/>
                        </a:spcAft>
                        <a:buFont typeface="Arial" panose="020B0604020202020204" pitchFamily="34" charset="0"/>
                        <a:buChar char="•"/>
                      </a:pPr>
                      <a:r>
                        <a:rPr lang="en-US" sz="600" b="1"/>
                        <a:t>Data Accuracy:</a:t>
                      </a:r>
                      <a:r>
                        <a:rPr lang="en-US" sz="600"/>
                        <a:t> </a:t>
                      </a:r>
                      <a:br>
                        <a:rPr lang="en-US" sz="600"/>
                      </a:br>
                      <a:r>
                        <a:rPr lang="en-US" sz="600"/>
                        <a:t>Ensuring that all information is up-to-date and correct is a challenge,</a:t>
                      </a:r>
                      <a:endParaRPr lang="en-GB" sz="600" b="0" kern="1200">
                        <a:solidFill>
                          <a:schemeClr val="accent4"/>
                        </a:solidFill>
                        <a:latin typeface="+mn-lt"/>
                        <a:ea typeface="+mn-ea"/>
                        <a:cs typeface="+mn-cs"/>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t">
                        <a:spcAft>
                          <a:spcPts val="600"/>
                        </a:spcAft>
                        <a:buFont typeface="Arial" panose="020B0604020202020204" pitchFamily="34" charset="0"/>
                        <a:buChar char="•"/>
                      </a:pPr>
                      <a:endParaRPr lang="en-US" sz="600" b="1"/>
                    </a:p>
                    <a:p>
                      <a:pPr marL="171450" indent="-171450" algn="l" fontAlgn="t">
                        <a:spcAft>
                          <a:spcPts val="600"/>
                        </a:spcAft>
                        <a:buFont typeface="Arial" panose="020B0604020202020204" pitchFamily="34" charset="0"/>
                        <a:buChar char="•"/>
                      </a:pPr>
                      <a:r>
                        <a:rPr lang="en-US" sz="600" b="1"/>
                        <a:t>Reconciling Multiple Objectives</a:t>
                      </a:r>
                      <a:br>
                        <a:rPr lang="en-US" sz="600" b="1"/>
                      </a:br>
                      <a:r>
                        <a:rPr lang="en-US" sz="600"/>
                        <a:t>HNW families can have numerous goals that don’t always align. </a:t>
                      </a:r>
                    </a:p>
                    <a:p>
                      <a:pPr marL="171450" indent="-171450" algn="l" fontAlgn="t">
                        <a:spcAft>
                          <a:spcPts val="600"/>
                        </a:spcAft>
                        <a:buFont typeface="Arial" panose="020B0604020202020204" pitchFamily="34" charset="0"/>
                        <a:buChar char="•"/>
                      </a:pPr>
                      <a:r>
                        <a:rPr lang="en-US" sz="600" b="1"/>
                        <a:t>Complex Solutions</a:t>
                      </a:r>
                      <a:br>
                        <a:rPr lang="en-US" sz="600" b="1"/>
                      </a:br>
                      <a:r>
                        <a:rPr lang="en-US" sz="600"/>
                        <a:t>The strategies can involve complex instruments or structures.</a:t>
                      </a:r>
                    </a:p>
                    <a:p>
                      <a:pPr marL="171450" indent="-171450" algn="l" fontAlgn="t">
                        <a:spcAft>
                          <a:spcPts val="600"/>
                        </a:spcAft>
                        <a:buFont typeface="Arial" panose="020B0604020202020204" pitchFamily="34" charset="0"/>
                        <a:buChar char="•"/>
                      </a:pPr>
                      <a:r>
                        <a:rPr lang="en-US" sz="600" b="1"/>
                        <a:t>Expectation Management</a:t>
                      </a:r>
                      <a:br>
                        <a:rPr lang="en-US" sz="600" b="1"/>
                      </a:br>
                      <a:r>
                        <a:rPr lang="en-US" sz="600"/>
                        <a:t>Clients might have preconceived notions or unrealistic expectations.</a:t>
                      </a:r>
                      <a:endParaRPr lang="en-US" sz="600" b="0" i="0" u="none" strike="noStrike" kern="1200">
                        <a:solidFill>
                          <a:schemeClr val="accent4"/>
                        </a:solidFill>
                        <a:effectLst/>
                        <a:latin typeface="+mn-lt"/>
                        <a:ea typeface="+mn-ea"/>
                        <a:cs typeface="+mn-cs"/>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indent="-171450" algn="l" fontAlgn="t">
                        <a:spcAft>
                          <a:spcPts val="600"/>
                        </a:spcAft>
                        <a:buFont typeface="Arial" panose="020B0604020202020204" pitchFamily="34" charset="0"/>
                        <a:buChar char="•"/>
                      </a:pPr>
                      <a:endParaRPr lang="en-US" sz="600" b="1"/>
                    </a:p>
                    <a:p>
                      <a:pPr marL="171450" indent="-171450" algn="l" fontAlgn="t">
                        <a:spcAft>
                          <a:spcPts val="600"/>
                        </a:spcAft>
                        <a:buFont typeface="Arial" panose="020B0604020202020204" pitchFamily="34" charset="0"/>
                        <a:buChar char="•"/>
                      </a:pPr>
                      <a:r>
                        <a:rPr lang="en-US" sz="600" b="1"/>
                        <a:t>Concentrated Holdings</a:t>
                      </a:r>
                      <a:br>
                        <a:rPr lang="en-US" sz="600" b="1"/>
                      </a:br>
                      <a:r>
                        <a:rPr lang="en-US" sz="600" b="0"/>
                        <a:t>C</a:t>
                      </a:r>
                      <a:r>
                        <a:rPr lang="en-US" sz="600"/>
                        <a:t>lients can have wealth tied up in a single asset – for example, the ownership stake in a business. </a:t>
                      </a:r>
                    </a:p>
                    <a:p>
                      <a:pPr marL="171450" indent="-171450" algn="l" fontAlgn="t">
                        <a:spcAft>
                          <a:spcPts val="600"/>
                        </a:spcAft>
                        <a:buFont typeface="Arial" panose="020B0604020202020204" pitchFamily="34" charset="0"/>
                        <a:buChar char="•"/>
                      </a:pPr>
                      <a:r>
                        <a:rPr lang="en-US" sz="600" b="1"/>
                        <a:t>Illiquidity of Assets</a:t>
                      </a:r>
                      <a:br>
                        <a:rPr lang="en-US" sz="600" b="1"/>
                      </a:br>
                      <a:r>
                        <a:rPr lang="en-US" sz="600"/>
                        <a:t>Some client’s assets might not be easily tradeable (e.g., real estate) </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Changing Tax Laws</a:t>
                      </a:r>
                      <a:br>
                        <a:rPr lang="en-US" sz="600" b="1"/>
                      </a:br>
                      <a:r>
                        <a:rPr lang="en-US" sz="600"/>
                        <a:t>Tax laws can change with new legislations, which can alter the effectiveness of defined strategies. </a:t>
                      </a: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Multi-Advisor Coordination</a:t>
                      </a:r>
                      <a:br>
                        <a:rPr lang="en-US" sz="600" b="1"/>
                      </a:br>
                      <a:r>
                        <a:rPr lang="en-US" sz="600"/>
                        <a:t>Need to coordinate with the client's other wealth managers. </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Client Hesitation</a:t>
                      </a:r>
                      <a:br>
                        <a:rPr lang="en-US" sz="600" b="1"/>
                      </a:br>
                      <a:r>
                        <a:rPr lang="en-US" sz="600"/>
                        <a:t>Clients get be hesitant about certain recommendations and may introduce changes or delays.</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Operational Hurdles</a:t>
                      </a:r>
                      <a:r>
                        <a:rPr lang="en-US" sz="600"/>
                        <a:t> </a:t>
                      </a:r>
                      <a:br>
                        <a:rPr lang="en-US" sz="600"/>
                      </a:br>
                      <a:r>
                        <a:rPr lang="en-US" sz="600"/>
                        <a:t>Transferring illiquid assets can take time or have restrictions. </a:t>
                      </a:r>
                      <a:endParaRPr lang="en-US" sz="40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Market Volatility and Noise</a:t>
                      </a:r>
                      <a:br>
                        <a:rPr lang="en-US" sz="600" b="1"/>
                      </a:br>
                      <a:r>
                        <a:rPr lang="en-US" sz="600"/>
                        <a:t>Short-term volatility can spook clients, so it is necessary in helping cope with short term market noise.</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Portfolio Underperformance</a:t>
                      </a:r>
                      <a:br>
                        <a:rPr lang="en-US" sz="600" b="1"/>
                      </a:br>
                      <a:r>
                        <a:rPr lang="en-US" sz="600" b="0"/>
                        <a:t>When a </a:t>
                      </a:r>
                      <a:r>
                        <a:rPr lang="en-US" sz="600"/>
                        <a:t>period doesn’t yield positive results the wealth manager needs to explain why and what’s being done. </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Evolving Industry Landscape:</a:t>
                      </a:r>
                      <a:r>
                        <a:rPr lang="en-US" sz="600"/>
                        <a:t> Keeping up with newly introduced financial products and opportunities.</a:t>
                      </a:r>
                      <a:endParaRPr lang="en-US" sz="600" u="none" strike="noStrike">
                        <a:solidFill>
                          <a:schemeClr val="accent4"/>
                        </a:solidFill>
                        <a:effectLst/>
                        <a:latin typeface="+mn-lt"/>
                      </a:endParaRP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600" b="1"/>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Maintaining Engagement</a:t>
                      </a:r>
                      <a:br>
                        <a:rPr lang="en-US" sz="600" b="1"/>
                      </a:br>
                      <a:r>
                        <a:rPr lang="en-US" sz="600"/>
                        <a:t>Over the relationship clients can become less engaged, but it is important to keep them involved. </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Generational Transitions</a:t>
                      </a:r>
                      <a:br>
                        <a:rPr lang="en-US" sz="600" b="1"/>
                      </a:br>
                      <a:r>
                        <a:rPr lang="en-US" sz="600"/>
                        <a:t>When wealth is being passed to the next generation, the relationship can become complicated. </a:t>
                      </a:r>
                    </a:p>
                    <a:p>
                      <a:pPr marL="171450" marR="0" lvl="0" indent="-171450" algn="l" defTabSz="33939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600" b="1"/>
                        <a:t>Delivering Consistent Value</a:t>
                      </a:r>
                      <a:br>
                        <a:rPr lang="en-US" sz="600" b="1"/>
                      </a:br>
                      <a:r>
                        <a:rPr lang="en-US" sz="600"/>
                        <a:t>Wealth Managers need to continue adding value – by introducing a new idea or finding an overlooked risks.</a:t>
                      </a:r>
                    </a:p>
                  </a:txBody>
                  <a:tcPr marL="44561" marR="44561" marT="44561" marB="4456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384204095"/>
                  </a:ext>
                </a:extLst>
              </a:tr>
            </a:tbl>
          </a:graphicData>
        </a:graphic>
      </p:graphicFrame>
      <p:sp>
        <p:nvSpPr>
          <p:cNvPr id="28" name="Title 1">
            <a:extLst>
              <a:ext uri="{FF2B5EF4-FFF2-40B4-BE49-F238E27FC236}">
                <a16:creationId xmlns:a16="http://schemas.microsoft.com/office/drawing/2014/main" id="{595363AF-C8F9-AD81-436A-7442F3BDBECF}"/>
              </a:ext>
            </a:extLst>
          </p:cNvPr>
          <p:cNvSpPr txBox="1">
            <a:spLocks/>
          </p:cNvSpPr>
          <p:nvPr/>
        </p:nvSpPr>
        <p:spPr>
          <a:xfrm>
            <a:off x="425450" y="353581"/>
            <a:ext cx="11347449" cy="700520"/>
          </a:xfrm>
          <a:prstGeom prst="rect">
            <a:avLst/>
          </a:prstGeom>
        </p:spPr>
        <p:txBody>
          <a:bodyPr vert="horz" lIns="137160" tIns="0" rIns="91440" bIns="0" rtlCol="0" anchor="t" anchorCtr="0">
            <a:noAutofit/>
          </a:bodyPr>
          <a:lstStyle>
            <a:lvl1pPr algn="l" defTabSz="608489" rtl="0" eaLnBrk="1" latinLnBrk="0" hangingPunct="1">
              <a:spcBef>
                <a:spcPct val="0"/>
              </a:spcBef>
              <a:buNone/>
              <a:defRPr lang="de-CH" sz="2928" kern="1200" spc="-27" baseline="0" dirty="0" smtClean="0">
                <a:solidFill>
                  <a:schemeClr val="accent5"/>
                </a:solidFill>
                <a:latin typeface="Noto Sans" panose="020B0502040504020204" pitchFamily="34"/>
                <a:ea typeface="Noto Sans" panose="020B0502040504020204" pitchFamily="34"/>
                <a:cs typeface="Noto Sans" panose="020B0502040504020204" pitchFamily="34"/>
              </a:defRPr>
            </a:lvl1pPr>
          </a:lstStyle>
          <a:p>
            <a:pPr defTabSz="810568">
              <a:defRPr/>
            </a:pPr>
            <a:r>
              <a:rPr lang="en-US" sz="2400" b="1" spc="0">
                <a:solidFill>
                  <a:schemeClr val="bg1"/>
                </a:solidFill>
                <a:latin typeface="Noto Serif" panose="020B0502040504020204" pitchFamily="34" charset="0"/>
                <a:ea typeface="Noto Sans Blk" panose="020B0502040504020204" pitchFamily="34" charset="0"/>
                <a:cs typeface="Noto Sans Blk" panose="020B0502040504020204" pitchFamily="34" charset="0"/>
              </a:rPr>
              <a:t>Wealth Manager Journey</a:t>
            </a:r>
          </a:p>
        </p:txBody>
      </p:sp>
      <p:grpSp>
        <p:nvGrpSpPr>
          <p:cNvPr id="5" name="Group 5">
            <a:extLst>
              <a:ext uri="{FF2B5EF4-FFF2-40B4-BE49-F238E27FC236}">
                <a16:creationId xmlns:a16="http://schemas.microsoft.com/office/drawing/2014/main" id="{594E6496-94F6-17AF-4CFB-FA7217A07815}"/>
              </a:ext>
            </a:extLst>
          </p:cNvPr>
          <p:cNvGrpSpPr>
            <a:grpSpLocks noChangeAspect="1"/>
          </p:cNvGrpSpPr>
          <p:nvPr/>
        </p:nvGrpSpPr>
        <p:grpSpPr bwMode="gray">
          <a:xfrm>
            <a:off x="1468689" y="1767988"/>
            <a:ext cx="365760" cy="304254"/>
            <a:chOff x="1209" y="251"/>
            <a:chExt cx="3348" cy="2785"/>
          </a:xfrm>
          <a:solidFill>
            <a:schemeClr val="accent5"/>
          </a:solidFill>
        </p:grpSpPr>
        <p:sp>
          <p:nvSpPr>
            <p:cNvPr id="7" name="Line 7">
              <a:extLst>
                <a:ext uri="{FF2B5EF4-FFF2-40B4-BE49-F238E27FC236}">
                  <a16:creationId xmlns:a16="http://schemas.microsoft.com/office/drawing/2014/main" id="{D88B8B13-1E83-8E2E-4F91-B4092F098123}"/>
                </a:ext>
              </a:extLst>
            </p:cNvPr>
            <p:cNvSpPr>
              <a:spLocks noChangeShapeType="1"/>
            </p:cNvSpPr>
            <p:nvPr/>
          </p:nvSpPr>
          <p:spPr bwMode="gray">
            <a:xfrm>
              <a:off x="2109" y="18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8" name="Line 8">
              <a:extLst>
                <a:ext uri="{FF2B5EF4-FFF2-40B4-BE49-F238E27FC236}">
                  <a16:creationId xmlns:a16="http://schemas.microsoft.com/office/drawing/2014/main" id="{D8E7E268-D919-4186-2E1A-D9F794AEDE9E}"/>
                </a:ext>
              </a:extLst>
            </p:cNvPr>
            <p:cNvSpPr>
              <a:spLocks noChangeShapeType="1"/>
            </p:cNvSpPr>
            <p:nvPr/>
          </p:nvSpPr>
          <p:spPr bwMode="gray">
            <a:xfrm>
              <a:off x="2109" y="18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9" name="Line 9">
              <a:extLst>
                <a:ext uri="{FF2B5EF4-FFF2-40B4-BE49-F238E27FC236}">
                  <a16:creationId xmlns:a16="http://schemas.microsoft.com/office/drawing/2014/main" id="{AE23CCD8-714C-7A01-9277-5A3B6097E6A8}"/>
                </a:ext>
              </a:extLst>
            </p:cNvPr>
            <p:cNvSpPr>
              <a:spLocks noChangeShapeType="1"/>
            </p:cNvSpPr>
            <p:nvPr/>
          </p:nvSpPr>
          <p:spPr bwMode="gray">
            <a:xfrm>
              <a:off x="3565" y="185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0" name="Line 10">
              <a:extLst>
                <a:ext uri="{FF2B5EF4-FFF2-40B4-BE49-F238E27FC236}">
                  <a16:creationId xmlns:a16="http://schemas.microsoft.com/office/drawing/2014/main" id="{D67113B3-96F0-A5C3-FF89-F12341FF6CFC}"/>
                </a:ext>
              </a:extLst>
            </p:cNvPr>
            <p:cNvSpPr>
              <a:spLocks noChangeShapeType="1"/>
            </p:cNvSpPr>
            <p:nvPr/>
          </p:nvSpPr>
          <p:spPr bwMode="gray">
            <a:xfrm>
              <a:off x="3565" y="185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1" name="Freeform 11">
              <a:extLst>
                <a:ext uri="{FF2B5EF4-FFF2-40B4-BE49-F238E27FC236}">
                  <a16:creationId xmlns:a16="http://schemas.microsoft.com/office/drawing/2014/main" id="{6DE555EF-BD9C-8C8F-78B4-8B0DE7A98A2C}"/>
                </a:ext>
              </a:extLst>
            </p:cNvPr>
            <p:cNvSpPr>
              <a:spLocks noEditPoints="1"/>
            </p:cNvSpPr>
            <p:nvPr/>
          </p:nvSpPr>
          <p:spPr bwMode="gray">
            <a:xfrm>
              <a:off x="1793" y="1723"/>
              <a:ext cx="1271" cy="1245"/>
            </a:xfrm>
            <a:custGeom>
              <a:avLst/>
              <a:gdLst>
                <a:gd name="T0" fmla="*/ 448 w 538"/>
                <a:gd name="T1" fmla="*/ 279 h 527"/>
                <a:gd name="T2" fmla="*/ 419 w 538"/>
                <a:gd name="T3" fmla="*/ 199 h 527"/>
                <a:gd name="T4" fmla="*/ 319 w 538"/>
                <a:gd name="T5" fmla="*/ 112 h 527"/>
                <a:gd name="T6" fmla="*/ 223 w 538"/>
                <a:gd name="T7" fmla="*/ 37 h 527"/>
                <a:gd name="T8" fmla="*/ 27 w 538"/>
                <a:gd name="T9" fmla="*/ 102 h 527"/>
                <a:gd name="T10" fmla="*/ 25 w 538"/>
                <a:gd name="T11" fmla="*/ 228 h 527"/>
                <a:gd name="T12" fmla="*/ 81 w 538"/>
                <a:gd name="T13" fmla="*/ 369 h 527"/>
                <a:gd name="T14" fmla="*/ 145 w 538"/>
                <a:gd name="T15" fmla="*/ 391 h 527"/>
                <a:gd name="T16" fmla="*/ 150 w 538"/>
                <a:gd name="T17" fmla="*/ 393 h 527"/>
                <a:gd name="T18" fmla="*/ 239 w 538"/>
                <a:gd name="T19" fmla="*/ 478 h 527"/>
                <a:gd name="T20" fmla="*/ 287 w 538"/>
                <a:gd name="T21" fmla="*/ 464 h 527"/>
                <a:gd name="T22" fmla="*/ 372 w 538"/>
                <a:gd name="T23" fmla="*/ 527 h 527"/>
                <a:gd name="T24" fmla="*/ 437 w 538"/>
                <a:gd name="T25" fmla="*/ 500 h 527"/>
                <a:gd name="T26" fmla="*/ 502 w 538"/>
                <a:gd name="T27" fmla="*/ 304 h 527"/>
                <a:gd name="T28" fmla="*/ 62 w 538"/>
                <a:gd name="T29" fmla="*/ 138 h 527"/>
                <a:gd name="T30" fmla="*/ 187 w 538"/>
                <a:gd name="T31" fmla="*/ 72 h 527"/>
                <a:gd name="T32" fmla="*/ 117 w 538"/>
                <a:gd name="T33" fmla="*/ 195 h 527"/>
                <a:gd name="T34" fmla="*/ 61 w 538"/>
                <a:gd name="T35" fmla="*/ 193 h 527"/>
                <a:gd name="T36" fmla="*/ 169 w 538"/>
                <a:gd name="T37" fmla="*/ 328 h 527"/>
                <a:gd name="T38" fmla="*/ 114 w 538"/>
                <a:gd name="T39" fmla="*/ 331 h 527"/>
                <a:gd name="T40" fmla="*/ 230 w 538"/>
                <a:gd name="T41" fmla="*/ 155 h 527"/>
                <a:gd name="T42" fmla="*/ 286 w 538"/>
                <a:gd name="T43" fmla="*/ 150 h 527"/>
                <a:gd name="T44" fmla="*/ 169 w 538"/>
                <a:gd name="T45" fmla="*/ 328 h 527"/>
                <a:gd name="T46" fmla="*/ 241 w 538"/>
                <a:gd name="T47" fmla="*/ 427 h 527"/>
                <a:gd name="T48" fmla="*/ 200 w 538"/>
                <a:gd name="T49" fmla="*/ 390 h 527"/>
                <a:gd name="T50" fmla="*/ 329 w 538"/>
                <a:gd name="T51" fmla="*/ 241 h 527"/>
                <a:gd name="T52" fmla="*/ 385 w 538"/>
                <a:gd name="T53" fmla="*/ 236 h 527"/>
                <a:gd name="T54" fmla="*/ 388 w 538"/>
                <a:gd name="T55" fmla="*/ 292 h 527"/>
                <a:gd name="T56" fmla="*/ 415 w 538"/>
                <a:gd name="T57" fmla="*/ 338 h 527"/>
                <a:gd name="T58" fmla="*/ 467 w 538"/>
                <a:gd name="T59" fmla="*/ 340 h 527"/>
                <a:gd name="T60" fmla="*/ 400 w 538"/>
                <a:gd name="T61" fmla="*/ 465 h 527"/>
                <a:gd name="T62" fmla="*/ 345 w 538"/>
                <a:gd name="T63" fmla="*/ 466 h 527"/>
                <a:gd name="T64" fmla="*/ 345 w 538"/>
                <a:gd name="T65" fmla="*/ 41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8" h="527">
                  <a:moveTo>
                    <a:pt x="502" y="304"/>
                  </a:moveTo>
                  <a:cubicBezTo>
                    <a:pt x="486" y="289"/>
                    <a:pt x="467" y="281"/>
                    <a:pt x="448" y="279"/>
                  </a:cubicBezTo>
                  <a:cubicBezTo>
                    <a:pt x="449" y="273"/>
                    <a:pt x="449" y="267"/>
                    <a:pt x="448" y="260"/>
                  </a:cubicBezTo>
                  <a:cubicBezTo>
                    <a:pt x="447" y="236"/>
                    <a:pt x="436" y="214"/>
                    <a:pt x="419" y="199"/>
                  </a:cubicBezTo>
                  <a:cubicBezTo>
                    <a:pt x="399" y="181"/>
                    <a:pt x="374" y="174"/>
                    <a:pt x="349" y="177"/>
                  </a:cubicBezTo>
                  <a:cubicBezTo>
                    <a:pt x="349" y="153"/>
                    <a:pt x="339" y="129"/>
                    <a:pt x="319" y="112"/>
                  </a:cubicBezTo>
                  <a:cubicBezTo>
                    <a:pt x="299" y="94"/>
                    <a:pt x="273" y="87"/>
                    <a:pt x="248" y="91"/>
                  </a:cubicBezTo>
                  <a:cubicBezTo>
                    <a:pt x="246" y="71"/>
                    <a:pt x="238" y="52"/>
                    <a:pt x="223" y="37"/>
                  </a:cubicBezTo>
                  <a:cubicBezTo>
                    <a:pt x="189" y="1"/>
                    <a:pt x="132" y="0"/>
                    <a:pt x="97" y="35"/>
                  </a:cubicBezTo>
                  <a:cubicBezTo>
                    <a:pt x="27" y="102"/>
                    <a:pt x="27" y="102"/>
                    <a:pt x="27" y="102"/>
                  </a:cubicBezTo>
                  <a:cubicBezTo>
                    <a:pt x="10" y="118"/>
                    <a:pt x="0" y="141"/>
                    <a:pt x="0" y="165"/>
                  </a:cubicBezTo>
                  <a:cubicBezTo>
                    <a:pt x="0" y="189"/>
                    <a:pt x="9" y="211"/>
                    <a:pt x="25" y="228"/>
                  </a:cubicBezTo>
                  <a:cubicBezTo>
                    <a:pt x="37" y="240"/>
                    <a:pt x="51" y="248"/>
                    <a:pt x="66" y="252"/>
                  </a:cubicBezTo>
                  <a:cubicBezTo>
                    <a:pt x="41" y="289"/>
                    <a:pt x="47" y="339"/>
                    <a:pt x="81" y="369"/>
                  </a:cubicBezTo>
                  <a:cubicBezTo>
                    <a:pt x="97" y="384"/>
                    <a:pt x="118" y="391"/>
                    <a:pt x="140" y="391"/>
                  </a:cubicBezTo>
                  <a:cubicBezTo>
                    <a:pt x="142" y="391"/>
                    <a:pt x="144" y="391"/>
                    <a:pt x="145" y="391"/>
                  </a:cubicBezTo>
                  <a:cubicBezTo>
                    <a:pt x="147" y="391"/>
                    <a:pt x="148" y="391"/>
                    <a:pt x="150" y="391"/>
                  </a:cubicBezTo>
                  <a:cubicBezTo>
                    <a:pt x="150" y="392"/>
                    <a:pt x="150" y="393"/>
                    <a:pt x="150" y="393"/>
                  </a:cubicBezTo>
                  <a:cubicBezTo>
                    <a:pt x="151" y="417"/>
                    <a:pt x="162" y="439"/>
                    <a:pt x="180" y="455"/>
                  </a:cubicBezTo>
                  <a:cubicBezTo>
                    <a:pt x="196" y="470"/>
                    <a:pt x="217" y="478"/>
                    <a:pt x="239" y="478"/>
                  </a:cubicBezTo>
                  <a:cubicBezTo>
                    <a:pt x="241" y="478"/>
                    <a:pt x="243" y="478"/>
                    <a:pt x="244" y="477"/>
                  </a:cubicBezTo>
                  <a:cubicBezTo>
                    <a:pt x="260" y="477"/>
                    <a:pt x="274" y="472"/>
                    <a:pt x="287" y="464"/>
                  </a:cubicBezTo>
                  <a:cubicBezTo>
                    <a:pt x="291" y="478"/>
                    <a:pt x="299" y="491"/>
                    <a:pt x="310" y="502"/>
                  </a:cubicBezTo>
                  <a:cubicBezTo>
                    <a:pt x="327" y="518"/>
                    <a:pt x="349" y="527"/>
                    <a:pt x="372" y="527"/>
                  </a:cubicBezTo>
                  <a:cubicBezTo>
                    <a:pt x="373" y="527"/>
                    <a:pt x="373" y="527"/>
                    <a:pt x="374" y="527"/>
                  </a:cubicBezTo>
                  <a:cubicBezTo>
                    <a:pt x="398" y="527"/>
                    <a:pt x="420" y="517"/>
                    <a:pt x="437" y="500"/>
                  </a:cubicBezTo>
                  <a:cubicBezTo>
                    <a:pt x="504" y="430"/>
                    <a:pt x="504" y="430"/>
                    <a:pt x="504" y="430"/>
                  </a:cubicBezTo>
                  <a:cubicBezTo>
                    <a:pt x="538" y="395"/>
                    <a:pt x="537" y="338"/>
                    <a:pt x="502" y="304"/>
                  </a:cubicBezTo>
                  <a:close/>
                  <a:moveTo>
                    <a:pt x="50" y="166"/>
                  </a:moveTo>
                  <a:cubicBezTo>
                    <a:pt x="51" y="155"/>
                    <a:pt x="55" y="145"/>
                    <a:pt x="62" y="138"/>
                  </a:cubicBezTo>
                  <a:cubicBezTo>
                    <a:pt x="132" y="71"/>
                    <a:pt x="132" y="71"/>
                    <a:pt x="132" y="71"/>
                  </a:cubicBezTo>
                  <a:cubicBezTo>
                    <a:pt x="147" y="56"/>
                    <a:pt x="172" y="56"/>
                    <a:pt x="187" y="72"/>
                  </a:cubicBezTo>
                  <a:cubicBezTo>
                    <a:pt x="201" y="86"/>
                    <a:pt x="202" y="109"/>
                    <a:pt x="189" y="124"/>
                  </a:cubicBezTo>
                  <a:cubicBezTo>
                    <a:pt x="117" y="195"/>
                    <a:pt x="117" y="195"/>
                    <a:pt x="117" y="195"/>
                  </a:cubicBezTo>
                  <a:cubicBezTo>
                    <a:pt x="117" y="194"/>
                    <a:pt x="117" y="194"/>
                    <a:pt x="117" y="194"/>
                  </a:cubicBezTo>
                  <a:cubicBezTo>
                    <a:pt x="101" y="209"/>
                    <a:pt x="76" y="209"/>
                    <a:pt x="61" y="193"/>
                  </a:cubicBezTo>
                  <a:cubicBezTo>
                    <a:pt x="54" y="186"/>
                    <a:pt x="50" y="176"/>
                    <a:pt x="50" y="166"/>
                  </a:cubicBezTo>
                  <a:close/>
                  <a:moveTo>
                    <a:pt x="169" y="328"/>
                  </a:moveTo>
                  <a:cubicBezTo>
                    <a:pt x="162" y="336"/>
                    <a:pt x="153" y="340"/>
                    <a:pt x="142" y="341"/>
                  </a:cubicBezTo>
                  <a:cubicBezTo>
                    <a:pt x="132" y="342"/>
                    <a:pt x="122" y="338"/>
                    <a:pt x="114" y="331"/>
                  </a:cubicBezTo>
                  <a:cubicBezTo>
                    <a:pt x="98" y="317"/>
                    <a:pt x="96" y="292"/>
                    <a:pt x="111" y="276"/>
                  </a:cubicBezTo>
                  <a:cubicBezTo>
                    <a:pt x="230" y="155"/>
                    <a:pt x="230" y="155"/>
                    <a:pt x="230" y="155"/>
                  </a:cubicBezTo>
                  <a:cubicBezTo>
                    <a:pt x="231" y="153"/>
                    <a:pt x="231" y="153"/>
                    <a:pt x="231" y="153"/>
                  </a:cubicBezTo>
                  <a:cubicBezTo>
                    <a:pt x="245" y="137"/>
                    <a:pt x="270" y="136"/>
                    <a:pt x="286" y="150"/>
                  </a:cubicBezTo>
                  <a:cubicBezTo>
                    <a:pt x="302" y="164"/>
                    <a:pt x="304" y="189"/>
                    <a:pt x="289" y="205"/>
                  </a:cubicBezTo>
                  <a:lnTo>
                    <a:pt x="169" y="328"/>
                  </a:lnTo>
                  <a:close/>
                  <a:moveTo>
                    <a:pt x="268" y="414"/>
                  </a:moveTo>
                  <a:cubicBezTo>
                    <a:pt x="261" y="422"/>
                    <a:pt x="252" y="427"/>
                    <a:pt x="241" y="427"/>
                  </a:cubicBezTo>
                  <a:cubicBezTo>
                    <a:pt x="231" y="428"/>
                    <a:pt x="221" y="424"/>
                    <a:pt x="213" y="417"/>
                  </a:cubicBezTo>
                  <a:cubicBezTo>
                    <a:pt x="205" y="410"/>
                    <a:pt x="201" y="401"/>
                    <a:pt x="200" y="390"/>
                  </a:cubicBezTo>
                  <a:cubicBezTo>
                    <a:pt x="199" y="380"/>
                    <a:pt x="203" y="370"/>
                    <a:pt x="210" y="362"/>
                  </a:cubicBezTo>
                  <a:cubicBezTo>
                    <a:pt x="329" y="241"/>
                    <a:pt x="329" y="241"/>
                    <a:pt x="329" y="241"/>
                  </a:cubicBezTo>
                  <a:cubicBezTo>
                    <a:pt x="330" y="240"/>
                    <a:pt x="330" y="240"/>
                    <a:pt x="330" y="240"/>
                  </a:cubicBezTo>
                  <a:cubicBezTo>
                    <a:pt x="344" y="223"/>
                    <a:pt x="369" y="222"/>
                    <a:pt x="385" y="236"/>
                  </a:cubicBezTo>
                  <a:cubicBezTo>
                    <a:pt x="393" y="243"/>
                    <a:pt x="398" y="253"/>
                    <a:pt x="398" y="263"/>
                  </a:cubicBezTo>
                  <a:cubicBezTo>
                    <a:pt x="399" y="274"/>
                    <a:pt x="395" y="284"/>
                    <a:pt x="388" y="292"/>
                  </a:cubicBezTo>
                  <a:lnTo>
                    <a:pt x="268" y="414"/>
                  </a:lnTo>
                  <a:close/>
                  <a:moveTo>
                    <a:pt x="415" y="338"/>
                  </a:moveTo>
                  <a:cubicBezTo>
                    <a:pt x="422" y="332"/>
                    <a:pt x="431" y="329"/>
                    <a:pt x="439" y="329"/>
                  </a:cubicBezTo>
                  <a:cubicBezTo>
                    <a:pt x="449" y="329"/>
                    <a:pt x="459" y="333"/>
                    <a:pt x="467" y="340"/>
                  </a:cubicBezTo>
                  <a:cubicBezTo>
                    <a:pt x="482" y="355"/>
                    <a:pt x="482" y="380"/>
                    <a:pt x="467" y="395"/>
                  </a:cubicBezTo>
                  <a:cubicBezTo>
                    <a:pt x="400" y="465"/>
                    <a:pt x="400" y="465"/>
                    <a:pt x="400" y="465"/>
                  </a:cubicBezTo>
                  <a:cubicBezTo>
                    <a:pt x="393" y="472"/>
                    <a:pt x="383" y="476"/>
                    <a:pt x="373" y="477"/>
                  </a:cubicBezTo>
                  <a:cubicBezTo>
                    <a:pt x="362" y="477"/>
                    <a:pt x="353" y="473"/>
                    <a:pt x="345" y="466"/>
                  </a:cubicBezTo>
                  <a:cubicBezTo>
                    <a:pt x="329" y="451"/>
                    <a:pt x="329" y="426"/>
                    <a:pt x="344" y="410"/>
                  </a:cubicBezTo>
                  <a:cubicBezTo>
                    <a:pt x="345" y="410"/>
                    <a:pt x="345" y="410"/>
                    <a:pt x="345" y="410"/>
                  </a:cubicBezTo>
                  <a:lnTo>
                    <a:pt x="415"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2" name="Line 12">
              <a:extLst>
                <a:ext uri="{FF2B5EF4-FFF2-40B4-BE49-F238E27FC236}">
                  <a16:creationId xmlns:a16="http://schemas.microsoft.com/office/drawing/2014/main" id="{833F01DC-E90E-033B-1045-9456B1ECA090}"/>
                </a:ext>
              </a:extLst>
            </p:cNvPr>
            <p:cNvSpPr>
              <a:spLocks noChangeShapeType="1"/>
            </p:cNvSpPr>
            <p:nvPr/>
          </p:nvSpPr>
          <p:spPr bwMode="gray">
            <a:xfrm>
              <a:off x="2728" y="143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3" name="Line 13">
              <a:extLst>
                <a:ext uri="{FF2B5EF4-FFF2-40B4-BE49-F238E27FC236}">
                  <a16:creationId xmlns:a16="http://schemas.microsoft.com/office/drawing/2014/main" id="{8AD6A4E3-BC54-5B90-03B0-CDDC86A009E4}"/>
                </a:ext>
              </a:extLst>
            </p:cNvPr>
            <p:cNvSpPr>
              <a:spLocks noChangeShapeType="1"/>
            </p:cNvSpPr>
            <p:nvPr/>
          </p:nvSpPr>
          <p:spPr bwMode="gray">
            <a:xfrm>
              <a:off x="2728" y="143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4" name="Line 14">
              <a:extLst>
                <a:ext uri="{FF2B5EF4-FFF2-40B4-BE49-F238E27FC236}">
                  <a16:creationId xmlns:a16="http://schemas.microsoft.com/office/drawing/2014/main" id="{C20BBF82-BEF7-DF92-BBAF-3A4D7701BE7C}"/>
                </a:ext>
              </a:extLst>
            </p:cNvPr>
            <p:cNvSpPr>
              <a:spLocks noChangeShapeType="1"/>
            </p:cNvSpPr>
            <p:nvPr/>
          </p:nvSpPr>
          <p:spPr bwMode="gray">
            <a:xfrm>
              <a:off x="1873" y="199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5" name="Line 15">
              <a:extLst>
                <a:ext uri="{FF2B5EF4-FFF2-40B4-BE49-F238E27FC236}">
                  <a16:creationId xmlns:a16="http://schemas.microsoft.com/office/drawing/2014/main" id="{98455047-816C-E81D-A93B-944416298879}"/>
                </a:ext>
              </a:extLst>
            </p:cNvPr>
            <p:cNvSpPr>
              <a:spLocks noChangeShapeType="1"/>
            </p:cNvSpPr>
            <p:nvPr/>
          </p:nvSpPr>
          <p:spPr bwMode="gray">
            <a:xfrm>
              <a:off x="1873" y="199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6" name="Freeform 16">
              <a:extLst>
                <a:ext uri="{FF2B5EF4-FFF2-40B4-BE49-F238E27FC236}">
                  <a16:creationId xmlns:a16="http://schemas.microsoft.com/office/drawing/2014/main" id="{EC1ABFA9-B2DD-3560-04A3-1040244AC257}"/>
                </a:ext>
              </a:extLst>
            </p:cNvPr>
            <p:cNvSpPr>
              <a:spLocks noEditPoints="1"/>
            </p:cNvSpPr>
            <p:nvPr/>
          </p:nvSpPr>
          <p:spPr bwMode="gray">
            <a:xfrm>
              <a:off x="1209" y="289"/>
              <a:ext cx="1576" cy="1542"/>
            </a:xfrm>
            <a:custGeom>
              <a:avLst/>
              <a:gdLst>
                <a:gd name="T0" fmla="*/ 182 w 667"/>
                <a:gd name="T1" fmla="*/ 529 h 653"/>
                <a:gd name="T2" fmla="*/ 211 w 667"/>
                <a:gd name="T3" fmla="*/ 604 h 653"/>
                <a:gd name="T4" fmla="*/ 260 w 667"/>
                <a:gd name="T5" fmla="*/ 653 h 653"/>
                <a:gd name="T6" fmla="*/ 296 w 667"/>
                <a:gd name="T7" fmla="*/ 618 h 653"/>
                <a:gd name="T8" fmla="*/ 246 w 667"/>
                <a:gd name="T9" fmla="*/ 568 h 653"/>
                <a:gd name="T10" fmla="*/ 246 w 667"/>
                <a:gd name="T11" fmla="*/ 567 h 653"/>
                <a:gd name="T12" fmla="*/ 232 w 667"/>
                <a:gd name="T13" fmla="*/ 532 h 653"/>
                <a:gd name="T14" fmla="*/ 237 w 667"/>
                <a:gd name="T15" fmla="*/ 457 h 653"/>
                <a:gd name="T16" fmla="*/ 458 w 667"/>
                <a:gd name="T17" fmla="*/ 230 h 653"/>
                <a:gd name="T18" fmla="*/ 530 w 667"/>
                <a:gd name="T19" fmla="*/ 222 h 653"/>
                <a:gd name="T20" fmla="*/ 566 w 667"/>
                <a:gd name="T21" fmla="*/ 234 h 653"/>
                <a:gd name="T22" fmla="*/ 631 w 667"/>
                <a:gd name="T23" fmla="*/ 297 h 653"/>
                <a:gd name="T24" fmla="*/ 667 w 667"/>
                <a:gd name="T25" fmla="*/ 262 h 653"/>
                <a:gd name="T26" fmla="*/ 601 w 667"/>
                <a:gd name="T27" fmla="*/ 198 h 653"/>
                <a:gd name="T28" fmla="*/ 525 w 667"/>
                <a:gd name="T29" fmla="*/ 172 h 653"/>
                <a:gd name="T30" fmla="*/ 496 w 667"/>
                <a:gd name="T31" fmla="*/ 175 h 653"/>
                <a:gd name="T32" fmla="*/ 482 w 667"/>
                <a:gd name="T33" fmla="*/ 124 h 653"/>
                <a:gd name="T34" fmla="*/ 371 w 667"/>
                <a:gd name="T35" fmla="*/ 16 h 653"/>
                <a:gd name="T36" fmla="*/ 326 w 667"/>
                <a:gd name="T37" fmla="*/ 3 h 653"/>
                <a:gd name="T38" fmla="*/ 285 w 667"/>
                <a:gd name="T39" fmla="*/ 24 h 653"/>
                <a:gd name="T40" fmla="*/ 28 w 667"/>
                <a:gd name="T41" fmla="*/ 288 h 653"/>
                <a:gd name="T42" fmla="*/ 22 w 667"/>
                <a:gd name="T43" fmla="*/ 375 h 653"/>
                <a:gd name="T44" fmla="*/ 134 w 667"/>
                <a:gd name="T45" fmla="*/ 483 h 653"/>
                <a:gd name="T46" fmla="*/ 170 w 667"/>
                <a:gd name="T47" fmla="*/ 497 h 653"/>
                <a:gd name="T48" fmla="*/ 179 w 667"/>
                <a:gd name="T49" fmla="*/ 497 h 653"/>
                <a:gd name="T50" fmla="*/ 184 w 667"/>
                <a:gd name="T51" fmla="*/ 496 h 653"/>
                <a:gd name="T52" fmla="*/ 182 w 667"/>
                <a:gd name="T53" fmla="*/ 529 h 653"/>
                <a:gd name="T54" fmla="*/ 173 w 667"/>
                <a:gd name="T55" fmla="*/ 451 h 653"/>
                <a:gd name="T56" fmla="*/ 55 w 667"/>
                <a:gd name="T57" fmla="*/ 336 h 653"/>
                <a:gd name="T58" fmla="*/ 332 w 667"/>
                <a:gd name="T59" fmla="*/ 48 h 653"/>
                <a:gd name="T60" fmla="*/ 452 w 667"/>
                <a:gd name="T61" fmla="*/ 164 h 653"/>
                <a:gd name="T62" fmla="*/ 173 w 667"/>
                <a:gd name="T63" fmla="*/ 45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7" h="653">
                  <a:moveTo>
                    <a:pt x="182" y="529"/>
                  </a:moveTo>
                  <a:cubicBezTo>
                    <a:pt x="180" y="557"/>
                    <a:pt x="190" y="584"/>
                    <a:pt x="211" y="604"/>
                  </a:cubicBezTo>
                  <a:cubicBezTo>
                    <a:pt x="260" y="653"/>
                    <a:pt x="260" y="653"/>
                    <a:pt x="260" y="653"/>
                  </a:cubicBezTo>
                  <a:cubicBezTo>
                    <a:pt x="296" y="618"/>
                    <a:pt x="296" y="618"/>
                    <a:pt x="296" y="618"/>
                  </a:cubicBezTo>
                  <a:cubicBezTo>
                    <a:pt x="246" y="568"/>
                    <a:pt x="246" y="568"/>
                    <a:pt x="246" y="568"/>
                  </a:cubicBezTo>
                  <a:cubicBezTo>
                    <a:pt x="246" y="567"/>
                    <a:pt x="246" y="567"/>
                    <a:pt x="246" y="567"/>
                  </a:cubicBezTo>
                  <a:cubicBezTo>
                    <a:pt x="236" y="558"/>
                    <a:pt x="231" y="545"/>
                    <a:pt x="232" y="532"/>
                  </a:cubicBezTo>
                  <a:cubicBezTo>
                    <a:pt x="237" y="457"/>
                    <a:pt x="237" y="457"/>
                    <a:pt x="237" y="457"/>
                  </a:cubicBezTo>
                  <a:cubicBezTo>
                    <a:pt x="458" y="230"/>
                    <a:pt x="458" y="230"/>
                    <a:pt x="458" y="230"/>
                  </a:cubicBezTo>
                  <a:cubicBezTo>
                    <a:pt x="530" y="222"/>
                    <a:pt x="530" y="222"/>
                    <a:pt x="530" y="222"/>
                  </a:cubicBezTo>
                  <a:cubicBezTo>
                    <a:pt x="543" y="220"/>
                    <a:pt x="556" y="225"/>
                    <a:pt x="566" y="234"/>
                  </a:cubicBezTo>
                  <a:cubicBezTo>
                    <a:pt x="631" y="297"/>
                    <a:pt x="631" y="297"/>
                    <a:pt x="631" y="297"/>
                  </a:cubicBezTo>
                  <a:cubicBezTo>
                    <a:pt x="667" y="262"/>
                    <a:pt x="667" y="262"/>
                    <a:pt x="667" y="262"/>
                  </a:cubicBezTo>
                  <a:cubicBezTo>
                    <a:pt x="601" y="198"/>
                    <a:pt x="601" y="198"/>
                    <a:pt x="601" y="198"/>
                  </a:cubicBezTo>
                  <a:cubicBezTo>
                    <a:pt x="580" y="178"/>
                    <a:pt x="553" y="169"/>
                    <a:pt x="525" y="172"/>
                  </a:cubicBezTo>
                  <a:cubicBezTo>
                    <a:pt x="496" y="175"/>
                    <a:pt x="496" y="175"/>
                    <a:pt x="496" y="175"/>
                  </a:cubicBezTo>
                  <a:cubicBezTo>
                    <a:pt x="500" y="156"/>
                    <a:pt x="496" y="137"/>
                    <a:pt x="482" y="124"/>
                  </a:cubicBezTo>
                  <a:cubicBezTo>
                    <a:pt x="371" y="16"/>
                    <a:pt x="371" y="16"/>
                    <a:pt x="371" y="16"/>
                  </a:cubicBezTo>
                  <a:cubicBezTo>
                    <a:pt x="359" y="5"/>
                    <a:pt x="343" y="0"/>
                    <a:pt x="326" y="3"/>
                  </a:cubicBezTo>
                  <a:cubicBezTo>
                    <a:pt x="311" y="5"/>
                    <a:pt x="296" y="13"/>
                    <a:pt x="285" y="24"/>
                  </a:cubicBezTo>
                  <a:cubicBezTo>
                    <a:pt x="28" y="288"/>
                    <a:pt x="28" y="288"/>
                    <a:pt x="28" y="288"/>
                  </a:cubicBezTo>
                  <a:cubicBezTo>
                    <a:pt x="2" y="315"/>
                    <a:pt x="0" y="353"/>
                    <a:pt x="22" y="375"/>
                  </a:cubicBezTo>
                  <a:cubicBezTo>
                    <a:pt x="134" y="483"/>
                    <a:pt x="134" y="483"/>
                    <a:pt x="134" y="483"/>
                  </a:cubicBezTo>
                  <a:cubicBezTo>
                    <a:pt x="143" y="492"/>
                    <a:pt x="156" y="497"/>
                    <a:pt x="170" y="497"/>
                  </a:cubicBezTo>
                  <a:cubicBezTo>
                    <a:pt x="173" y="497"/>
                    <a:pt x="176" y="497"/>
                    <a:pt x="179" y="497"/>
                  </a:cubicBezTo>
                  <a:cubicBezTo>
                    <a:pt x="181" y="496"/>
                    <a:pt x="182" y="496"/>
                    <a:pt x="184" y="496"/>
                  </a:cubicBezTo>
                  <a:lnTo>
                    <a:pt x="182" y="529"/>
                  </a:lnTo>
                  <a:close/>
                  <a:moveTo>
                    <a:pt x="173" y="451"/>
                  </a:moveTo>
                  <a:cubicBezTo>
                    <a:pt x="55" y="336"/>
                    <a:pt x="55" y="336"/>
                    <a:pt x="55" y="336"/>
                  </a:cubicBezTo>
                  <a:cubicBezTo>
                    <a:pt x="332" y="48"/>
                    <a:pt x="332" y="48"/>
                    <a:pt x="332" y="48"/>
                  </a:cubicBezTo>
                  <a:cubicBezTo>
                    <a:pt x="452" y="164"/>
                    <a:pt x="452" y="164"/>
                    <a:pt x="452" y="164"/>
                  </a:cubicBezTo>
                  <a:lnTo>
                    <a:pt x="173"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7" name="Oval 17">
              <a:extLst>
                <a:ext uri="{FF2B5EF4-FFF2-40B4-BE49-F238E27FC236}">
                  <a16:creationId xmlns:a16="http://schemas.microsoft.com/office/drawing/2014/main" id="{EC064D22-F41E-3E69-DCA1-B0741E71A80C}"/>
                </a:ext>
              </a:extLst>
            </p:cNvPr>
            <p:cNvSpPr>
              <a:spLocks noChangeArrowheads="1"/>
            </p:cNvSpPr>
            <p:nvPr/>
          </p:nvSpPr>
          <p:spPr bwMode="gray">
            <a:xfrm>
              <a:off x="1516" y="990"/>
              <a:ext cx="185"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8" name="Freeform 18">
              <a:extLst>
                <a:ext uri="{FF2B5EF4-FFF2-40B4-BE49-F238E27FC236}">
                  <a16:creationId xmlns:a16="http://schemas.microsoft.com/office/drawing/2014/main" id="{E501321C-9CA3-18BE-1D13-A44AF26C836F}"/>
                </a:ext>
              </a:extLst>
            </p:cNvPr>
            <p:cNvSpPr>
              <a:spLocks noEditPoints="1"/>
            </p:cNvSpPr>
            <p:nvPr/>
          </p:nvSpPr>
          <p:spPr bwMode="gray">
            <a:xfrm>
              <a:off x="2539" y="251"/>
              <a:ext cx="2018" cy="2785"/>
            </a:xfrm>
            <a:custGeom>
              <a:avLst/>
              <a:gdLst>
                <a:gd name="T0" fmla="*/ 555 w 854"/>
                <a:gd name="T1" fmla="*/ 21 h 1179"/>
                <a:gd name="T2" fmla="*/ 468 w 854"/>
                <a:gd name="T3" fmla="*/ 17 h 1179"/>
                <a:gd name="T4" fmla="*/ 349 w 854"/>
                <a:gd name="T5" fmla="*/ 176 h 1179"/>
                <a:gd name="T6" fmla="*/ 317 w 854"/>
                <a:gd name="T7" fmla="*/ 179 h 1179"/>
                <a:gd name="T8" fmla="*/ 171 w 854"/>
                <a:gd name="T9" fmla="*/ 285 h 1179"/>
                <a:gd name="T10" fmla="*/ 36 w 854"/>
                <a:gd name="T11" fmla="*/ 414 h 1179"/>
                <a:gd name="T12" fmla="*/ 97 w 854"/>
                <a:gd name="T13" fmla="*/ 568 h 1179"/>
                <a:gd name="T14" fmla="*/ 234 w 854"/>
                <a:gd name="T15" fmla="*/ 474 h 1179"/>
                <a:gd name="T16" fmla="*/ 582 w 854"/>
                <a:gd name="T17" fmla="*/ 826 h 1179"/>
                <a:gd name="T18" fmla="*/ 542 w 854"/>
                <a:gd name="T19" fmla="*/ 864 h 1179"/>
                <a:gd name="T20" fmla="*/ 333 w 854"/>
                <a:gd name="T21" fmla="*/ 699 h 1179"/>
                <a:gd name="T22" fmla="*/ 475 w 854"/>
                <a:gd name="T23" fmla="*/ 884 h 1179"/>
                <a:gd name="T24" fmla="*/ 469 w 854"/>
                <a:gd name="T25" fmla="*/ 942 h 1179"/>
                <a:gd name="T26" fmla="*/ 297 w 854"/>
                <a:gd name="T27" fmla="*/ 837 h 1179"/>
                <a:gd name="T28" fmla="*/ 383 w 854"/>
                <a:gd name="T29" fmla="*/ 980 h 1179"/>
                <a:gd name="T30" fmla="*/ 350 w 854"/>
                <a:gd name="T31" fmla="*/ 1042 h 1179"/>
                <a:gd name="T32" fmla="*/ 271 w 854"/>
                <a:gd name="T33" fmla="*/ 985 h 1179"/>
                <a:gd name="T34" fmla="*/ 284 w 854"/>
                <a:gd name="T35" fmla="*/ 1063 h 1179"/>
                <a:gd name="T36" fmla="*/ 280 w 854"/>
                <a:gd name="T37" fmla="*/ 1118 h 1179"/>
                <a:gd name="T38" fmla="*/ 210 w 854"/>
                <a:gd name="T39" fmla="*/ 1104 h 1179"/>
                <a:gd name="T40" fmla="*/ 190 w 854"/>
                <a:gd name="T41" fmla="*/ 1152 h 1179"/>
                <a:gd name="T42" fmla="*/ 315 w 854"/>
                <a:gd name="T43" fmla="*/ 1155 h 1179"/>
                <a:gd name="T44" fmla="*/ 348 w 854"/>
                <a:gd name="T45" fmla="*/ 1092 h 1179"/>
                <a:gd name="T46" fmla="*/ 412 w 854"/>
                <a:gd name="T47" fmla="*/ 1068 h 1179"/>
                <a:gd name="T48" fmla="*/ 443 w 854"/>
                <a:gd name="T49" fmla="*/ 1003 h 1179"/>
                <a:gd name="T50" fmla="*/ 534 w 854"/>
                <a:gd name="T51" fmla="*/ 914 h 1179"/>
                <a:gd name="T52" fmla="*/ 543 w 854"/>
                <a:gd name="T53" fmla="*/ 914 h 1179"/>
                <a:gd name="T54" fmla="*/ 633 w 854"/>
                <a:gd name="T55" fmla="*/ 828 h 1179"/>
                <a:gd name="T56" fmla="*/ 403 w 854"/>
                <a:gd name="T57" fmla="*/ 573 h 1179"/>
                <a:gd name="T58" fmla="*/ 125 w 854"/>
                <a:gd name="T59" fmla="*/ 507 h 1179"/>
                <a:gd name="T60" fmla="*/ 71 w 854"/>
                <a:gd name="T61" fmla="*/ 450 h 1179"/>
                <a:gd name="T62" fmla="*/ 206 w 854"/>
                <a:gd name="T63" fmla="*/ 321 h 1179"/>
                <a:gd name="T64" fmla="*/ 315 w 854"/>
                <a:gd name="T65" fmla="*/ 229 h 1179"/>
                <a:gd name="T66" fmla="*/ 585 w 854"/>
                <a:gd name="T67" fmla="*/ 417 h 1179"/>
                <a:gd name="T68" fmla="*/ 589 w 854"/>
                <a:gd name="T69" fmla="*/ 531 h 1179"/>
                <a:gd name="T70" fmla="*/ 560 w 854"/>
                <a:gd name="T71" fmla="*/ 646 h 1179"/>
                <a:gd name="T72" fmla="*/ 649 w 854"/>
                <a:gd name="T73" fmla="*/ 486 h 1179"/>
                <a:gd name="T74" fmla="*/ 688 w 854"/>
                <a:gd name="T75" fmla="*/ 488 h 1179"/>
                <a:gd name="T76" fmla="*/ 833 w 854"/>
                <a:gd name="T77" fmla="*/ 359 h 1179"/>
                <a:gd name="T78" fmla="*/ 690 w 854"/>
                <a:gd name="T79" fmla="*/ 438 h 1179"/>
                <a:gd name="T80" fmla="*/ 508 w 854"/>
                <a:gd name="T81" fmla="*/ 46 h 1179"/>
                <a:gd name="T82" fmla="*/ 690 w 854"/>
                <a:gd name="T83" fmla="*/ 438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4" h="1179">
                  <a:moveTo>
                    <a:pt x="823" y="273"/>
                  </a:moveTo>
                  <a:cubicBezTo>
                    <a:pt x="555" y="21"/>
                    <a:pt x="555" y="21"/>
                    <a:pt x="555" y="21"/>
                  </a:cubicBezTo>
                  <a:cubicBezTo>
                    <a:pt x="543" y="10"/>
                    <a:pt x="528" y="3"/>
                    <a:pt x="513" y="1"/>
                  </a:cubicBezTo>
                  <a:cubicBezTo>
                    <a:pt x="496" y="0"/>
                    <a:pt x="479" y="5"/>
                    <a:pt x="468" y="17"/>
                  </a:cubicBezTo>
                  <a:cubicBezTo>
                    <a:pt x="362" y="130"/>
                    <a:pt x="362" y="130"/>
                    <a:pt x="362" y="130"/>
                  </a:cubicBezTo>
                  <a:cubicBezTo>
                    <a:pt x="351" y="142"/>
                    <a:pt x="346" y="158"/>
                    <a:pt x="349" y="176"/>
                  </a:cubicBezTo>
                  <a:cubicBezTo>
                    <a:pt x="350" y="177"/>
                    <a:pt x="350" y="179"/>
                    <a:pt x="350" y="181"/>
                  </a:cubicBezTo>
                  <a:cubicBezTo>
                    <a:pt x="317" y="179"/>
                    <a:pt x="317" y="179"/>
                    <a:pt x="317" y="179"/>
                  </a:cubicBezTo>
                  <a:cubicBezTo>
                    <a:pt x="289" y="178"/>
                    <a:pt x="262" y="189"/>
                    <a:pt x="243" y="209"/>
                  </a:cubicBezTo>
                  <a:cubicBezTo>
                    <a:pt x="171" y="285"/>
                    <a:pt x="171" y="285"/>
                    <a:pt x="171" y="285"/>
                  </a:cubicBezTo>
                  <a:cubicBezTo>
                    <a:pt x="71" y="380"/>
                    <a:pt x="71" y="380"/>
                    <a:pt x="71" y="380"/>
                  </a:cubicBezTo>
                  <a:cubicBezTo>
                    <a:pt x="36" y="414"/>
                    <a:pt x="36" y="414"/>
                    <a:pt x="36" y="414"/>
                  </a:cubicBezTo>
                  <a:cubicBezTo>
                    <a:pt x="1" y="448"/>
                    <a:pt x="0" y="505"/>
                    <a:pt x="34" y="540"/>
                  </a:cubicBezTo>
                  <a:cubicBezTo>
                    <a:pt x="50" y="558"/>
                    <a:pt x="73" y="567"/>
                    <a:pt x="97" y="568"/>
                  </a:cubicBezTo>
                  <a:cubicBezTo>
                    <a:pt x="120" y="568"/>
                    <a:pt x="143" y="560"/>
                    <a:pt x="160" y="543"/>
                  </a:cubicBezTo>
                  <a:cubicBezTo>
                    <a:pt x="234" y="474"/>
                    <a:pt x="234" y="474"/>
                    <a:pt x="234" y="474"/>
                  </a:cubicBezTo>
                  <a:cubicBezTo>
                    <a:pt x="572" y="799"/>
                    <a:pt x="572" y="799"/>
                    <a:pt x="572" y="799"/>
                  </a:cubicBezTo>
                  <a:cubicBezTo>
                    <a:pt x="579" y="806"/>
                    <a:pt x="583" y="816"/>
                    <a:pt x="582" y="826"/>
                  </a:cubicBezTo>
                  <a:cubicBezTo>
                    <a:pt x="582" y="837"/>
                    <a:pt x="577" y="846"/>
                    <a:pt x="570" y="853"/>
                  </a:cubicBezTo>
                  <a:cubicBezTo>
                    <a:pt x="562" y="861"/>
                    <a:pt x="552" y="864"/>
                    <a:pt x="542" y="864"/>
                  </a:cubicBezTo>
                  <a:cubicBezTo>
                    <a:pt x="531" y="864"/>
                    <a:pt x="522" y="859"/>
                    <a:pt x="514" y="852"/>
                  </a:cubicBezTo>
                  <a:cubicBezTo>
                    <a:pt x="333" y="699"/>
                    <a:pt x="333" y="699"/>
                    <a:pt x="333" y="699"/>
                  </a:cubicBezTo>
                  <a:cubicBezTo>
                    <a:pt x="300" y="737"/>
                    <a:pt x="300" y="737"/>
                    <a:pt x="300" y="737"/>
                  </a:cubicBezTo>
                  <a:cubicBezTo>
                    <a:pt x="475" y="884"/>
                    <a:pt x="475" y="884"/>
                    <a:pt x="475" y="884"/>
                  </a:cubicBezTo>
                  <a:cubicBezTo>
                    <a:pt x="481" y="891"/>
                    <a:pt x="485" y="901"/>
                    <a:pt x="484" y="912"/>
                  </a:cubicBezTo>
                  <a:cubicBezTo>
                    <a:pt x="483" y="924"/>
                    <a:pt x="478" y="935"/>
                    <a:pt x="469" y="942"/>
                  </a:cubicBezTo>
                  <a:cubicBezTo>
                    <a:pt x="455" y="955"/>
                    <a:pt x="434" y="956"/>
                    <a:pt x="419" y="944"/>
                  </a:cubicBezTo>
                  <a:cubicBezTo>
                    <a:pt x="297" y="837"/>
                    <a:pt x="297" y="837"/>
                    <a:pt x="297" y="837"/>
                  </a:cubicBezTo>
                  <a:cubicBezTo>
                    <a:pt x="264" y="875"/>
                    <a:pt x="264" y="875"/>
                    <a:pt x="264" y="875"/>
                  </a:cubicBezTo>
                  <a:cubicBezTo>
                    <a:pt x="383" y="980"/>
                    <a:pt x="383" y="980"/>
                    <a:pt x="383" y="980"/>
                  </a:cubicBezTo>
                  <a:cubicBezTo>
                    <a:pt x="394" y="995"/>
                    <a:pt x="392" y="1018"/>
                    <a:pt x="378" y="1032"/>
                  </a:cubicBezTo>
                  <a:cubicBezTo>
                    <a:pt x="370" y="1039"/>
                    <a:pt x="360" y="1042"/>
                    <a:pt x="350" y="1042"/>
                  </a:cubicBezTo>
                  <a:cubicBezTo>
                    <a:pt x="339" y="1042"/>
                    <a:pt x="330" y="1037"/>
                    <a:pt x="322" y="1030"/>
                  </a:cubicBezTo>
                  <a:cubicBezTo>
                    <a:pt x="271" y="985"/>
                    <a:pt x="271" y="985"/>
                    <a:pt x="271" y="985"/>
                  </a:cubicBezTo>
                  <a:cubicBezTo>
                    <a:pt x="238" y="1024"/>
                    <a:pt x="238" y="1024"/>
                    <a:pt x="238" y="1024"/>
                  </a:cubicBezTo>
                  <a:cubicBezTo>
                    <a:pt x="284" y="1063"/>
                    <a:pt x="284" y="1063"/>
                    <a:pt x="284" y="1063"/>
                  </a:cubicBezTo>
                  <a:cubicBezTo>
                    <a:pt x="284" y="1063"/>
                    <a:pt x="284" y="1063"/>
                    <a:pt x="284" y="1063"/>
                  </a:cubicBezTo>
                  <a:cubicBezTo>
                    <a:pt x="298" y="1078"/>
                    <a:pt x="297" y="1103"/>
                    <a:pt x="280" y="1118"/>
                  </a:cubicBezTo>
                  <a:cubicBezTo>
                    <a:pt x="265" y="1133"/>
                    <a:pt x="240" y="1132"/>
                    <a:pt x="225" y="1116"/>
                  </a:cubicBezTo>
                  <a:cubicBezTo>
                    <a:pt x="210" y="1104"/>
                    <a:pt x="210" y="1104"/>
                    <a:pt x="210" y="1104"/>
                  </a:cubicBezTo>
                  <a:cubicBezTo>
                    <a:pt x="175" y="1140"/>
                    <a:pt x="175" y="1140"/>
                    <a:pt x="175" y="1140"/>
                  </a:cubicBezTo>
                  <a:cubicBezTo>
                    <a:pt x="190" y="1152"/>
                    <a:pt x="190" y="1152"/>
                    <a:pt x="190" y="1152"/>
                  </a:cubicBezTo>
                  <a:cubicBezTo>
                    <a:pt x="207" y="1170"/>
                    <a:pt x="230" y="1179"/>
                    <a:pt x="254" y="1179"/>
                  </a:cubicBezTo>
                  <a:cubicBezTo>
                    <a:pt x="276" y="1179"/>
                    <a:pt x="298" y="1171"/>
                    <a:pt x="315" y="1155"/>
                  </a:cubicBezTo>
                  <a:cubicBezTo>
                    <a:pt x="333" y="1138"/>
                    <a:pt x="343" y="1115"/>
                    <a:pt x="344" y="1092"/>
                  </a:cubicBezTo>
                  <a:cubicBezTo>
                    <a:pt x="345" y="1092"/>
                    <a:pt x="347" y="1092"/>
                    <a:pt x="348" y="1092"/>
                  </a:cubicBezTo>
                  <a:cubicBezTo>
                    <a:pt x="349" y="1092"/>
                    <a:pt x="350" y="1092"/>
                    <a:pt x="351" y="1092"/>
                  </a:cubicBezTo>
                  <a:cubicBezTo>
                    <a:pt x="374" y="1092"/>
                    <a:pt x="396" y="1084"/>
                    <a:pt x="412" y="1068"/>
                  </a:cubicBezTo>
                  <a:cubicBezTo>
                    <a:pt x="431" y="1051"/>
                    <a:pt x="440" y="1027"/>
                    <a:pt x="440" y="1003"/>
                  </a:cubicBezTo>
                  <a:cubicBezTo>
                    <a:pt x="441" y="1003"/>
                    <a:pt x="442" y="1003"/>
                    <a:pt x="443" y="1003"/>
                  </a:cubicBezTo>
                  <a:cubicBezTo>
                    <a:pt x="465" y="1003"/>
                    <a:pt x="487" y="995"/>
                    <a:pt x="504" y="979"/>
                  </a:cubicBezTo>
                  <a:cubicBezTo>
                    <a:pt x="523" y="961"/>
                    <a:pt x="533" y="938"/>
                    <a:pt x="534" y="914"/>
                  </a:cubicBezTo>
                  <a:cubicBezTo>
                    <a:pt x="536" y="914"/>
                    <a:pt x="538" y="914"/>
                    <a:pt x="540" y="914"/>
                  </a:cubicBezTo>
                  <a:cubicBezTo>
                    <a:pt x="541" y="914"/>
                    <a:pt x="542" y="914"/>
                    <a:pt x="543" y="914"/>
                  </a:cubicBezTo>
                  <a:cubicBezTo>
                    <a:pt x="566" y="914"/>
                    <a:pt x="587" y="906"/>
                    <a:pt x="604" y="890"/>
                  </a:cubicBezTo>
                  <a:cubicBezTo>
                    <a:pt x="622" y="874"/>
                    <a:pt x="632" y="852"/>
                    <a:pt x="633" y="828"/>
                  </a:cubicBezTo>
                  <a:cubicBezTo>
                    <a:pt x="633" y="804"/>
                    <a:pt x="625" y="781"/>
                    <a:pt x="608" y="764"/>
                  </a:cubicBezTo>
                  <a:cubicBezTo>
                    <a:pt x="403" y="573"/>
                    <a:pt x="403" y="573"/>
                    <a:pt x="403" y="573"/>
                  </a:cubicBezTo>
                  <a:cubicBezTo>
                    <a:pt x="235" y="404"/>
                    <a:pt x="235" y="404"/>
                    <a:pt x="235" y="404"/>
                  </a:cubicBezTo>
                  <a:cubicBezTo>
                    <a:pt x="125" y="507"/>
                    <a:pt x="125" y="507"/>
                    <a:pt x="125" y="507"/>
                  </a:cubicBezTo>
                  <a:cubicBezTo>
                    <a:pt x="110" y="522"/>
                    <a:pt x="85" y="521"/>
                    <a:pt x="70" y="506"/>
                  </a:cubicBezTo>
                  <a:cubicBezTo>
                    <a:pt x="55" y="490"/>
                    <a:pt x="56" y="465"/>
                    <a:pt x="71" y="450"/>
                  </a:cubicBezTo>
                  <a:cubicBezTo>
                    <a:pt x="106" y="417"/>
                    <a:pt x="106" y="417"/>
                    <a:pt x="106" y="417"/>
                  </a:cubicBezTo>
                  <a:cubicBezTo>
                    <a:pt x="206" y="321"/>
                    <a:pt x="206" y="321"/>
                    <a:pt x="206" y="321"/>
                  </a:cubicBezTo>
                  <a:cubicBezTo>
                    <a:pt x="280" y="244"/>
                    <a:pt x="280" y="244"/>
                    <a:pt x="280" y="244"/>
                  </a:cubicBezTo>
                  <a:cubicBezTo>
                    <a:pt x="289" y="234"/>
                    <a:pt x="301" y="229"/>
                    <a:pt x="315" y="229"/>
                  </a:cubicBezTo>
                  <a:cubicBezTo>
                    <a:pt x="390" y="233"/>
                    <a:pt x="390" y="233"/>
                    <a:pt x="390" y="233"/>
                  </a:cubicBezTo>
                  <a:cubicBezTo>
                    <a:pt x="585" y="417"/>
                    <a:pt x="585" y="417"/>
                    <a:pt x="585" y="417"/>
                  </a:cubicBezTo>
                  <a:cubicBezTo>
                    <a:pt x="599" y="495"/>
                    <a:pt x="599" y="495"/>
                    <a:pt x="599" y="495"/>
                  </a:cubicBezTo>
                  <a:cubicBezTo>
                    <a:pt x="602" y="508"/>
                    <a:pt x="598" y="521"/>
                    <a:pt x="589" y="531"/>
                  </a:cubicBezTo>
                  <a:cubicBezTo>
                    <a:pt x="523" y="612"/>
                    <a:pt x="523" y="612"/>
                    <a:pt x="523" y="612"/>
                  </a:cubicBezTo>
                  <a:cubicBezTo>
                    <a:pt x="560" y="646"/>
                    <a:pt x="560" y="646"/>
                    <a:pt x="560" y="646"/>
                  </a:cubicBezTo>
                  <a:cubicBezTo>
                    <a:pt x="628" y="564"/>
                    <a:pt x="628" y="564"/>
                    <a:pt x="628" y="564"/>
                  </a:cubicBezTo>
                  <a:cubicBezTo>
                    <a:pt x="646" y="542"/>
                    <a:pt x="654" y="514"/>
                    <a:pt x="649" y="486"/>
                  </a:cubicBezTo>
                  <a:cubicBezTo>
                    <a:pt x="647" y="474"/>
                    <a:pt x="647" y="474"/>
                    <a:pt x="647" y="474"/>
                  </a:cubicBezTo>
                  <a:cubicBezTo>
                    <a:pt x="660" y="483"/>
                    <a:pt x="674" y="488"/>
                    <a:pt x="688" y="488"/>
                  </a:cubicBezTo>
                  <a:cubicBezTo>
                    <a:pt x="703" y="488"/>
                    <a:pt x="717" y="483"/>
                    <a:pt x="727" y="472"/>
                  </a:cubicBezTo>
                  <a:cubicBezTo>
                    <a:pt x="833" y="359"/>
                    <a:pt x="833" y="359"/>
                    <a:pt x="833" y="359"/>
                  </a:cubicBezTo>
                  <a:cubicBezTo>
                    <a:pt x="854" y="336"/>
                    <a:pt x="850" y="298"/>
                    <a:pt x="823" y="273"/>
                  </a:cubicBezTo>
                  <a:close/>
                  <a:moveTo>
                    <a:pt x="690" y="438"/>
                  </a:moveTo>
                  <a:cubicBezTo>
                    <a:pt x="396" y="167"/>
                    <a:pt x="396" y="167"/>
                    <a:pt x="396" y="167"/>
                  </a:cubicBezTo>
                  <a:cubicBezTo>
                    <a:pt x="508" y="46"/>
                    <a:pt x="508" y="46"/>
                    <a:pt x="508" y="46"/>
                  </a:cubicBezTo>
                  <a:cubicBezTo>
                    <a:pt x="803" y="315"/>
                    <a:pt x="803" y="315"/>
                    <a:pt x="803" y="315"/>
                  </a:cubicBezTo>
                  <a:lnTo>
                    <a:pt x="690"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9" name="Oval 19">
              <a:extLst>
                <a:ext uri="{FF2B5EF4-FFF2-40B4-BE49-F238E27FC236}">
                  <a16:creationId xmlns:a16="http://schemas.microsoft.com/office/drawing/2014/main" id="{EFEBA2D7-EFD4-A3D0-7C2F-09B2766B871D}"/>
                </a:ext>
              </a:extLst>
            </p:cNvPr>
            <p:cNvSpPr>
              <a:spLocks noChangeArrowheads="1"/>
            </p:cNvSpPr>
            <p:nvPr/>
          </p:nvSpPr>
          <p:spPr bwMode="gray">
            <a:xfrm>
              <a:off x="4065" y="905"/>
              <a:ext cx="185"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grpSp>
      <p:grpSp>
        <p:nvGrpSpPr>
          <p:cNvPr id="24" name="Group 250">
            <a:extLst>
              <a:ext uri="{FF2B5EF4-FFF2-40B4-BE49-F238E27FC236}">
                <a16:creationId xmlns:a16="http://schemas.microsoft.com/office/drawing/2014/main" id="{32FCE471-08D3-C99F-C9B7-F8CF63B5716D}"/>
              </a:ext>
            </a:extLst>
          </p:cNvPr>
          <p:cNvGrpSpPr>
            <a:grpSpLocks noChangeAspect="1"/>
          </p:cNvGrpSpPr>
          <p:nvPr/>
        </p:nvGrpSpPr>
        <p:grpSpPr bwMode="gray">
          <a:xfrm>
            <a:off x="2996912" y="1738490"/>
            <a:ext cx="366382" cy="365760"/>
            <a:chOff x="1483" y="218"/>
            <a:chExt cx="2941" cy="2936"/>
          </a:xfrm>
          <a:solidFill>
            <a:schemeClr val="accent5"/>
          </a:solidFill>
        </p:grpSpPr>
        <p:sp>
          <p:nvSpPr>
            <p:cNvPr id="31" name="Freeform 253">
              <a:extLst>
                <a:ext uri="{FF2B5EF4-FFF2-40B4-BE49-F238E27FC236}">
                  <a16:creationId xmlns:a16="http://schemas.microsoft.com/office/drawing/2014/main" id="{219B1538-00CF-F774-213F-A30C4E207E16}"/>
                </a:ext>
              </a:extLst>
            </p:cNvPr>
            <p:cNvSpPr>
              <a:spLocks/>
            </p:cNvSpPr>
            <p:nvPr/>
          </p:nvSpPr>
          <p:spPr bwMode="gray">
            <a:xfrm>
              <a:off x="3387" y="2115"/>
              <a:ext cx="1037" cy="1039"/>
            </a:xfrm>
            <a:custGeom>
              <a:avLst/>
              <a:gdLst>
                <a:gd name="T0" fmla="*/ 189 w 1037"/>
                <a:gd name="T1" fmla="*/ 0 h 1039"/>
                <a:gd name="T2" fmla="*/ 0 w 1037"/>
                <a:gd name="T3" fmla="*/ 191 h 1039"/>
                <a:gd name="T4" fmla="*/ 848 w 1037"/>
                <a:gd name="T5" fmla="*/ 1039 h 1039"/>
                <a:gd name="T6" fmla="*/ 1037 w 1037"/>
                <a:gd name="T7" fmla="*/ 848 h 1039"/>
                <a:gd name="T8" fmla="*/ 189 w 1037"/>
                <a:gd name="T9" fmla="*/ 0 h 1039"/>
              </a:gdLst>
              <a:ahLst/>
              <a:cxnLst>
                <a:cxn ang="0">
                  <a:pos x="T0" y="T1"/>
                </a:cxn>
                <a:cxn ang="0">
                  <a:pos x="T2" y="T3"/>
                </a:cxn>
                <a:cxn ang="0">
                  <a:pos x="T4" y="T5"/>
                </a:cxn>
                <a:cxn ang="0">
                  <a:pos x="T6" y="T7"/>
                </a:cxn>
                <a:cxn ang="0">
                  <a:pos x="T8" y="T9"/>
                </a:cxn>
              </a:cxnLst>
              <a:rect l="0" t="0" r="r" b="b"/>
              <a:pathLst>
                <a:path w="1037" h="1039">
                  <a:moveTo>
                    <a:pt x="189" y="0"/>
                  </a:moveTo>
                  <a:lnTo>
                    <a:pt x="0" y="191"/>
                  </a:lnTo>
                  <a:lnTo>
                    <a:pt x="848" y="1039"/>
                  </a:lnTo>
                  <a:lnTo>
                    <a:pt x="1037" y="848"/>
                  </a:lnTo>
                  <a:lnTo>
                    <a:pt x="1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54">
              <a:extLst>
                <a:ext uri="{FF2B5EF4-FFF2-40B4-BE49-F238E27FC236}">
                  <a16:creationId xmlns:a16="http://schemas.microsoft.com/office/drawing/2014/main" id="{154D1357-C4DC-5BF2-99DE-496D21212B09}"/>
                </a:ext>
              </a:extLst>
            </p:cNvPr>
            <p:cNvSpPr>
              <a:spLocks noEditPoints="1"/>
            </p:cNvSpPr>
            <p:nvPr/>
          </p:nvSpPr>
          <p:spPr bwMode="gray">
            <a:xfrm>
              <a:off x="1483" y="218"/>
              <a:ext cx="2141" cy="2140"/>
            </a:xfrm>
            <a:custGeom>
              <a:avLst/>
              <a:gdLst>
                <a:gd name="T0" fmla="*/ 453 w 906"/>
                <a:gd name="T1" fmla="*/ 906 h 906"/>
                <a:gd name="T2" fmla="*/ 0 w 906"/>
                <a:gd name="T3" fmla="*/ 453 h 906"/>
                <a:gd name="T4" fmla="*/ 453 w 906"/>
                <a:gd name="T5" fmla="*/ 0 h 906"/>
                <a:gd name="T6" fmla="*/ 906 w 906"/>
                <a:gd name="T7" fmla="*/ 453 h 906"/>
                <a:gd name="T8" fmla="*/ 453 w 906"/>
                <a:gd name="T9" fmla="*/ 906 h 906"/>
                <a:gd name="T10" fmla="*/ 453 w 906"/>
                <a:gd name="T11" fmla="*/ 113 h 906"/>
                <a:gd name="T12" fmla="*/ 113 w 906"/>
                <a:gd name="T13" fmla="*/ 453 h 906"/>
                <a:gd name="T14" fmla="*/ 453 w 906"/>
                <a:gd name="T15" fmla="*/ 792 h 906"/>
                <a:gd name="T16" fmla="*/ 793 w 906"/>
                <a:gd name="T17" fmla="*/ 453 h 906"/>
                <a:gd name="T18" fmla="*/ 453 w 906"/>
                <a:gd name="T19" fmla="*/ 113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6" h="906">
                  <a:moveTo>
                    <a:pt x="453" y="906"/>
                  </a:moveTo>
                  <a:cubicBezTo>
                    <a:pt x="203" y="906"/>
                    <a:pt x="0" y="702"/>
                    <a:pt x="0" y="453"/>
                  </a:cubicBezTo>
                  <a:cubicBezTo>
                    <a:pt x="0" y="203"/>
                    <a:pt x="203" y="0"/>
                    <a:pt x="453" y="0"/>
                  </a:cubicBezTo>
                  <a:cubicBezTo>
                    <a:pt x="703" y="0"/>
                    <a:pt x="906" y="203"/>
                    <a:pt x="906" y="453"/>
                  </a:cubicBezTo>
                  <a:cubicBezTo>
                    <a:pt x="906" y="702"/>
                    <a:pt x="703" y="906"/>
                    <a:pt x="453" y="906"/>
                  </a:cubicBezTo>
                  <a:close/>
                  <a:moveTo>
                    <a:pt x="453" y="113"/>
                  </a:moveTo>
                  <a:cubicBezTo>
                    <a:pt x="266" y="113"/>
                    <a:pt x="113" y="265"/>
                    <a:pt x="113" y="453"/>
                  </a:cubicBezTo>
                  <a:cubicBezTo>
                    <a:pt x="113" y="640"/>
                    <a:pt x="266" y="792"/>
                    <a:pt x="453" y="792"/>
                  </a:cubicBezTo>
                  <a:cubicBezTo>
                    <a:pt x="640" y="792"/>
                    <a:pt x="793" y="640"/>
                    <a:pt x="793" y="453"/>
                  </a:cubicBezTo>
                  <a:cubicBezTo>
                    <a:pt x="793" y="265"/>
                    <a:pt x="640" y="113"/>
                    <a:pt x="4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55">
              <a:extLst>
                <a:ext uri="{FF2B5EF4-FFF2-40B4-BE49-F238E27FC236}">
                  <a16:creationId xmlns:a16="http://schemas.microsoft.com/office/drawing/2014/main" id="{7669D97D-FC76-3685-03BA-4F4D98AE94EC}"/>
                </a:ext>
              </a:extLst>
            </p:cNvPr>
            <p:cNvSpPr>
              <a:spLocks/>
            </p:cNvSpPr>
            <p:nvPr/>
          </p:nvSpPr>
          <p:spPr bwMode="gray">
            <a:xfrm>
              <a:off x="2024" y="1071"/>
              <a:ext cx="156" cy="798"/>
            </a:xfrm>
            <a:custGeom>
              <a:avLst/>
              <a:gdLst>
                <a:gd name="T0" fmla="*/ 0 w 66"/>
                <a:gd name="T1" fmla="*/ 0 h 338"/>
                <a:gd name="T2" fmla="*/ 0 w 66"/>
                <a:gd name="T3" fmla="*/ 274 h 338"/>
                <a:gd name="T4" fmla="*/ 66 w 66"/>
                <a:gd name="T5" fmla="*/ 338 h 338"/>
                <a:gd name="T6" fmla="*/ 66 w 66"/>
                <a:gd name="T7" fmla="*/ 0 h 338"/>
                <a:gd name="T8" fmla="*/ 0 w 66"/>
                <a:gd name="T9" fmla="*/ 0 h 338"/>
              </a:gdLst>
              <a:ahLst/>
              <a:cxnLst>
                <a:cxn ang="0">
                  <a:pos x="T0" y="T1"/>
                </a:cxn>
                <a:cxn ang="0">
                  <a:pos x="T2" y="T3"/>
                </a:cxn>
                <a:cxn ang="0">
                  <a:pos x="T4" y="T5"/>
                </a:cxn>
                <a:cxn ang="0">
                  <a:pos x="T6" y="T7"/>
                </a:cxn>
                <a:cxn ang="0">
                  <a:pos x="T8" y="T9"/>
                </a:cxn>
              </a:cxnLst>
              <a:rect l="0" t="0" r="r" b="b"/>
              <a:pathLst>
                <a:path w="66" h="338">
                  <a:moveTo>
                    <a:pt x="0" y="0"/>
                  </a:moveTo>
                  <a:cubicBezTo>
                    <a:pt x="0" y="274"/>
                    <a:pt x="0" y="274"/>
                    <a:pt x="0" y="274"/>
                  </a:cubicBezTo>
                  <a:cubicBezTo>
                    <a:pt x="19" y="299"/>
                    <a:pt x="41" y="320"/>
                    <a:pt x="66" y="338"/>
                  </a:cubicBezTo>
                  <a:cubicBezTo>
                    <a:pt x="66" y="0"/>
                    <a:pt x="66" y="0"/>
                    <a:pt x="6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56">
              <a:extLst>
                <a:ext uri="{FF2B5EF4-FFF2-40B4-BE49-F238E27FC236}">
                  <a16:creationId xmlns:a16="http://schemas.microsoft.com/office/drawing/2014/main" id="{7D398D52-0851-9386-C9C7-25834BCC9889}"/>
                </a:ext>
              </a:extLst>
            </p:cNvPr>
            <p:cNvSpPr>
              <a:spLocks/>
            </p:cNvSpPr>
            <p:nvPr/>
          </p:nvSpPr>
          <p:spPr bwMode="gray">
            <a:xfrm>
              <a:off x="2334" y="1326"/>
              <a:ext cx="153" cy="657"/>
            </a:xfrm>
            <a:custGeom>
              <a:avLst/>
              <a:gdLst>
                <a:gd name="T0" fmla="*/ 0 w 65"/>
                <a:gd name="T1" fmla="*/ 0 h 278"/>
                <a:gd name="T2" fmla="*/ 0 w 65"/>
                <a:gd name="T3" fmla="*/ 263 h 278"/>
                <a:gd name="T4" fmla="*/ 65 w 65"/>
                <a:gd name="T5" fmla="*/ 278 h 278"/>
                <a:gd name="T6" fmla="*/ 65 w 65"/>
                <a:gd name="T7" fmla="*/ 0 h 278"/>
                <a:gd name="T8" fmla="*/ 0 w 65"/>
                <a:gd name="T9" fmla="*/ 0 h 278"/>
              </a:gdLst>
              <a:ahLst/>
              <a:cxnLst>
                <a:cxn ang="0">
                  <a:pos x="T0" y="T1"/>
                </a:cxn>
                <a:cxn ang="0">
                  <a:pos x="T2" y="T3"/>
                </a:cxn>
                <a:cxn ang="0">
                  <a:pos x="T4" y="T5"/>
                </a:cxn>
                <a:cxn ang="0">
                  <a:pos x="T6" y="T7"/>
                </a:cxn>
                <a:cxn ang="0">
                  <a:pos x="T8" y="T9"/>
                </a:cxn>
              </a:cxnLst>
              <a:rect l="0" t="0" r="r" b="b"/>
              <a:pathLst>
                <a:path w="65" h="278">
                  <a:moveTo>
                    <a:pt x="0" y="0"/>
                  </a:moveTo>
                  <a:cubicBezTo>
                    <a:pt x="0" y="263"/>
                    <a:pt x="0" y="263"/>
                    <a:pt x="0" y="263"/>
                  </a:cubicBezTo>
                  <a:cubicBezTo>
                    <a:pt x="21" y="271"/>
                    <a:pt x="42" y="276"/>
                    <a:pt x="65" y="278"/>
                  </a:cubicBezTo>
                  <a:cubicBezTo>
                    <a:pt x="65" y="0"/>
                    <a:pt x="65" y="0"/>
                    <a:pt x="6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57">
              <a:extLst>
                <a:ext uri="{FF2B5EF4-FFF2-40B4-BE49-F238E27FC236}">
                  <a16:creationId xmlns:a16="http://schemas.microsoft.com/office/drawing/2014/main" id="{23BD11C4-DBBC-3345-936A-C58EF5F3AFCF}"/>
                </a:ext>
              </a:extLst>
            </p:cNvPr>
            <p:cNvSpPr>
              <a:spLocks/>
            </p:cNvSpPr>
            <p:nvPr/>
          </p:nvSpPr>
          <p:spPr bwMode="gray">
            <a:xfrm>
              <a:off x="2641" y="856"/>
              <a:ext cx="156" cy="1124"/>
            </a:xfrm>
            <a:custGeom>
              <a:avLst/>
              <a:gdLst>
                <a:gd name="T0" fmla="*/ 0 w 66"/>
                <a:gd name="T1" fmla="*/ 0 h 476"/>
                <a:gd name="T2" fmla="*/ 0 w 66"/>
                <a:gd name="T3" fmla="*/ 476 h 476"/>
                <a:gd name="T4" fmla="*/ 66 w 66"/>
                <a:gd name="T5" fmla="*/ 459 h 476"/>
                <a:gd name="T6" fmla="*/ 66 w 66"/>
                <a:gd name="T7" fmla="*/ 0 h 476"/>
                <a:gd name="T8" fmla="*/ 0 w 66"/>
                <a:gd name="T9" fmla="*/ 0 h 476"/>
              </a:gdLst>
              <a:ahLst/>
              <a:cxnLst>
                <a:cxn ang="0">
                  <a:pos x="T0" y="T1"/>
                </a:cxn>
                <a:cxn ang="0">
                  <a:pos x="T2" y="T3"/>
                </a:cxn>
                <a:cxn ang="0">
                  <a:pos x="T4" y="T5"/>
                </a:cxn>
                <a:cxn ang="0">
                  <a:pos x="T6" y="T7"/>
                </a:cxn>
                <a:cxn ang="0">
                  <a:pos x="T8" y="T9"/>
                </a:cxn>
              </a:cxnLst>
              <a:rect l="0" t="0" r="r" b="b"/>
              <a:pathLst>
                <a:path w="66" h="476">
                  <a:moveTo>
                    <a:pt x="0" y="0"/>
                  </a:moveTo>
                  <a:cubicBezTo>
                    <a:pt x="0" y="476"/>
                    <a:pt x="0" y="476"/>
                    <a:pt x="0" y="476"/>
                  </a:cubicBezTo>
                  <a:cubicBezTo>
                    <a:pt x="23" y="473"/>
                    <a:pt x="45" y="467"/>
                    <a:pt x="66" y="459"/>
                  </a:cubicBezTo>
                  <a:cubicBezTo>
                    <a:pt x="66" y="0"/>
                    <a:pt x="66" y="0"/>
                    <a:pt x="6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58">
              <a:extLst>
                <a:ext uri="{FF2B5EF4-FFF2-40B4-BE49-F238E27FC236}">
                  <a16:creationId xmlns:a16="http://schemas.microsoft.com/office/drawing/2014/main" id="{2ADD0A71-9258-3D46-F6A2-9FAEA9016070}"/>
                </a:ext>
              </a:extLst>
            </p:cNvPr>
            <p:cNvSpPr>
              <a:spLocks/>
            </p:cNvSpPr>
            <p:nvPr/>
          </p:nvSpPr>
          <p:spPr bwMode="gray">
            <a:xfrm>
              <a:off x="2950" y="1090"/>
              <a:ext cx="154" cy="763"/>
            </a:xfrm>
            <a:custGeom>
              <a:avLst/>
              <a:gdLst>
                <a:gd name="T0" fmla="*/ 0 w 65"/>
                <a:gd name="T1" fmla="*/ 0 h 323"/>
                <a:gd name="T2" fmla="*/ 0 w 65"/>
                <a:gd name="T3" fmla="*/ 323 h 323"/>
                <a:gd name="T4" fmla="*/ 65 w 65"/>
                <a:gd name="T5" fmla="*/ 252 h 323"/>
                <a:gd name="T6" fmla="*/ 65 w 65"/>
                <a:gd name="T7" fmla="*/ 0 h 323"/>
                <a:gd name="T8" fmla="*/ 0 w 65"/>
                <a:gd name="T9" fmla="*/ 0 h 323"/>
              </a:gdLst>
              <a:ahLst/>
              <a:cxnLst>
                <a:cxn ang="0">
                  <a:pos x="T0" y="T1"/>
                </a:cxn>
                <a:cxn ang="0">
                  <a:pos x="T2" y="T3"/>
                </a:cxn>
                <a:cxn ang="0">
                  <a:pos x="T4" y="T5"/>
                </a:cxn>
                <a:cxn ang="0">
                  <a:pos x="T6" y="T7"/>
                </a:cxn>
                <a:cxn ang="0">
                  <a:pos x="T8" y="T9"/>
                </a:cxn>
              </a:cxnLst>
              <a:rect l="0" t="0" r="r" b="b"/>
              <a:pathLst>
                <a:path w="65" h="323">
                  <a:moveTo>
                    <a:pt x="0" y="0"/>
                  </a:moveTo>
                  <a:cubicBezTo>
                    <a:pt x="0" y="323"/>
                    <a:pt x="0" y="323"/>
                    <a:pt x="0" y="323"/>
                  </a:cubicBezTo>
                  <a:cubicBezTo>
                    <a:pt x="25" y="303"/>
                    <a:pt x="47" y="279"/>
                    <a:pt x="65" y="252"/>
                  </a:cubicBezTo>
                  <a:cubicBezTo>
                    <a:pt x="65" y="0"/>
                    <a:pt x="65" y="0"/>
                    <a:pt x="6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169">
            <a:extLst>
              <a:ext uri="{FF2B5EF4-FFF2-40B4-BE49-F238E27FC236}">
                <a16:creationId xmlns:a16="http://schemas.microsoft.com/office/drawing/2014/main" id="{89561118-BD29-6FA5-9E32-08F24040FFC9}"/>
              </a:ext>
            </a:extLst>
          </p:cNvPr>
          <p:cNvGrpSpPr>
            <a:grpSpLocks noChangeAspect="1"/>
          </p:cNvGrpSpPr>
          <p:nvPr/>
        </p:nvGrpSpPr>
        <p:grpSpPr bwMode="gray">
          <a:xfrm>
            <a:off x="9187252" y="1721262"/>
            <a:ext cx="365306" cy="365760"/>
            <a:chOff x="1268" y="22"/>
            <a:chExt cx="3211" cy="3215"/>
          </a:xfrm>
          <a:solidFill>
            <a:schemeClr val="accent5"/>
          </a:solidFill>
        </p:grpSpPr>
        <p:sp>
          <p:nvSpPr>
            <p:cNvPr id="78" name="Rectangle 172">
              <a:extLst>
                <a:ext uri="{FF2B5EF4-FFF2-40B4-BE49-F238E27FC236}">
                  <a16:creationId xmlns:a16="http://schemas.microsoft.com/office/drawing/2014/main" id="{DF6D2BA3-E996-7021-26B3-DDCB406D2F05}"/>
                </a:ext>
              </a:extLst>
            </p:cNvPr>
            <p:cNvSpPr>
              <a:spLocks noChangeArrowheads="1"/>
            </p:cNvSpPr>
            <p:nvPr/>
          </p:nvSpPr>
          <p:spPr bwMode="gray">
            <a:xfrm>
              <a:off x="1410" y="2701"/>
              <a:ext cx="267" cy="5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73">
              <a:extLst>
                <a:ext uri="{FF2B5EF4-FFF2-40B4-BE49-F238E27FC236}">
                  <a16:creationId xmlns:a16="http://schemas.microsoft.com/office/drawing/2014/main" id="{4B8FA527-F3D2-E6CD-9974-C591E6DD2644}"/>
                </a:ext>
              </a:extLst>
            </p:cNvPr>
            <p:cNvSpPr>
              <a:spLocks noChangeArrowheads="1"/>
            </p:cNvSpPr>
            <p:nvPr/>
          </p:nvSpPr>
          <p:spPr bwMode="gray">
            <a:xfrm>
              <a:off x="2079" y="2167"/>
              <a:ext cx="267" cy="10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74">
              <a:extLst>
                <a:ext uri="{FF2B5EF4-FFF2-40B4-BE49-F238E27FC236}">
                  <a16:creationId xmlns:a16="http://schemas.microsoft.com/office/drawing/2014/main" id="{275E13BC-D20E-6D6A-5564-EDD44B97A853}"/>
                </a:ext>
              </a:extLst>
            </p:cNvPr>
            <p:cNvSpPr>
              <a:spLocks noChangeArrowheads="1"/>
            </p:cNvSpPr>
            <p:nvPr/>
          </p:nvSpPr>
          <p:spPr bwMode="gray">
            <a:xfrm>
              <a:off x="2747" y="1631"/>
              <a:ext cx="270" cy="16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75">
              <a:extLst>
                <a:ext uri="{FF2B5EF4-FFF2-40B4-BE49-F238E27FC236}">
                  <a16:creationId xmlns:a16="http://schemas.microsoft.com/office/drawing/2014/main" id="{11D3A8E9-B7A6-7EAA-2D1C-6AF2AD59B4AA}"/>
                </a:ext>
              </a:extLst>
            </p:cNvPr>
            <p:cNvSpPr>
              <a:spLocks noChangeArrowheads="1"/>
            </p:cNvSpPr>
            <p:nvPr/>
          </p:nvSpPr>
          <p:spPr bwMode="gray">
            <a:xfrm>
              <a:off x="3418" y="1855"/>
              <a:ext cx="267" cy="13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6">
              <a:extLst>
                <a:ext uri="{FF2B5EF4-FFF2-40B4-BE49-F238E27FC236}">
                  <a16:creationId xmlns:a16="http://schemas.microsoft.com/office/drawing/2014/main" id="{2CA1B090-7A5A-0EA9-B9F7-24267C5FBFDC}"/>
                </a:ext>
              </a:extLst>
            </p:cNvPr>
            <p:cNvSpPr>
              <a:spLocks noChangeArrowheads="1"/>
            </p:cNvSpPr>
            <p:nvPr/>
          </p:nvSpPr>
          <p:spPr bwMode="gray">
            <a:xfrm>
              <a:off x="4087" y="1182"/>
              <a:ext cx="269" cy="20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77">
              <a:extLst>
                <a:ext uri="{FF2B5EF4-FFF2-40B4-BE49-F238E27FC236}">
                  <a16:creationId xmlns:a16="http://schemas.microsoft.com/office/drawing/2014/main" id="{E06040B7-3253-DF39-4780-A7A6E7C786AD}"/>
                </a:ext>
              </a:extLst>
            </p:cNvPr>
            <p:cNvSpPr>
              <a:spLocks/>
            </p:cNvSpPr>
            <p:nvPr/>
          </p:nvSpPr>
          <p:spPr bwMode="gray">
            <a:xfrm>
              <a:off x="1268" y="22"/>
              <a:ext cx="3211" cy="1868"/>
            </a:xfrm>
            <a:custGeom>
              <a:avLst/>
              <a:gdLst>
                <a:gd name="T0" fmla="*/ 78 w 3211"/>
                <a:gd name="T1" fmla="*/ 1868 h 1868"/>
                <a:gd name="T2" fmla="*/ 0 w 3211"/>
                <a:gd name="T3" fmla="*/ 1611 h 1868"/>
                <a:gd name="T4" fmla="*/ 719 w 3211"/>
                <a:gd name="T5" fmla="*/ 1394 h 1868"/>
                <a:gd name="T6" fmla="*/ 1141 w 3211"/>
                <a:gd name="T7" fmla="*/ 657 h 1868"/>
                <a:gd name="T8" fmla="*/ 2263 w 3211"/>
                <a:gd name="T9" fmla="*/ 902 h 1868"/>
                <a:gd name="T10" fmla="*/ 3005 w 3211"/>
                <a:gd name="T11" fmla="*/ 0 h 1868"/>
                <a:gd name="T12" fmla="*/ 3211 w 3211"/>
                <a:gd name="T13" fmla="*/ 170 h 1868"/>
                <a:gd name="T14" fmla="*/ 2367 w 3211"/>
                <a:gd name="T15" fmla="*/ 1200 h 1868"/>
                <a:gd name="T16" fmla="*/ 1276 w 3211"/>
                <a:gd name="T17" fmla="*/ 959 h 1868"/>
                <a:gd name="T18" fmla="*/ 898 w 3211"/>
                <a:gd name="T19" fmla="*/ 1618 h 1868"/>
                <a:gd name="T20" fmla="*/ 78 w 3211"/>
                <a:gd name="T21" fmla="*/ 1868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1" h="1868">
                  <a:moveTo>
                    <a:pt x="78" y="1868"/>
                  </a:moveTo>
                  <a:lnTo>
                    <a:pt x="0" y="1611"/>
                  </a:lnTo>
                  <a:lnTo>
                    <a:pt x="719" y="1394"/>
                  </a:lnTo>
                  <a:lnTo>
                    <a:pt x="1141" y="657"/>
                  </a:lnTo>
                  <a:lnTo>
                    <a:pt x="2263" y="902"/>
                  </a:lnTo>
                  <a:lnTo>
                    <a:pt x="3005" y="0"/>
                  </a:lnTo>
                  <a:lnTo>
                    <a:pt x="3211" y="170"/>
                  </a:lnTo>
                  <a:lnTo>
                    <a:pt x="2367" y="1200"/>
                  </a:lnTo>
                  <a:lnTo>
                    <a:pt x="1276" y="959"/>
                  </a:lnTo>
                  <a:lnTo>
                    <a:pt x="898" y="1618"/>
                  </a:lnTo>
                  <a:lnTo>
                    <a:pt x="78" y="18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 name="Group 41">
            <a:extLst>
              <a:ext uri="{FF2B5EF4-FFF2-40B4-BE49-F238E27FC236}">
                <a16:creationId xmlns:a16="http://schemas.microsoft.com/office/drawing/2014/main" id="{44B523EF-0F07-5590-42C0-79827AB68A5A}"/>
              </a:ext>
            </a:extLst>
          </p:cNvPr>
          <p:cNvGrpSpPr>
            <a:grpSpLocks noChangeAspect="1"/>
          </p:cNvGrpSpPr>
          <p:nvPr/>
        </p:nvGrpSpPr>
        <p:grpSpPr bwMode="auto">
          <a:xfrm>
            <a:off x="4568280" y="1721262"/>
            <a:ext cx="368812" cy="365760"/>
            <a:chOff x="1280" y="-9"/>
            <a:chExt cx="3263" cy="3236"/>
          </a:xfrm>
          <a:solidFill>
            <a:schemeClr val="accent5"/>
          </a:solidFill>
        </p:grpSpPr>
        <p:sp>
          <p:nvSpPr>
            <p:cNvPr id="185" name="Freeform 44">
              <a:extLst>
                <a:ext uri="{FF2B5EF4-FFF2-40B4-BE49-F238E27FC236}">
                  <a16:creationId xmlns:a16="http://schemas.microsoft.com/office/drawing/2014/main" id="{8D0AA888-0969-92B1-9BD0-97E11D768597}"/>
                </a:ext>
              </a:extLst>
            </p:cNvPr>
            <p:cNvSpPr>
              <a:spLocks/>
            </p:cNvSpPr>
            <p:nvPr/>
          </p:nvSpPr>
          <p:spPr bwMode="auto">
            <a:xfrm>
              <a:off x="2457" y="-9"/>
              <a:ext cx="2086" cy="2052"/>
            </a:xfrm>
            <a:custGeom>
              <a:avLst/>
              <a:gdLst>
                <a:gd name="T0" fmla="*/ 883 w 883"/>
                <a:gd name="T1" fmla="*/ 139 h 869"/>
                <a:gd name="T2" fmla="*/ 740 w 883"/>
                <a:gd name="T3" fmla="*/ 134 h 869"/>
                <a:gd name="T4" fmla="*/ 738 w 883"/>
                <a:gd name="T5" fmla="*/ 0 h 869"/>
                <a:gd name="T6" fmla="*/ 547 w 883"/>
                <a:gd name="T7" fmla="*/ 183 h 869"/>
                <a:gd name="T8" fmla="*/ 578 w 883"/>
                <a:gd name="T9" fmla="*/ 214 h 869"/>
                <a:gd name="T10" fmla="*/ 457 w 883"/>
                <a:gd name="T11" fmla="*/ 335 h 869"/>
                <a:gd name="T12" fmla="*/ 351 w 883"/>
                <a:gd name="T13" fmla="*/ 440 h 869"/>
                <a:gd name="T14" fmla="*/ 270 w 883"/>
                <a:gd name="T15" fmla="*/ 522 h 869"/>
                <a:gd name="T16" fmla="*/ 179 w 883"/>
                <a:gd name="T17" fmla="*/ 613 h 869"/>
                <a:gd name="T18" fmla="*/ 132 w 883"/>
                <a:gd name="T19" fmla="*/ 604 h 869"/>
                <a:gd name="T20" fmla="*/ 0 w 883"/>
                <a:gd name="T21" fmla="*/ 737 h 869"/>
                <a:gd name="T22" fmla="*/ 132 w 883"/>
                <a:gd name="T23" fmla="*/ 869 h 869"/>
                <a:gd name="T24" fmla="*/ 264 w 883"/>
                <a:gd name="T25" fmla="*/ 737 h 869"/>
                <a:gd name="T26" fmla="*/ 257 w 883"/>
                <a:gd name="T27" fmla="*/ 695 h 869"/>
                <a:gd name="T28" fmla="*/ 349 w 883"/>
                <a:gd name="T29" fmla="*/ 603 h 869"/>
                <a:gd name="T30" fmla="*/ 431 w 883"/>
                <a:gd name="T31" fmla="*/ 521 h 869"/>
                <a:gd name="T32" fmla="*/ 536 w 883"/>
                <a:gd name="T33" fmla="*/ 416 h 869"/>
                <a:gd name="T34" fmla="*/ 657 w 883"/>
                <a:gd name="T35" fmla="*/ 295 h 869"/>
                <a:gd name="T36" fmla="*/ 689 w 883"/>
                <a:gd name="T37" fmla="*/ 327 h 869"/>
                <a:gd name="T38" fmla="*/ 883 w 883"/>
                <a:gd name="T39" fmla="*/ 13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3" h="869">
                  <a:moveTo>
                    <a:pt x="883" y="139"/>
                  </a:moveTo>
                  <a:cubicBezTo>
                    <a:pt x="740" y="134"/>
                    <a:pt x="740" y="134"/>
                    <a:pt x="740" y="134"/>
                  </a:cubicBezTo>
                  <a:cubicBezTo>
                    <a:pt x="738" y="0"/>
                    <a:pt x="738" y="0"/>
                    <a:pt x="738" y="0"/>
                  </a:cubicBezTo>
                  <a:cubicBezTo>
                    <a:pt x="547" y="183"/>
                    <a:pt x="547" y="183"/>
                    <a:pt x="547" y="183"/>
                  </a:cubicBezTo>
                  <a:cubicBezTo>
                    <a:pt x="578" y="214"/>
                    <a:pt x="578" y="214"/>
                    <a:pt x="578" y="214"/>
                  </a:cubicBezTo>
                  <a:cubicBezTo>
                    <a:pt x="457" y="335"/>
                    <a:pt x="457" y="335"/>
                    <a:pt x="457" y="335"/>
                  </a:cubicBezTo>
                  <a:cubicBezTo>
                    <a:pt x="351" y="440"/>
                    <a:pt x="351" y="440"/>
                    <a:pt x="351" y="440"/>
                  </a:cubicBezTo>
                  <a:cubicBezTo>
                    <a:pt x="270" y="522"/>
                    <a:pt x="270" y="522"/>
                    <a:pt x="270" y="522"/>
                  </a:cubicBezTo>
                  <a:cubicBezTo>
                    <a:pt x="179" y="613"/>
                    <a:pt x="179" y="613"/>
                    <a:pt x="179" y="613"/>
                  </a:cubicBezTo>
                  <a:cubicBezTo>
                    <a:pt x="164" y="607"/>
                    <a:pt x="148" y="604"/>
                    <a:pt x="132" y="604"/>
                  </a:cubicBezTo>
                  <a:cubicBezTo>
                    <a:pt x="59" y="604"/>
                    <a:pt x="0" y="664"/>
                    <a:pt x="0" y="737"/>
                  </a:cubicBezTo>
                  <a:cubicBezTo>
                    <a:pt x="0" y="810"/>
                    <a:pt x="59" y="869"/>
                    <a:pt x="132" y="869"/>
                  </a:cubicBezTo>
                  <a:cubicBezTo>
                    <a:pt x="205" y="869"/>
                    <a:pt x="264" y="810"/>
                    <a:pt x="264" y="737"/>
                  </a:cubicBezTo>
                  <a:cubicBezTo>
                    <a:pt x="264" y="722"/>
                    <a:pt x="262" y="708"/>
                    <a:pt x="257" y="695"/>
                  </a:cubicBezTo>
                  <a:cubicBezTo>
                    <a:pt x="349" y="603"/>
                    <a:pt x="349" y="603"/>
                    <a:pt x="349" y="603"/>
                  </a:cubicBezTo>
                  <a:cubicBezTo>
                    <a:pt x="431" y="521"/>
                    <a:pt x="431" y="521"/>
                    <a:pt x="431" y="521"/>
                  </a:cubicBezTo>
                  <a:cubicBezTo>
                    <a:pt x="536" y="416"/>
                    <a:pt x="536" y="416"/>
                    <a:pt x="536" y="416"/>
                  </a:cubicBezTo>
                  <a:cubicBezTo>
                    <a:pt x="657" y="295"/>
                    <a:pt x="657" y="295"/>
                    <a:pt x="657" y="295"/>
                  </a:cubicBezTo>
                  <a:cubicBezTo>
                    <a:pt x="689" y="327"/>
                    <a:pt x="689" y="327"/>
                    <a:pt x="689" y="327"/>
                  </a:cubicBezTo>
                  <a:lnTo>
                    <a:pt x="883"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9" name="Freeform 45">
              <a:extLst>
                <a:ext uri="{FF2B5EF4-FFF2-40B4-BE49-F238E27FC236}">
                  <a16:creationId xmlns:a16="http://schemas.microsoft.com/office/drawing/2014/main" id="{EB035098-11AC-9BCD-6958-9D308ECA9C3F}"/>
                </a:ext>
              </a:extLst>
            </p:cNvPr>
            <p:cNvSpPr>
              <a:spLocks/>
            </p:cNvSpPr>
            <p:nvPr/>
          </p:nvSpPr>
          <p:spPr bwMode="auto">
            <a:xfrm>
              <a:off x="1883" y="853"/>
              <a:ext cx="1771" cy="1772"/>
            </a:xfrm>
            <a:custGeom>
              <a:avLst/>
              <a:gdLst>
                <a:gd name="T0" fmla="*/ 375 w 750"/>
                <a:gd name="T1" fmla="*/ 0 h 750"/>
                <a:gd name="T2" fmla="*/ 0 w 750"/>
                <a:gd name="T3" fmla="*/ 375 h 750"/>
                <a:gd name="T4" fmla="*/ 375 w 750"/>
                <a:gd name="T5" fmla="*/ 750 h 750"/>
                <a:gd name="T6" fmla="*/ 750 w 750"/>
                <a:gd name="T7" fmla="*/ 375 h 750"/>
                <a:gd name="T8" fmla="*/ 712 w 750"/>
                <a:gd name="T9" fmla="*/ 211 h 750"/>
                <a:gd name="T10" fmla="*/ 624 w 750"/>
                <a:gd name="T11" fmla="*/ 300 h 750"/>
                <a:gd name="T12" fmla="*/ 635 w 750"/>
                <a:gd name="T13" fmla="*/ 375 h 750"/>
                <a:gd name="T14" fmla="*/ 375 w 750"/>
                <a:gd name="T15" fmla="*/ 635 h 750"/>
                <a:gd name="T16" fmla="*/ 115 w 750"/>
                <a:gd name="T17" fmla="*/ 375 h 750"/>
                <a:gd name="T18" fmla="*/ 375 w 750"/>
                <a:gd name="T19" fmla="*/ 115 h 750"/>
                <a:gd name="T20" fmla="*/ 454 w 750"/>
                <a:gd name="T21" fmla="*/ 128 h 750"/>
                <a:gd name="T22" fmla="*/ 542 w 750"/>
                <a:gd name="T23" fmla="*/ 39 h 750"/>
                <a:gd name="T24" fmla="*/ 375 w 750"/>
                <a:gd name="T25"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0" h="750">
                  <a:moveTo>
                    <a:pt x="375" y="0"/>
                  </a:moveTo>
                  <a:cubicBezTo>
                    <a:pt x="168" y="0"/>
                    <a:pt x="0" y="168"/>
                    <a:pt x="0" y="375"/>
                  </a:cubicBezTo>
                  <a:cubicBezTo>
                    <a:pt x="0" y="582"/>
                    <a:pt x="168" y="750"/>
                    <a:pt x="375" y="750"/>
                  </a:cubicBezTo>
                  <a:cubicBezTo>
                    <a:pt x="582" y="750"/>
                    <a:pt x="750" y="582"/>
                    <a:pt x="750" y="375"/>
                  </a:cubicBezTo>
                  <a:cubicBezTo>
                    <a:pt x="750" y="316"/>
                    <a:pt x="737" y="261"/>
                    <a:pt x="712" y="211"/>
                  </a:cubicBezTo>
                  <a:cubicBezTo>
                    <a:pt x="624" y="300"/>
                    <a:pt x="624" y="300"/>
                    <a:pt x="624" y="300"/>
                  </a:cubicBezTo>
                  <a:cubicBezTo>
                    <a:pt x="631" y="324"/>
                    <a:pt x="635" y="349"/>
                    <a:pt x="635" y="375"/>
                  </a:cubicBezTo>
                  <a:cubicBezTo>
                    <a:pt x="635" y="518"/>
                    <a:pt x="518" y="635"/>
                    <a:pt x="375" y="635"/>
                  </a:cubicBezTo>
                  <a:cubicBezTo>
                    <a:pt x="232" y="635"/>
                    <a:pt x="115" y="518"/>
                    <a:pt x="115" y="375"/>
                  </a:cubicBezTo>
                  <a:cubicBezTo>
                    <a:pt x="115" y="232"/>
                    <a:pt x="232" y="115"/>
                    <a:pt x="375" y="115"/>
                  </a:cubicBezTo>
                  <a:cubicBezTo>
                    <a:pt x="403" y="115"/>
                    <a:pt x="429" y="120"/>
                    <a:pt x="454" y="128"/>
                  </a:cubicBezTo>
                  <a:cubicBezTo>
                    <a:pt x="542" y="39"/>
                    <a:pt x="542" y="39"/>
                    <a:pt x="542" y="39"/>
                  </a:cubicBezTo>
                  <a:cubicBezTo>
                    <a:pt x="492" y="14"/>
                    <a:pt x="435" y="0"/>
                    <a:pt x="3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0" name="Freeform 46">
              <a:extLst>
                <a:ext uri="{FF2B5EF4-FFF2-40B4-BE49-F238E27FC236}">
                  <a16:creationId xmlns:a16="http://schemas.microsoft.com/office/drawing/2014/main" id="{363E9D6C-05BF-9486-8D06-7440028AE67C}"/>
                </a:ext>
              </a:extLst>
            </p:cNvPr>
            <p:cNvSpPr>
              <a:spLocks/>
            </p:cNvSpPr>
            <p:nvPr/>
          </p:nvSpPr>
          <p:spPr bwMode="auto">
            <a:xfrm>
              <a:off x="1280" y="250"/>
              <a:ext cx="2977" cy="2977"/>
            </a:xfrm>
            <a:custGeom>
              <a:avLst/>
              <a:gdLst>
                <a:gd name="T0" fmla="*/ 1152 w 1260"/>
                <a:gd name="T1" fmla="*/ 278 h 1260"/>
                <a:gd name="T2" fmla="*/ 1070 w 1260"/>
                <a:gd name="T3" fmla="*/ 360 h 1260"/>
                <a:gd name="T4" fmla="*/ 1147 w 1260"/>
                <a:gd name="T5" fmla="*/ 630 h 1260"/>
                <a:gd name="T6" fmla="*/ 630 w 1260"/>
                <a:gd name="T7" fmla="*/ 1146 h 1260"/>
                <a:gd name="T8" fmla="*/ 114 w 1260"/>
                <a:gd name="T9" fmla="*/ 630 h 1260"/>
                <a:gd name="T10" fmla="*/ 630 w 1260"/>
                <a:gd name="T11" fmla="*/ 113 h 1260"/>
                <a:gd name="T12" fmla="*/ 903 w 1260"/>
                <a:gd name="T13" fmla="*/ 192 h 1260"/>
                <a:gd name="T14" fmla="*/ 985 w 1260"/>
                <a:gd name="T15" fmla="*/ 110 h 1260"/>
                <a:gd name="T16" fmla="*/ 630 w 1260"/>
                <a:gd name="T17" fmla="*/ 0 h 1260"/>
                <a:gd name="T18" fmla="*/ 0 w 1260"/>
                <a:gd name="T19" fmla="*/ 630 h 1260"/>
                <a:gd name="T20" fmla="*/ 630 w 1260"/>
                <a:gd name="T21" fmla="*/ 1260 h 1260"/>
                <a:gd name="T22" fmla="*/ 1260 w 1260"/>
                <a:gd name="T23" fmla="*/ 630 h 1260"/>
                <a:gd name="T24" fmla="*/ 1152 w 1260"/>
                <a:gd name="T25" fmla="*/ 278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0" h="1260">
                  <a:moveTo>
                    <a:pt x="1152" y="278"/>
                  </a:moveTo>
                  <a:cubicBezTo>
                    <a:pt x="1070" y="360"/>
                    <a:pt x="1070" y="360"/>
                    <a:pt x="1070" y="360"/>
                  </a:cubicBezTo>
                  <a:cubicBezTo>
                    <a:pt x="1119" y="439"/>
                    <a:pt x="1147" y="531"/>
                    <a:pt x="1147" y="630"/>
                  </a:cubicBezTo>
                  <a:cubicBezTo>
                    <a:pt x="1147" y="915"/>
                    <a:pt x="915" y="1146"/>
                    <a:pt x="630" y="1146"/>
                  </a:cubicBezTo>
                  <a:cubicBezTo>
                    <a:pt x="345" y="1146"/>
                    <a:pt x="114" y="915"/>
                    <a:pt x="114" y="630"/>
                  </a:cubicBezTo>
                  <a:cubicBezTo>
                    <a:pt x="114" y="345"/>
                    <a:pt x="345" y="113"/>
                    <a:pt x="630" y="113"/>
                  </a:cubicBezTo>
                  <a:cubicBezTo>
                    <a:pt x="730" y="113"/>
                    <a:pt x="824" y="142"/>
                    <a:pt x="903" y="192"/>
                  </a:cubicBezTo>
                  <a:cubicBezTo>
                    <a:pt x="985" y="110"/>
                    <a:pt x="985" y="110"/>
                    <a:pt x="985" y="110"/>
                  </a:cubicBezTo>
                  <a:cubicBezTo>
                    <a:pt x="884" y="41"/>
                    <a:pt x="762" y="0"/>
                    <a:pt x="630" y="0"/>
                  </a:cubicBezTo>
                  <a:cubicBezTo>
                    <a:pt x="283" y="0"/>
                    <a:pt x="0" y="283"/>
                    <a:pt x="0" y="630"/>
                  </a:cubicBezTo>
                  <a:cubicBezTo>
                    <a:pt x="0" y="977"/>
                    <a:pt x="283" y="1260"/>
                    <a:pt x="630" y="1260"/>
                  </a:cubicBezTo>
                  <a:cubicBezTo>
                    <a:pt x="977" y="1260"/>
                    <a:pt x="1260" y="977"/>
                    <a:pt x="1260" y="630"/>
                  </a:cubicBezTo>
                  <a:cubicBezTo>
                    <a:pt x="1260" y="500"/>
                    <a:pt x="1220" y="379"/>
                    <a:pt x="1152" y="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46">
            <a:extLst>
              <a:ext uri="{FF2B5EF4-FFF2-40B4-BE49-F238E27FC236}">
                <a16:creationId xmlns:a16="http://schemas.microsoft.com/office/drawing/2014/main" id="{533C8AF2-544B-28AA-44A4-785941C69471}"/>
              </a:ext>
            </a:extLst>
          </p:cNvPr>
          <p:cNvGrpSpPr>
            <a:grpSpLocks noChangeAspect="1"/>
          </p:cNvGrpSpPr>
          <p:nvPr/>
        </p:nvGrpSpPr>
        <p:grpSpPr bwMode="gray">
          <a:xfrm>
            <a:off x="10755623" y="1721262"/>
            <a:ext cx="358402" cy="365760"/>
            <a:chOff x="1273" y="-49"/>
            <a:chExt cx="3215" cy="3281"/>
          </a:xfrm>
          <a:solidFill>
            <a:schemeClr val="accent5"/>
          </a:solidFill>
        </p:grpSpPr>
        <p:sp>
          <p:nvSpPr>
            <p:cNvPr id="89" name="Freeform 48">
              <a:extLst>
                <a:ext uri="{FF2B5EF4-FFF2-40B4-BE49-F238E27FC236}">
                  <a16:creationId xmlns:a16="http://schemas.microsoft.com/office/drawing/2014/main" id="{86969017-106C-8C5A-3AE0-1BFC49429335}"/>
                </a:ext>
              </a:extLst>
            </p:cNvPr>
            <p:cNvSpPr>
              <a:spLocks/>
            </p:cNvSpPr>
            <p:nvPr/>
          </p:nvSpPr>
          <p:spPr bwMode="gray">
            <a:xfrm>
              <a:off x="3487" y="1919"/>
              <a:ext cx="1001" cy="1313"/>
            </a:xfrm>
            <a:custGeom>
              <a:avLst/>
              <a:gdLst>
                <a:gd name="T0" fmla="*/ 343 w 424"/>
                <a:gd name="T1" fmla="*/ 226 h 556"/>
                <a:gd name="T2" fmla="*/ 177 w 424"/>
                <a:gd name="T3" fmla="*/ 87 h 556"/>
                <a:gd name="T4" fmla="*/ 177 w 424"/>
                <a:gd name="T5" fmla="*/ 87 h 556"/>
                <a:gd name="T6" fmla="*/ 73 w 424"/>
                <a:gd name="T7" fmla="*/ 0 h 556"/>
                <a:gd name="T8" fmla="*/ 0 w 424"/>
                <a:gd name="T9" fmla="*/ 87 h 556"/>
                <a:gd name="T10" fmla="*/ 104 w 424"/>
                <a:gd name="T11" fmla="*/ 174 h 556"/>
                <a:gd name="T12" fmla="*/ 104 w 424"/>
                <a:gd name="T13" fmla="*/ 174 h 556"/>
                <a:gd name="T14" fmla="*/ 270 w 424"/>
                <a:gd name="T15" fmla="*/ 313 h 556"/>
                <a:gd name="T16" fmla="*/ 310 w 424"/>
                <a:gd name="T17" fmla="*/ 400 h 556"/>
                <a:gd name="T18" fmla="*/ 310 w 424"/>
                <a:gd name="T19" fmla="*/ 556 h 556"/>
                <a:gd name="T20" fmla="*/ 424 w 424"/>
                <a:gd name="T21" fmla="*/ 556 h 556"/>
                <a:gd name="T22" fmla="*/ 424 w 424"/>
                <a:gd name="T23" fmla="*/ 400 h 556"/>
                <a:gd name="T24" fmla="*/ 343 w 424"/>
                <a:gd name="T25" fmla="*/ 22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556">
                  <a:moveTo>
                    <a:pt x="343" y="226"/>
                  </a:moveTo>
                  <a:cubicBezTo>
                    <a:pt x="177" y="87"/>
                    <a:pt x="177" y="87"/>
                    <a:pt x="177" y="87"/>
                  </a:cubicBezTo>
                  <a:cubicBezTo>
                    <a:pt x="177" y="87"/>
                    <a:pt x="177" y="87"/>
                    <a:pt x="177" y="87"/>
                  </a:cubicBezTo>
                  <a:cubicBezTo>
                    <a:pt x="73" y="0"/>
                    <a:pt x="73" y="0"/>
                    <a:pt x="73" y="0"/>
                  </a:cubicBezTo>
                  <a:cubicBezTo>
                    <a:pt x="0" y="87"/>
                    <a:pt x="0" y="87"/>
                    <a:pt x="0" y="87"/>
                  </a:cubicBezTo>
                  <a:cubicBezTo>
                    <a:pt x="104" y="174"/>
                    <a:pt x="104" y="174"/>
                    <a:pt x="104" y="174"/>
                  </a:cubicBezTo>
                  <a:cubicBezTo>
                    <a:pt x="104" y="174"/>
                    <a:pt x="104" y="174"/>
                    <a:pt x="104" y="174"/>
                  </a:cubicBezTo>
                  <a:cubicBezTo>
                    <a:pt x="270" y="313"/>
                    <a:pt x="270" y="313"/>
                    <a:pt x="270" y="313"/>
                  </a:cubicBezTo>
                  <a:cubicBezTo>
                    <a:pt x="296" y="334"/>
                    <a:pt x="310" y="366"/>
                    <a:pt x="310" y="400"/>
                  </a:cubicBezTo>
                  <a:cubicBezTo>
                    <a:pt x="310" y="556"/>
                    <a:pt x="310" y="556"/>
                    <a:pt x="310" y="556"/>
                  </a:cubicBezTo>
                  <a:cubicBezTo>
                    <a:pt x="424" y="556"/>
                    <a:pt x="424" y="556"/>
                    <a:pt x="424" y="556"/>
                  </a:cubicBezTo>
                  <a:cubicBezTo>
                    <a:pt x="424" y="400"/>
                    <a:pt x="424" y="400"/>
                    <a:pt x="424" y="400"/>
                  </a:cubicBezTo>
                  <a:cubicBezTo>
                    <a:pt x="424" y="333"/>
                    <a:pt x="394" y="269"/>
                    <a:pt x="343"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9">
              <a:extLst>
                <a:ext uri="{FF2B5EF4-FFF2-40B4-BE49-F238E27FC236}">
                  <a16:creationId xmlns:a16="http://schemas.microsoft.com/office/drawing/2014/main" id="{DC3DDA54-1F7E-EFFC-A179-7445E5278592}"/>
                </a:ext>
              </a:extLst>
            </p:cNvPr>
            <p:cNvSpPr>
              <a:spLocks noEditPoints="1"/>
            </p:cNvSpPr>
            <p:nvPr/>
          </p:nvSpPr>
          <p:spPr bwMode="gray">
            <a:xfrm>
              <a:off x="1273" y="-49"/>
              <a:ext cx="2412" cy="3281"/>
            </a:xfrm>
            <a:custGeom>
              <a:avLst/>
              <a:gdLst>
                <a:gd name="T0" fmla="*/ 681 w 1021"/>
                <a:gd name="T1" fmla="*/ 0 h 1389"/>
                <a:gd name="T2" fmla="*/ 681 w 1021"/>
                <a:gd name="T3" fmla="*/ 0 h 1389"/>
                <a:gd name="T4" fmla="*/ 680 w 1021"/>
                <a:gd name="T5" fmla="*/ 0 h 1389"/>
                <a:gd name="T6" fmla="*/ 680 w 1021"/>
                <a:gd name="T7" fmla="*/ 0 h 1389"/>
                <a:gd name="T8" fmla="*/ 340 w 1021"/>
                <a:gd name="T9" fmla="*/ 340 h 1389"/>
                <a:gd name="T10" fmla="*/ 340 w 1021"/>
                <a:gd name="T11" fmla="*/ 567 h 1389"/>
                <a:gd name="T12" fmla="*/ 340 w 1021"/>
                <a:gd name="T13" fmla="*/ 567 h 1389"/>
                <a:gd name="T14" fmla="*/ 340 w 1021"/>
                <a:gd name="T15" fmla="*/ 567 h 1389"/>
                <a:gd name="T16" fmla="*/ 340 w 1021"/>
                <a:gd name="T17" fmla="*/ 567 h 1389"/>
                <a:gd name="T18" fmla="*/ 415 w 1021"/>
                <a:gd name="T19" fmla="*/ 779 h 1389"/>
                <a:gd name="T20" fmla="*/ 247 w 1021"/>
                <a:gd name="T21" fmla="*/ 920 h 1389"/>
                <a:gd name="T22" fmla="*/ 247 w 1021"/>
                <a:gd name="T23" fmla="*/ 920 h 1389"/>
                <a:gd name="T24" fmla="*/ 81 w 1021"/>
                <a:gd name="T25" fmla="*/ 1059 h 1389"/>
                <a:gd name="T26" fmla="*/ 0 w 1021"/>
                <a:gd name="T27" fmla="*/ 1233 h 1389"/>
                <a:gd name="T28" fmla="*/ 0 w 1021"/>
                <a:gd name="T29" fmla="*/ 1389 h 1389"/>
                <a:gd name="T30" fmla="*/ 114 w 1021"/>
                <a:gd name="T31" fmla="*/ 1389 h 1389"/>
                <a:gd name="T32" fmla="*/ 114 w 1021"/>
                <a:gd name="T33" fmla="*/ 1233 h 1389"/>
                <a:gd name="T34" fmla="*/ 154 w 1021"/>
                <a:gd name="T35" fmla="*/ 1146 h 1389"/>
                <a:gd name="T36" fmla="*/ 320 w 1021"/>
                <a:gd name="T37" fmla="*/ 1007 h 1389"/>
                <a:gd name="T38" fmla="*/ 501 w 1021"/>
                <a:gd name="T39" fmla="*/ 856 h 1389"/>
                <a:gd name="T40" fmla="*/ 680 w 1021"/>
                <a:gd name="T41" fmla="*/ 907 h 1389"/>
                <a:gd name="T42" fmla="*/ 680 w 1021"/>
                <a:gd name="T43" fmla="*/ 907 h 1389"/>
                <a:gd name="T44" fmla="*/ 680 w 1021"/>
                <a:gd name="T45" fmla="*/ 907 h 1389"/>
                <a:gd name="T46" fmla="*/ 680 w 1021"/>
                <a:gd name="T47" fmla="*/ 907 h 1389"/>
                <a:gd name="T48" fmla="*/ 680 w 1021"/>
                <a:gd name="T49" fmla="*/ 907 h 1389"/>
                <a:gd name="T50" fmla="*/ 680 w 1021"/>
                <a:gd name="T51" fmla="*/ 907 h 1389"/>
                <a:gd name="T52" fmla="*/ 680 w 1021"/>
                <a:gd name="T53" fmla="*/ 907 h 1389"/>
                <a:gd name="T54" fmla="*/ 681 w 1021"/>
                <a:gd name="T55" fmla="*/ 907 h 1389"/>
                <a:gd name="T56" fmla="*/ 681 w 1021"/>
                <a:gd name="T57" fmla="*/ 907 h 1389"/>
                <a:gd name="T58" fmla="*/ 681 w 1021"/>
                <a:gd name="T59" fmla="*/ 907 h 1389"/>
                <a:gd name="T60" fmla="*/ 1021 w 1021"/>
                <a:gd name="T61" fmla="*/ 567 h 1389"/>
                <a:gd name="T62" fmla="*/ 1021 w 1021"/>
                <a:gd name="T63" fmla="*/ 567 h 1389"/>
                <a:gd name="T64" fmla="*/ 1021 w 1021"/>
                <a:gd name="T65" fmla="*/ 567 h 1389"/>
                <a:gd name="T66" fmla="*/ 1021 w 1021"/>
                <a:gd name="T67" fmla="*/ 567 h 1389"/>
                <a:gd name="T68" fmla="*/ 1021 w 1021"/>
                <a:gd name="T69" fmla="*/ 340 h 1389"/>
                <a:gd name="T70" fmla="*/ 681 w 1021"/>
                <a:gd name="T71" fmla="*/ 0 h 1389"/>
                <a:gd name="T72" fmla="*/ 907 w 1021"/>
                <a:gd name="T73" fmla="*/ 567 h 1389"/>
                <a:gd name="T74" fmla="*/ 907 w 1021"/>
                <a:gd name="T75" fmla="*/ 567 h 1389"/>
                <a:gd name="T76" fmla="*/ 680 w 1021"/>
                <a:gd name="T77" fmla="*/ 794 h 1389"/>
                <a:gd name="T78" fmla="*/ 680 w 1021"/>
                <a:gd name="T79" fmla="*/ 794 h 1389"/>
                <a:gd name="T80" fmla="*/ 680 w 1021"/>
                <a:gd name="T81" fmla="*/ 794 h 1389"/>
                <a:gd name="T82" fmla="*/ 680 w 1021"/>
                <a:gd name="T83" fmla="*/ 794 h 1389"/>
                <a:gd name="T84" fmla="*/ 454 w 1021"/>
                <a:gd name="T85" fmla="*/ 567 h 1389"/>
                <a:gd name="T86" fmla="*/ 454 w 1021"/>
                <a:gd name="T87" fmla="*/ 567 h 1389"/>
                <a:gd name="T88" fmla="*/ 454 w 1021"/>
                <a:gd name="T89" fmla="*/ 567 h 1389"/>
                <a:gd name="T90" fmla="*/ 454 w 1021"/>
                <a:gd name="T91" fmla="*/ 567 h 1389"/>
                <a:gd name="T92" fmla="*/ 454 w 1021"/>
                <a:gd name="T93" fmla="*/ 340 h 1389"/>
                <a:gd name="T94" fmla="*/ 680 w 1021"/>
                <a:gd name="T95" fmla="*/ 113 h 1389"/>
                <a:gd name="T96" fmla="*/ 681 w 1021"/>
                <a:gd name="T97" fmla="*/ 113 h 1389"/>
                <a:gd name="T98" fmla="*/ 907 w 1021"/>
                <a:gd name="T99" fmla="*/ 340 h 1389"/>
                <a:gd name="T100" fmla="*/ 907 w 1021"/>
                <a:gd name="T101" fmla="*/ 567 h 1389"/>
                <a:gd name="T102" fmla="*/ 907 w 1021"/>
                <a:gd name="T103" fmla="*/ 56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1" h="1389">
                  <a:moveTo>
                    <a:pt x="681" y="0"/>
                  </a:moveTo>
                  <a:cubicBezTo>
                    <a:pt x="681" y="0"/>
                    <a:pt x="681" y="0"/>
                    <a:pt x="681" y="0"/>
                  </a:cubicBezTo>
                  <a:cubicBezTo>
                    <a:pt x="680" y="0"/>
                    <a:pt x="680" y="0"/>
                    <a:pt x="680" y="0"/>
                  </a:cubicBezTo>
                  <a:cubicBezTo>
                    <a:pt x="680" y="0"/>
                    <a:pt x="680" y="0"/>
                    <a:pt x="680" y="0"/>
                  </a:cubicBezTo>
                  <a:cubicBezTo>
                    <a:pt x="493" y="0"/>
                    <a:pt x="340" y="153"/>
                    <a:pt x="340" y="340"/>
                  </a:cubicBezTo>
                  <a:cubicBezTo>
                    <a:pt x="340" y="567"/>
                    <a:pt x="340" y="567"/>
                    <a:pt x="340" y="567"/>
                  </a:cubicBezTo>
                  <a:cubicBezTo>
                    <a:pt x="340" y="567"/>
                    <a:pt x="340" y="567"/>
                    <a:pt x="340" y="567"/>
                  </a:cubicBezTo>
                  <a:cubicBezTo>
                    <a:pt x="340" y="567"/>
                    <a:pt x="340" y="567"/>
                    <a:pt x="340" y="567"/>
                  </a:cubicBezTo>
                  <a:cubicBezTo>
                    <a:pt x="340" y="567"/>
                    <a:pt x="340" y="567"/>
                    <a:pt x="340" y="567"/>
                  </a:cubicBezTo>
                  <a:cubicBezTo>
                    <a:pt x="340" y="647"/>
                    <a:pt x="368" y="721"/>
                    <a:pt x="415" y="779"/>
                  </a:cubicBezTo>
                  <a:cubicBezTo>
                    <a:pt x="247" y="920"/>
                    <a:pt x="247" y="920"/>
                    <a:pt x="247" y="920"/>
                  </a:cubicBezTo>
                  <a:cubicBezTo>
                    <a:pt x="247" y="920"/>
                    <a:pt x="247" y="920"/>
                    <a:pt x="247" y="920"/>
                  </a:cubicBezTo>
                  <a:cubicBezTo>
                    <a:pt x="81" y="1059"/>
                    <a:pt x="81" y="1059"/>
                    <a:pt x="81" y="1059"/>
                  </a:cubicBezTo>
                  <a:cubicBezTo>
                    <a:pt x="30" y="1102"/>
                    <a:pt x="0" y="1166"/>
                    <a:pt x="0" y="1233"/>
                  </a:cubicBezTo>
                  <a:cubicBezTo>
                    <a:pt x="0" y="1389"/>
                    <a:pt x="0" y="1389"/>
                    <a:pt x="0" y="1389"/>
                  </a:cubicBezTo>
                  <a:cubicBezTo>
                    <a:pt x="114" y="1389"/>
                    <a:pt x="114" y="1389"/>
                    <a:pt x="114" y="1389"/>
                  </a:cubicBezTo>
                  <a:cubicBezTo>
                    <a:pt x="114" y="1233"/>
                    <a:pt x="114" y="1233"/>
                    <a:pt x="114" y="1233"/>
                  </a:cubicBezTo>
                  <a:cubicBezTo>
                    <a:pt x="114" y="1199"/>
                    <a:pt x="128" y="1167"/>
                    <a:pt x="154" y="1146"/>
                  </a:cubicBezTo>
                  <a:cubicBezTo>
                    <a:pt x="320" y="1007"/>
                    <a:pt x="320" y="1007"/>
                    <a:pt x="320" y="1007"/>
                  </a:cubicBezTo>
                  <a:cubicBezTo>
                    <a:pt x="501" y="856"/>
                    <a:pt x="501" y="856"/>
                    <a:pt x="501" y="856"/>
                  </a:cubicBezTo>
                  <a:cubicBezTo>
                    <a:pt x="553" y="888"/>
                    <a:pt x="614" y="907"/>
                    <a:pt x="680" y="907"/>
                  </a:cubicBezTo>
                  <a:cubicBezTo>
                    <a:pt x="680" y="907"/>
                    <a:pt x="680" y="907"/>
                    <a:pt x="680" y="907"/>
                  </a:cubicBezTo>
                  <a:cubicBezTo>
                    <a:pt x="680" y="907"/>
                    <a:pt x="680" y="907"/>
                    <a:pt x="680" y="907"/>
                  </a:cubicBezTo>
                  <a:cubicBezTo>
                    <a:pt x="680" y="907"/>
                    <a:pt x="680" y="907"/>
                    <a:pt x="680" y="907"/>
                  </a:cubicBezTo>
                  <a:cubicBezTo>
                    <a:pt x="680" y="907"/>
                    <a:pt x="680" y="907"/>
                    <a:pt x="680" y="907"/>
                  </a:cubicBezTo>
                  <a:cubicBezTo>
                    <a:pt x="680" y="907"/>
                    <a:pt x="680" y="907"/>
                    <a:pt x="680" y="907"/>
                  </a:cubicBezTo>
                  <a:cubicBezTo>
                    <a:pt x="680" y="907"/>
                    <a:pt x="680" y="907"/>
                    <a:pt x="680" y="907"/>
                  </a:cubicBezTo>
                  <a:cubicBezTo>
                    <a:pt x="680" y="907"/>
                    <a:pt x="681" y="907"/>
                    <a:pt x="681" y="907"/>
                  </a:cubicBezTo>
                  <a:cubicBezTo>
                    <a:pt x="681" y="907"/>
                    <a:pt x="681" y="907"/>
                    <a:pt x="681" y="907"/>
                  </a:cubicBezTo>
                  <a:cubicBezTo>
                    <a:pt x="681" y="907"/>
                    <a:pt x="681" y="907"/>
                    <a:pt x="681" y="907"/>
                  </a:cubicBezTo>
                  <a:cubicBezTo>
                    <a:pt x="868" y="907"/>
                    <a:pt x="1020" y="755"/>
                    <a:pt x="1021" y="567"/>
                  </a:cubicBezTo>
                  <a:cubicBezTo>
                    <a:pt x="1021" y="567"/>
                    <a:pt x="1021" y="567"/>
                    <a:pt x="1021" y="567"/>
                  </a:cubicBezTo>
                  <a:cubicBezTo>
                    <a:pt x="1021" y="567"/>
                    <a:pt x="1021" y="567"/>
                    <a:pt x="1021" y="567"/>
                  </a:cubicBezTo>
                  <a:cubicBezTo>
                    <a:pt x="1021" y="567"/>
                    <a:pt x="1021" y="567"/>
                    <a:pt x="1021" y="567"/>
                  </a:cubicBezTo>
                  <a:cubicBezTo>
                    <a:pt x="1021" y="340"/>
                    <a:pt x="1021" y="340"/>
                    <a:pt x="1021" y="340"/>
                  </a:cubicBezTo>
                  <a:cubicBezTo>
                    <a:pt x="1021" y="153"/>
                    <a:pt x="868" y="0"/>
                    <a:pt x="681" y="0"/>
                  </a:cubicBezTo>
                  <a:close/>
                  <a:moveTo>
                    <a:pt x="907" y="567"/>
                  </a:moveTo>
                  <a:cubicBezTo>
                    <a:pt x="907" y="567"/>
                    <a:pt x="907" y="567"/>
                    <a:pt x="907" y="567"/>
                  </a:cubicBezTo>
                  <a:cubicBezTo>
                    <a:pt x="907" y="692"/>
                    <a:pt x="806" y="794"/>
                    <a:pt x="680" y="794"/>
                  </a:cubicBezTo>
                  <a:cubicBezTo>
                    <a:pt x="680" y="794"/>
                    <a:pt x="680" y="794"/>
                    <a:pt x="680" y="794"/>
                  </a:cubicBezTo>
                  <a:cubicBezTo>
                    <a:pt x="680" y="794"/>
                    <a:pt x="680" y="794"/>
                    <a:pt x="680" y="794"/>
                  </a:cubicBezTo>
                  <a:cubicBezTo>
                    <a:pt x="680" y="794"/>
                    <a:pt x="680" y="794"/>
                    <a:pt x="680" y="794"/>
                  </a:cubicBezTo>
                  <a:cubicBezTo>
                    <a:pt x="555" y="794"/>
                    <a:pt x="454" y="692"/>
                    <a:pt x="454" y="567"/>
                  </a:cubicBezTo>
                  <a:cubicBezTo>
                    <a:pt x="454" y="567"/>
                    <a:pt x="454" y="567"/>
                    <a:pt x="454" y="567"/>
                  </a:cubicBezTo>
                  <a:cubicBezTo>
                    <a:pt x="454" y="567"/>
                    <a:pt x="454" y="567"/>
                    <a:pt x="454" y="567"/>
                  </a:cubicBezTo>
                  <a:cubicBezTo>
                    <a:pt x="454" y="567"/>
                    <a:pt x="454" y="567"/>
                    <a:pt x="454" y="567"/>
                  </a:cubicBezTo>
                  <a:cubicBezTo>
                    <a:pt x="454" y="340"/>
                    <a:pt x="454" y="340"/>
                    <a:pt x="454" y="340"/>
                  </a:cubicBezTo>
                  <a:cubicBezTo>
                    <a:pt x="454" y="215"/>
                    <a:pt x="555" y="113"/>
                    <a:pt x="680" y="113"/>
                  </a:cubicBezTo>
                  <a:cubicBezTo>
                    <a:pt x="681" y="113"/>
                    <a:pt x="681" y="113"/>
                    <a:pt x="681" y="113"/>
                  </a:cubicBezTo>
                  <a:cubicBezTo>
                    <a:pt x="806" y="113"/>
                    <a:pt x="907" y="215"/>
                    <a:pt x="907" y="340"/>
                  </a:cubicBezTo>
                  <a:cubicBezTo>
                    <a:pt x="907" y="567"/>
                    <a:pt x="907" y="567"/>
                    <a:pt x="907" y="567"/>
                  </a:cubicBezTo>
                  <a:cubicBezTo>
                    <a:pt x="907" y="567"/>
                    <a:pt x="907" y="567"/>
                    <a:pt x="907" y="5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0">
              <a:extLst>
                <a:ext uri="{FF2B5EF4-FFF2-40B4-BE49-F238E27FC236}">
                  <a16:creationId xmlns:a16="http://schemas.microsoft.com/office/drawing/2014/main" id="{9E63B6B6-B0F2-1163-2DB7-985A448E87B1}"/>
                </a:ext>
              </a:extLst>
            </p:cNvPr>
            <p:cNvSpPr>
              <a:spLocks/>
            </p:cNvSpPr>
            <p:nvPr/>
          </p:nvSpPr>
          <p:spPr bwMode="gray">
            <a:xfrm>
              <a:off x="2974" y="2564"/>
              <a:ext cx="761" cy="666"/>
            </a:xfrm>
            <a:custGeom>
              <a:avLst/>
              <a:gdLst>
                <a:gd name="T0" fmla="*/ 161 w 322"/>
                <a:gd name="T1" fmla="*/ 282 h 282"/>
                <a:gd name="T2" fmla="*/ 144 w 322"/>
                <a:gd name="T3" fmla="*/ 275 h 282"/>
                <a:gd name="T4" fmla="*/ 32 w 322"/>
                <a:gd name="T5" fmla="*/ 163 h 282"/>
                <a:gd name="T6" fmla="*/ 0 w 322"/>
                <a:gd name="T7" fmla="*/ 93 h 282"/>
                <a:gd name="T8" fmla="*/ 93 w 322"/>
                <a:gd name="T9" fmla="*/ 0 h 282"/>
                <a:gd name="T10" fmla="*/ 161 w 322"/>
                <a:gd name="T11" fmla="*/ 30 h 282"/>
                <a:gd name="T12" fmla="*/ 229 w 322"/>
                <a:gd name="T13" fmla="*/ 0 h 282"/>
                <a:gd name="T14" fmla="*/ 322 w 322"/>
                <a:gd name="T15" fmla="*/ 93 h 282"/>
                <a:gd name="T16" fmla="*/ 290 w 322"/>
                <a:gd name="T17" fmla="*/ 163 h 282"/>
                <a:gd name="T18" fmla="*/ 178 w 322"/>
                <a:gd name="T19" fmla="*/ 275 h 282"/>
                <a:gd name="T20" fmla="*/ 161 w 322"/>
                <a:gd name="T21"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282">
                  <a:moveTo>
                    <a:pt x="161" y="282"/>
                  </a:moveTo>
                  <a:cubicBezTo>
                    <a:pt x="155" y="282"/>
                    <a:pt x="149" y="280"/>
                    <a:pt x="144" y="275"/>
                  </a:cubicBezTo>
                  <a:cubicBezTo>
                    <a:pt x="32" y="163"/>
                    <a:pt x="32" y="163"/>
                    <a:pt x="32" y="163"/>
                  </a:cubicBezTo>
                  <a:cubicBezTo>
                    <a:pt x="12" y="145"/>
                    <a:pt x="0" y="120"/>
                    <a:pt x="0" y="93"/>
                  </a:cubicBezTo>
                  <a:cubicBezTo>
                    <a:pt x="0" y="42"/>
                    <a:pt x="42" y="0"/>
                    <a:pt x="93" y="0"/>
                  </a:cubicBezTo>
                  <a:cubicBezTo>
                    <a:pt x="119" y="0"/>
                    <a:pt x="144" y="11"/>
                    <a:pt x="161" y="30"/>
                  </a:cubicBezTo>
                  <a:cubicBezTo>
                    <a:pt x="178" y="11"/>
                    <a:pt x="203" y="0"/>
                    <a:pt x="229" y="0"/>
                  </a:cubicBezTo>
                  <a:cubicBezTo>
                    <a:pt x="280" y="0"/>
                    <a:pt x="322" y="42"/>
                    <a:pt x="322" y="93"/>
                  </a:cubicBezTo>
                  <a:cubicBezTo>
                    <a:pt x="322" y="120"/>
                    <a:pt x="310" y="145"/>
                    <a:pt x="290" y="163"/>
                  </a:cubicBezTo>
                  <a:cubicBezTo>
                    <a:pt x="178" y="275"/>
                    <a:pt x="178" y="275"/>
                    <a:pt x="178" y="275"/>
                  </a:cubicBezTo>
                  <a:cubicBezTo>
                    <a:pt x="173" y="280"/>
                    <a:pt x="167" y="282"/>
                    <a:pt x="161"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3" name="Group 5">
            <a:extLst>
              <a:ext uri="{FF2B5EF4-FFF2-40B4-BE49-F238E27FC236}">
                <a16:creationId xmlns:a16="http://schemas.microsoft.com/office/drawing/2014/main" id="{3279D2DE-E1CE-67E0-62D4-0D224BAF0C21}"/>
              </a:ext>
            </a:extLst>
          </p:cNvPr>
          <p:cNvGrpSpPr>
            <a:grpSpLocks noChangeAspect="1"/>
          </p:cNvGrpSpPr>
          <p:nvPr/>
        </p:nvGrpSpPr>
        <p:grpSpPr bwMode="gray">
          <a:xfrm>
            <a:off x="7628060" y="1721262"/>
            <a:ext cx="369153" cy="365760"/>
            <a:chOff x="1264" y="112"/>
            <a:chExt cx="3156" cy="3127"/>
          </a:xfrm>
          <a:solidFill>
            <a:schemeClr val="accent5"/>
          </a:solidFill>
        </p:grpSpPr>
        <p:sp>
          <p:nvSpPr>
            <p:cNvPr id="95" name="Freeform 8">
              <a:extLst>
                <a:ext uri="{FF2B5EF4-FFF2-40B4-BE49-F238E27FC236}">
                  <a16:creationId xmlns:a16="http://schemas.microsoft.com/office/drawing/2014/main" id="{CF687EBB-5CD4-2143-11A5-9B3A13716C53}"/>
                </a:ext>
              </a:extLst>
            </p:cNvPr>
            <p:cNvSpPr>
              <a:spLocks/>
            </p:cNvSpPr>
            <p:nvPr/>
          </p:nvSpPr>
          <p:spPr bwMode="gray">
            <a:xfrm>
              <a:off x="3144" y="877"/>
              <a:ext cx="470" cy="470"/>
            </a:xfrm>
            <a:custGeom>
              <a:avLst/>
              <a:gdLst>
                <a:gd name="T0" fmla="*/ 162 w 199"/>
                <a:gd name="T1" fmla="*/ 164 h 199"/>
                <a:gd name="T2" fmla="*/ 34 w 199"/>
                <a:gd name="T3" fmla="*/ 162 h 199"/>
                <a:gd name="T4" fmla="*/ 36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6" y="199"/>
                    <a:pt x="69" y="198"/>
                    <a:pt x="34" y="162"/>
                  </a:cubicBezTo>
                  <a:cubicBezTo>
                    <a:pt x="0" y="126"/>
                    <a:pt x="1" y="69"/>
                    <a:pt x="36" y="34"/>
                  </a:cubicBezTo>
                  <a:cubicBezTo>
                    <a:pt x="72" y="0"/>
                    <a:pt x="129"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8" name="Freeform 9">
              <a:extLst>
                <a:ext uri="{FF2B5EF4-FFF2-40B4-BE49-F238E27FC236}">
                  <a16:creationId xmlns:a16="http://schemas.microsoft.com/office/drawing/2014/main" id="{104B7F36-1CFC-7C2E-C71B-BC272FCE2100}"/>
                </a:ext>
              </a:extLst>
            </p:cNvPr>
            <p:cNvSpPr>
              <a:spLocks/>
            </p:cNvSpPr>
            <p:nvPr/>
          </p:nvSpPr>
          <p:spPr bwMode="gray">
            <a:xfrm>
              <a:off x="2639" y="1392"/>
              <a:ext cx="470" cy="470"/>
            </a:xfrm>
            <a:custGeom>
              <a:avLst/>
              <a:gdLst>
                <a:gd name="T0" fmla="*/ 162 w 199"/>
                <a:gd name="T1" fmla="*/ 164 h 199"/>
                <a:gd name="T2" fmla="*/ 35 w 199"/>
                <a:gd name="T3" fmla="*/ 162 h 199"/>
                <a:gd name="T4" fmla="*/ 37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7" y="199"/>
                    <a:pt x="70" y="198"/>
                    <a:pt x="35" y="162"/>
                  </a:cubicBezTo>
                  <a:cubicBezTo>
                    <a:pt x="0" y="126"/>
                    <a:pt x="1" y="69"/>
                    <a:pt x="37" y="34"/>
                  </a:cubicBezTo>
                  <a:cubicBezTo>
                    <a:pt x="72" y="0"/>
                    <a:pt x="130"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1" name="Freeform 10">
              <a:extLst>
                <a:ext uri="{FF2B5EF4-FFF2-40B4-BE49-F238E27FC236}">
                  <a16:creationId xmlns:a16="http://schemas.microsoft.com/office/drawing/2014/main" id="{0A6631E7-A83D-0C19-9B78-FEA85CE4B410}"/>
                </a:ext>
              </a:extLst>
            </p:cNvPr>
            <p:cNvSpPr>
              <a:spLocks/>
            </p:cNvSpPr>
            <p:nvPr/>
          </p:nvSpPr>
          <p:spPr bwMode="gray">
            <a:xfrm>
              <a:off x="1264" y="112"/>
              <a:ext cx="3156" cy="3127"/>
            </a:xfrm>
            <a:custGeom>
              <a:avLst/>
              <a:gdLst>
                <a:gd name="T0" fmla="*/ 686 w 1336"/>
                <a:gd name="T1" fmla="*/ 911 h 1324"/>
                <a:gd name="T2" fmla="*/ 719 w 1336"/>
                <a:gd name="T3" fmla="*/ 1070 h 1324"/>
                <a:gd name="T4" fmla="*/ 702 w 1336"/>
                <a:gd name="T5" fmla="*/ 1150 h 1324"/>
                <a:gd name="T6" fmla="*/ 609 w 1336"/>
                <a:gd name="T7" fmla="*/ 1246 h 1324"/>
                <a:gd name="T8" fmla="*/ 691 w 1336"/>
                <a:gd name="T9" fmla="*/ 1324 h 1324"/>
                <a:gd name="T10" fmla="*/ 783 w 1336"/>
                <a:gd name="T11" fmla="*/ 1229 h 1324"/>
                <a:gd name="T12" fmla="*/ 830 w 1336"/>
                <a:gd name="T13" fmla="*/ 1046 h 1324"/>
                <a:gd name="T14" fmla="*/ 815 w 1336"/>
                <a:gd name="T15" fmla="*/ 974 h 1324"/>
                <a:gd name="T16" fmla="*/ 1130 w 1336"/>
                <a:gd name="T17" fmla="*/ 730 h 1324"/>
                <a:gd name="T18" fmla="*/ 1291 w 1336"/>
                <a:gd name="T19" fmla="*/ 430 h 1324"/>
                <a:gd name="T20" fmla="*/ 1299 w 1336"/>
                <a:gd name="T21" fmla="*/ 99 h 1324"/>
                <a:gd name="T22" fmla="*/ 1273 w 1336"/>
                <a:gd name="T23" fmla="*/ 44 h 1324"/>
                <a:gd name="T24" fmla="*/ 1213 w 1336"/>
                <a:gd name="T25" fmla="*/ 19 h 1324"/>
                <a:gd name="T26" fmla="*/ 868 w 1336"/>
                <a:gd name="T27" fmla="*/ 51 h 1324"/>
                <a:gd name="T28" fmla="*/ 345 w 1336"/>
                <a:gd name="T29" fmla="*/ 506 h 1324"/>
                <a:gd name="T30" fmla="*/ 274 w 1336"/>
                <a:gd name="T31" fmla="*/ 493 h 1324"/>
                <a:gd name="T32" fmla="*/ 95 w 1336"/>
                <a:gd name="T33" fmla="*/ 544 h 1324"/>
                <a:gd name="T34" fmla="*/ 0 w 1336"/>
                <a:gd name="T35" fmla="*/ 637 h 1324"/>
                <a:gd name="T36" fmla="*/ 79 w 1336"/>
                <a:gd name="T37" fmla="*/ 718 h 1324"/>
                <a:gd name="T38" fmla="*/ 174 w 1336"/>
                <a:gd name="T39" fmla="*/ 625 h 1324"/>
                <a:gd name="T40" fmla="*/ 253 w 1336"/>
                <a:gd name="T41" fmla="*/ 605 h 1324"/>
                <a:gd name="T42" fmla="*/ 411 w 1336"/>
                <a:gd name="T43" fmla="*/ 634 h 1324"/>
                <a:gd name="T44" fmla="*/ 414 w 1336"/>
                <a:gd name="T45" fmla="*/ 628 h 1324"/>
                <a:gd name="T46" fmla="*/ 896 w 1336"/>
                <a:gd name="T47" fmla="*/ 161 h 1324"/>
                <a:gd name="T48" fmla="*/ 1190 w 1336"/>
                <a:gd name="T49" fmla="*/ 131 h 1324"/>
                <a:gd name="T50" fmla="*/ 1181 w 1336"/>
                <a:gd name="T51" fmla="*/ 401 h 1324"/>
                <a:gd name="T52" fmla="*/ 1044 w 1336"/>
                <a:gd name="T53" fmla="*/ 656 h 1324"/>
                <a:gd name="T54" fmla="*/ 693 w 1336"/>
                <a:gd name="T55" fmla="*/ 908 h 1324"/>
                <a:gd name="T56" fmla="*/ 686 w 1336"/>
                <a:gd name="T57" fmla="*/ 911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6" h="1324">
                  <a:moveTo>
                    <a:pt x="686" y="911"/>
                  </a:moveTo>
                  <a:cubicBezTo>
                    <a:pt x="719" y="1070"/>
                    <a:pt x="719" y="1070"/>
                    <a:pt x="719" y="1070"/>
                  </a:cubicBezTo>
                  <a:cubicBezTo>
                    <a:pt x="726" y="1102"/>
                    <a:pt x="720" y="1131"/>
                    <a:pt x="702" y="1150"/>
                  </a:cubicBezTo>
                  <a:cubicBezTo>
                    <a:pt x="609" y="1246"/>
                    <a:pt x="609" y="1246"/>
                    <a:pt x="609" y="1246"/>
                  </a:cubicBezTo>
                  <a:cubicBezTo>
                    <a:pt x="691" y="1324"/>
                    <a:pt x="691" y="1324"/>
                    <a:pt x="691" y="1324"/>
                  </a:cubicBezTo>
                  <a:cubicBezTo>
                    <a:pt x="783" y="1229"/>
                    <a:pt x="783" y="1229"/>
                    <a:pt x="783" y="1229"/>
                  </a:cubicBezTo>
                  <a:cubicBezTo>
                    <a:pt x="828" y="1183"/>
                    <a:pt x="845" y="1116"/>
                    <a:pt x="830" y="1046"/>
                  </a:cubicBezTo>
                  <a:cubicBezTo>
                    <a:pt x="815" y="974"/>
                    <a:pt x="815" y="974"/>
                    <a:pt x="815" y="974"/>
                  </a:cubicBezTo>
                  <a:cubicBezTo>
                    <a:pt x="944" y="905"/>
                    <a:pt x="1050" y="823"/>
                    <a:pt x="1130" y="730"/>
                  </a:cubicBezTo>
                  <a:cubicBezTo>
                    <a:pt x="1208" y="639"/>
                    <a:pt x="1262" y="539"/>
                    <a:pt x="1291" y="430"/>
                  </a:cubicBezTo>
                  <a:cubicBezTo>
                    <a:pt x="1336" y="262"/>
                    <a:pt x="1307" y="128"/>
                    <a:pt x="1299" y="99"/>
                  </a:cubicBezTo>
                  <a:cubicBezTo>
                    <a:pt x="1296" y="78"/>
                    <a:pt x="1287" y="59"/>
                    <a:pt x="1273" y="44"/>
                  </a:cubicBezTo>
                  <a:cubicBezTo>
                    <a:pt x="1256" y="28"/>
                    <a:pt x="1235" y="19"/>
                    <a:pt x="1213" y="19"/>
                  </a:cubicBezTo>
                  <a:cubicBezTo>
                    <a:pt x="1182" y="15"/>
                    <a:pt x="1039" y="0"/>
                    <a:pt x="868" y="51"/>
                  </a:cubicBezTo>
                  <a:cubicBezTo>
                    <a:pt x="707" y="100"/>
                    <a:pt x="491" y="219"/>
                    <a:pt x="345" y="506"/>
                  </a:cubicBezTo>
                  <a:cubicBezTo>
                    <a:pt x="274" y="493"/>
                    <a:pt x="274" y="493"/>
                    <a:pt x="274" y="493"/>
                  </a:cubicBezTo>
                  <a:cubicBezTo>
                    <a:pt x="206" y="481"/>
                    <a:pt x="140" y="499"/>
                    <a:pt x="95" y="544"/>
                  </a:cubicBezTo>
                  <a:cubicBezTo>
                    <a:pt x="0" y="637"/>
                    <a:pt x="0" y="637"/>
                    <a:pt x="0" y="637"/>
                  </a:cubicBezTo>
                  <a:cubicBezTo>
                    <a:pt x="79" y="718"/>
                    <a:pt x="79" y="718"/>
                    <a:pt x="79" y="718"/>
                  </a:cubicBezTo>
                  <a:cubicBezTo>
                    <a:pt x="174" y="625"/>
                    <a:pt x="174" y="625"/>
                    <a:pt x="174" y="625"/>
                  </a:cubicBezTo>
                  <a:cubicBezTo>
                    <a:pt x="193" y="607"/>
                    <a:pt x="222" y="599"/>
                    <a:pt x="253" y="605"/>
                  </a:cubicBezTo>
                  <a:cubicBezTo>
                    <a:pt x="411" y="634"/>
                    <a:pt x="411" y="634"/>
                    <a:pt x="411" y="634"/>
                  </a:cubicBezTo>
                  <a:cubicBezTo>
                    <a:pt x="414" y="628"/>
                    <a:pt x="414" y="628"/>
                    <a:pt x="414" y="628"/>
                  </a:cubicBezTo>
                  <a:cubicBezTo>
                    <a:pt x="515" y="386"/>
                    <a:pt x="678" y="229"/>
                    <a:pt x="896" y="161"/>
                  </a:cubicBezTo>
                  <a:cubicBezTo>
                    <a:pt x="1036" y="118"/>
                    <a:pt x="1156" y="127"/>
                    <a:pt x="1190" y="131"/>
                  </a:cubicBezTo>
                  <a:cubicBezTo>
                    <a:pt x="1196" y="154"/>
                    <a:pt x="1218" y="263"/>
                    <a:pt x="1181" y="401"/>
                  </a:cubicBezTo>
                  <a:cubicBezTo>
                    <a:pt x="1157" y="493"/>
                    <a:pt x="1111" y="578"/>
                    <a:pt x="1044" y="656"/>
                  </a:cubicBezTo>
                  <a:cubicBezTo>
                    <a:pt x="960" y="754"/>
                    <a:pt x="841" y="839"/>
                    <a:pt x="693" y="908"/>
                  </a:cubicBezTo>
                  <a:lnTo>
                    <a:pt x="686" y="9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2" name="Freeform 11">
              <a:extLst>
                <a:ext uri="{FF2B5EF4-FFF2-40B4-BE49-F238E27FC236}">
                  <a16:creationId xmlns:a16="http://schemas.microsoft.com/office/drawing/2014/main" id="{80906D1E-0AA5-DD72-B317-803EBDD45E5F}"/>
                </a:ext>
              </a:extLst>
            </p:cNvPr>
            <p:cNvSpPr>
              <a:spLocks/>
            </p:cNvSpPr>
            <p:nvPr/>
          </p:nvSpPr>
          <p:spPr bwMode="gray">
            <a:xfrm>
              <a:off x="1672" y="2174"/>
              <a:ext cx="674" cy="706"/>
            </a:xfrm>
            <a:custGeom>
              <a:avLst/>
              <a:gdLst>
                <a:gd name="T0" fmla="*/ 144 w 674"/>
                <a:gd name="T1" fmla="*/ 706 h 706"/>
                <a:gd name="T2" fmla="*/ 0 w 674"/>
                <a:gd name="T3" fmla="*/ 569 h 706"/>
                <a:gd name="T4" fmla="*/ 530 w 674"/>
                <a:gd name="T5" fmla="*/ 0 h 706"/>
                <a:gd name="T6" fmla="*/ 674 w 674"/>
                <a:gd name="T7" fmla="*/ 135 h 706"/>
                <a:gd name="T8" fmla="*/ 144 w 674"/>
                <a:gd name="T9" fmla="*/ 706 h 706"/>
              </a:gdLst>
              <a:ahLst/>
              <a:cxnLst>
                <a:cxn ang="0">
                  <a:pos x="T0" y="T1"/>
                </a:cxn>
                <a:cxn ang="0">
                  <a:pos x="T2" y="T3"/>
                </a:cxn>
                <a:cxn ang="0">
                  <a:pos x="T4" y="T5"/>
                </a:cxn>
                <a:cxn ang="0">
                  <a:pos x="T6" y="T7"/>
                </a:cxn>
                <a:cxn ang="0">
                  <a:pos x="T8" y="T9"/>
                </a:cxn>
              </a:cxnLst>
              <a:rect l="0" t="0" r="r" b="b"/>
              <a:pathLst>
                <a:path w="674" h="706">
                  <a:moveTo>
                    <a:pt x="144" y="706"/>
                  </a:moveTo>
                  <a:lnTo>
                    <a:pt x="0" y="569"/>
                  </a:lnTo>
                  <a:lnTo>
                    <a:pt x="530" y="0"/>
                  </a:lnTo>
                  <a:lnTo>
                    <a:pt x="674" y="135"/>
                  </a:lnTo>
                  <a:lnTo>
                    <a:pt x="144"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3" name="Freeform 12">
              <a:extLst>
                <a:ext uri="{FF2B5EF4-FFF2-40B4-BE49-F238E27FC236}">
                  <a16:creationId xmlns:a16="http://schemas.microsoft.com/office/drawing/2014/main" id="{47866784-C866-B210-1999-AFD61BFB9BCC}"/>
                </a:ext>
              </a:extLst>
            </p:cNvPr>
            <p:cNvSpPr>
              <a:spLocks/>
            </p:cNvSpPr>
            <p:nvPr/>
          </p:nvSpPr>
          <p:spPr bwMode="gray">
            <a:xfrm>
              <a:off x="1630" y="1914"/>
              <a:ext cx="432" cy="447"/>
            </a:xfrm>
            <a:custGeom>
              <a:avLst/>
              <a:gdLst>
                <a:gd name="T0" fmla="*/ 144 w 432"/>
                <a:gd name="T1" fmla="*/ 447 h 447"/>
                <a:gd name="T2" fmla="*/ 0 w 432"/>
                <a:gd name="T3" fmla="*/ 310 h 447"/>
                <a:gd name="T4" fmla="*/ 288 w 432"/>
                <a:gd name="T5" fmla="*/ 0 h 447"/>
                <a:gd name="T6" fmla="*/ 432 w 432"/>
                <a:gd name="T7" fmla="*/ 135 h 447"/>
                <a:gd name="T8" fmla="*/ 144 w 432"/>
                <a:gd name="T9" fmla="*/ 447 h 447"/>
              </a:gdLst>
              <a:ahLst/>
              <a:cxnLst>
                <a:cxn ang="0">
                  <a:pos x="T0" y="T1"/>
                </a:cxn>
                <a:cxn ang="0">
                  <a:pos x="T2" y="T3"/>
                </a:cxn>
                <a:cxn ang="0">
                  <a:pos x="T4" y="T5"/>
                </a:cxn>
                <a:cxn ang="0">
                  <a:pos x="T6" y="T7"/>
                </a:cxn>
                <a:cxn ang="0">
                  <a:pos x="T8" y="T9"/>
                </a:cxn>
              </a:cxnLst>
              <a:rect l="0" t="0" r="r" b="b"/>
              <a:pathLst>
                <a:path w="432" h="447">
                  <a:moveTo>
                    <a:pt x="144" y="447"/>
                  </a:moveTo>
                  <a:lnTo>
                    <a:pt x="0" y="310"/>
                  </a:lnTo>
                  <a:lnTo>
                    <a:pt x="288" y="0"/>
                  </a:lnTo>
                  <a:lnTo>
                    <a:pt x="432" y="135"/>
                  </a:lnTo>
                  <a:lnTo>
                    <a:pt x="144"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4" name="Freeform 13">
              <a:extLst>
                <a:ext uri="{FF2B5EF4-FFF2-40B4-BE49-F238E27FC236}">
                  <a16:creationId xmlns:a16="http://schemas.microsoft.com/office/drawing/2014/main" id="{A9502E9E-2F40-F4C4-7761-E50F9CFC9442}"/>
                </a:ext>
              </a:extLst>
            </p:cNvPr>
            <p:cNvSpPr>
              <a:spLocks/>
            </p:cNvSpPr>
            <p:nvPr/>
          </p:nvSpPr>
          <p:spPr bwMode="gray">
            <a:xfrm>
              <a:off x="2197" y="2443"/>
              <a:ext cx="432" cy="444"/>
            </a:xfrm>
            <a:custGeom>
              <a:avLst/>
              <a:gdLst>
                <a:gd name="T0" fmla="*/ 144 w 432"/>
                <a:gd name="T1" fmla="*/ 444 h 444"/>
                <a:gd name="T2" fmla="*/ 0 w 432"/>
                <a:gd name="T3" fmla="*/ 310 h 444"/>
                <a:gd name="T4" fmla="*/ 288 w 432"/>
                <a:gd name="T5" fmla="*/ 0 h 444"/>
                <a:gd name="T6" fmla="*/ 432 w 432"/>
                <a:gd name="T7" fmla="*/ 135 h 444"/>
                <a:gd name="T8" fmla="*/ 144 w 432"/>
                <a:gd name="T9" fmla="*/ 444 h 444"/>
              </a:gdLst>
              <a:ahLst/>
              <a:cxnLst>
                <a:cxn ang="0">
                  <a:pos x="T0" y="T1"/>
                </a:cxn>
                <a:cxn ang="0">
                  <a:pos x="T2" y="T3"/>
                </a:cxn>
                <a:cxn ang="0">
                  <a:pos x="T4" y="T5"/>
                </a:cxn>
                <a:cxn ang="0">
                  <a:pos x="T6" y="T7"/>
                </a:cxn>
                <a:cxn ang="0">
                  <a:pos x="T8" y="T9"/>
                </a:cxn>
              </a:cxnLst>
              <a:rect l="0" t="0" r="r" b="b"/>
              <a:pathLst>
                <a:path w="432" h="444">
                  <a:moveTo>
                    <a:pt x="144" y="444"/>
                  </a:moveTo>
                  <a:lnTo>
                    <a:pt x="0" y="310"/>
                  </a:lnTo>
                  <a:lnTo>
                    <a:pt x="288" y="0"/>
                  </a:lnTo>
                  <a:lnTo>
                    <a:pt x="432" y="135"/>
                  </a:lnTo>
                  <a:lnTo>
                    <a:pt x="14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55" name="Group 230">
            <a:extLst>
              <a:ext uri="{FF2B5EF4-FFF2-40B4-BE49-F238E27FC236}">
                <a16:creationId xmlns:a16="http://schemas.microsoft.com/office/drawing/2014/main" id="{F53E47D4-1D3D-F3A4-1D69-12997BFDD2B3}"/>
              </a:ext>
            </a:extLst>
          </p:cNvPr>
          <p:cNvGrpSpPr>
            <a:grpSpLocks noChangeAspect="1"/>
          </p:cNvGrpSpPr>
          <p:nvPr/>
        </p:nvGrpSpPr>
        <p:grpSpPr bwMode="gray">
          <a:xfrm>
            <a:off x="6096000" y="1721262"/>
            <a:ext cx="366330" cy="365760"/>
            <a:chOff x="1283" y="27"/>
            <a:chExt cx="3208" cy="3203"/>
          </a:xfrm>
          <a:solidFill>
            <a:schemeClr val="accent5"/>
          </a:solidFill>
        </p:grpSpPr>
        <p:sp>
          <p:nvSpPr>
            <p:cNvPr id="2057" name="Freeform 233">
              <a:extLst>
                <a:ext uri="{FF2B5EF4-FFF2-40B4-BE49-F238E27FC236}">
                  <a16:creationId xmlns:a16="http://schemas.microsoft.com/office/drawing/2014/main" id="{F9DF2350-94B6-4B67-6FC3-B5B3A60AB5A4}"/>
                </a:ext>
              </a:extLst>
            </p:cNvPr>
            <p:cNvSpPr>
              <a:spLocks noEditPoints="1"/>
            </p:cNvSpPr>
            <p:nvPr/>
          </p:nvSpPr>
          <p:spPr bwMode="gray">
            <a:xfrm>
              <a:off x="1283" y="27"/>
              <a:ext cx="3208" cy="3203"/>
            </a:xfrm>
            <a:custGeom>
              <a:avLst/>
              <a:gdLst>
                <a:gd name="T0" fmla="*/ 1358 w 1358"/>
                <a:gd name="T1" fmla="*/ 677 h 1356"/>
                <a:gd name="T2" fmla="*/ 1358 w 1358"/>
                <a:gd name="T3" fmla="*/ 677 h 1356"/>
                <a:gd name="T4" fmla="*/ 679 w 1358"/>
                <a:gd name="T5" fmla="*/ 0 h 1356"/>
                <a:gd name="T6" fmla="*/ 677 w 1358"/>
                <a:gd name="T7" fmla="*/ 0 h 1356"/>
                <a:gd name="T8" fmla="*/ 677 w 1358"/>
                <a:gd name="T9" fmla="*/ 0 h 1356"/>
                <a:gd name="T10" fmla="*/ 0 w 1358"/>
                <a:gd name="T11" fmla="*/ 677 h 1356"/>
                <a:gd name="T12" fmla="*/ 0 w 1358"/>
                <a:gd name="T13" fmla="*/ 677 h 1356"/>
                <a:gd name="T14" fmla="*/ 0 w 1358"/>
                <a:gd name="T15" fmla="*/ 678 h 1356"/>
                <a:gd name="T16" fmla="*/ 0 w 1358"/>
                <a:gd name="T17" fmla="*/ 679 h 1356"/>
                <a:gd name="T18" fmla="*/ 0 w 1358"/>
                <a:gd name="T19" fmla="*/ 679 h 1356"/>
                <a:gd name="T20" fmla="*/ 679 w 1358"/>
                <a:gd name="T21" fmla="*/ 1356 h 1356"/>
                <a:gd name="T22" fmla="*/ 681 w 1358"/>
                <a:gd name="T23" fmla="*/ 1356 h 1356"/>
                <a:gd name="T24" fmla="*/ 681 w 1358"/>
                <a:gd name="T25" fmla="*/ 1356 h 1356"/>
                <a:gd name="T26" fmla="*/ 1358 w 1358"/>
                <a:gd name="T27" fmla="*/ 679 h 1356"/>
                <a:gd name="T28" fmla="*/ 1358 w 1358"/>
                <a:gd name="T29" fmla="*/ 679 h 1356"/>
                <a:gd name="T30" fmla="*/ 1358 w 1358"/>
                <a:gd name="T31" fmla="*/ 678 h 1356"/>
                <a:gd name="T32" fmla="*/ 1358 w 1358"/>
                <a:gd name="T33" fmla="*/ 677 h 1356"/>
                <a:gd name="T34" fmla="*/ 680 w 1358"/>
                <a:gd name="T35" fmla="*/ 1243 h 1356"/>
                <a:gd name="T36" fmla="*/ 679 w 1358"/>
                <a:gd name="T37" fmla="*/ 1243 h 1356"/>
                <a:gd name="T38" fmla="*/ 113 w 1358"/>
                <a:gd name="T39" fmla="*/ 678 h 1356"/>
                <a:gd name="T40" fmla="*/ 678 w 1358"/>
                <a:gd name="T41" fmla="*/ 113 h 1356"/>
                <a:gd name="T42" fmla="*/ 679 w 1358"/>
                <a:gd name="T43" fmla="*/ 113 h 1356"/>
                <a:gd name="T44" fmla="*/ 1245 w 1358"/>
                <a:gd name="T45" fmla="*/ 678 h 1356"/>
                <a:gd name="T46" fmla="*/ 680 w 1358"/>
                <a:gd name="T47" fmla="*/ 1243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8" h="1356">
                  <a:moveTo>
                    <a:pt x="1358" y="677"/>
                  </a:moveTo>
                  <a:cubicBezTo>
                    <a:pt x="1358" y="677"/>
                    <a:pt x="1358" y="677"/>
                    <a:pt x="1358" y="677"/>
                  </a:cubicBezTo>
                  <a:cubicBezTo>
                    <a:pt x="1357" y="303"/>
                    <a:pt x="1053" y="0"/>
                    <a:pt x="679" y="0"/>
                  </a:cubicBezTo>
                  <a:cubicBezTo>
                    <a:pt x="677" y="0"/>
                    <a:pt x="677" y="0"/>
                    <a:pt x="677" y="0"/>
                  </a:cubicBezTo>
                  <a:cubicBezTo>
                    <a:pt x="677" y="0"/>
                    <a:pt x="677" y="0"/>
                    <a:pt x="677" y="0"/>
                  </a:cubicBezTo>
                  <a:cubicBezTo>
                    <a:pt x="304" y="1"/>
                    <a:pt x="1" y="304"/>
                    <a:pt x="0" y="677"/>
                  </a:cubicBezTo>
                  <a:cubicBezTo>
                    <a:pt x="0" y="677"/>
                    <a:pt x="0" y="677"/>
                    <a:pt x="0" y="677"/>
                  </a:cubicBezTo>
                  <a:cubicBezTo>
                    <a:pt x="0" y="677"/>
                    <a:pt x="0" y="677"/>
                    <a:pt x="0" y="678"/>
                  </a:cubicBezTo>
                  <a:cubicBezTo>
                    <a:pt x="0" y="678"/>
                    <a:pt x="0" y="679"/>
                    <a:pt x="0" y="679"/>
                  </a:cubicBezTo>
                  <a:cubicBezTo>
                    <a:pt x="0" y="679"/>
                    <a:pt x="0" y="679"/>
                    <a:pt x="0" y="679"/>
                  </a:cubicBezTo>
                  <a:cubicBezTo>
                    <a:pt x="1" y="1052"/>
                    <a:pt x="305" y="1356"/>
                    <a:pt x="679" y="1356"/>
                  </a:cubicBezTo>
                  <a:cubicBezTo>
                    <a:pt x="681" y="1356"/>
                    <a:pt x="681" y="1356"/>
                    <a:pt x="681" y="1356"/>
                  </a:cubicBezTo>
                  <a:cubicBezTo>
                    <a:pt x="681" y="1356"/>
                    <a:pt x="681" y="1356"/>
                    <a:pt x="681" y="1356"/>
                  </a:cubicBezTo>
                  <a:cubicBezTo>
                    <a:pt x="1054" y="1355"/>
                    <a:pt x="1357" y="1052"/>
                    <a:pt x="1358" y="679"/>
                  </a:cubicBezTo>
                  <a:cubicBezTo>
                    <a:pt x="1358" y="679"/>
                    <a:pt x="1358" y="679"/>
                    <a:pt x="1358" y="679"/>
                  </a:cubicBezTo>
                  <a:cubicBezTo>
                    <a:pt x="1358" y="679"/>
                    <a:pt x="1358" y="678"/>
                    <a:pt x="1358" y="678"/>
                  </a:cubicBezTo>
                  <a:cubicBezTo>
                    <a:pt x="1358" y="677"/>
                    <a:pt x="1358" y="677"/>
                    <a:pt x="1358" y="677"/>
                  </a:cubicBezTo>
                  <a:close/>
                  <a:moveTo>
                    <a:pt x="680" y="1243"/>
                  </a:moveTo>
                  <a:cubicBezTo>
                    <a:pt x="679" y="1243"/>
                    <a:pt x="679" y="1243"/>
                    <a:pt x="679" y="1243"/>
                  </a:cubicBezTo>
                  <a:cubicBezTo>
                    <a:pt x="367" y="1243"/>
                    <a:pt x="114" y="989"/>
                    <a:pt x="113" y="678"/>
                  </a:cubicBezTo>
                  <a:cubicBezTo>
                    <a:pt x="114" y="367"/>
                    <a:pt x="367" y="114"/>
                    <a:pt x="678" y="113"/>
                  </a:cubicBezTo>
                  <a:cubicBezTo>
                    <a:pt x="679" y="113"/>
                    <a:pt x="679" y="113"/>
                    <a:pt x="679" y="113"/>
                  </a:cubicBezTo>
                  <a:cubicBezTo>
                    <a:pt x="991" y="113"/>
                    <a:pt x="1244" y="366"/>
                    <a:pt x="1245" y="678"/>
                  </a:cubicBezTo>
                  <a:cubicBezTo>
                    <a:pt x="1244" y="989"/>
                    <a:pt x="991" y="1242"/>
                    <a:pt x="680" y="1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8" name="Freeform 234">
              <a:extLst>
                <a:ext uri="{FF2B5EF4-FFF2-40B4-BE49-F238E27FC236}">
                  <a16:creationId xmlns:a16="http://schemas.microsoft.com/office/drawing/2014/main" id="{D86DFE60-3198-E0B0-0AFF-85BCD19A3EDD}"/>
                </a:ext>
              </a:extLst>
            </p:cNvPr>
            <p:cNvSpPr>
              <a:spLocks noEditPoints="1"/>
            </p:cNvSpPr>
            <p:nvPr/>
          </p:nvSpPr>
          <p:spPr bwMode="gray">
            <a:xfrm>
              <a:off x="2140" y="860"/>
              <a:ext cx="1495" cy="1543"/>
            </a:xfrm>
            <a:custGeom>
              <a:avLst/>
              <a:gdLst>
                <a:gd name="T0" fmla="*/ 534 w 633"/>
                <a:gd name="T1" fmla="*/ 33 h 653"/>
                <a:gd name="T2" fmla="*/ 235 w 633"/>
                <a:gd name="T3" fmla="*/ 161 h 653"/>
                <a:gd name="T4" fmla="*/ 189 w 633"/>
                <a:gd name="T5" fmla="*/ 195 h 653"/>
                <a:gd name="T6" fmla="*/ 186 w 633"/>
                <a:gd name="T7" fmla="*/ 197 h 653"/>
                <a:gd name="T8" fmla="*/ 184 w 633"/>
                <a:gd name="T9" fmla="*/ 200 h 653"/>
                <a:gd name="T10" fmla="*/ 159 w 633"/>
                <a:gd name="T11" fmla="*/ 232 h 653"/>
                <a:gd name="T12" fmla="*/ 111 w 633"/>
                <a:gd name="T13" fmla="*/ 334 h 653"/>
                <a:gd name="T14" fmla="*/ 0 w 633"/>
                <a:gd name="T15" fmla="*/ 649 h 653"/>
                <a:gd name="T16" fmla="*/ 7 w 633"/>
                <a:gd name="T17" fmla="*/ 653 h 653"/>
                <a:gd name="T18" fmla="*/ 99 w 633"/>
                <a:gd name="T19" fmla="*/ 620 h 653"/>
                <a:gd name="T20" fmla="*/ 399 w 633"/>
                <a:gd name="T21" fmla="*/ 492 h 653"/>
                <a:gd name="T22" fmla="*/ 444 w 633"/>
                <a:gd name="T23" fmla="*/ 459 h 653"/>
                <a:gd name="T24" fmla="*/ 447 w 633"/>
                <a:gd name="T25" fmla="*/ 456 h 653"/>
                <a:gd name="T26" fmla="*/ 449 w 633"/>
                <a:gd name="T27" fmla="*/ 454 h 653"/>
                <a:gd name="T28" fmla="*/ 474 w 633"/>
                <a:gd name="T29" fmla="*/ 421 h 653"/>
                <a:gd name="T30" fmla="*/ 522 w 633"/>
                <a:gd name="T31" fmla="*/ 320 h 653"/>
                <a:gd name="T32" fmla="*/ 633 w 633"/>
                <a:gd name="T33" fmla="*/ 5 h 653"/>
                <a:gd name="T34" fmla="*/ 627 w 633"/>
                <a:gd name="T35" fmla="*/ 0 h 653"/>
                <a:gd name="T36" fmla="*/ 534 w 633"/>
                <a:gd name="T37" fmla="*/ 33 h 653"/>
                <a:gd name="T38" fmla="*/ 414 w 633"/>
                <a:gd name="T39" fmla="*/ 422 h 653"/>
                <a:gd name="T40" fmla="*/ 221 w 633"/>
                <a:gd name="T41" fmla="*/ 424 h 653"/>
                <a:gd name="T42" fmla="*/ 219 w 633"/>
                <a:gd name="T43" fmla="*/ 231 h 653"/>
                <a:gd name="T44" fmla="*/ 412 w 633"/>
                <a:gd name="T45" fmla="*/ 229 h 653"/>
                <a:gd name="T46" fmla="*/ 414 w 633"/>
                <a:gd name="T47" fmla="*/ 422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3" h="653">
                  <a:moveTo>
                    <a:pt x="534" y="33"/>
                  </a:moveTo>
                  <a:cubicBezTo>
                    <a:pt x="432" y="70"/>
                    <a:pt x="330" y="108"/>
                    <a:pt x="235" y="161"/>
                  </a:cubicBezTo>
                  <a:cubicBezTo>
                    <a:pt x="217" y="171"/>
                    <a:pt x="202" y="182"/>
                    <a:pt x="189" y="195"/>
                  </a:cubicBezTo>
                  <a:cubicBezTo>
                    <a:pt x="188" y="196"/>
                    <a:pt x="187" y="196"/>
                    <a:pt x="186" y="197"/>
                  </a:cubicBezTo>
                  <a:cubicBezTo>
                    <a:pt x="186" y="198"/>
                    <a:pt x="185" y="199"/>
                    <a:pt x="184" y="200"/>
                  </a:cubicBezTo>
                  <a:cubicBezTo>
                    <a:pt x="175" y="209"/>
                    <a:pt x="166" y="220"/>
                    <a:pt x="159" y="232"/>
                  </a:cubicBezTo>
                  <a:cubicBezTo>
                    <a:pt x="140" y="264"/>
                    <a:pt x="124" y="299"/>
                    <a:pt x="111" y="334"/>
                  </a:cubicBezTo>
                  <a:cubicBezTo>
                    <a:pt x="73" y="438"/>
                    <a:pt x="37" y="544"/>
                    <a:pt x="0" y="649"/>
                  </a:cubicBezTo>
                  <a:cubicBezTo>
                    <a:pt x="2" y="650"/>
                    <a:pt x="4" y="652"/>
                    <a:pt x="7" y="653"/>
                  </a:cubicBezTo>
                  <a:cubicBezTo>
                    <a:pt x="38" y="642"/>
                    <a:pt x="69" y="631"/>
                    <a:pt x="99" y="620"/>
                  </a:cubicBezTo>
                  <a:cubicBezTo>
                    <a:pt x="201" y="583"/>
                    <a:pt x="303" y="545"/>
                    <a:pt x="399" y="492"/>
                  </a:cubicBezTo>
                  <a:cubicBezTo>
                    <a:pt x="416" y="482"/>
                    <a:pt x="431" y="471"/>
                    <a:pt x="444" y="459"/>
                  </a:cubicBezTo>
                  <a:cubicBezTo>
                    <a:pt x="445" y="458"/>
                    <a:pt x="446" y="457"/>
                    <a:pt x="447" y="456"/>
                  </a:cubicBezTo>
                  <a:cubicBezTo>
                    <a:pt x="448" y="455"/>
                    <a:pt x="448" y="454"/>
                    <a:pt x="449" y="454"/>
                  </a:cubicBezTo>
                  <a:cubicBezTo>
                    <a:pt x="458" y="444"/>
                    <a:pt x="467" y="433"/>
                    <a:pt x="474" y="421"/>
                  </a:cubicBezTo>
                  <a:cubicBezTo>
                    <a:pt x="493" y="389"/>
                    <a:pt x="509" y="355"/>
                    <a:pt x="522" y="320"/>
                  </a:cubicBezTo>
                  <a:cubicBezTo>
                    <a:pt x="560" y="215"/>
                    <a:pt x="596" y="110"/>
                    <a:pt x="633" y="5"/>
                  </a:cubicBezTo>
                  <a:cubicBezTo>
                    <a:pt x="631" y="3"/>
                    <a:pt x="629" y="2"/>
                    <a:pt x="627" y="0"/>
                  </a:cubicBezTo>
                  <a:cubicBezTo>
                    <a:pt x="596" y="11"/>
                    <a:pt x="565" y="22"/>
                    <a:pt x="534" y="33"/>
                  </a:cubicBezTo>
                  <a:close/>
                  <a:moveTo>
                    <a:pt x="414" y="422"/>
                  </a:moveTo>
                  <a:cubicBezTo>
                    <a:pt x="361" y="476"/>
                    <a:pt x="275" y="477"/>
                    <a:pt x="221" y="424"/>
                  </a:cubicBezTo>
                  <a:cubicBezTo>
                    <a:pt x="167" y="371"/>
                    <a:pt x="167" y="285"/>
                    <a:pt x="219" y="231"/>
                  </a:cubicBezTo>
                  <a:cubicBezTo>
                    <a:pt x="272" y="177"/>
                    <a:pt x="358" y="177"/>
                    <a:pt x="412" y="229"/>
                  </a:cubicBezTo>
                  <a:cubicBezTo>
                    <a:pt x="466" y="282"/>
                    <a:pt x="467" y="368"/>
                    <a:pt x="414"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4109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8ABD-92DD-FB00-DD13-0F736B25DFA5}"/>
              </a:ext>
            </a:extLst>
          </p:cNvPr>
          <p:cNvSpPr>
            <a:spLocks noGrp="1"/>
          </p:cNvSpPr>
          <p:nvPr>
            <p:ph type="sldNum" sz="quarter" idx="10"/>
          </p:nvPr>
        </p:nvSpPr>
        <p:spPr/>
        <p:txBody>
          <a:bodyPr/>
          <a:lstStyle/>
          <a:p>
            <a:fld id="{6F42FDE4-A7DD-41A7-A0A6-9B649FB43336}" type="slidenum">
              <a:rPr lang="en-US" smtClean="0"/>
              <a:pPr/>
              <a:t>16</a:t>
            </a:fld>
            <a:endParaRPr lang="en-US"/>
          </a:p>
        </p:txBody>
      </p:sp>
      <p:sp>
        <p:nvSpPr>
          <p:cNvPr id="3" name="Text Placeholder 2">
            <a:extLst>
              <a:ext uri="{FF2B5EF4-FFF2-40B4-BE49-F238E27FC236}">
                <a16:creationId xmlns:a16="http://schemas.microsoft.com/office/drawing/2014/main" id="{707EBD6C-6AB3-122C-5FFE-B314DAA0EE1A}"/>
              </a:ext>
            </a:extLst>
          </p:cNvPr>
          <p:cNvSpPr>
            <a:spLocks noGrp="1"/>
          </p:cNvSpPr>
          <p:nvPr>
            <p:ph type="body" sz="quarter" idx="11"/>
          </p:nvPr>
        </p:nvSpPr>
        <p:spPr>
          <a:xfrm>
            <a:off x="575733" y="2206546"/>
            <a:ext cx="11040533" cy="2462213"/>
          </a:xfrm>
        </p:spPr>
        <p:txBody>
          <a:bodyPr/>
          <a:lstStyle/>
          <a:p>
            <a:r>
              <a:rPr lang="en-US" sz="8000">
                <a:latin typeface="Noto Serif" panose="020B0502040504020204" pitchFamily="34" charset="0"/>
                <a:ea typeface="Noto Sans" panose="020B0502040504020204" pitchFamily="34" charset="0"/>
                <a:cs typeface="Noto Sans" panose="020B0502040504020204" pitchFamily="34" charset="0"/>
              </a:rPr>
              <a:t>Technical </a:t>
            </a:r>
            <a:r>
              <a:rPr lang="en-US" sz="8000" err="1">
                <a:latin typeface="Noto Serif" panose="020B0502040504020204" pitchFamily="34" charset="0"/>
                <a:ea typeface="Noto Sans" panose="020B0502040504020204" pitchFamily="34" charset="0"/>
                <a:cs typeface="Noto Sans" panose="020B0502040504020204" pitchFamily="34" charset="0"/>
              </a:rPr>
              <a:t>Enviroment</a:t>
            </a:r>
            <a:endParaRPr lang="en-US" sz="8000" b="1">
              <a:solidFill>
                <a:schemeClr val="bg1"/>
              </a:solidFill>
              <a:latin typeface="Noto Serif"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3828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455BAB-1C1E-3DB1-944A-6FAD54B3C11E}"/>
              </a:ext>
            </a:extLst>
          </p:cNvPr>
          <p:cNvSpPr>
            <a:spLocks noGrp="1"/>
          </p:cNvSpPr>
          <p:nvPr>
            <p:ph type="sldNum" sz="quarter" idx="10"/>
          </p:nvPr>
        </p:nvSpPr>
        <p:spPr/>
        <p:txBody>
          <a:bodyPr/>
          <a:lstStyle/>
          <a:p>
            <a:fld id="{6F42FDE4-A7DD-41A7-A0A6-9B649FB43336}" type="slidenum">
              <a:rPr lang="en-US" smtClean="0"/>
              <a:pPr/>
              <a:t>17</a:t>
            </a:fld>
            <a:endParaRPr lang="en-US"/>
          </a:p>
        </p:txBody>
      </p:sp>
      <p:sp>
        <p:nvSpPr>
          <p:cNvPr id="2" name="Title 1">
            <a:extLst>
              <a:ext uri="{FF2B5EF4-FFF2-40B4-BE49-F238E27FC236}">
                <a16:creationId xmlns:a16="http://schemas.microsoft.com/office/drawing/2014/main" id="{453DEA29-00E2-8B9C-53EF-C47C608E2F2E}"/>
              </a:ext>
            </a:extLst>
          </p:cNvPr>
          <p:cNvSpPr>
            <a:spLocks noGrp="1"/>
          </p:cNvSpPr>
          <p:nvPr>
            <p:ph type="title"/>
          </p:nvPr>
        </p:nvSpPr>
        <p:spPr>
          <a:xfrm>
            <a:off x="575388" y="465976"/>
            <a:ext cx="11030297" cy="369332"/>
          </a:xfrm>
        </p:spPr>
        <p:txBody>
          <a:bodyPr/>
          <a:lstStyle/>
          <a:p>
            <a:r>
              <a:rPr lang="en-US" sz="2400" dirty="0"/>
              <a:t>API Endpoints</a:t>
            </a:r>
          </a:p>
        </p:txBody>
      </p:sp>
      <p:sp>
        <p:nvSpPr>
          <p:cNvPr id="4" name="Content Placeholder 3">
            <a:extLst>
              <a:ext uri="{FF2B5EF4-FFF2-40B4-BE49-F238E27FC236}">
                <a16:creationId xmlns:a16="http://schemas.microsoft.com/office/drawing/2014/main" id="{09A16C3A-B98E-434F-9F0F-D139CA5AA019}"/>
              </a:ext>
            </a:extLst>
          </p:cNvPr>
          <p:cNvSpPr>
            <a:spLocks noGrp="1"/>
          </p:cNvSpPr>
          <p:nvPr>
            <p:ph idx="1"/>
          </p:nvPr>
        </p:nvSpPr>
        <p:spPr>
          <a:xfrm>
            <a:off x="425450" y="1121791"/>
            <a:ext cx="11347450" cy="4284250"/>
          </a:xfrm>
        </p:spPr>
        <p:txBody>
          <a:bodyPr wrap="square" lIns="0" tIns="0" rIns="0" bIns="0" anchor="t">
            <a:spAutoFit/>
          </a:bodyPr>
          <a:lstStyle/>
          <a:p>
            <a:pPr marL="0" indent="0">
              <a:buNone/>
            </a:pPr>
            <a:r>
              <a:rPr lang="en-US" sz="1400" dirty="0">
                <a:latin typeface="+mn-lt"/>
                <a:ea typeface="Noto Sans"/>
                <a:cs typeface="Noto Sans"/>
              </a:rPr>
              <a:t>Users will be provided with a real time API  through an URL.</a:t>
            </a:r>
          </a:p>
          <a:p>
            <a:pPr marL="0" indent="0">
              <a:buNone/>
            </a:pPr>
            <a:r>
              <a:rPr lang="en-US" sz="1400" dirty="0">
                <a:latin typeface="+mn-lt"/>
              </a:rPr>
              <a:t>Updated documentation will always be available through the “</a:t>
            </a:r>
            <a:r>
              <a:rPr lang="en-US" sz="1400" b="1" dirty="0">
                <a:latin typeface="+mn-lt"/>
              </a:rPr>
              <a:t>docs</a:t>
            </a:r>
            <a:r>
              <a:rPr lang="en-US" sz="1400" dirty="0">
                <a:latin typeface="+mn-lt"/>
              </a:rPr>
              <a:t>” endpoint.</a:t>
            </a:r>
          </a:p>
          <a:p>
            <a:pPr marL="0" indent="0">
              <a:buNone/>
            </a:pPr>
            <a:r>
              <a:rPr lang="en-US" sz="1400" dirty="0">
                <a:latin typeface="+mn-lt"/>
              </a:rPr>
              <a:t>This API emulates through endpoints the different aspects of an LLM based agent.</a:t>
            </a:r>
          </a:p>
          <a:p>
            <a:pPr marL="611505" lvl="1" indent="-285750">
              <a:buFont typeface="Arial" panose="020B0604020202020204" pitchFamily="34" charset="0"/>
              <a:buChar char="•"/>
            </a:pPr>
            <a:r>
              <a:rPr lang="en-US" sz="1400" b="1" dirty="0">
                <a:latin typeface="+mn-lt"/>
                <a:ea typeface="Noto Sans"/>
                <a:cs typeface="Noto Sans"/>
              </a:rPr>
              <a:t>Query</a:t>
            </a:r>
            <a:r>
              <a:rPr lang="en-US" sz="1400" dirty="0">
                <a:latin typeface="+mn-lt"/>
                <a:ea typeface="Noto Sans"/>
                <a:cs typeface="Noto Sans"/>
              </a:rPr>
              <a:t>: Main LLM endpoint. Receives strings of natural language that are directly ingested by the agent.</a:t>
            </a:r>
          </a:p>
          <a:p>
            <a:pPr marL="611505" lvl="1" indent="-285750">
              <a:buFont typeface="Arial" panose="020B0604020202020204" pitchFamily="34" charset="0"/>
              <a:buChar char="•"/>
            </a:pPr>
            <a:r>
              <a:rPr lang="en-US" sz="1400" b="1" dirty="0">
                <a:latin typeface="+mn-lt"/>
                <a:ea typeface="Noto Sans"/>
                <a:cs typeface="Noto Sans"/>
              </a:rPr>
              <a:t>LLM</a:t>
            </a:r>
            <a:r>
              <a:rPr lang="en-US" sz="1400" dirty="0">
                <a:latin typeface="+mn-lt"/>
                <a:ea typeface="Noto Sans"/>
                <a:cs typeface="Noto Sans"/>
              </a:rPr>
              <a:t>: General access to query the underlying LLM.</a:t>
            </a:r>
          </a:p>
          <a:p>
            <a:pPr marL="611505" lvl="1" indent="-285750">
              <a:buFont typeface="Arial" panose="020B0604020202020204" pitchFamily="34" charset="0"/>
              <a:buChar char="•"/>
            </a:pPr>
            <a:r>
              <a:rPr lang="en-US" sz="1400" b="1" dirty="0">
                <a:latin typeface="+mn-lt"/>
                <a:ea typeface="Noto Sans"/>
                <a:cs typeface="Noto Sans"/>
              </a:rPr>
              <a:t>OHLCV</a:t>
            </a:r>
            <a:r>
              <a:rPr lang="en-US" sz="1400" dirty="0">
                <a:latin typeface="+mn-lt"/>
                <a:ea typeface="Noto Sans"/>
                <a:cs typeface="Noto Sans"/>
              </a:rPr>
              <a:t>: Price retrieval endpoint. Receives three inputs and returns price data for companies.</a:t>
            </a:r>
          </a:p>
          <a:p>
            <a:pPr marL="611505" lvl="1" indent="-285750">
              <a:buFont typeface="Arial" panose="020B0604020202020204" pitchFamily="34" charset="0"/>
              <a:buChar char="•"/>
            </a:pPr>
            <a:r>
              <a:rPr lang="en-US" sz="1400" b="1" dirty="0" err="1">
                <a:latin typeface="+mn-lt"/>
                <a:ea typeface="Noto Sans"/>
                <a:cs typeface="Noto Sans"/>
              </a:rPr>
              <a:t>NonStockPrice</a:t>
            </a:r>
            <a:r>
              <a:rPr lang="en-US" sz="1400" dirty="0">
                <a:latin typeface="+mn-lt"/>
                <a:ea typeface="Noto Sans"/>
                <a:cs typeface="Noto Sans"/>
              </a:rPr>
              <a:t>: Price retrieval tool for instruments that are not companies, such as indexes, commodities or exchange rates.</a:t>
            </a:r>
          </a:p>
          <a:p>
            <a:pPr marL="611505" lvl="1" indent="-285750">
              <a:buFont typeface="Arial" panose="020B0604020202020204" pitchFamily="34" charset="0"/>
              <a:buChar char="•"/>
            </a:pPr>
            <a:r>
              <a:rPr lang="en-US" sz="1400" b="1" dirty="0" err="1">
                <a:latin typeface="+mn-lt"/>
                <a:ea typeface="Noto Sans"/>
                <a:cs typeface="Noto Sans"/>
              </a:rPr>
              <a:t>WinnerData</a:t>
            </a:r>
            <a:r>
              <a:rPr lang="en-US" sz="1400" dirty="0">
                <a:latin typeface="+mn-lt"/>
                <a:ea typeface="Noto Sans"/>
                <a:cs typeface="Noto Sans"/>
              </a:rPr>
              <a:t>: Retrieves data from precalculated lists. User will input a selected market, time frame and requested data and receive the information in a table friendly format.</a:t>
            </a:r>
          </a:p>
          <a:p>
            <a:pPr marL="611505" lvl="1" indent="-285750">
              <a:buFont typeface="Arial" panose="020B0604020202020204" pitchFamily="34" charset="0"/>
              <a:buChar char="•"/>
            </a:pPr>
            <a:r>
              <a:rPr lang="en-US" sz="1400" b="1" dirty="0" err="1">
                <a:latin typeface="+mn-lt"/>
                <a:ea typeface="Noto Sans"/>
                <a:cs typeface="Noto Sans"/>
              </a:rPr>
              <a:t>GetData</a:t>
            </a:r>
            <a:r>
              <a:rPr lang="en-US" sz="1400" dirty="0">
                <a:latin typeface="+mn-lt"/>
                <a:ea typeface="Noto Sans"/>
                <a:cs typeface="Noto Sans"/>
              </a:rPr>
              <a:t>: Endpoint for general data requests that is not present in price data (i.e. employees of a company, EBITDA, last dividend, etc.). Users will provide a query parameter with all their requests and will receive the answers in a table friendly format.</a:t>
            </a:r>
          </a:p>
          <a:p>
            <a:pPr marL="611505" lvl="1" indent="-285750">
              <a:buFont typeface="Arial" panose="020B0604020202020204" pitchFamily="34" charset="0"/>
              <a:buChar char="•"/>
            </a:pPr>
            <a:r>
              <a:rPr lang="en-US" sz="1400" b="1" dirty="0" err="1">
                <a:latin typeface="+mn-lt"/>
                <a:ea typeface="Noto Sans"/>
                <a:cs typeface="Noto Sans"/>
              </a:rPr>
              <a:t>SearchWithCriteria</a:t>
            </a:r>
            <a:r>
              <a:rPr lang="en-US" sz="1400" dirty="0">
                <a:latin typeface="+mn-lt"/>
                <a:ea typeface="Noto Sans"/>
                <a:cs typeface="Noto Sans"/>
              </a:rPr>
              <a:t>: Search companies that fulfill an n number of criteria. Users will input a </a:t>
            </a:r>
            <a:r>
              <a:rPr lang="en-US" sz="1400" dirty="0" err="1">
                <a:latin typeface="+mn-lt"/>
                <a:ea typeface="Noto Sans"/>
                <a:cs typeface="Noto Sans"/>
              </a:rPr>
              <a:t>dict</a:t>
            </a:r>
            <a:r>
              <a:rPr lang="en-US" sz="1400" dirty="0">
                <a:latin typeface="+mn-lt"/>
                <a:ea typeface="Noto Sans"/>
                <a:cs typeface="Noto Sans"/>
              </a:rPr>
              <a:t> friendly string consisting of the concepts and logical requests of their criteria (such as </a:t>
            </a:r>
            <a:r>
              <a:rPr lang="en-US" sz="1400" b="0" i="0" dirty="0">
                <a:effectLst/>
                <a:latin typeface="+mn-lt"/>
                <a:ea typeface="Noto Sans"/>
                <a:cs typeface="Noto Sans"/>
              </a:rPr>
              <a:t>"{'</a:t>
            </a:r>
            <a:r>
              <a:rPr lang="en-US" sz="1400" b="0" i="0" dirty="0" err="1">
                <a:effectLst/>
                <a:latin typeface="+mn-lt"/>
                <a:ea typeface="Noto Sans"/>
                <a:cs typeface="Noto Sans"/>
              </a:rPr>
              <a:t>ebitda</a:t>
            </a:r>
            <a:r>
              <a:rPr lang="en-US" sz="1400" b="0" i="0" dirty="0">
                <a:effectLst/>
                <a:latin typeface="+mn-lt"/>
                <a:ea typeface="Noto Sans"/>
                <a:cs typeface="Noto Sans"/>
              </a:rPr>
              <a:t>': 'is positive’, ‘currency’: ‘is euro’}“ and Will receive a table friendly response with up to 200 companies that fulfill such criteria</a:t>
            </a:r>
          </a:p>
        </p:txBody>
      </p:sp>
    </p:spTree>
    <p:extLst>
      <p:ext uri="{BB962C8B-B14F-4D97-AF65-F5344CB8AC3E}">
        <p14:creationId xmlns:p14="http://schemas.microsoft.com/office/powerpoint/2010/main" val="285772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455BAB-1C1E-3DB1-944A-6FAD54B3C11E}"/>
              </a:ext>
            </a:extLst>
          </p:cNvPr>
          <p:cNvSpPr>
            <a:spLocks noGrp="1"/>
          </p:cNvSpPr>
          <p:nvPr>
            <p:ph type="sldNum" sz="quarter" idx="10"/>
          </p:nvPr>
        </p:nvSpPr>
        <p:spPr/>
        <p:txBody>
          <a:bodyPr/>
          <a:lstStyle/>
          <a:p>
            <a:fld id="{6F42FDE4-A7DD-41A7-A0A6-9B649FB43336}" type="slidenum">
              <a:rPr lang="en-US" smtClean="0"/>
              <a:pPr/>
              <a:t>18</a:t>
            </a:fld>
            <a:endParaRPr lang="en-US"/>
          </a:p>
        </p:txBody>
      </p:sp>
      <p:sp>
        <p:nvSpPr>
          <p:cNvPr id="2" name="Title 1">
            <a:extLst>
              <a:ext uri="{FF2B5EF4-FFF2-40B4-BE49-F238E27FC236}">
                <a16:creationId xmlns:a16="http://schemas.microsoft.com/office/drawing/2014/main" id="{453DEA29-00E2-8B9C-53EF-C47C608E2F2E}"/>
              </a:ext>
            </a:extLst>
          </p:cNvPr>
          <p:cNvSpPr>
            <a:spLocks noGrp="1"/>
          </p:cNvSpPr>
          <p:nvPr>
            <p:ph type="title"/>
          </p:nvPr>
        </p:nvSpPr>
        <p:spPr>
          <a:xfrm>
            <a:off x="575388" y="465976"/>
            <a:ext cx="11030297" cy="369332"/>
          </a:xfrm>
        </p:spPr>
        <p:txBody>
          <a:bodyPr/>
          <a:lstStyle/>
          <a:p>
            <a:r>
              <a:rPr lang="en-US" sz="2400" dirty="0"/>
              <a:t>API interpretation</a:t>
            </a:r>
          </a:p>
        </p:txBody>
      </p:sp>
      <p:sp>
        <p:nvSpPr>
          <p:cNvPr id="4" name="Content Placeholder 3">
            <a:extLst>
              <a:ext uri="{FF2B5EF4-FFF2-40B4-BE49-F238E27FC236}">
                <a16:creationId xmlns:a16="http://schemas.microsoft.com/office/drawing/2014/main" id="{09A16C3A-B98E-434F-9F0F-D139CA5AA019}"/>
              </a:ext>
            </a:extLst>
          </p:cNvPr>
          <p:cNvSpPr>
            <a:spLocks noGrp="1"/>
          </p:cNvSpPr>
          <p:nvPr>
            <p:ph idx="1"/>
          </p:nvPr>
        </p:nvSpPr>
        <p:spPr>
          <a:xfrm>
            <a:off x="425450" y="1414640"/>
            <a:ext cx="4747186" cy="3346557"/>
          </a:xfrm>
        </p:spPr>
        <p:txBody>
          <a:bodyPr/>
          <a:lstStyle/>
          <a:p>
            <a:pPr marL="0" indent="0">
              <a:buNone/>
            </a:pPr>
            <a:r>
              <a:rPr lang="en-US" sz="1400" b="1" dirty="0">
                <a:latin typeface="+mn-lt"/>
              </a:rPr>
              <a:t>Included in the documentation, users will receive:</a:t>
            </a:r>
          </a:p>
          <a:p>
            <a:pPr lvl="1">
              <a:buFont typeface="Arial" panose="020B0604020202020204" pitchFamily="34" charset="0"/>
              <a:buChar char="•"/>
            </a:pPr>
            <a:r>
              <a:rPr lang="en-US" sz="1400" b="0" i="0" dirty="0">
                <a:effectLst/>
                <a:latin typeface="+mn-lt"/>
              </a:rPr>
              <a:t>Full description of each parameter.</a:t>
            </a:r>
          </a:p>
          <a:p>
            <a:pPr lvl="1">
              <a:buFont typeface="Arial" panose="020B0604020202020204" pitchFamily="34" charset="0"/>
              <a:buChar char="•"/>
            </a:pPr>
            <a:r>
              <a:rPr lang="en-US" sz="1400" b="0" i="0" dirty="0">
                <a:effectLst/>
                <a:latin typeface="+mn-lt"/>
              </a:rPr>
              <a:t>Full response schema </a:t>
            </a:r>
            <a:r>
              <a:rPr lang="en-US" sz="1400" dirty="0">
                <a:latin typeface="+mn-lt"/>
              </a:rPr>
              <a:t>for easy interpretation.</a:t>
            </a:r>
          </a:p>
          <a:p>
            <a:pPr lvl="1">
              <a:buFont typeface="Arial" panose="020B0604020202020204" pitchFamily="34" charset="0"/>
              <a:buChar char="•"/>
            </a:pPr>
            <a:r>
              <a:rPr lang="en-US" sz="1400" b="0" i="0" dirty="0">
                <a:effectLst/>
                <a:latin typeface="+mn-lt"/>
              </a:rPr>
              <a:t>A sample of representative requests and their responses.</a:t>
            </a:r>
          </a:p>
          <a:p>
            <a:pPr lvl="1">
              <a:buFont typeface="Arial" panose="020B0604020202020204" pitchFamily="34" charset="0"/>
              <a:buChar char="•"/>
            </a:pPr>
            <a:r>
              <a:rPr lang="en-US" sz="1400" dirty="0">
                <a:latin typeface="+mn-lt"/>
              </a:rPr>
              <a:t>Hints to edge cases.</a:t>
            </a:r>
          </a:p>
          <a:p>
            <a:pPr lvl="1">
              <a:buFont typeface="Arial" panose="020B0604020202020204" pitchFamily="34" charset="0"/>
              <a:buChar char="•"/>
            </a:pPr>
            <a:r>
              <a:rPr lang="en-US" sz="1400" dirty="0">
                <a:latin typeface="+mn-lt"/>
              </a:rPr>
              <a:t>A full python library to interact with the API.</a:t>
            </a:r>
          </a:p>
          <a:p>
            <a:pPr lvl="1"/>
            <a:endParaRPr lang="en-US" sz="1400" dirty="0">
              <a:latin typeface="+mn-lt"/>
            </a:endParaRPr>
          </a:p>
          <a:p>
            <a:pPr marL="0" indent="-23263">
              <a:buNone/>
            </a:pPr>
            <a:r>
              <a:rPr lang="en-US" sz="1400" dirty="0"/>
              <a:t>Endpoint responses will always contain a “message” and “object” key that do represent a natural language summary of the result and a full data object.</a:t>
            </a:r>
            <a:endParaRPr lang="en-US" sz="1400" dirty="0">
              <a:latin typeface="+mn-lt"/>
            </a:endParaRPr>
          </a:p>
        </p:txBody>
      </p:sp>
      <p:pic>
        <p:nvPicPr>
          <p:cNvPr id="7" name="Imagen 6">
            <a:extLst>
              <a:ext uri="{FF2B5EF4-FFF2-40B4-BE49-F238E27FC236}">
                <a16:creationId xmlns:a16="http://schemas.microsoft.com/office/drawing/2014/main" id="{E9F959AA-E88F-DE15-D955-F8BE6E614059}"/>
              </a:ext>
            </a:extLst>
          </p:cNvPr>
          <p:cNvPicPr>
            <a:picLocks noChangeAspect="1"/>
          </p:cNvPicPr>
          <p:nvPr/>
        </p:nvPicPr>
        <p:blipFill>
          <a:blip r:embed="rId2"/>
          <a:stretch>
            <a:fillRect/>
          </a:stretch>
        </p:blipFill>
        <p:spPr>
          <a:xfrm>
            <a:off x="5298140" y="670971"/>
            <a:ext cx="6350293" cy="537062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17341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8ABD-92DD-FB00-DD13-0F736B25DFA5}"/>
              </a:ext>
            </a:extLst>
          </p:cNvPr>
          <p:cNvSpPr>
            <a:spLocks noGrp="1"/>
          </p:cNvSpPr>
          <p:nvPr>
            <p:ph type="sldNum" sz="quarter" idx="10"/>
          </p:nvPr>
        </p:nvSpPr>
        <p:spPr/>
        <p:txBody>
          <a:bodyPr/>
          <a:lstStyle/>
          <a:p>
            <a:fld id="{6F42FDE4-A7DD-41A7-A0A6-9B649FB43336}" type="slidenum">
              <a:rPr lang="en-US" smtClean="0"/>
              <a:pPr/>
              <a:t>19</a:t>
            </a:fld>
            <a:endParaRPr lang="en-US"/>
          </a:p>
        </p:txBody>
      </p:sp>
      <p:sp>
        <p:nvSpPr>
          <p:cNvPr id="3" name="Text Placeholder 2">
            <a:extLst>
              <a:ext uri="{FF2B5EF4-FFF2-40B4-BE49-F238E27FC236}">
                <a16:creationId xmlns:a16="http://schemas.microsoft.com/office/drawing/2014/main" id="{707EBD6C-6AB3-122C-5FFE-B314DAA0EE1A}"/>
              </a:ext>
            </a:extLst>
          </p:cNvPr>
          <p:cNvSpPr>
            <a:spLocks noGrp="1"/>
          </p:cNvSpPr>
          <p:nvPr>
            <p:ph type="body" sz="quarter" idx="11"/>
          </p:nvPr>
        </p:nvSpPr>
        <p:spPr>
          <a:xfrm>
            <a:off x="575733" y="2840289"/>
            <a:ext cx="11040533" cy="1231106"/>
          </a:xfrm>
        </p:spPr>
        <p:txBody>
          <a:bodyPr/>
          <a:lstStyle/>
          <a:p>
            <a:r>
              <a:rPr lang="en-US" sz="8000" dirty="0">
                <a:latin typeface="Noto Serif" panose="020B0502040504020204" pitchFamily="34" charset="0"/>
                <a:ea typeface="Noto Sans" panose="020B0502040504020204" pitchFamily="34" charset="0"/>
                <a:cs typeface="Noto Sans" panose="020B0502040504020204" pitchFamily="34" charset="0"/>
              </a:rPr>
              <a:t>General Advice</a:t>
            </a:r>
            <a:endParaRPr lang="en-US" sz="8000" b="1" dirty="0">
              <a:solidFill>
                <a:schemeClr val="bg1"/>
              </a:solidFill>
              <a:latin typeface="Noto Serif"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88201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74121A-BCC5-32A4-EE96-85FB1646D1FD}"/>
              </a:ext>
            </a:extLst>
          </p:cNvPr>
          <p:cNvGraphicFramePr>
            <a:graphicFrameLocks noChangeAspect="1"/>
          </p:cNvGraphicFramePr>
          <p:nvPr>
            <p:custDataLst>
              <p:tags r:id="rId1"/>
            </p:custDataLst>
          </p:nvPr>
        </p:nvGraphicFramePr>
        <p:xfrm>
          <a:off x="7755" y="2116"/>
          <a:ext cx="2115" cy="2115"/>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9A74121A-BCC5-32A4-EE96-85FB1646D1FD}"/>
                          </a:ext>
                        </a:extLst>
                      </p:cNvPr>
                      <p:cNvPicPr/>
                      <p:nvPr/>
                    </p:nvPicPr>
                    <p:blipFill>
                      <a:blip r:embed="rId5"/>
                      <a:stretch>
                        <a:fillRect/>
                      </a:stretch>
                    </p:blipFill>
                    <p:spPr>
                      <a:xfrm>
                        <a:off x="7755" y="2116"/>
                        <a:ext cx="2115" cy="2115"/>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F802692-6C5B-4BD5-A66A-D48669ED611C}"/>
              </a:ext>
            </a:extLst>
          </p:cNvPr>
          <p:cNvSpPr>
            <a:spLocks noGrp="1"/>
          </p:cNvSpPr>
          <p:nvPr>
            <p:ph type="sldNum" sz="quarter" idx="10"/>
          </p:nvPr>
        </p:nvSpPr>
        <p:spPr/>
        <p:txBody>
          <a:bodyPr/>
          <a:lstStyle/>
          <a:p>
            <a:fld id="{6F42FDE4-A7DD-41A7-A0A6-9B649FB43336}" type="slidenum">
              <a:rPr lang="en-US" smtClean="0"/>
              <a:pPr/>
              <a:t>2</a:t>
            </a:fld>
            <a:endParaRPr lang="en-US" sz="1865">
              <a:solidFill>
                <a:srgbClr val="FFFFFF"/>
              </a:solidFill>
            </a:endParaRPr>
          </a:p>
        </p:txBody>
      </p:sp>
      <p:sp>
        <p:nvSpPr>
          <p:cNvPr id="6" name="Title 1">
            <a:extLst>
              <a:ext uri="{FF2B5EF4-FFF2-40B4-BE49-F238E27FC236}">
                <a16:creationId xmlns:a16="http://schemas.microsoft.com/office/drawing/2014/main" id="{5F1DD62B-347A-42F3-8107-446B0084FC7A}"/>
              </a:ext>
            </a:extLst>
          </p:cNvPr>
          <p:cNvSpPr txBox="1">
            <a:spLocks/>
          </p:cNvSpPr>
          <p:nvPr/>
        </p:nvSpPr>
        <p:spPr>
          <a:xfrm>
            <a:off x="580494" y="465975"/>
            <a:ext cx="10166098" cy="852744"/>
          </a:xfrm>
          <a:prstGeom prst="rect">
            <a:avLst/>
          </a:prstGeom>
        </p:spPr>
        <p:txBody>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r>
              <a:rPr lang="en-US" sz="2928" b="1">
                <a:solidFill>
                  <a:schemeClr val="bg1"/>
                </a:solidFill>
                <a:latin typeface="Noto Serif" panose="020B0502040504020204" pitchFamily="34" charset="0"/>
              </a:rPr>
              <a:t>Contents</a:t>
            </a:r>
          </a:p>
        </p:txBody>
      </p:sp>
      <p:grpSp>
        <p:nvGrpSpPr>
          <p:cNvPr id="10" name="Group 9">
            <a:extLst>
              <a:ext uri="{FF2B5EF4-FFF2-40B4-BE49-F238E27FC236}">
                <a16:creationId xmlns:a16="http://schemas.microsoft.com/office/drawing/2014/main" id="{A83D17F9-7887-4A5E-ACDD-5E4A3684F311}"/>
              </a:ext>
            </a:extLst>
          </p:cNvPr>
          <p:cNvGrpSpPr/>
          <p:nvPr/>
        </p:nvGrpSpPr>
        <p:grpSpPr>
          <a:xfrm>
            <a:off x="400562" y="1487989"/>
            <a:ext cx="8923232" cy="699904"/>
            <a:chOff x="296466" y="994565"/>
            <a:chExt cx="6698621" cy="525414"/>
          </a:xfrm>
        </p:grpSpPr>
        <p:sp>
          <p:nvSpPr>
            <p:cNvPr id="7" name="Content Placeholder 3">
              <a:extLst>
                <a:ext uri="{FF2B5EF4-FFF2-40B4-BE49-F238E27FC236}">
                  <a16:creationId xmlns:a16="http://schemas.microsoft.com/office/drawing/2014/main" id="{DC8222C6-1F0D-46D0-8375-67CA61C8953C}"/>
                </a:ext>
              </a:extLst>
            </p:cNvPr>
            <p:cNvSpPr txBox="1">
              <a:spLocks/>
            </p:cNvSpPr>
            <p:nvPr/>
          </p:nvSpPr>
          <p:spPr>
            <a:xfrm>
              <a:off x="2055071" y="1102447"/>
              <a:ext cx="4940016" cy="309650"/>
            </a:xfrm>
            <a:prstGeom prst="rect">
              <a:avLst/>
            </a:prstGeom>
          </p:spPr>
          <p:txBody>
            <a:bodyPr wrap="square">
              <a:sp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a:lnSpc>
                  <a:spcPct val="110000"/>
                </a:lnSpc>
                <a:spcBef>
                  <a:spcPts val="0"/>
                </a:spcBef>
                <a:spcAft>
                  <a:spcPts val="400"/>
                </a:spcAft>
              </a:pPr>
              <a:r>
                <a:rPr lang="en-US" sz="2000" b="1">
                  <a:solidFill>
                    <a:schemeClr val="bg1"/>
                  </a:solidFill>
                  <a:latin typeface="Noto Serif" panose="020B0502040504020204" pitchFamily="34" charset="0"/>
                  <a:ea typeface="Noto Sans" panose="020B0502040504020204" pitchFamily="34" charset="0"/>
                  <a:cs typeface="Noto Sans" panose="020B0502040504020204" pitchFamily="34" charset="0"/>
                </a:rPr>
                <a:t>SIX Financial Information</a:t>
              </a:r>
            </a:p>
          </p:txBody>
        </p:sp>
        <p:sp>
          <p:nvSpPr>
            <p:cNvPr id="9" name="TextBox 8">
              <a:extLst>
                <a:ext uri="{FF2B5EF4-FFF2-40B4-BE49-F238E27FC236}">
                  <a16:creationId xmlns:a16="http://schemas.microsoft.com/office/drawing/2014/main" id="{1A23135C-78C7-481B-A154-A1322412A594}"/>
                </a:ext>
              </a:extLst>
            </p:cNvPr>
            <p:cNvSpPr txBox="1"/>
            <p:nvPr/>
          </p:nvSpPr>
          <p:spPr>
            <a:xfrm>
              <a:off x="296466" y="994565"/>
              <a:ext cx="1404154" cy="525414"/>
            </a:xfrm>
            <a:prstGeom prst="rect">
              <a:avLst/>
            </a:prstGeom>
            <a:ln>
              <a:noFill/>
            </a:ln>
          </p:spPr>
          <p:txBody>
            <a:bodyPr vert="horz" wrap="square" lIns="119889" tIns="62342" rIns="119889" bIns="62342" rtlCol="0">
              <a:spAutoFit/>
            </a:bodyPr>
            <a:lstStyle/>
            <a:p>
              <a:pPr algn="r"/>
              <a:r>
                <a:rPr lang="en-US" sz="3730" b="1">
                  <a:solidFill>
                    <a:schemeClr val="bg1"/>
                  </a:solidFill>
                  <a:latin typeface="Noto Serif" panose="020B0502040504020204" pitchFamily="34" charset="0"/>
                  <a:ea typeface="Noto Sans" panose="020B0502040504020204" pitchFamily="34" charset="0"/>
                  <a:cs typeface="Noto Sans" panose="020B0502040504020204" pitchFamily="34" charset="0"/>
                </a:rPr>
                <a:t>1</a:t>
              </a:r>
            </a:p>
          </p:txBody>
        </p:sp>
      </p:grpSp>
      <p:cxnSp>
        <p:nvCxnSpPr>
          <p:cNvPr id="13" name="Straight Connector 12">
            <a:extLst>
              <a:ext uri="{FF2B5EF4-FFF2-40B4-BE49-F238E27FC236}">
                <a16:creationId xmlns:a16="http://schemas.microsoft.com/office/drawing/2014/main" id="{B5E94A9C-5A4F-436D-AA5B-BE19CB640A46}"/>
              </a:ext>
            </a:extLst>
          </p:cNvPr>
          <p:cNvCxnSpPr/>
          <p:nvPr/>
        </p:nvCxnSpPr>
        <p:spPr>
          <a:xfrm>
            <a:off x="2472991" y="1464137"/>
            <a:ext cx="0" cy="4651693"/>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880FCBC1-C368-41C0-893D-29F33F32B53B}"/>
              </a:ext>
            </a:extLst>
          </p:cNvPr>
          <p:cNvGrpSpPr/>
          <p:nvPr/>
        </p:nvGrpSpPr>
        <p:grpSpPr>
          <a:xfrm>
            <a:off x="400562" y="2503585"/>
            <a:ext cx="11458029" cy="699906"/>
            <a:chOff x="296466" y="1621788"/>
            <a:chExt cx="8601479" cy="525415"/>
          </a:xfrm>
        </p:grpSpPr>
        <p:sp>
          <p:nvSpPr>
            <p:cNvPr id="12" name="Content Placeholder 3">
              <a:extLst>
                <a:ext uri="{FF2B5EF4-FFF2-40B4-BE49-F238E27FC236}">
                  <a16:creationId xmlns:a16="http://schemas.microsoft.com/office/drawing/2014/main" id="{54EB972F-AD13-471B-B0E9-215B44A17D5E}"/>
                </a:ext>
              </a:extLst>
            </p:cNvPr>
            <p:cNvSpPr txBox="1">
              <a:spLocks/>
            </p:cNvSpPr>
            <p:nvPr/>
          </p:nvSpPr>
          <p:spPr>
            <a:xfrm>
              <a:off x="2016793" y="1729671"/>
              <a:ext cx="6881152" cy="309650"/>
            </a:xfrm>
            <a:prstGeom prst="rect">
              <a:avLst/>
            </a:prstGeom>
          </p:spPr>
          <p:txBody>
            <a:bodyPr wrap="square">
              <a:sp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a:lnSpc>
                  <a:spcPct val="110000"/>
                </a:lnSpc>
                <a:spcBef>
                  <a:spcPts val="0"/>
                </a:spcBef>
                <a:spcAft>
                  <a:spcPts val="400"/>
                </a:spcAft>
              </a:pPr>
              <a:r>
                <a:rPr lang="en-US" sz="2000" b="1">
                  <a:solidFill>
                    <a:schemeClr val="bg1"/>
                  </a:solidFill>
                  <a:latin typeface="Noto Serif" panose="020B0502040504020204" pitchFamily="34" charset="0"/>
                  <a:ea typeface="Noto Sans" panose="020B0502040504020204" pitchFamily="34" charset="0"/>
                  <a:cs typeface="Noto Sans" panose="020B0502040504020204" pitchFamily="34" charset="0"/>
                </a:rPr>
                <a:t>Financial Display Applications</a:t>
              </a:r>
            </a:p>
          </p:txBody>
        </p:sp>
        <p:sp>
          <p:nvSpPr>
            <p:cNvPr id="14" name="TextBox 13">
              <a:extLst>
                <a:ext uri="{FF2B5EF4-FFF2-40B4-BE49-F238E27FC236}">
                  <a16:creationId xmlns:a16="http://schemas.microsoft.com/office/drawing/2014/main" id="{CD62A97D-05CA-4CCC-86B5-650B1A922955}"/>
                </a:ext>
              </a:extLst>
            </p:cNvPr>
            <p:cNvSpPr txBox="1"/>
            <p:nvPr/>
          </p:nvSpPr>
          <p:spPr>
            <a:xfrm>
              <a:off x="296466" y="1621788"/>
              <a:ext cx="1404154" cy="525415"/>
            </a:xfrm>
            <a:prstGeom prst="rect">
              <a:avLst/>
            </a:prstGeom>
            <a:ln>
              <a:noFill/>
            </a:ln>
          </p:spPr>
          <p:txBody>
            <a:bodyPr vert="horz" wrap="square" lIns="119889" tIns="62342" rIns="119889" bIns="62342" rtlCol="0">
              <a:spAutoFit/>
            </a:bodyPr>
            <a:lstStyle/>
            <a:p>
              <a:pPr algn="r"/>
              <a:r>
                <a:rPr lang="en-US" sz="3730" b="1">
                  <a:solidFill>
                    <a:schemeClr val="bg1"/>
                  </a:solidFill>
                  <a:latin typeface="Noto Serif" panose="020B0502040504020204" pitchFamily="34" charset="0"/>
                  <a:ea typeface="Noto Sans" panose="020B0502040504020204" pitchFamily="34" charset="0"/>
                  <a:cs typeface="Noto Sans" panose="020B0502040504020204" pitchFamily="34" charset="0"/>
                </a:rPr>
                <a:t>2</a:t>
              </a:r>
            </a:p>
          </p:txBody>
        </p:sp>
      </p:grpSp>
      <p:grpSp>
        <p:nvGrpSpPr>
          <p:cNvPr id="5" name="Group 4">
            <a:extLst>
              <a:ext uri="{FF2B5EF4-FFF2-40B4-BE49-F238E27FC236}">
                <a16:creationId xmlns:a16="http://schemas.microsoft.com/office/drawing/2014/main" id="{967F3597-E685-4817-848D-4D2310157ECB}"/>
              </a:ext>
            </a:extLst>
          </p:cNvPr>
          <p:cNvGrpSpPr/>
          <p:nvPr/>
        </p:nvGrpSpPr>
        <p:grpSpPr>
          <a:xfrm>
            <a:off x="400562" y="3469290"/>
            <a:ext cx="11458029" cy="699905"/>
            <a:chOff x="296466" y="2379495"/>
            <a:chExt cx="8601479" cy="525415"/>
          </a:xfrm>
        </p:grpSpPr>
        <p:sp>
          <p:nvSpPr>
            <p:cNvPr id="17" name="Content Placeholder 3">
              <a:extLst>
                <a:ext uri="{FF2B5EF4-FFF2-40B4-BE49-F238E27FC236}">
                  <a16:creationId xmlns:a16="http://schemas.microsoft.com/office/drawing/2014/main" id="{F25D9615-6A4C-4A38-A563-FCF37BD05D00}"/>
                </a:ext>
              </a:extLst>
            </p:cNvPr>
            <p:cNvSpPr txBox="1">
              <a:spLocks/>
            </p:cNvSpPr>
            <p:nvPr/>
          </p:nvSpPr>
          <p:spPr>
            <a:xfrm>
              <a:off x="2016793" y="2487377"/>
              <a:ext cx="6881152" cy="309650"/>
            </a:xfrm>
            <a:prstGeom prst="rect">
              <a:avLst/>
            </a:prstGeom>
          </p:spPr>
          <p:txBody>
            <a:bodyPr wrap="square">
              <a:sp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a:lnSpc>
                  <a:spcPct val="110000"/>
                </a:lnSpc>
                <a:spcBef>
                  <a:spcPts val="0"/>
                </a:spcBef>
                <a:spcAft>
                  <a:spcPts val="400"/>
                </a:spcAft>
              </a:pPr>
              <a:r>
                <a:rPr lang="en-US" sz="2000" b="1">
                  <a:solidFill>
                    <a:schemeClr val="bg1"/>
                  </a:solidFill>
                  <a:latin typeface="Noto Serif" panose="020B0502040504020204" pitchFamily="34" charset="0"/>
                  <a:ea typeface="Noto Sans" panose="020B0502040504020204" pitchFamily="34" charset="0"/>
                  <a:cs typeface="Noto Sans" panose="020B0502040504020204" pitchFamily="34" charset="0"/>
                </a:rPr>
                <a:t>Display Users and User Journey</a:t>
              </a:r>
            </a:p>
          </p:txBody>
        </p:sp>
        <p:sp>
          <p:nvSpPr>
            <p:cNvPr id="18" name="TextBox 17">
              <a:extLst>
                <a:ext uri="{FF2B5EF4-FFF2-40B4-BE49-F238E27FC236}">
                  <a16:creationId xmlns:a16="http://schemas.microsoft.com/office/drawing/2014/main" id="{0209B26A-1C5C-4C1A-9DD2-67A4B5815166}"/>
                </a:ext>
              </a:extLst>
            </p:cNvPr>
            <p:cNvSpPr txBox="1"/>
            <p:nvPr/>
          </p:nvSpPr>
          <p:spPr>
            <a:xfrm>
              <a:off x="296466" y="2379495"/>
              <a:ext cx="1404154" cy="525415"/>
            </a:xfrm>
            <a:prstGeom prst="rect">
              <a:avLst/>
            </a:prstGeom>
            <a:ln>
              <a:noFill/>
            </a:ln>
          </p:spPr>
          <p:txBody>
            <a:bodyPr vert="horz" wrap="square" lIns="119889" tIns="62342" rIns="119889" bIns="62342" rtlCol="0">
              <a:spAutoFit/>
            </a:bodyPr>
            <a:lstStyle/>
            <a:p>
              <a:pPr algn="r"/>
              <a:r>
                <a:rPr lang="en-US" sz="3730" b="1">
                  <a:solidFill>
                    <a:schemeClr val="bg1"/>
                  </a:solidFill>
                  <a:latin typeface="Noto Serif" panose="020B0502040504020204" pitchFamily="34" charset="0"/>
                  <a:ea typeface="Noto Sans" panose="020B0502040504020204" pitchFamily="34" charset="0"/>
                  <a:cs typeface="Noto Sans" panose="020B0502040504020204" pitchFamily="34" charset="0"/>
                </a:rPr>
                <a:t>3</a:t>
              </a:r>
            </a:p>
          </p:txBody>
        </p:sp>
      </p:grpSp>
      <p:grpSp>
        <p:nvGrpSpPr>
          <p:cNvPr id="4" name="Group 3">
            <a:extLst>
              <a:ext uri="{FF2B5EF4-FFF2-40B4-BE49-F238E27FC236}">
                <a16:creationId xmlns:a16="http://schemas.microsoft.com/office/drawing/2014/main" id="{031C2CFB-EBAF-4A8E-B88C-52B80054654C}"/>
              </a:ext>
            </a:extLst>
          </p:cNvPr>
          <p:cNvGrpSpPr/>
          <p:nvPr/>
        </p:nvGrpSpPr>
        <p:grpSpPr>
          <a:xfrm>
            <a:off x="352812" y="4421200"/>
            <a:ext cx="8919993" cy="699905"/>
            <a:chOff x="260620" y="3131635"/>
            <a:chExt cx="6696189" cy="525415"/>
          </a:xfrm>
        </p:grpSpPr>
        <p:sp>
          <p:nvSpPr>
            <p:cNvPr id="25" name="TextBox 24">
              <a:extLst>
                <a:ext uri="{FF2B5EF4-FFF2-40B4-BE49-F238E27FC236}">
                  <a16:creationId xmlns:a16="http://schemas.microsoft.com/office/drawing/2014/main" id="{37C684F6-AB8B-4652-A0E7-6E02A0F04032}"/>
                </a:ext>
              </a:extLst>
            </p:cNvPr>
            <p:cNvSpPr txBox="1"/>
            <p:nvPr/>
          </p:nvSpPr>
          <p:spPr>
            <a:xfrm>
              <a:off x="260620" y="3131635"/>
              <a:ext cx="1440000" cy="525415"/>
            </a:xfrm>
            <a:prstGeom prst="rect">
              <a:avLst/>
            </a:prstGeom>
            <a:ln>
              <a:noFill/>
            </a:ln>
          </p:spPr>
          <p:txBody>
            <a:bodyPr vert="horz" wrap="square" lIns="119889" tIns="62342" rIns="119889" bIns="62342" rtlCol="0">
              <a:spAutoFit/>
            </a:bodyPr>
            <a:lstStyle/>
            <a:p>
              <a:pPr algn="r"/>
              <a:r>
                <a:rPr lang="en-US" sz="3730" b="1">
                  <a:solidFill>
                    <a:schemeClr val="bg1"/>
                  </a:solidFill>
                  <a:latin typeface="Noto Serif" panose="020B0502040504020204" pitchFamily="34" charset="0"/>
                  <a:ea typeface="Noto Sans" panose="020B0502040504020204" pitchFamily="34" charset="0"/>
                  <a:cs typeface="Noto Sans" panose="020B0502040504020204" pitchFamily="34" charset="0"/>
                </a:rPr>
                <a:t>4</a:t>
              </a:r>
            </a:p>
          </p:txBody>
        </p:sp>
        <p:sp>
          <p:nvSpPr>
            <p:cNvPr id="27" name="Content Placeholder 3">
              <a:extLst>
                <a:ext uri="{FF2B5EF4-FFF2-40B4-BE49-F238E27FC236}">
                  <a16:creationId xmlns:a16="http://schemas.microsoft.com/office/drawing/2014/main" id="{BB511A4F-453B-48BA-AFE9-ED69030E7380}"/>
                </a:ext>
              </a:extLst>
            </p:cNvPr>
            <p:cNvSpPr txBox="1">
              <a:spLocks/>
            </p:cNvSpPr>
            <p:nvPr/>
          </p:nvSpPr>
          <p:spPr>
            <a:xfrm>
              <a:off x="2016793" y="3239517"/>
              <a:ext cx="4940016" cy="309650"/>
            </a:xfrm>
            <a:prstGeom prst="rect">
              <a:avLst/>
            </a:prstGeom>
          </p:spPr>
          <p:txBody>
            <a:bodyPr wrap="square">
              <a:sp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a:lnSpc>
                  <a:spcPct val="110000"/>
                </a:lnSpc>
                <a:spcBef>
                  <a:spcPts val="0"/>
                </a:spcBef>
                <a:spcAft>
                  <a:spcPts val="400"/>
                </a:spcAft>
              </a:pPr>
              <a:r>
                <a:rPr lang="en-US" sz="2000" b="1">
                  <a:solidFill>
                    <a:schemeClr val="bg1"/>
                  </a:solidFill>
                  <a:latin typeface="Noto Serif" panose="020B0502040504020204" pitchFamily="34" charset="0"/>
                  <a:ea typeface="Noto Sans" panose="020B0502040504020204" pitchFamily="34" charset="0"/>
                  <a:cs typeface="Noto Sans" panose="020B0502040504020204" pitchFamily="34" charset="0"/>
                </a:rPr>
                <a:t>Technical Environment</a:t>
              </a:r>
            </a:p>
          </p:txBody>
        </p:sp>
      </p:grpSp>
      <p:grpSp>
        <p:nvGrpSpPr>
          <p:cNvPr id="2" name="Group 1">
            <a:extLst>
              <a:ext uri="{FF2B5EF4-FFF2-40B4-BE49-F238E27FC236}">
                <a16:creationId xmlns:a16="http://schemas.microsoft.com/office/drawing/2014/main" id="{6E0A51F0-76E2-42A6-B213-48276AA40B54}"/>
              </a:ext>
            </a:extLst>
          </p:cNvPr>
          <p:cNvGrpSpPr/>
          <p:nvPr/>
        </p:nvGrpSpPr>
        <p:grpSpPr>
          <a:xfrm>
            <a:off x="352811" y="5382473"/>
            <a:ext cx="10862004" cy="699905"/>
            <a:chOff x="260620" y="4040591"/>
            <a:chExt cx="8154046" cy="525415"/>
          </a:xfrm>
        </p:grpSpPr>
        <p:sp>
          <p:nvSpPr>
            <p:cNvPr id="23" name="TextBox 22">
              <a:extLst>
                <a:ext uri="{FF2B5EF4-FFF2-40B4-BE49-F238E27FC236}">
                  <a16:creationId xmlns:a16="http://schemas.microsoft.com/office/drawing/2014/main" id="{909EA4F5-E36F-4EDE-851D-3310C1DACFD2}"/>
                </a:ext>
              </a:extLst>
            </p:cNvPr>
            <p:cNvSpPr txBox="1"/>
            <p:nvPr/>
          </p:nvSpPr>
          <p:spPr>
            <a:xfrm>
              <a:off x="260620" y="4040591"/>
              <a:ext cx="1440000" cy="525415"/>
            </a:xfrm>
            <a:prstGeom prst="rect">
              <a:avLst/>
            </a:prstGeom>
            <a:ln>
              <a:noFill/>
            </a:ln>
          </p:spPr>
          <p:txBody>
            <a:bodyPr vert="horz" wrap="square" lIns="119889" tIns="62342" rIns="119889" bIns="62342" rtlCol="0">
              <a:spAutoFit/>
            </a:bodyPr>
            <a:lstStyle/>
            <a:p>
              <a:pPr algn="r"/>
              <a:r>
                <a:rPr lang="en-US" sz="3730" b="1">
                  <a:solidFill>
                    <a:schemeClr val="bg1"/>
                  </a:solidFill>
                  <a:latin typeface="Noto Serif" panose="020B0502040504020204" pitchFamily="34" charset="0"/>
                  <a:ea typeface="Noto Sans" panose="020B0502040504020204" pitchFamily="34" charset="0"/>
                  <a:cs typeface="Noto Sans" panose="020B0502040504020204" pitchFamily="34" charset="0"/>
                </a:rPr>
                <a:t>5</a:t>
              </a:r>
            </a:p>
          </p:txBody>
        </p:sp>
        <p:sp>
          <p:nvSpPr>
            <p:cNvPr id="26" name="Content Placeholder 3">
              <a:extLst>
                <a:ext uri="{FF2B5EF4-FFF2-40B4-BE49-F238E27FC236}">
                  <a16:creationId xmlns:a16="http://schemas.microsoft.com/office/drawing/2014/main" id="{D9AFF6AF-9E69-4B08-96A5-B1790B0C3001}"/>
                </a:ext>
              </a:extLst>
            </p:cNvPr>
            <p:cNvSpPr txBox="1">
              <a:spLocks/>
            </p:cNvSpPr>
            <p:nvPr/>
          </p:nvSpPr>
          <p:spPr>
            <a:xfrm>
              <a:off x="2016793" y="4148473"/>
              <a:ext cx="6397873" cy="309650"/>
            </a:xfrm>
            <a:prstGeom prst="rect">
              <a:avLst/>
            </a:prstGeom>
          </p:spPr>
          <p:txBody>
            <a:bodyPr wrap="square">
              <a:spAutoFit/>
            </a:bodyPr>
            <a:lst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a:lstStyle>
            <a:p>
              <a:pPr>
                <a:lnSpc>
                  <a:spcPct val="110000"/>
                </a:lnSpc>
                <a:spcBef>
                  <a:spcPts val="0"/>
                </a:spcBef>
                <a:spcAft>
                  <a:spcPts val="400"/>
                </a:spcAft>
              </a:pPr>
              <a:r>
                <a:rPr lang="en-US" sz="2000" b="1">
                  <a:solidFill>
                    <a:schemeClr val="bg1"/>
                  </a:solidFill>
                  <a:latin typeface="Noto Serif" panose="020B0502040504020204" pitchFamily="34" charset="0"/>
                  <a:ea typeface="Noto Sans" panose="020B0502040504020204" pitchFamily="34" charset="0"/>
                  <a:cs typeface="Noto Sans" panose="020B0502040504020204" pitchFamily="34" charset="0"/>
                </a:rPr>
                <a:t>General Advice</a:t>
              </a:r>
            </a:p>
          </p:txBody>
        </p:sp>
      </p:grpSp>
    </p:spTree>
    <p:extLst>
      <p:ext uri="{BB962C8B-B14F-4D97-AF65-F5344CB8AC3E}">
        <p14:creationId xmlns:p14="http://schemas.microsoft.com/office/powerpoint/2010/main" val="95079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455BAB-1C1E-3DB1-944A-6FAD54B3C11E}"/>
              </a:ext>
            </a:extLst>
          </p:cNvPr>
          <p:cNvSpPr>
            <a:spLocks noGrp="1"/>
          </p:cNvSpPr>
          <p:nvPr>
            <p:ph type="sldNum" sz="quarter" idx="10"/>
          </p:nvPr>
        </p:nvSpPr>
        <p:spPr/>
        <p:txBody>
          <a:bodyPr/>
          <a:lstStyle/>
          <a:p>
            <a:fld id="{6F42FDE4-A7DD-41A7-A0A6-9B649FB43336}" type="slidenum">
              <a:rPr lang="en-US" smtClean="0"/>
              <a:pPr/>
              <a:t>20</a:t>
            </a:fld>
            <a:endParaRPr lang="en-US"/>
          </a:p>
        </p:txBody>
      </p:sp>
      <p:sp>
        <p:nvSpPr>
          <p:cNvPr id="6" name="Título 5">
            <a:extLst>
              <a:ext uri="{FF2B5EF4-FFF2-40B4-BE49-F238E27FC236}">
                <a16:creationId xmlns:a16="http://schemas.microsoft.com/office/drawing/2014/main" id="{3041DD0B-8625-4C07-6734-9C054588E4FE}"/>
              </a:ext>
            </a:extLst>
          </p:cNvPr>
          <p:cNvSpPr>
            <a:spLocks noGrp="1"/>
          </p:cNvSpPr>
          <p:nvPr>
            <p:ph type="title"/>
          </p:nvPr>
        </p:nvSpPr>
        <p:spPr/>
        <p:txBody>
          <a:bodyPr>
            <a:normAutofit/>
          </a:bodyPr>
          <a:lstStyle/>
          <a:p>
            <a:r>
              <a:rPr lang="es-ES" sz="2400" b="1" dirty="0">
                <a:latin typeface="Noto Serif" panose="020B0502040504020204" pitchFamily="34" charset="0"/>
              </a:rPr>
              <a:t>General </a:t>
            </a:r>
            <a:r>
              <a:rPr lang="es-ES" sz="2400" b="1" dirty="0" err="1">
                <a:latin typeface="Noto Serif" panose="020B0502040504020204" pitchFamily="34" charset="0"/>
              </a:rPr>
              <a:t>Advice</a:t>
            </a:r>
            <a:endParaRPr lang="es-ES" sz="2400" b="1" dirty="0">
              <a:latin typeface="Noto Serif" panose="020B0502040504020204" pitchFamily="34" charset="0"/>
            </a:endParaRPr>
          </a:p>
        </p:txBody>
      </p:sp>
      <p:sp>
        <p:nvSpPr>
          <p:cNvPr id="7" name="Marcador de contenido 6">
            <a:extLst>
              <a:ext uri="{FF2B5EF4-FFF2-40B4-BE49-F238E27FC236}">
                <a16:creationId xmlns:a16="http://schemas.microsoft.com/office/drawing/2014/main" id="{D8B0C1BE-F9FD-A93B-94EA-724A9936B77A}"/>
              </a:ext>
            </a:extLst>
          </p:cNvPr>
          <p:cNvSpPr>
            <a:spLocks noGrp="1"/>
          </p:cNvSpPr>
          <p:nvPr>
            <p:ph idx="1"/>
          </p:nvPr>
        </p:nvSpPr>
        <p:spPr>
          <a:xfrm>
            <a:off x="431800" y="1451727"/>
            <a:ext cx="11341100" cy="4566733"/>
          </a:xfrm>
        </p:spPr>
        <p:txBody>
          <a:bodyPr>
            <a:normAutofit/>
          </a:bodyPr>
          <a:lstStyle/>
          <a:p>
            <a:r>
              <a:rPr lang="en-US" sz="1400" b="1" dirty="0"/>
              <a:t>Ensure JSON Formatting: </a:t>
            </a:r>
            <a:r>
              <a:rPr lang="en-US" sz="1400" dirty="0"/>
              <a:t>Always validate JSON inputs before sending requests to prevent errors.</a:t>
            </a:r>
          </a:p>
          <a:p>
            <a:r>
              <a:rPr lang="en-US" sz="1400" b="1" dirty="0"/>
              <a:t>Authentication: </a:t>
            </a:r>
            <a:r>
              <a:rPr lang="en-US" sz="1400" dirty="0"/>
              <a:t>If using authentication params, ensure proper session management to avoid access issues.</a:t>
            </a:r>
          </a:p>
          <a:p>
            <a:r>
              <a:rPr lang="en-US" sz="1400" b="1" dirty="0"/>
              <a:t>Rate Limiting: </a:t>
            </a:r>
            <a:r>
              <a:rPr lang="en-US" sz="1400" dirty="0"/>
              <a:t>Avoid excessive queries in a short period to prevent service throttling.</a:t>
            </a:r>
          </a:p>
          <a:p>
            <a:r>
              <a:rPr lang="en-US" sz="1400" b="1" dirty="0"/>
              <a:t>Error Handling: </a:t>
            </a:r>
            <a:r>
              <a:rPr lang="en-US" sz="1400" dirty="0"/>
              <a:t>Always check the API's error messages to troubleshoot issues effectively.</a:t>
            </a:r>
          </a:p>
          <a:p>
            <a:r>
              <a:rPr lang="en-US" sz="1400" b="1" dirty="0"/>
              <a:t>Data Handling: </a:t>
            </a:r>
            <a:r>
              <a:rPr lang="en-US" sz="1400" dirty="0"/>
              <a:t>Be mindful of response structures, especially for large data responses such as OHLCV.</a:t>
            </a:r>
          </a:p>
          <a:p>
            <a:endParaRPr lang="es-ES" sz="1400" dirty="0"/>
          </a:p>
        </p:txBody>
      </p:sp>
    </p:spTree>
    <p:extLst>
      <p:ext uri="{BB962C8B-B14F-4D97-AF65-F5344CB8AC3E}">
        <p14:creationId xmlns:p14="http://schemas.microsoft.com/office/powerpoint/2010/main" val="240901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8ABD-92DD-FB00-DD13-0F736B25DFA5}"/>
              </a:ext>
            </a:extLst>
          </p:cNvPr>
          <p:cNvSpPr>
            <a:spLocks noGrp="1"/>
          </p:cNvSpPr>
          <p:nvPr>
            <p:ph type="sldNum" sz="quarter" idx="10"/>
          </p:nvPr>
        </p:nvSpPr>
        <p:spPr/>
        <p:txBody>
          <a:bodyPr/>
          <a:lstStyle/>
          <a:p>
            <a:fld id="{6F42FDE4-A7DD-41A7-A0A6-9B649FB43336}" type="slidenum">
              <a:rPr lang="en-US" smtClean="0"/>
              <a:pPr/>
              <a:t>3</a:t>
            </a:fld>
            <a:endParaRPr lang="en-US"/>
          </a:p>
        </p:txBody>
      </p:sp>
      <p:sp>
        <p:nvSpPr>
          <p:cNvPr id="3" name="Text Placeholder 2">
            <a:extLst>
              <a:ext uri="{FF2B5EF4-FFF2-40B4-BE49-F238E27FC236}">
                <a16:creationId xmlns:a16="http://schemas.microsoft.com/office/drawing/2014/main" id="{707EBD6C-6AB3-122C-5FFE-B314DAA0EE1A}"/>
              </a:ext>
            </a:extLst>
          </p:cNvPr>
          <p:cNvSpPr>
            <a:spLocks noGrp="1"/>
          </p:cNvSpPr>
          <p:nvPr>
            <p:ph type="body" sz="quarter" idx="11"/>
          </p:nvPr>
        </p:nvSpPr>
        <p:spPr>
          <a:xfrm>
            <a:off x="575733" y="2186750"/>
            <a:ext cx="11040533" cy="2462213"/>
          </a:xfrm>
        </p:spPr>
        <p:txBody>
          <a:bodyPr/>
          <a:lstStyle/>
          <a:p>
            <a:r>
              <a:rPr lang="en-US" sz="8000" b="1">
                <a:solidFill>
                  <a:schemeClr val="bg1"/>
                </a:solidFill>
                <a:latin typeface="Noto Serif" panose="020B0502040504020204" pitchFamily="34" charset="0"/>
                <a:ea typeface="Noto Sans" panose="020B0502040504020204" pitchFamily="34" charset="0"/>
                <a:cs typeface="Noto Sans" panose="020B0502040504020204" pitchFamily="34" charset="0"/>
              </a:rPr>
              <a:t>SIX Financial Information</a:t>
            </a:r>
          </a:p>
        </p:txBody>
      </p:sp>
    </p:spTree>
    <p:extLst>
      <p:ext uri="{BB962C8B-B14F-4D97-AF65-F5344CB8AC3E}">
        <p14:creationId xmlns:p14="http://schemas.microsoft.com/office/powerpoint/2010/main" val="50739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up of a sign&#10;&#10;Description automatically generated">
            <a:extLst>
              <a:ext uri="{FF2B5EF4-FFF2-40B4-BE49-F238E27FC236}">
                <a16:creationId xmlns:a16="http://schemas.microsoft.com/office/drawing/2014/main" id="{77DA5B26-EC8C-32DB-7D42-5ACAE6F529B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39" y="1"/>
            <a:ext cx="12180722" cy="6858001"/>
          </a:xfrm>
          <a:prstGeom prst="rect">
            <a:avLst/>
          </a:prstGeom>
        </p:spPr>
      </p:pic>
      <p:sp>
        <p:nvSpPr>
          <p:cNvPr id="2" name="Title 1">
            <a:extLst>
              <a:ext uri="{FF2B5EF4-FFF2-40B4-BE49-F238E27FC236}">
                <a16:creationId xmlns:a16="http://schemas.microsoft.com/office/drawing/2014/main" id="{B630796F-29F0-B093-1EE1-6CAFE491D5A4}"/>
              </a:ext>
            </a:extLst>
          </p:cNvPr>
          <p:cNvSpPr>
            <a:spLocks noGrp="1"/>
          </p:cNvSpPr>
          <p:nvPr>
            <p:ph type="title"/>
          </p:nvPr>
        </p:nvSpPr>
        <p:spPr>
          <a:xfrm>
            <a:off x="580496" y="2368926"/>
            <a:ext cx="5515505" cy="2122263"/>
          </a:xfrm>
        </p:spPr>
        <p:txBody>
          <a:bodyPr>
            <a:noAutofit/>
          </a:bodyPr>
          <a:lstStyle/>
          <a:p>
            <a:r>
              <a:rPr lang="en-US" sz="4796">
                <a:solidFill>
                  <a:schemeClr val="accent1"/>
                </a:solidFill>
                <a:latin typeface="Noto Serif" panose="020B0502040504020204" pitchFamily="34" charset="0"/>
              </a:rPr>
              <a:t>SIX</a:t>
            </a:r>
            <a:r>
              <a:rPr lang="en-US" sz="4796">
                <a:solidFill>
                  <a:schemeClr val="bg1"/>
                </a:solidFill>
                <a:latin typeface="Noto Serif" panose="020B0502040504020204" pitchFamily="34" charset="0"/>
              </a:rPr>
              <a:t> is a leading global provider of financial data</a:t>
            </a:r>
          </a:p>
        </p:txBody>
      </p:sp>
    </p:spTree>
    <p:extLst>
      <p:ext uri="{BB962C8B-B14F-4D97-AF65-F5344CB8AC3E}">
        <p14:creationId xmlns:p14="http://schemas.microsoft.com/office/powerpoint/2010/main" val="173571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A9A054D2-A092-F860-F41A-4E88C5E17F81}"/>
              </a:ext>
            </a:extLst>
          </p:cNvPr>
          <p:cNvSpPr>
            <a:spLocks noGrp="1"/>
          </p:cNvSpPr>
          <p:nvPr>
            <p:ph type="sldNum" sz="quarter" idx="10"/>
          </p:nvPr>
        </p:nvSpPr>
        <p:spPr>
          <a:prstGeom prst="rect">
            <a:avLst/>
          </a:prstGeom>
        </p:spPr>
        <p:txBody>
          <a:bodyPr lIns="0" tIns="0" rIns="0" bIns="0"/>
          <a:lstStyle>
            <a:lvl1pPr>
              <a:defRPr sz="1066">
                <a:solidFill>
                  <a:schemeClr val="bg2"/>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5</a:t>
            </a:fld>
            <a:endParaRPr lang="de-CH"/>
          </a:p>
        </p:txBody>
      </p:sp>
      <p:sp>
        <p:nvSpPr>
          <p:cNvPr id="4" name="Titel 3"/>
          <p:cNvSpPr>
            <a:spLocks noGrp="1"/>
          </p:cNvSpPr>
          <p:nvPr>
            <p:ph type="title"/>
          </p:nvPr>
        </p:nvSpPr>
        <p:spPr/>
        <p:txBody>
          <a:bodyPr/>
          <a:lstStyle/>
          <a:p>
            <a:r>
              <a:rPr lang="en-US"/>
              <a:t>How SIX adds </a:t>
            </a:r>
            <a:r>
              <a:rPr lang="en-US" i="0"/>
              <a:t>Value to the Financial Industry  </a:t>
            </a:r>
            <a:endParaRPr lang="de-DE" i="0"/>
          </a:p>
        </p:txBody>
      </p:sp>
      <p:sp>
        <p:nvSpPr>
          <p:cNvPr id="15" name="Content Placeholder 14">
            <a:extLst>
              <a:ext uri="{FF2B5EF4-FFF2-40B4-BE49-F238E27FC236}">
                <a16:creationId xmlns:a16="http://schemas.microsoft.com/office/drawing/2014/main" id="{0EA2ADB3-D8F0-CDFE-3722-685C7D5440E6}"/>
              </a:ext>
            </a:extLst>
          </p:cNvPr>
          <p:cNvSpPr>
            <a:spLocks noGrp="1"/>
          </p:cNvSpPr>
          <p:nvPr>
            <p:ph idx="1"/>
          </p:nvPr>
        </p:nvSpPr>
        <p:spPr/>
        <p:txBody>
          <a:bodyPr/>
          <a:lstStyle/>
          <a:p>
            <a:endParaRPr lang="en-US"/>
          </a:p>
        </p:txBody>
      </p:sp>
      <p:sp>
        <p:nvSpPr>
          <p:cNvPr id="84" name="Rechteck 317"/>
          <p:cNvSpPr/>
          <p:nvPr/>
        </p:nvSpPr>
        <p:spPr>
          <a:xfrm>
            <a:off x="3034955" y="1414641"/>
            <a:ext cx="3056565" cy="5443360"/>
          </a:xfrm>
          <a:prstGeom prst="rect">
            <a:avLst/>
          </a:prstGeom>
          <a:solidFill>
            <a:srgbClr val="002C5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grpSp>
        <p:nvGrpSpPr>
          <p:cNvPr id="10" name="Group 9">
            <a:extLst>
              <a:ext uri="{FF2B5EF4-FFF2-40B4-BE49-F238E27FC236}">
                <a16:creationId xmlns:a16="http://schemas.microsoft.com/office/drawing/2014/main" id="{8F2D86F2-3C28-8D8F-9429-165358610D7A}"/>
              </a:ext>
            </a:extLst>
          </p:cNvPr>
          <p:cNvGrpSpPr/>
          <p:nvPr/>
        </p:nvGrpSpPr>
        <p:grpSpPr>
          <a:xfrm>
            <a:off x="3315817" y="3192704"/>
            <a:ext cx="2780183" cy="2062517"/>
            <a:chOff x="2135832" y="5324618"/>
            <a:chExt cx="2569738" cy="1548320"/>
          </a:xfrm>
        </p:grpSpPr>
        <p:sp>
          <p:nvSpPr>
            <p:cNvPr id="85" name="Rechteck 48"/>
            <p:cNvSpPr/>
            <p:nvPr/>
          </p:nvSpPr>
          <p:spPr>
            <a:xfrm flipH="1">
              <a:off x="2135832" y="5324618"/>
              <a:ext cx="2569738" cy="1548320"/>
            </a:xfrm>
            <a:prstGeom prst="rect">
              <a:avLst/>
            </a:prstGeom>
            <a:solidFill>
              <a:srgbClr val="BEDD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grpSp>
          <p:nvGrpSpPr>
            <p:cNvPr id="9" name="Group 8">
              <a:extLst>
                <a:ext uri="{FF2B5EF4-FFF2-40B4-BE49-F238E27FC236}">
                  <a16:creationId xmlns:a16="http://schemas.microsoft.com/office/drawing/2014/main" id="{8D789270-8520-7817-2E34-83E2CBBD8EDF}"/>
                </a:ext>
              </a:extLst>
            </p:cNvPr>
            <p:cNvGrpSpPr/>
            <p:nvPr/>
          </p:nvGrpSpPr>
          <p:grpSpPr>
            <a:xfrm>
              <a:off x="2205130" y="5329381"/>
              <a:ext cx="2125459" cy="1538794"/>
              <a:chOff x="2586923" y="5303625"/>
              <a:chExt cx="2125459" cy="1538794"/>
            </a:xfrm>
          </p:grpSpPr>
          <p:pic>
            <p:nvPicPr>
              <p:cNvPr id="87" name="Grafik 5"/>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7838" t="21743" r="43530" b="21743"/>
              <a:stretch/>
            </p:blipFill>
            <p:spPr>
              <a:xfrm>
                <a:off x="2586923" y="5319293"/>
                <a:ext cx="2056632" cy="1523126"/>
              </a:xfrm>
              <a:prstGeom prst="rect">
                <a:avLst/>
              </a:prstGeom>
            </p:spPr>
          </p:pic>
          <p:grpSp>
            <p:nvGrpSpPr>
              <p:cNvPr id="8" name="Group 7">
                <a:extLst>
                  <a:ext uri="{FF2B5EF4-FFF2-40B4-BE49-F238E27FC236}">
                    <a16:creationId xmlns:a16="http://schemas.microsoft.com/office/drawing/2014/main" id="{1E623E75-059E-1C78-AF85-5AAC0C2A8149}"/>
                  </a:ext>
                </a:extLst>
              </p:cNvPr>
              <p:cNvGrpSpPr/>
              <p:nvPr/>
            </p:nvGrpSpPr>
            <p:grpSpPr>
              <a:xfrm>
                <a:off x="2586923" y="5303625"/>
                <a:ext cx="2125459" cy="1538794"/>
                <a:chOff x="2477182" y="2401652"/>
                <a:chExt cx="1985077" cy="1538794"/>
              </a:xfrm>
            </p:grpSpPr>
            <p:sp>
              <p:nvSpPr>
                <p:cNvPr id="88" name="Rechteck 7"/>
                <p:cNvSpPr/>
                <p:nvPr/>
              </p:nvSpPr>
              <p:spPr>
                <a:xfrm>
                  <a:off x="2477182" y="2401652"/>
                  <a:ext cx="1984192" cy="800448"/>
                </a:xfrm>
                <a:prstGeom prst="rect">
                  <a:avLst/>
                </a:prstGeom>
                <a:gradFill flip="none" rotWithShape="1">
                  <a:gsLst>
                    <a:gs pos="21000">
                      <a:srgbClr val="BEDDF0"/>
                    </a:gs>
                    <a:gs pos="100000">
                      <a:srgbClr val="BEDDF0">
                        <a:alpha val="0"/>
                      </a:srgb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CH" sz="2398" err="1">
                    <a:solidFill>
                      <a:srgbClr val="FFFFFF"/>
                    </a:solidFill>
                  </a:endParaRPr>
                </a:p>
              </p:txBody>
            </p:sp>
            <p:sp>
              <p:nvSpPr>
                <p:cNvPr id="89" name="Rechteck 103"/>
                <p:cNvSpPr/>
                <p:nvPr/>
              </p:nvSpPr>
              <p:spPr>
                <a:xfrm flipV="1">
                  <a:off x="2478067" y="3202100"/>
                  <a:ext cx="1984192" cy="738346"/>
                </a:xfrm>
                <a:prstGeom prst="rect">
                  <a:avLst/>
                </a:prstGeom>
                <a:gradFill flip="none" rotWithShape="1">
                  <a:gsLst>
                    <a:gs pos="14000">
                      <a:srgbClr val="BEDDF0"/>
                    </a:gs>
                    <a:gs pos="100000">
                      <a:srgbClr val="BEDDF0">
                        <a:alpha val="0"/>
                      </a:srgb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CH" sz="2398" err="1">
                    <a:solidFill>
                      <a:srgbClr val="FFFFFF"/>
                    </a:solidFill>
                  </a:endParaRPr>
                </a:p>
              </p:txBody>
            </p:sp>
          </p:grpSp>
        </p:grpSp>
      </p:grpSp>
      <p:sp>
        <p:nvSpPr>
          <p:cNvPr id="90" name="Rechteck 326"/>
          <p:cNvSpPr/>
          <p:nvPr/>
        </p:nvSpPr>
        <p:spPr>
          <a:xfrm>
            <a:off x="6090384" y="1414641"/>
            <a:ext cx="3051484" cy="5443360"/>
          </a:xfrm>
          <a:prstGeom prst="rect">
            <a:avLst/>
          </a:prstGeom>
          <a:solidFill>
            <a:srgbClr val="002C5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91" name="Rechteck 327"/>
          <p:cNvSpPr/>
          <p:nvPr/>
        </p:nvSpPr>
        <p:spPr>
          <a:xfrm>
            <a:off x="9143558" y="1414641"/>
            <a:ext cx="3042807" cy="5443360"/>
          </a:xfrm>
          <a:prstGeom prst="rect">
            <a:avLst/>
          </a:prstGeom>
          <a:solidFill>
            <a:srgbClr val="002C5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92" name="Rechteck 27"/>
          <p:cNvSpPr/>
          <p:nvPr/>
        </p:nvSpPr>
        <p:spPr>
          <a:xfrm>
            <a:off x="5640" y="1414641"/>
            <a:ext cx="3035809" cy="5443360"/>
          </a:xfrm>
          <a:prstGeom prst="rect">
            <a:avLst/>
          </a:prstGeom>
          <a:solidFill>
            <a:srgbClr val="002C5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93" name="Rectangle 5"/>
          <p:cNvSpPr/>
          <p:nvPr/>
        </p:nvSpPr>
        <p:spPr>
          <a:xfrm>
            <a:off x="572380" y="1677398"/>
            <a:ext cx="2231719" cy="867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60861" numCol="1" spcCol="0" rtlCol="0" fromWordArt="0" anchor="t" anchorCtr="0" forceAA="0" compatLnSpc="1">
            <a:prstTxWarp prst="textNoShape">
              <a:avLst/>
            </a:prstTxWarp>
            <a:noAutofit/>
          </a:bodyPr>
          <a:lstStyle/>
          <a:p>
            <a:pPr algn="ctr"/>
            <a:r>
              <a:rPr lang="en-US" sz="1599">
                <a:solidFill>
                  <a:schemeClr val="bg1"/>
                </a:solidFill>
              </a:rPr>
              <a:t>We receive raw data from over </a:t>
            </a:r>
            <a:r>
              <a:rPr lang="en-US" sz="1599" b="1">
                <a:solidFill>
                  <a:schemeClr val="bg1"/>
                </a:solidFill>
              </a:rPr>
              <a:t>5,000</a:t>
            </a:r>
            <a:r>
              <a:rPr lang="en-US" sz="1599">
                <a:solidFill>
                  <a:schemeClr val="bg1"/>
                </a:solidFill>
              </a:rPr>
              <a:t> global sources</a:t>
            </a:r>
          </a:p>
        </p:txBody>
      </p:sp>
      <p:sp>
        <p:nvSpPr>
          <p:cNvPr id="94" name="Rectangle 6"/>
          <p:cNvSpPr/>
          <p:nvPr/>
        </p:nvSpPr>
        <p:spPr>
          <a:xfrm>
            <a:off x="3221319" y="1677398"/>
            <a:ext cx="2682071" cy="88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60861" numCol="1" spcCol="0" rtlCol="0" fromWordArt="0" anchor="t" anchorCtr="0" forceAA="0" compatLnSpc="1">
            <a:prstTxWarp prst="textNoShape">
              <a:avLst/>
            </a:prstTxWarp>
            <a:noAutofit/>
          </a:bodyPr>
          <a:lstStyle/>
          <a:p>
            <a:pPr algn="ctr"/>
            <a:r>
              <a:rPr lang="en-GB" sz="1599">
                <a:solidFill>
                  <a:schemeClr val="bg1"/>
                </a:solidFill>
              </a:rPr>
              <a:t>We collect disparate, diverse, disorderly, and inconsistent data</a:t>
            </a:r>
          </a:p>
        </p:txBody>
      </p:sp>
      <p:sp>
        <p:nvSpPr>
          <p:cNvPr id="95" name="Rectangle 7"/>
          <p:cNvSpPr/>
          <p:nvPr/>
        </p:nvSpPr>
        <p:spPr>
          <a:xfrm>
            <a:off x="6254774" y="1677398"/>
            <a:ext cx="2719899" cy="86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60861" numCol="1" spcCol="0" rtlCol="0" fromWordArt="0" anchor="t" anchorCtr="0" forceAA="0" compatLnSpc="1">
            <a:prstTxWarp prst="textNoShape">
              <a:avLst/>
            </a:prstTxWarp>
            <a:noAutofit/>
          </a:bodyPr>
          <a:lstStyle/>
          <a:p>
            <a:pPr algn="ctr"/>
            <a:r>
              <a:rPr lang="en-GB" sz="1599">
                <a:solidFill>
                  <a:schemeClr val="bg1"/>
                </a:solidFill>
              </a:rPr>
              <a:t>We aggregate, streamline, enrich, optimize, and organize data</a:t>
            </a:r>
          </a:p>
        </p:txBody>
      </p:sp>
      <p:sp>
        <p:nvSpPr>
          <p:cNvPr id="96" name="Rectangle 8"/>
          <p:cNvSpPr/>
          <p:nvPr/>
        </p:nvSpPr>
        <p:spPr>
          <a:xfrm>
            <a:off x="9307992" y="1677398"/>
            <a:ext cx="2710073" cy="721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60861" numCol="1" spcCol="0" rtlCol="0" fromWordArt="0" anchor="t" anchorCtr="0" forceAA="0" compatLnSpc="1">
            <a:prstTxWarp prst="textNoShape">
              <a:avLst/>
            </a:prstTxWarp>
            <a:noAutofit/>
          </a:bodyPr>
          <a:lstStyle/>
          <a:p>
            <a:pPr algn="ctr"/>
            <a:r>
              <a:rPr lang="en-GB" sz="1599">
                <a:solidFill>
                  <a:schemeClr val="bg1"/>
                </a:solidFill>
              </a:rPr>
              <a:t>We deliver consolidated, complete, clean data in a uniform structure ready for our clients to use</a:t>
            </a:r>
          </a:p>
        </p:txBody>
      </p:sp>
      <p:grpSp>
        <p:nvGrpSpPr>
          <p:cNvPr id="97" name="Gruppieren 21">
            <a:extLst>
              <a:ext uri="{FF2B5EF4-FFF2-40B4-BE49-F238E27FC236}">
                <a16:creationId xmlns:a16="http://schemas.microsoft.com/office/drawing/2014/main" id="{66812686-6480-4A62-853C-E96BD1BD89F0}"/>
              </a:ext>
            </a:extLst>
          </p:cNvPr>
          <p:cNvGrpSpPr/>
          <p:nvPr/>
        </p:nvGrpSpPr>
        <p:grpSpPr>
          <a:xfrm>
            <a:off x="9137213" y="2981740"/>
            <a:ext cx="3052318" cy="2505930"/>
            <a:chOff x="6855022" y="2238375"/>
            <a:chExt cx="2291358" cy="1881188"/>
          </a:xfrm>
        </p:grpSpPr>
        <p:sp>
          <p:nvSpPr>
            <p:cNvPr id="98" name="Freeform 9"/>
            <p:cNvSpPr>
              <a:spLocks/>
            </p:cNvSpPr>
            <p:nvPr/>
          </p:nvSpPr>
          <p:spPr bwMode="auto">
            <a:xfrm>
              <a:off x="6855022" y="2238375"/>
              <a:ext cx="2288977" cy="432000"/>
            </a:xfrm>
            <a:prstGeom prst="rect">
              <a:avLst/>
            </a:prstGeom>
            <a:solidFill>
              <a:srgbClr val="70B4DE"/>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99" name="Freeform 10"/>
            <p:cNvSpPr>
              <a:spLocks/>
            </p:cNvSpPr>
            <p:nvPr/>
          </p:nvSpPr>
          <p:spPr bwMode="auto">
            <a:xfrm>
              <a:off x="6855022" y="2717006"/>
              <a:ext cx="2288977" cy="432000"/>
            </a:xfrm>
            <a:prstGeom prst="rect">
              <a:avLst/>
            </a:prstGeom>
            <a:solidFill>
              <a:srgbClr val="3E9AD3"/>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00" name="Freeform 11"/>
            <p:cNvSpPr>
              <a:spLocks/>
            </p:cNvSpPr>
            <p:nvPr/>
          </p:nvSpPr>
          <p:spPr bwMode="auto">
            <a:xfrm>
              <a:off x="6855022" y="3201788"/>
              <a:ext cx="2288977" cy="432000"/>
            </a:xfrm>
            <a:prstGeom prst="rect">
              <a:avLst/>
            </a:prstGeom>
            <a:solidFill>
              <a:srgbClr val="2C86BE"/>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01" name="Freeform 12"/>
            <p:cNvSpPr>
              <a:spLocks/>
            </p:cNvSpPr>
            <p:nvPr/>
          </p:nvSpPr>
          <p:spPr bwMode="auto">
            <a:xfrm>
              <a:off x="6855544" y="3687563"/>
              <a:ext cx="2290836" cy="432000"/>
            </a:xfrm>
            <a:prstGeom prst="rect">
              <a:avLst/>
            </a:prstGeom>
            <a:solidFill>
              <a:srgbClr val="287BAE"/>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grpSp>
      <p:sp>
        <p:nvSpPr>
          <p:cNvPr id="102" name="Trapezoid 101"/>
          <p:cNvSpPr/>
          <p:nvPr/>
        </p:nvSpPr>
        <p:spPr>
          <a:xfrm rot="5400000">
            <a:off x="1855283" y="4083864"/>
            <a:ext cx="2639549" cy="280202"/>
          </a:xfrm>
          <a:prstGeom prst="trapezoid">
            <a:avLst>
              <a:gd name="adj" fmla="val 102299"/>
            </a:avLst>
          </a:prstGeom>
          <a:solidFill>
            <a:srgbClr val="AED4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103" name="Rechteck 47"/>
          <p:cNvSpPr/>
          <p:nvPr/>
        </p:nvSpPr>
        <p:spPr>
          <a:xfrm>
            <a:off x="-6040" y="2904189"/>
            <a:ext cx="3044793" cy="2639549"/>
          </a:xfrm>
          <a:prstGeom prst="rect">
            <a:avLst/>
          </a:prstGeom>
          <a:solidFill>
            <a:srgbClr val="CFE6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grpSp>
        <p:nvGrpSpPr>
          <p:cNvPr id="105" name="Gruppieren 16">
            <a:extLst>
              <a:ext uri="{FF2B5EF4-FFF2-40B4-BE49-F238E27FC236}">
                <a16:creationId xmlns:a16="http://schemas.microsoft.com/office/drawing/2014/main" id="{F8E2C8DB-064E-4C79-8EC1-1B58DC797FF1}"/>
              </a:ext>
            </a:extLst>
          </p:cNvPr>
          <p:cNvGrpSpPr/>
          <p:nvPr/>
        </p:nvGrpSpPr>
        <p:grpSpPr>
          <a:xfrm>
            <a:off x="6263931" y="2981740"/>
            <a:ext cx="2874132" cy="2505930"/>
            <a:chOff x="4698064" y="2238375"/>
            <a:chExt cx="2157595" cy="1881188"/>
          </a:xfrm>
        </p:grpSpPr>
        <p:sp>
          <p:nvSpPr>
            <p:cNvPr id="106" name="Rechteck 41"/>
            <p:cNvSpPr/>
            <p:nvPr/>
          </p:nvSpPr>
          <p:spPr>
            <a:xfrm>
              <a:off x="4698064" y="2398400"/>
              <a:ext cx="2011890" cy="360000"/>
            </a:xfrm>
            <a:prstGeom prst="rect">
              <a:avLst/>
            </a:prstGeom>
            <a:solidFill>
              <a:srgbClr val="70B4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107" name="Rechteck 42"/>
            <p:cNvSpPr/>
            <p:nvPr/>
          </p:nvSpPr>
          <p:spPr>
            <a:xfrm>
              <a:off x="4698064" y="2798623"/>
              <a:ext cx="2011890" cy="360000"/>
            </a:xfrm>
            <a:prstGeom prst="rect">
              <a:avLst/>
            </a:prstGeom>
            <a:solidFill>
              <a:srgbClr val="3E9A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108" name="Rechteck 43"/>
            <p:cNvSpPr/>
            <p:nvPr/>
          </p:nvSpPr>
          <p:spPr>
            <a:xfrm>
              <a:off x="4698064" y="3198846"/>
              <a:ext cx="2011890" cy="360000"/>
            </a:xfrm>
            <a:prstGeom prst="rect">
              <a:avLst/>
            </a:prstGeom>
            <a:solidFill>
              <a:srgbClr val="2C86B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109" name="Rechteck 44"/>
            <p:cNvSpPr/>
            <p:nvPr/>
          </p:nvSpPr>
          <p:spPr>
            <a:xfrm>
              <a:off x="4698064" y="3599069"/>
              <a:ext cx="2011890" cy="360000"/>
            </a:xfrm>
            <a:prstGeom prst="rect">
              <a:avLst/>
            </a:prstGeom>
            <a:solidFill>
              <a:srgbClr val="287B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sp>
          <p:nvSpPr>
            <p:cNvPr id="110" name="Freeform 14"/>
            <p:cNvSpPr>
              <a:spLocks/>
            </p:cNvSpPr>
            <p:nvPr/>
          </p:nvSpPr>
          <p:spPr bwMode="auto">
            <a:xfrm>
              <a:off x="6711177" y="2717006"/>
              <a:ext cx="144481" cy="441617"/>
            </a:xfrm>
            <a:custGeom>
              <a:avLst/>
              <a:gdLst>
                <a:gd name="T0" fmla="*/ 0 w 166"/>
                <a:gd name="T1" fmla="*/ 72 h 406"/>
                <a:gd name="T2" fmla="*/ 166 w 166"/>
                <a:gd name="T3" fmla="*/ 0 h 406"/>
                <a:gd name="T4" fmla="*/ 166 w 166"/>
                <a:gd name="T5" fmla="*/ 402 h 406"/>
                <a:gd name="T6" fmla="*/ 0 w 166"/>
                <a:gd name="T7" fmla="*/ 406 h 406"/>
                <a:gd name="T8" fmla="*/ 0 w 166"/>
                <a:gd name="T9" fmla="*/ 72 h 406"/>
              </a:gdLst>
              <a:ahLst/>
              <a:cxnLst>
                <a:cxn ang="0">
                  <a:pos x="T0" y="T1"/>
                </a:cxn>
                <a:cxn ang="0">
                  <a:pos x="T2" y="T3"/>
                </a:cxn>
                <a:cxn ang="0">
                  <a:pos x="T4" y="T5"/>
                </a:cxn>
                <a:cxn ang="0">
                  <a:pos x="T6" y="T7"/>
                </a:cxn>
                <a:cxn ang="0">
                  <a:pos x="T8" y="T9"/>
                </a:cxn>
              </a:cxnLst>
              <a:rect l="0" t="0" r="r" b="b"/>
              <a:pathLst>
                <a:path w="166" h="406">
                  <a:moveTo>
                    <a:pt x="0" y="72"/>
                  </a:moveTo>
                  <a:lnTo>
                    <a:pt x="166" y="0"/>
                  </a:lnTo>
                  <a:lnTo>
                    <a:pt x="166" y="402"/>
                  </a:lnTo>
                  <a:lnTo>
                    <a:pt x="0" y="406"/>
                  </a:lnTo>
                  <a:lnTo>
                    <a:pt x="0" y="72"/>
                  </a:lnTo>
                  <a:close/>
                </a:path>
              </a:pathLst>
            </a:custGeom>
            <a:solidFill>
              <a:srgbClr val="2E8DC8"/>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11" name="Freeform 15"/>
            <p:cNvSpPr>
              <a:spLocks/>
            </p:cNvSpPr>
            <p:nvPr/>
          </p:nvSpPr>
          <p:spPr bwMode="auto">
            <a:xfrm>
              <a:off x="6711177" y="3198846"/>
              <a:ext cx="144481" cy="434942"/>
            </a:xfrm>
            <a:custGeom>
              <a:avLst/>
              <a:gdLst>
                <a:gd name="T0" fmla="*/ 0 w 166"/>
                <a:gd name="T1" fmla="*/ 0 h 406"/>
                <a:gd name="T2" fmla="*/ 166 w 166"/>
                <a:gd name="T3" fmla="*/ 4 h 406"/>
                <a:gd name="T4" fmla="*/ 166 w 166"/>
                <a:gd name="T5" fmla="*/ 406 h 406"/>
                <a:gd name="T6" fmla="*/ 0 w 166"/>
                <a:gd name="T7" fmla="*/ 334 h 406"/>
                <a:gd name="T8" fmla="*/ 0 w 166"/>
                <a:gd name="T9" fmla="*/ 0 h 406"/>
              </a:gdLst>
              <a:ahLst/>
              <a:cxnLst>
                <a:cxn ang="0">
                  <a:pos x="T0" y="T1"/>
                </a:cxn>
                <a:cxn ang="0">
                  <a:pos x="T2" y="T3"/>
                </a:cxn>
                <a:cxn ang="0">
                  <a:pos x="T4" y="T5"/>
                </a:cxn>
                <a:cxn ang="0">
                  <a:pos x="T6" y="T7"/>
                </a:cxn>
                <a:cxn ang="0">
                  <a:pos x="T8" y="T9"/>
                </a:cxn>
              </a:cxnLst>
              <a:rect l="0" t="0" r="r" b="b"/>
              <a:pathLst>
                <a:path w="166" h="406">
                  <a:moveTo>
                    <a:pt x="0" y="0"/>
                  </a:moveTo>
                  <a:lnTo>
                    <a:pt x="166" y="4"/>
                  </a:lnTo>
                  <a:lnTo>
                    <a:pt x="166" y="406"/>
                  </a:lnTo>
                  <a:lnTo>
                    <a:pt x="0" y="334"/>
                  </a:lnTo>
                  <a:lnTo>
                    <a:pt x="0" y="0"/>
                  </a:lnTo>
                  <a:close/>
                </a:path>
              </a:pathLst>
            </a:custGeom>
            <a:solidFill>
              <a:srgbClr val="2673A2">
                <a:alpha val="90980"/>
              </a:srgbClr>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12" name="Freeform 13"/>
            <p:cNvSpPr>
              <a:spLocks/>
            </p:cNvSpPr>
            <p:nvPr/>
          </p:nvSpPr>
          <p:spPr bwMode="auto">
            <a:xfrm>
              <a:off x="6709955" y="2238375"/>
              <a:ext cx="145704" cy="520025"/>
            </a:xfrm>
            <a:custGeom>
              <a:avLst/>
              <a:gdLst>
                <a:gd name="T0" fmla="*/ 0 w 166"/>
                <a:gd name="T1" fmla="*/ 482 h 482"/>
                <a:gd name="T2" fmla="*/ 166 w 166"/>
                <a:gd name="T3" fmla="*/ 402 h 482"/>
                <a:gd name="T4" fmla="*/ 166 w 166"/>
                <a:gd name="T5" fmla="*/ 0 h 482"/>
                <a:gd name="T6" fmla="*/ 0 w 166"/>
                <a:gd name="T7" fmla="*/ 148 h 482"/>
                <a:gd name="T8" fmla="*/ 0 w 166"/>
                <a:gd name="T9" fmla="*/ 482 h 482"/>
              </a:gdLst>
              <a:ahLst/>
              <a:cxnLst>
                <a:cxn ang="0">
                  <a:pos x="T0" y="T1"/>
                </a:cxn>
                <a:cxn ang="0">
                  <a:pos x="T2" y="T3"/>
                </a:cxn>
                <a:cxn ang="0">
                  <a:pos x="T4" y="T5"/>
                </a:cxn>
                <a:cxn ang="0">
                  <a:pos x="T6" y="T7"/>
                </a:cxn>
                <a:cxn ang="0">
                  <a:pos x="T8" y="T9"/>
                </a:cxn>
              </a:cxnLst>
              <a:rect l="0" t="0" r="r" b="b"/>
              <a:pathLst>
                <a:path w="166" h="482">
                  <a:moveTo>
                    <a:pt x="0" y="482"/>
                  </a:moveTo>
                  <a:lnTo>
                    <a:pt x="166" y="402"/>
                  </a:lnTo>
                  <a:lnTo>
                    <a:pt x="166" y="0"/>
                  </a:lnTo>
                  <a:lnTo>
                    <a:pt x="0" y="148"/>
                  </a:lnTo>
                  <a:lnTo>
                    <a:pt x="0" y="482"/>
                  </a:lnTo>
                  <a:close/>
                </a:path>
              </a:pathLst>
            </a:custGeom>
            <a:solidFill>
              <a:srgbClr val="4A9DD1"/>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13" name="Freeform 16"/>
            <p:cNvSpPr>
              <a:spLocks/>
            </p:cNvSpPr>
            <p:nvPr/>
          </p:nvSpPr>
          <p:spPr bwMode="auto">
            <a:xfrm>
              <a:off x="6711177" y="3599069"/>
              <a:ext cx="144481" cy="520494"/>
            </a:xfrm>
            <a:custGeom>
              <a:avLst/>
              <a:gdLst>
                <a:gd name="T0" fmla="*/ 0 w 166"/>
                <a:gd name="T1" fmla="*/ 0 h 481"/>
                <a:gd name="T2" fmla="*/ 166 w 166"/>
                <a:gd name="T3" fmla="*/ 80 h 481"/>
                <a:gd name="T4" fmla="*/ 166 w 166"/>
                <a:gd name="T5" fmla="*/ 481 h 481"/>
                <a:gd name="T6" fmla="*/ 0 w 166"/>
                <a:gd name="T7" fmla="*/ 334 h 481"/>
                <a:gd name="T8" fmla="*/ 0 w 166"/>
                <a:gd name="T9" fmla="*/ 0 h 481"/>
              </a:gdLst>
              <a:ahLst/>
              <a:cxnLst>
                <a:cxn ang="0">
                  <a:pos x="T0" y="T1"/>
                </a:cxn>
                <a:cxn ang="0">
                  <a:pos x="T2" y="T3"/>
                </a:cxn>
                <a:cxn ang="0">
                  <a:pos x="T4" y="T5"/>
                </a:cxn>
                <a:cxn ang="0">
                  <a:pos x="T6" y="T7"/>
                </a:cxn>
                <a:cxn ang="0">
                  <a:pos x="T8" y="T9"/>
                </a:cxn>
              </a:cxnLst>
              <a:rect l="0" t="0" r="r" b="b"/>
              <a:pathLst>
                <a:path w="166" h="481">
                  <a:moveTo>
                    <a:pt x="0" y="0"/>
                  </a:moveTo>
                  <a:lnTo>
                    <a:pt x="166" y="80"/>
                  </a:lnTo>
                  <a:lnTo>
                    <a:pt x="166" y="481"/>
                  </a:lnTo>
                  <a:lnTo>
                    <a:pt x="0" y="334"/>
                  </a:lnTo>
                  <a:lnTo>
                    <a:pt x="0" y="0"/>
                  </a:lnTo>
                  <a:close/>
                </a:path>
              </a:pathLst>
            </a:custGeom>
            <a:solidFill>
              <a:srgbClr val="236C99"/>
            </a:solidFill>
            <a:ln>
              <a:noFill/>
            </a:ln>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grpSp>
      <p:sp>
        <p:nvSpPr>
          <p:cNvPr id="119" name="AutoShape 83"/>
          <p:cNvSpPr>
            <a:spLocks noChangeAspect="1" noChangeArrowheads="1" noTextEdit="1"/>
          </p:cNvSpPr>
          <p:nvPr/>
        </p:nvSpPr>
        <p:spPr bwMode="auto">
          <a:xfrm>
            <a:off x="6678381" y="3368485"/>
            <a:ext cx="642552" cy="78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grpSp>
        <p:nvGrpSpPr>
          <p:cNvPr id="6" name="Group 5">
            <a:extLst>
              <a:ext uri="{FF2B5EF4-FFF2-40B4-BE49-F238E27FC236}">
                <a16:creationId xmlns:a16="http://schemas.microsoft.com/office/drawing/2014/main" id="{68EEC469-2A49-56C3-92E0-8F3A83E58DC0}"/>
              </a:ext>
            </a:extLst>
          </p:cNvPr>
          <p:cNvGrpSpPr/>
          <p:nvPr/>
        </p:nvGrpSpPr>
        <p:grpSpPr>
          <a:xfrm>
            <a:off x="569333" y="3945623"/>
            <a:ext cx="1896653" cy="580662"/>
            <a:chOff x="423161" y="2961957"/>
            <a:chExt cx="1423807" cy="435900"/>
          </a:xfrm>
        </p:grpSpPr>
        <p:sp>
          <p:nvSpPr>
            <p:cNvPr id="121" name="Rectangle 5"/>
            <p:cNvSpPr/>
            <p:nvPr/>
          </p:nvSpPr>
          <p:spPr>
            <a:xfrm>
              <a:off x="867203" y="3148223"/>
              <a:ext cx="979765" cy="243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287734" numCol="1" spcCol="0" rtlCol="0" fromWordArt="0" anchor="ctr" anchorCtr="0" forceAA="0" compatLnSpc="1">
              <a:prstTxWarp prst="textNoShape">
                <a:avLst/>
              </a:prstTxWarp>
              <a:noAutofit/>
            </a:bodyPr>
            <a:lstStyle/>
            <a:p>
              <a:r>
                <a:rPr lang="en-GB" sz="1332">
                  <a:solidFill>
                    <a:srgbClr val="002C5F"/>
                  </a:solidFill>
                </a:rPr>
                <a:t>Exchanges</a:t>
              </a:r>
            </a:p>
          </p:txBody>
        </p:sp>
        <p:sp>
          <p:nvSpPr>
            <p:cNvPr id="123" name="Ellipse 338"/>
            <p:cNvSpPr/>
            <p:nvPr/>
          </p:nvSpPr>
          <p:spPr>
            <a:xfrm>
              <a:off x="423161" y="2961957"/>
              <a:ext cx="435900" cy="435900"/>
            </a:xfrm>
            <a:prstGeom prst="ellipse">
              <a:avLst/>
            </a:prstGeom>
            <a:solidFill>
              <a:srgbClr val="002C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CH" sz="2398" err="1">
                <a:solidFill>
                  <a:srgbClr val="FFFFFF"/>
                </a:solidFill>
              </a:endParaRPr>
            </a:p>
          </p:txBody>
        </p:sp>
        <p:pic>
          <p:nvPicPr>
            <p:cNvPr id="124" name="Grafik 8"/>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4833" y="3055305"/>
              <a:ext cx="252556" cy="249204"/>
            </a:xfrm>
            <a:prstGeom prst="rect">
              <a:avLst/>
            </a:prstGeom>
          </p:spPr>
        </p:pic>
      </p:grpSp>
      <p:grpSp>
        <p:nvGrpSpPr>
          <p:cNvPr id="7" name="Group 6">
            <a:extLst>
              <a:ext uri="{FF2B5EF4-FFF2-40B4-BE49-F238E27FC236}">
                <a16:creationId xmlns:a16="http://schemas.microsoft.com/office/drawing/2014/main" id="{5189CF6C-E1AB-3BE5-22A3-EE8C5F2206C4}"/>
              </a:ext>
            </a:extLst>
          </p:cNvPr>
          <p:cNvGrpSpPr/>
          <p:nvPr/>
        </p:nvGrpSpPr>
        <p:grpSpPr>
          <a:xfrm>
            <a:off x="569332" y="4669446"/>
            <a:ext cx="1603981" cy="580662"/>
            <a:chOff x="423161" y="3505327"/>
            <a:chExt cx="1204100" cy="435900"/>
          </a:xfrm>
        </p:grpSpPr>
        <p:sp>
          <p:nvSpPr>
            <p:cNvPr id="126" name="Rectangle 5"/>
            <p:cNvSpPr/>
            <p:nvPr/>
          </p:nvSpPr>
          <p:spPr>
            <a:xfrm>
              <a:off x="867203" y="3694017"/>
              <a:ext cx="760058" cy="243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287734" numCol="1" spcCol="0" rtlCol="0" fromWordArt="0" anchor="ctr" anchorCtr="0" forceAA="0" compatLnSpc="1">
              <a:prstTxWarp prst="textNoShape">
                <a:avLst/>
              </a:prstTxWarp>
              <a:noAutofit/>
            </a:bodyPr>
            <a:lstStyle/>
            <a:p>
              <a:r>
                <a:rPr lang="en-GB" sz="1332">
                  <a:solidFill>
                    <a:srgbClr val="002C5F"/>
                  </a:solidFill>
                </a:rPr>
                <a:t>Markets</a:t>
              </a:r>
            </a:p>
          </p:txBody>
        </p:sp>
        <p:sp>
          <p:nvSpPr>
            <p:cNvPr id="128" name="Ellipse 339"/>
            <p:cNvSpPr/>
            <p:nvPr/>
          </p:nvSpPr>
          <p:spPr>
            <a:xfrm>
              <a:off x="423161" y="3505327"/>
              <a:ext cx="435900" cy="435900"/>
            </a:xfrm>
            <a:prstGeom prst="ellipse">
              <a:avLst/>
            </a:prstGeom>
            <a:solidFill>
              <a:srgbClr val="002C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CH" sz="2398" err="1">
                <a:solidFill>
                  <a:srgbClr val="FFFFFF"/>
                </a:solidFill>
              </a:endParaRPr>
            </a:p>
          </p:txBody>
        </p:sp>
        <p:pic>
          <p:nvPicPr>
            <p:cNvPr id="129" name="Grafik 9"/>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5109" y="3597275"/>
              <a:ext cx="252004" cy="252004"/>
            </a:xfrm>
            <a:prstGeom prst="rect">
              <a:avLst/>
            </a:prstGeom>
          </p:spPr>
        </p:pic>
      </p:grpSp>
      <p:grpSp>
        <p:nvGrpSpPr>
          <p:cNvPr id="130" name="Gruppieren 351"/>
          <p:cNvGrpSpPr/>
          <p:nvPr/>
        </p:nvGrpSpPr>
        <p:grpSpPr>
          <a:xfrm>
            <a:off x="7865511" y="4351771"/>
            <a:ext cx="77723" cy="287734"/>
            <a:chOff x="4525960" y="2398711"/>
            <a:chExt cx="95254" cy="347664"/>
          </a:xfrm>
          <a:solidFill>
            <a:schemeClr val="bg1"/>
          </a:solidFill>
        </p:grpSpPr>
        <p:sp>
          <p:nvSpPr>
            <p:cNvPr id="131" name="Oval 20"/>
            <p:cNvSpPr>
              <a:spLocks noChangeArrowheads="1"/>
            </p:cNvSpPr>
            <p:nvPr/>
          </p:nvSpPr>
          <p:spPr bwMode="auto">
            <a:xfrm>
              <a:off x="4525960" y="2398711"/>
              <a:ext cx="55563"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32" name="Freeform 21"/>
            <p:cNvSpPr>
              <a:spLocks/>
            </p:cNvSpPr>
            <p:nvPr/>
          </p:nvSpPr>
          <p:spPr bwMode="auto">
            <a:xfrm>
              <a:off x="4533901" y="2486025"/>
              <a:ext cx="87313" cy="260350"/>
            </a:xfrm>
            <a:custGeom>
              <a:avLst/>
              <a:gdLst>
                <a:gd name="T0" fmla="*/ 19 w 24"/>
                <a:gd name="T1" fmla="*/ 65 h 78"/>
                <a:gd name="T2" fmla="*/ 10 w 24"/>
                <a:gd name="T3" fmla="*/ 47 h 78"/>
                <a:gd name="T4" fmla="*/ 10 w 24"/>
                <a:gd name="T5" fmla="*/ 41 h 78"/>
                <a:gd name="T6" fmla="*/ 10 w 24"/>
                <a:gd name="T7" fmla="*/ 0 h 78"/>
                <a:gd name="T8" fmla="*/ 0 w 24"/>
                <a:gd name="T9" fmla="*/ 0 h 78"/>
                <a:gd name="T10" fmla="*/ 0 w 24"/>
                <a:gd name="T11" fmla="*/ 41 h 78"/>
                <a:gd name="T12" fmla="*/ 0 w 24"/>
                <a:gd name="T13" fmla="*/ 47 h 78"/>
                <a:gd name="T14" fmla="*/ 12 w 24"/>
                <a:gd name="T15" fmla="*/ 73 h 78"/>
                <a:gd name="T16" fmla="*/ 17 w 24"/>
                <a:gd name="T17" fmla="*/ 78 h 78"/>
                <a:gd name="T18" fmla="*/ 24 w 24"/>
                <a:gd name="T19" fmla="*/ 70 h 78"/>
                <a:gd name="T20" fmla="*/ 19 w 24"/>
                <a:gd name="T21"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78">
                  <a:moveTo>
                    <a:pt x="19" y="65"/>
                  </a:moveTo>
                  <a:cubicBezTo>
                    <a:pt x="13" y="61"/>
                    <a:pt x="10" y="54"/>
                    <a:pt x="10" y="47"/>
                  </a:cubicBezTo>
                  <a:cubicBezTo>
                    <a:pt x="10" y="41"/>
                    <a:pt x="10" y="41"/>
                    <a:pt x="10" y="41"/>
                  </a:cubicBezTo>
                  <a:cubicBezTo>
                    <a:pt x="10" y="0"/>
                    <a:pt x="10" y="0"/>
                    <a:pt x="10" y="0"/>
                  </a:cubicBezTo>
                  <a:cubicBezTo>
                    <a:pt x="0" y="0"/>
                    <a:pt x="0" y="0"/>
                    <a:pt x="0" y="0"/>
                  </a:cubicBezTo>
                  <a:cubicBezTo>
                    <a:pt x="0" y="41"/>
                    <a:pt x="0" y="41"/>
                    <a:pt x="0" y="41"/>
                  </a:cubicBezTo>
                  <a:cubicBezTo>
                    <a:pt x="0" y="47"/>
                    <a:pt x="0" y="47"/>
                    <a:pt x="0" y="47"/>
                  </a:cubicBezTo>
                  <a:cubicBezTo>
                    <a:pt x="0" y="57"/>
                    <a:pt x="4" y="66"/>
                    <a:pt x="12" y="73"/>
                  </a:cubicBezTo>
                  <a:cubicBezTo>
                    <a:pt x="17" y="78"/>
                    <a:pt x="17" y="78"/>
                    <a:pt x="17" y="78"/>
                  </a:cubicBezTo>
                  <a:cubicBezTo>
                    <a:pt x="24" y="70"/>
                    <a:pt x="24" y="70"/>
                    <a:pt x="24" y="70"/>
                  </a:cubicBezTo>
                  <a:lnTo>
                    <a:pt x="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grpSp>
      <p:grpSp>
        <p:nvGrpSpPr>
          <p:cNvPr id="5" name="Group 4">
            <a:extLst>
              <a:ext uri="{FF2B5EF4-FFF2-40B4-BE49-F238E27FC236}">
                <a16:creationId xmlns:a16="http://schemas.microsoft.com/office/drawing/2014/main" id="{B26F8EFD-2ACE-B478-F8CB-291F3A411117}"/>
              </a:ext>
            </a:extLst>
          </p:cNvPr>
          <p:cNvGrpSpPr/>
          <p:nvPr/>
        </p:nvGrpSpPr>
        <p:grpSpPr>
          <a:xfrm>
            <a:off x="569332" y="3221799"/>
            <a:ext cx="1603981" cy="580662"/>
            <a:chOff x="423161" y="2418586"/>
            <a:chExt cx="1204100" cy="435900"/>
          </a:xfrm>
        </p:grpSpPr>
        <p:sp>
          <p:nvSpPr>
            <p:cNvPr id="134" name="Rectangle 5"/>
            <p:cNvSpPr/>
            <p:nvPr/>
          </p:nvSpPr>
          <p:spPr>
            <a:xfrm>
              <a:off x="867203" y="2602429"/>
              <a:ext cx="760058" cy="243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725" tIns="60861" rIns="121725" bIns="287734" numCol="1" spcCol="0" rtlCol="0" fromWordArt="0" anchor="ctr" anchorCtr="0" forceAA="0" compatLnSpc="1">
              <a:prstTxWarp prst="textNoShape">
                <a:avLst/>
              </a:prstTxWarp>
              <a:noAutofit/>
            </a:bodyPr>
            <a:lstStyle/>
            <a:p>
              <a:r>
                <a:rPr lang="en-GB" sz="1332">
                  <a:solidFill>
                    <a:srgbClr val="002C5F"/>
                  </a:solidFill>
                </a:rPr>
                <a:t>Issuers</a:t>
              </a:r>
            </a:p>
          </p:txBody>
        </p:sp>
        <p:sp>
          <p:nvSpPr>
            <p:cNvPr id="136" name="Ellipse 6"/>
            <p:cNvSpPr/>
            <p:nvPr/>
          </p:nvSpPr>
          <p:spPr>
            <a:xfrm>
              <a:off x="423161" y="2418586"/>
              <a:ext cx="435900" cy="435900"/>
            </a:xfrm>
            <a:prstGeom prst="ellipse">
              <a:avLst/>
            </a:prstGeom>
            <a:solidFill>
              <a:srgbClr val="002C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a:endParaRPr lang="de-CH" sz="2398" err="1">
                <a:solidFill>
                  <a:srgbClr val="FFFFFF"/>
                </a:solidFill>
              </a:endParaRPr>
            </a:p>
          </p:txBody>
        </p:sp>
        <p:pic>
          <p:nvPicPr>
            <p:cNvPr id="137" name="Grafik 2"/>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36101" y="2565400"/>
              <a:ext cx="210022" cy="142272"/>
            </a:xfrm>
            <a:prstGeom prst="rect">
              <a:avLst/>
            </a:prstGeom>
          </p:spPr>
        </p:pic>
      </p:grpSp>
      <p:pic>
        <p:nvPicPr>
          <p:cNvPr id="138" name="Grafik 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0868" y="4767498"/>
            <a:ext cx="527512" cy="527512"/>
          </a:xfrm>
          <a:prstGeom prst="rect">
            <a:avLst/>
          </a:prstGeom>
        </p:spPr>
      </p:pic>
      <p:sp>
        <p:nvSpPr>
          <p:cNvPr id="139" name="Rechteck 75"/>
          <p:cNvSpPr/>
          <p:nvPr/>
        </p:nvSpPr>
        <p:spPr>
          <a:xfrm>
            <a:off x="9139691" y="3103193"/>
            <a:ext cx="3046670" cy="338426"/>
          </a:xfrm>
          <a:prstGeom prst="rect">
            <a:avLst/>
          </a:prstGeom>
        </p:spPr>
        <p:txBody>
          <a:bodyPr wrap="square" anchor="ctr">
            <a:spAutoFit/>
          </a:bodyPr>
          <a:lstStyle/>
          <a:p>
            <a:pPr algn="ctr"/>
            <a:r>
              <a:rPr lang="en-US" sz="1599">
                <a:solidFill>
                  <a:srgbClr val="FFFFFF"/>
                </a:solidFill>
              </a:rPr>
              <a:t>consistent</a:t>
            </a:r>
            <a:endParaRPr lang="de-DE" sz="1599">
              <a:solidFill>
                <a:srgbClr val="FFFFFF"/>
              </a:solidFill>
            </a:endParaRPr>
          </a:p>
        </p:txBody>
      </p:sp>
      <p:sp>
        <p:nvSpPr>
          <p:cNvPr id="140" name="Rechteck 76"/>
          <p:cNvSpPr/>
          <p:nvPr/>
        </p:nvSpPr>
        <p:spPr>
          <a:xfrm>
            <a:off x="10155880" y="3740777"/>
            <a:ext cx="1011815" cy="338426"/>
          </a:xfrm>
          <a:prstGeom prst="rect">
            <a:avLst/>
          </a:prstGeom>
        </p:spPr>
        <p:txBody>
          <a:bodyPr wrap="none" anchor="ctr">
            <a:spAutoFit/>
          </a:bodyPr>
          <a:lstStyle/>
          <a:p>
            <a:pPr algn="ctr"/>
            <a:r>
              <a:rPr lang="en-US" sz="1599">
                <a:solidFill>
                  <a:srgbClr val="FFFFFF"/>
                </a:solidFill>
              </a:rPr>
              <a:t>accurate</a:t>
            </a:r>
            <a:endParaRPr lang="de-DE" sz="1599">
              <a:solidFill>
                <a:srgbClr val="FFFFFF"/>
              </a:solidFill>
            </a:endParaRPr>
          </a:p>
        </p:txBody>
      </p:sp>
      <p:sp>
        <p:nvSpPr>
          <p:cNvPr id="144" name="Rechteck 77"/>
          <p:cNvSpPr/>
          <p:nvPr/>
        </p:nvSpPr>
        <p:spPr>
          <a:xfrm>
            <a:off x="10273700" y="4386555"/>
            <a:ext cx="776174" cy="338426"/>
          </a:xfrm>
          <a:prstGeom prst="rect">
            <a:avLst/>
          </a:prstGeom>
        </p:spPr>
        <p:txBody>
          <a:bodyPr wrap="none" anchor="ctr">
            <a:spAutoFit/>
          </a:bodyPr>
          <a:lstStyle/>
          <a:p>
            <a:pPr algn="ctr"/>
            <a:r>
              <a:rPr lang="en-US" sz="1599">
                <a:solidFill>
                  <a:srgbClr val="FFFFFF"/>
                </a:solidFill>
              </a:rPr>
              <a:t>timely</a:t>
            </a:r>
            <a:endParaRPr lang="de-DE" sz="1599">
              <a:solidFill>
                <a:srgbClr val="FFFFFF"/>
              </a:solidFill>
            </a:endParaRPr>
          </a:p>
        </p:txBody>
      </p:sp>
      <p:sp>
        <p:nvSpPr>
          <p:cNvPr id="145" name="Rechteck 78"/>
          <p:cNvSpPr/>
          <p:nvPr/>
        </p:nvSpPr>
        <p:spPr>
          <a:xfrm>
            <a:off x="10120613" y="5033656"/>
            <a:ext cx="1082348" cy="338426"/>
          </a:xfrm>
          <a:prstGeom prst="rect">
            <a:avLst/>
          </a:prstGeom>
        </p:spPr>
        <p:txBody>
          <a:bodyPr wrap="none" anchor="ctr">
            <a:spAutoFit/>
          </a:bodyPr>
          <a:lstStyle/>
          <a:p>
            <a:pPr algn="ctr"/>
            <a:r>
              <a:rPr lang="en-US" sz="1599">
                <a:solidFill>
                  <a:srgbClr val="FFFFFF"/>
                </a:solidFill>
              </a:rPr>
              <a:t>complete</a:t>
            </a:r>
            <a:endParaRPr lang="de-DE" sz="1599">
              <a:solidFill>
                <a:srgbClr val="FFFFFF"/>
              </a:solidFill>
            </a:endParaRPr>
          </a:p>
        </p:txBody>
      </p:sp>
      <p:sp>
        <p:nvSpPr>
          <p:cNvPr id="148" name="Ellipse 25"/>
          <p:cNvSpPr/>
          <p:nvPr/>
        </p:nvSpPr>
        <p:spPr>
          <a:xfrm>
            <a:off x="4940561" y="3114177"/>
            <a:ext cx="2262958" cy="22629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7" tIns="60904" rIns="121807" bIns="60904" numCol="1" spcCol="0" rtlCol="0" fromWordArt="0" anchor="t" anchorCtr="0" forceAA="0" compatLnSpc="1">
            <a:prstTxWarp prst="textNoShape">
              <a:avLst/>
            </a:prstTxWarp>
            <a:noAutofit/>
          </a:bodyPr>
          <a:lstStyle/>
          <a:p>
            <a:pPr algn="ctr"/>
            <a:endParaRPr lang="de-DE" sz="2398" err="1">
              <a:solidFill>
                <a:srgbClr val="FFFFFF"/>
              </a:solidFill>
            </a:endParaRPr>
          </a:p>
        </p:txBody>
      </p:sp>
      <p:grpSp>
        <p:nvGrpSpPr>
          <p:cNvPr id="149" name="Gruppieren 28"/>
          <p:cNvGrpSpPr/>
          <p:nvPr/>
        </p:nvGrpSpPr>
        <p:grpSpPr>
          <a:xfrm>
            <a:off x="5393541" y="4025168"/>
            <a:ext cx="1305070" cy="363738"/>
            <a:chOff x="2774950" y="2073275"/>
            <a:chExt cx="3594100" cy="1001713"/>
          </a:xfrm>
          <a:solidFill>
            <a:schemeClr val="bg1"/>
          </a:solidFill>
        </p:grpSpPr>
        <p:sp>
          <p:nvSpPr>
            <p:cNvPr id="150" name="Freeform 28"/>
            <p:cNvSpPr>
              <a:spLocks/>
            </p:cNvSpPr>
            <p:nvPr/>
          </p:nvSpPr>
          <p:spPr bwMode="auto">
            <a:xfrm>
              <a:off x="2774950" y="2073275"/>
              <a:ext cx="1492250" cy="1001713"/>
            </a:xfrm>
            <a:custGeom>
              <a:avLst/>
              <a:gdLst>
                <a:gd name="T0" fmla="*/ 281 w 459"/>
                <a:gd name="T1" fmla="*/ 44 h 306"/>
                <a:gd name="T2" fmla="*/ 375 w 459"/>
                <a:gd name="T3" fmla="*/ 0 h 306"/>
                <a:gd name="T4" fmla="*/ 459 w 459"/>
                <a:gd name="T5" fmla="*/ 0 h 306"/>
                <a:gd name="T6" fmla="*/ 459 w 459"/>
                <a:gd name="T7" fmla="*/ 61 h 306"/>
                <a:gd name="T8" fmla="*/ 375 w 459"/>
                <a:gd name="T9" fmla="*/ 61 h 306"/>
                <a:gd name="T10" fmla="*/ 328 w 459"/>
                <a:gd name="T11" fmla="*/ 83 h 306"/>
                <a:gd name="T12" fmla="*/ 178 w 459"/>
                <a:gd name="T13" fmla="*/ 262 h 306"/>
                <a:gd name="T14" fmla="*/ 84 w 459"/>
                <a:gd name="T15" fmla="*/ 306 h 306"/>
                <a:gd name="T16" fmla="*/ 0 w 459"/>
                <a:gd name="T17" fmla="*/ 306 h 306"/>
                <a:gd name="T18" fmla="*/ 0 w 459"/>
                <a:gd name="T19" fmla="*/ 245 h 306"/>
                <a:gd name="T20" fmla="*/ 84 w 459"/>
                <a:gd name="T21" fmla="*/ 245 h 306"/>
                <a:gd name="T22" fmla="*/ 131 w 459"/>
                <a:gd name="T23" fmla="*/ 223 h 306"/>
                <a:gd name="T24" fmla="*/ 281 w 459"/>
                <a:gd name="T25" fmla="*/ 4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306">
                  <a:moveTo>
                    <a:pt x="281" y="44"/>
                  </a:moveTo>
                  <a:cubicBezTo>
                    <a:pt x="304" y="17"/>
                    <a:pt x="338" y="0"/>
                    <a:pt x="375" y="0"/>
                  </a:cubicBezTo>
                  <a:cubicBezTo>
                    <a:pt x="459" y="0"/>
                    <a:pt x="459" y="0"/>
                    <a:pt x="459" y="0"/>
                  </a:cubicBezTo>
                  <a:cubicBezTo>
                    <a:pt x="459" y="61"/>
                    <a:pt x="459" y="61"/>
                    <a:pt x="459" y="61"/>
                  </a:cubicBezTo>
                  <a:cubicBezTo>
                    <a:pt x="375" y="61"/>
                    <a:pt x="375" y="61"/>
                    <a:pt x="375" y="61"/>
                  </a:cubicBezTo>
                  <a:cubicBezTo>
                    <a:pt x="356" y="61"/>
                    <a:pt x="340" y="70"/>
                    <a:pt x="328" y="83"/>
                  </a:cubicBezTo>
                  <a:cubicBezTo>
                    <a:pt x="178" y="262"/>
                    <a:pt x="178" y="262"/>
                    <a:pt x="178" y="262"/>
                  </a:cubicBezTo>
                  <a:cubicBezTo>
                    <a:pt x="155" y="289"/>
                    <a:pt x="122" y="306"/>
                    <a:pt x="84" y="306"/>
                  </a:cubicBezTo>
                  <a:cubicBezTo>
                    <a:pt x="0" y="306"/>
                    <a:pt x="0" y="306"/>
                    <a:pt x="0" y="306"/>
                  </a:cubicBezTo>
                  <a:cubicBezTo>
                    <a:pt x="0" y="245"/>
                    <a:pt x="0" y="245"/>
                    <a:pt x="0" y="245"/>
                  </a:cubicBezTo>
                  <a:cubicBezTo>
                    <a:pt x="84" y="245"/>
                    <a:pt x="84" y="245"/>
                    <a:pt x="84" y="245"/>
                  </a:cubicBezTo>
                  <a:cubicBezTo>
                    <a:pt x="103" y="245"/>
                    <a:pt x="120" y="236"/>
                    <a:pt x="131" y="223"/>
                  </a:cubicBezTo>
                  <a:lnTo>
                    <a:pt x="28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51" name="Rectangle 29"/>
            <p:cNvSpPr>
              <a:spLocks noChangeArrowheads="1"/>
            </p:cNvSpPr>
            <p:nvPr/>
          </p:nvSpPr>
          <p:spPr bwMode="auto">
            <a:xfrm>
              <a:off x="4465638" y="2073275"/>
              <a:ext cx="212725" cy="1001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sp>
          <p:nvSpPr>
            <p:cNvPr id="152" name="Freeform 30"/>
            <p:cNvSpPr>
              <a:spLocks/>
            </p:cNvSpPr>
            <p:nvPr/>
          </p:nvSpPr>
          <p:spPr bwMode="auto">
            <a:xfrm>
              <a:off x="4876800" y="2073275"/>
              <a:ext cx="1492250" cy="1001713"/>
            </a:xfrm>
            <a:custGeom>
              <a:avLst/>
              <a:gdLst>
                <a:gd name="T0" fmla="*/ 178 w 459"/>
                <a:gd name="T1" fmla="*/ 44 h 306"/>
                <a:gd name="T2" fmla="*/ 230 w 459"/>
                <a:gd name="T3" fmla="*/ 105 h 306"/>
                <a:gd name="T4" fmla="*/ 281 w 459"/>
                <a:gd name="T5" fmla="*/ 44 h 306"/>
                <a:gd name="T6" fmla="*/ 375 w 459"/>
                <a:gd name="T7" fmla="*/ 0 h 306"/>
                <a:gd name="T8" fmla="*/ 459 w 459"/>
                <a:gd name="T9" fmla="*/ 0 h 306"/>
                <a:gd name="T10" fmla="*/ 459 w 459"/>
                <a:gd name="T11" fmla="*/ 61 h 306"/>
                <a:gd name="T12" fmla="*/ 375 w 459"/>
                <a:gd name="T13" fmla="*/ 61 h 306"/>
                <a:gd name="T14" fmla="*/ 328 w 459"/>
                <a:gd name="T15" fmla="*/ 83 h 306"/>
                <a:gd name="T16" fmla="*/ 270 w 459"/>
                <a:gd name="T17" fmla="*/ 153 h 306"/>
                <a:gd name="T18" fmla="*/ 328 w 459"/>
                <a:gd name="T19" fmla="*/ 223 h 306"/>
                <a:gd name="T20" fmla="*/ 375 w 459"/>
                <a:gd name="T21" fmla="*/ 245 h 306"/>
                <a:gd name="T22" fmla="*/ 459 w 459"/>
                <a:gd name="T23" fmla="*/ 245 h 306"/>
                <a:gd name="T24" fmla="*/ 459 w 459"/>
                <a:gd name="T25" fmla="*/ 306 h 306"/>
                <a:gd name="T26" fmla="*/ 375 w 459"/>
                <a:gd name="T27" fmla="*/ 306 h 306"/>
                <a:gd name="T28" fmla="*/ 281 w 459"/>
                <a:gd name="T29" fmla="*/ 262 h 306"/>
                <a:gd name="T30" fmla="*/ 230 w 459"/>
                <a:gd name="T31" fmla="*/ 201 h 306"/>
                <a:gd name="T32" fmla="*/ 178 w 459"/>
                <a:gd name="T33" fmla="*/ 262 h 306"/>
                <a:gd name="T34" fmla="*/ 84 w 459"/>
                <a:gd name="T35" fmla="*/ 306 h 306"/>
                <a:gd name="T36" fmla="*/ 0 w 459"/>
                <a:gd name="T37" fmla="*/ 306 h 306"/>
                <a:gd name="T38" fmla="*/ 0 w 459"/>
                <a:gd name="T39" fmla="*/ 245 h 306"/>
                <a:gd name="T40" fmla="*/ 84 w 459"/>
                <a:gd name="T41" fmla="*/ 245 h 306"/>
                <a:gd name="T42" fmla="*/ 131 w 459"/>
                <a:gd name="T43" fmla="*/ 223 h 306"/>
                <a:gd name="T44" fmla="*/ 190 w 459"/>
                <a:gd name="T45" fmla="*/ 153 h 306"/>
                <a:gd name="T46" fmla="*/ 131 w 459"/>
                <a:gd name="T47" fmla="*/ 83 h 306"/>
                <a:gd name="T48" fmla="*/ 84 w 459"/>
                <a:gd name="T49" fmla="*/ 61 h 306"/>
                <a:gd name="T50" fmla="*/ 0 w 459"/>
                <a:gd name="T51" fmla="*/ 61 h 306"/>
                <a:gd name="T52" fmla="*/ 0 w 459"/>
                <a:gd name="T53" fmla="*/ 0 h 306"/>
                <a:gd name="T54" fmla="*/ 84 w 459"/>
                <a:gd name="T55" fmla="*/ 0 h 306"/>
                <a:gd name="T56" fmla="*/ 178 w 459"/>
                <a:gd name="T57" fmla="*/ 4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9" h="306">
                  <a:moveTo>
                    <a:pt x="178" y="44"/>
                  </a:moveTo>
                  <a:cubicBezTo>
                    <a:pt x="230" y="105"/>
                    <a:pt x="230" y="105"/>
                    <a:pt x="230" y="105"/>
                  </a:cubicBezTo>
                  <a:cubicBezTo>
                    <a:pt x="281" y="44"/>
                    <a:pt x="281" y="44"/>
                    <a:pt x="281" y="44"/>
                  </a:cubicBezTo>
                  <a:cubicBezTo>
                    <a:pt x="304" y="17"/>
                    <a:pt x="338" y="0"/>
                    <a:pt x="375" y="0"/>
                  </a:cubicBezTo>
                  <a:cubicBezTo>
                    <a:pt x="459" y="0"/>
                    <a:pt x="459" y="0"/>
                    <a:pt x="459" y="0"/>
                  </a:cubicBezTo>
                  <a:cubicBezTo>
                    <a:pt x="459" y="61"/>
                    <a:pt x="459" y="61"/>
                    <a:pt x="459" y="61"/>
                  </a:cubicBezTo>
                  <a:cubicBezTo>
                    <a:pt x="375" y="61"/>
                    <a:pt x="375" y="61"/>
                    <a:pt x="375" y="61"/>
                  </a:cubicBezTo>
                  <a:cubicBezTo>
                    <a:pt x="356" y="61"/>
                    <a:pt x="339" y="70"/>
                    <a:pt x="328" y="83"/>
                  </a:cubicBezTo>
                  <a:cubicBezTo>
                    <a:pt x="270" y="153"/>
                    <a:pt x="270" y="153"/>
                    <a:pt x="270" y="153"/>
                  </a:cubicBezTo>
                  <a:cubicBezTo>
                    <a:pt x="328" y="223"/>
                    <a:pt x="328" y="223"/>
                    <a:pt x="328" y="223"/>
                  </a:cubicBezTo>
                  <a:cubicBezTo>
                    <a:pt x="339" y="236"/>
                    <a:pt x="356" y="245"/>
                    <a:pt x="375" y="245"/>
                  </a:cubicBezTo>
                  <a:cubicBezTo>
                    <a:pt x="459" y="245"/>
                    <a:pt x="459" y="245"/>
                    <a:pt x="459" y="245"/>
                  </a:cubicBezTo>
                  <a:cubicBezTo>
                    <a:pt x="459" y="306"/>
                    <a:pt x="459" y="306"/>
                    <a:pt x="459" y="306"/>
                  </a:cubicBezTo>
                  <a:cubicBezTo>
                    <a:pt x="375" y="306"/>
                    <a:pt x="375" y="306"/>
                    <a:pt x="375" y="306"/>
                  </a:cubicBezTo>
                  <a:cubicBezTo>
                    <a:pt x="338" y="306"/>
                    <a:pt x="304" y="289"/>
                    <a:pt x="281" y="262"/>
                  </a:cubicBezTo>
                  <a:cubicBezTo>
                    <a:pt x="230" y="201"/>
                    <a:pt x="230" y="201"/>
                    <a:pt x="230" y="201"/>
                  </a:cubicBezTo>
                  <a:cubicBezTo>
                    <a:pt x="178" y="262"/>
                    <a:pt x="178" y="262"/>
                    <a:pt x="178" y="262"/>
                  </a:cubicBezTo>
                  <a:cubicBezTo>
                    <a:pt x="155" y="289"/>
                    <a:pt x="122" y="306"/>
                    <a:pt x="84" y="306"/>
                  </a:cubicBezTo>
                  <a:cubicBezTo>
                    <a:pt x="0" y="306"/>
                    <a:pt x="0" y="306"/>
                    <a:pt x="0" y="306"/>
                  </a:cubicBezTo>
                  <a:cubicBezTo>
                    <a:pt x="0" y="245"/>
                    <a:pt x="0" y="245"/>
                    <a:pt x="0" y="245"/>
                  </a:cubicBezTo>
                  <a:cubicBezTo>
                    <a:pt x="84" y="245"/>
                    <a:pt x="84" y="245"/>
                    <a:pt x="84" y="245"/>
                  </a:cubicBezTo>
                  <a:cubicBezTo>
                    <a:pt x="103" y="245"/>
                    <a:pt x="120" y="236"/>
                    <a:pt x="131" y="223"/>
                  </a:cubicBezTo>
                  <a:cubicBezTo>
                    <a:pt x="190" y="153"/>
                    <a:pt x="190" y="153"/>
                    <a:pt x="190" y="153"/>
                  </a:cubicBezTo>
                  <a:cubicBezTo>
                    <a:pt x="131" y="83"/>
                    <a:pt x="131" y="83"/>
                    <a:pt x="131" y="83"/>
                  </a:cubicBezTo>
                  <a:cubicBezTo>
                    <a:pt x="120" y="70"/>
                    <a:pt x="103" y="61"/>
                    <a:pt x="84" y="61"/>
                  </a:cubicBezTo>
                  <a:cubicBezTo>
                    <a:pt x="0" y="61"/>
                    <a:pt x="0" y="61"/>
                    <a:pt x="0" y="61"/>
                  </a:cubicBezTo>
                  <a:cubicBezTo>
                    <a:pt x="0" y="0"/>
                    <a:pt x="0" y="0"/>
                    <a:pt x="0" y="0"/>
                  </a:cubicBezTo>
                  <a:cubicBezTo>
                    <a:pt x="84" y="0"/>
                    <a:pt x="84" y="0"/>
                    <a:pt x="84" y="0"/>
                  </a:cubicBezTo>
                  <a:cubicBezTo>
                    <a:pt x="122" y="0"/>
                    <a:pt x="155" y="17"/>
                    <a:pt x="178"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07" tIns="60904" rIns="121807" bIns="60904" numCol="1" anchor="t" anchorCtr="0" compatLnSpc="1">
              <a:prstTxWarp prst="textNoShape">
                <a:avLst/>
              </a:prstTxWarp>
            </a:bodyPr>
            <a:lstStyle/>
            <a:p>
              <a:endParaRPr lang="de-DE" sz="2398">
                <a:solidFill>
                  <a:srgbClr val="000000"/>
                </a:solidFill>
              </a:endParaRPr>
            </a:p>
          </p:txBody>
        </p:sp>
      </p:grpSp>
      <p:pic>
        <p:nvPicPr>
          <p:cNvPr id="168" name="Grafik 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671345" y="3747191"/>
            <a:ext cx="479556" cy="479556"/>
          </a:xfrm>
          <a:prstGeom prst="rect">
            <a:avLst/>
          </a:prstGeom>
        </p:spPr>
      </p:pic>
      <p:pic>
        <p:nvPicPr>
          <p:cNvPr id="169" name="Grafik 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91866" y="3215779"/>
            <a:ext cx="479556" cy="479556"/>
          </a:xfrm>
          <a:prstGeom prst="rect">
            <a:avLst/>
          </a:prstGeom>
        </p:spPr>
      </p:pic>
      <p:pic>
        <p:nvPicPr>
          <p:cNvPr id="11" name="Graphic 10">
            <a:extLst>
              <a:ext uri="{FF2B5EF4-FFF2-40B4-BE49-F238E27FC236}">
                <a16:creationId xmlns:a16="http://schemas.microsoft.com/office/drawing/2014/main" id="{2E6A5C90-305A-9A38-02AB-F449BF569013}"/>
              </a:ext>
            </a:extLst>
          </p:cNvPr>
          <p:cNvPicPr>
            <a:picLocks noChangeAspect="1"/>
          </p:cNvPicPr>
          <p:nvPr/>
        </p:nvPicPr>
        <p:blipFill rotWithShape="1">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t="9693" r="58924" b="1"/>
          <a:stretch/>
        </p:blipFill>
        <p:spPr>
          <a:xfrm>
            <a:off x="10748359" y="6307012"/>
            <a:ext cx="862801" cy="287409"/>
          </a:xfrm>
          <a:prstGeom prst="rect">
            <a:avLst/>
          </a:prstGeom>
        </p:spPr>
      </p:pic>
      <p:pic>
        <p:nvPicPr>
          <p:cNvPr id="13" name="Graphic 12">
            <a:extLst>
              <a:ext uri="{FF2B5EF4-FFF2-40B4-BE49-F238E27FC236}">
                <a16:creationId xmlns:a16="http://schemas.microsoft.com/office/drawing/2014/main" id="{B355104A-FEB4-BF2C-BACC-B9E61A2B80A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709070" y="4494215"/>
            <a:ext cx="775506" cy="775506"/>
          </a:xfrm>
          <a:prstGeom prst="rect">
            <a:avLst/>
          </a:prstGeom>
        </p:spPr>
      </p:pic>
    </p:spTree>
    <p:extLst>
      <p:ext uri="{BB962C8B-B14F-4D97-AF65-F5344CB8AC3E}">
        <p14:creationId xmlns:p14="http://schemas.microsoft.com/office/powerpoint/2010/main" val="362603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250"/>
                                        <p:tgtEl>
                                          <p:spTgt spid="9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3"/>
                                        </p:tgtEl>
                                        <p:attrNameLst>
                                          <p:attrName>style.visibility</p:attrName>
                                        </p:attrNameLst>
                                      </p:cBhvr>
                                      <p:to>
                                        <p:strVal val="visible"/>
                                      </p:to>
                                    </p:set>
                                    <p:animEffect transition="in" filter="wipe(left)">
                                      <p:cBhvr>
                                        <p:cTn id="14" dur="250"/>
                                        <p:tgtEl>
                                          <p:spTgt spid="103"/>
                                        </p:tgtEl>
                                      </p:cBhvr>
                                    </p:animEffect>
                                  </p:childTnLst>
                                </p:cTn>
                              </p:par>
                            </p:childTnLst>
                          </p:cTn>
                        </p:par>
                        <p:par>
                          <p:cTn id="15" fill="hold">
                            <p:stCondLst>
                              <p:cond delay="1250"/>
                            </p:stCondLst>
                            <p:childTnLst>
                              <p:par>
                                <p:cTn id="16" presetID="10"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225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2750"/>
                            </p:stCondLst>
                            <p:childTnLst>
                              <p:par>
                                <p:cTn id="28" presetID="22" presetClass="entr" presetSubtype="8" fill="hold" grpId="0" nodeType="afterEffect">
                                  <p:stCondLst>
                                    <p:cond delay="0"/>
                                  </p:stCondLst>
                                  <p:childTnLst>
                                    <p:set>
                                      <p:cBhvr>
                                        <p:cTn id="29" dur="1" fill="hold">
                                          <p:stCondLst>
                                            <p:cond delay="0"/>
                                          </p:stCondLst>
                                        </p:cTn>
                                        <p:tgtEl>
                                          <p:spTgt spid="102"/>
                                        </p:tgtEl>
                                        <p:attrNameLst>
                                          <p:attrName>style.visibility</p:attrName>
                                        </p:attrNameLst>
                                      </p:cBhvr>
                                      <p:to>
                                        <p:strVal val="visible"/>
                                      </p:to>
                                    </p:set>
                                    <p:animEffect transition="in" filter="wipe(left)">
                                      <p:cBhvr>
                                        <p:cTn id="30" dur="500"/>
                                        <p:tgtEl>
                                          <p:spTgt spid="102"/>
                                        </p:tgtEl>
                                      </p:cBhvr>
                                    </p:animEffect>
                                  </p:childTnLst>
                                </p:cTn>
                              </p:par>
                            </p:childTnLst>
                          </p:cTn>
                        </p:par>
                        <p:par>
                          <p:cTn id="31" fill="hold">
                            <p:stCondLst>
                              <p:cond delay="3250"/>
                            </p:stCondLst>
                            <p:childTnLst>
                              <p:par>
                                <p:cTn id="32" presetID="22" presetClass="entr" presetSubtype="8"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left)">
                                      <p:cBhvr>
                                        <p:cTn id="34" dur="500"/>
                                        <p:tgtEl>
                                          <p:spTgt spid="1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8"/>
                                        </p:tgtEl>
                                        <p:attrNameLst>
                                          <p:attrName>style.visibility</p:attrName>
                                        </p:attrNameLst>
                                      </p:cBhvr>
                                      <p:to>
                                        <p:strVal val="visible"/>
                                      </p:to>
                                    </p:set>
                                    <p:animEffect transition="in" filter="fade">
                                      <p:cBhvr>
                                        <p:cTn id="37" dur="500"/>
                                        <p:tgtEl>
                                          <p:spTgt spid="148"/>
                                        </p:tgtEl>
                                      </p:cBhvr>
                                    </p:animEffect>
                                  </p:childTnLst>
                                </p:cTn>
                              </p:par>
                            </p:childTnLst>
                          </p:cTn>
                        </p:par>
                        <p:par>
                          <p:cTn id="38" fill="hold">
                            <p:stCondLst>
                              <p:cond delay="3750"/>
                            </p:stCondLst>
                            <p:childTnLst>
                              <p:par>
                                <p:cTn id="39" presetID="10" presetClass="entr" presetSubtype="0" fill="hold" nodeType="afterEffect">
                                  <p:stCondLst>
                                    <p:cond delay="0"/>
                                  </p:stCondLst>
                                  <p:childTnLst>
                                    <p:set>
                                      <p:cBhvr>
                                        <p:cTn id="40" dur="1" fill="hold">
                                          <p:stCondLst>
                                            <p:cond delay="0"/>
                                          </p:stCondLst>
                                        </p:cTn>
                                        <p:tgtEl>
                                          <p:spTgt spid="149"/>
                                        </p:tgtEl>
                                        <p:attrNameLst>
                                          <p:attrName>style.visibility</p:attrName>
                                        </p:attrNameLst>
                                      </p:cBhvr>
                                      <p:to>
                                        <p:strVal val="visible"/>
                                      </p:to>
                                    </p:set>
                                    <p:animEffect transition="in" filter="fade">
                                      <p:cBhvr>
                                        <p:cTn id="41" dur="500"/>
                                        <p:tgtEl>
                                          <p:spTgt spid="149"/>
                                        </p:tgtEl>
                                      </p:cBhvr>
                                    </p:animEffect>
                                  </p:childTnLst>
                                </p:cTn>
                              </p:par>
                              <p:par>
                                <p:cTn id="42" presetID="10" presetClass="entr" presetSubtype="0" fill="hold"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4"/>
                                        </p:tgtEl>
                                        <p:attrNameLst>
                                          <p:attrName>style.visibility</p:attrName>
                                        </p:attrNameLst>
                                      </p:cBhvr>
                                      <p:to>
                                        <p:strVal val="visible"/>
                                      </p:to>
                                    </p:set>
                                    <p:animEffect transition="in" filter="fade">
                                      <p:cBhvr>
                                        <p:cTn id="47" dur="250"/>
                                        <p:tgtEl>
                                          <p:spTgt spid="94"/>
                                        </p:tgtEl>
                                      </p:cBhvr>
                                    </p:animEffect>
                                  </p:childTnLst>
                                </p:cTn>
                              </p:par>
                            </p:childTnLst>
                          </p:cTn>
                        </p:par>
                        <p:par>
                          <p:cTn id="48" fill="hold">
                            <p:stCondLst>
                              <p:cond delay="4250"/>
                            </p:stCondLst>
                            <p:childTnLst>
                              <p:par>
                                <p:cTn id="49" presetID="22" presetClass="entr" presetSubtype="8" fill="hold" nodeType="afterEffect">
                                  <p:stCondLst>
                                    <p:cond delay="0"/>
                                  </p:stCondLst>
                                  <p:childTnLst>
                                    <p:set>
                                      <p:cBhvr>
                                        <p:cTn id="50" dur="1" fill="hold">
                                          <p:stCondLst>
                                            <p:cond delay="0"/>
                                          </p:stCondLst>
                                        </p:cTn>
                                        <p:tgtEl>
                                          <p:spTgt spid="105"/>
                                        </p:tgtEl>
                                        <p:attrNameLst>
                                          <p:attrName>style.visibility</p:attrName>
                                        </p:attrNameLst>
                                      </p:cBhvr>
                                      <p:to>
                                        <p:strVal val="visible"/>
                                      </p:to>
                                    </p:set>
                                    <p:animEffect transition="in" filter="wipe(left)">
                                      <p:cBhvr>
                                        <p:cTn id="51" dur="500"/>
                                        <p:tgtEl>
                                          <p:spTgt spid="10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fade">
                                      <p:cBhvr>
                                        <p:cTn id="54" dur="250"/>
                                        <p:tgtEl>
                                          <p:spTgt spid="95"/>
                                        </p:tgtEl>
                                      </p:cBhvr>
                                    </p:animEffect>
                                  </p:childTnLst>
                                </p:cTn>
                              </p:par>
                              <p:par>
                                <p:cTn id="55" presetID="1" presetClass="entr" presetSubtype="0" fill="hold" nodeType="withEffect">
                                  <p:stCondLst>
                                    <p:cond delay="250"/>
                                  </p:stCondLst>
                                  <p:childTnLst>
                                    <p:set>
                                      <p:cBhvr>
                                        <p:cTn id="56" dur="1" fill="hold">
                                          <p:stCondLst>
                                            <p:cond delay="0"/>
                                          </p:stCondLst>
                                        </p:cTn>
                                        <p:tgtEl>
                                          <p:spTgt spid="130"/>
                                        </p:tgtEl>
                                        <p:attrNameLst>
                                          <p:attrName>style.visibility</p:attrName>
                                        </p:attrNameLst>
                                      </p:cBhvr>
                                      <p:to>
                                        <p:strVal val="visible"/>
                                      </p:to>
                                    </p:set>
                                  </p:childTnLst>
                                </p:cTn>
                              </p:par>
                              <p:par>
                                <p:cTn id="57" presetID="64" presetClass="path" presetSubtype="0" decel="50000" fill="hold" nodeType="withEffect">
                                  <p:stCondLst>
                                    <p:cond delay="250"/>
                                  </p:stCondLst>
                                  <p:childTnLst>
                                    <p:animMotion origin="layout" path="M -0.12257 0.00092 L -4.72222E-6 3.28091E-6 " pathEditMode="relative" rAng="0" ptsTypes="AA">
                                      <p:cBhvr>
                                        <p:cTn id="58" dur="500" fill="hold"/>
                                        <p:tgtEl>
                                          <p:spTgt spid="130"/>
                                        </p:tgtEl>
                                        <p:attrNameLst>
                                          <p:attrName>ppt_x</p:attrName>
                                          <p:attrName>ppt_y</p:attrName>
                                        </p:attrNameLst>
                                      </p:cBhvr>
                                      <p:rCtr x="6146" y="-62"/>
                                    </p:animMotion>
                                  </p:childTnLst>
                                </p:cTn>
                              </p:par>
                              <p:par>
                                <p:cTn id="59" presetID="1" presetClass="entr" presetSubtype="0" fill="hold" nodeType="withEffect">
                                  <p:stCondLst>
                                    <p:cond delay="250"/>
                                  </p:stCondLst>
                                  <p:childTnLst>
                                    <p:set>
                                      <p:cBhvr>
                                        <p:cTn id="60" dur="1" fill="hold">
                                          <p:stCondLst>
                                            <p:cond delay="0"/>
                                          </p:stCondLst>
                                        </p:cTn>
                                        <p:tgtEl>
                                          <p:spTgt spid="138"/>
                                        </p:tgtEl>
                                        <p:attrNameLst>
                                          <p:attrName>style.visibility</p:attrName>
                                        </p:attrNameLst>
                                      </p:cBhvr>
                                      <p:to>
                                        <p:strVal val="visible"/>
                                      </p:to>
                                    </p:set>
                                  </p:childTnLst>
                                </p:cTn>
                              </p:par>
                              <p:par>
                                <p:cTn id="61" presetID="64" presetClass="path" presetSubtype="0" decel="50000" fill="hold" nodeType="withEffect">
                                  <p:stCondLst>
                                    <p:cond delay="250"/>
                                  </p:stCondLst>
                                  <p:childTnLst>
                                    <p:animMotion origin="layout" path="M -0.1158 -0.00339 L 1.66667E-6 -1.8008E-6 " pathEditMode="relative" rAng="0" ptsTypes="AA">
                                      <p:cBhvr>
                                        <p:cTn id="62" dur="500" fill="hold"/>
                                        <p:tgtEl>
                                          <p:spTgt spid="138"/>
                                        </p:tgtEl>
                                        <p:attrNameLst>
                                          <p:attrName>ppt_x</p:attrName>
                                          <p:attrName>ppt_y</p:attrName>
                                        </p:attrNameLst>
                                      </p:cBhvr>
                                      <p:rCtr x="5816" y="216"/>
                                    </p:animMotion>
                                  </p:childTnLst>
                                </p:cTn>
                              </p:par>
                              <p:par>
                                <p:cTn id="63" presetID="1" presetClass="entr" presetSubtype="0" fill="hold" nodeType="withEffect">
                                  <p:stCondLst>
                                    <p:cond delay="250"/>
                                  </p:stCondLst>
                                  <p:childTnLst>
                                    <p:set>
                                      <p:cBhvr>
                                        <p:cTn id="64" dur="1" fill="hold">
                                          <p:stCondLst>
                                            <p:cond delay="0"/>
                                          </p:stCondLst>
                                        </p:cTn>
                                        <p:tgtEl>
                                          <p:spTgt spid="169"/>
                                        </p:tgtEl>
                                        <p:attrNameLst>
                                          <p:attrName>style.visibility</p:attrName>
                                        </p:attrNameLst>
                                      </p:cBhvr>
                                      <p:to>
                                        <p:strVal val="visible"/>
                                      </p:to>
                                    </p:set>
                                  </p:childTnLst>
                                </p:cTn>
                              </p:par>
                              <p:par>
                                <p:cTn id="65" presetID="64" presetClass="path" presetSubtype="0" decel="50000" fill="hold" nodeType="withEffect">
                                  <p:stCondLst>
                                    <p:cond delay="250"/>
                                  </p:stCondLst>
                                  <p:childTnLst>
                                    <p:animMotion origin="layout" path="M -0.1158 -0.00339 L 1.66667E-6 -1.8008E-6 " pathEditMode="relative" rAng="0" ptsTypes="AA">
                                      <p:cBhvr>
                                        <p:cTn id="66" dur="500" fill="hold"/>
                                        <p:tgtEl>
                                          <p:spTgt spid="169"/>
                                        </p:tgtEl>
                                        <p:attrNameLst>
                                          <p:attrName>ppt_x</p:attrName>
                                          <p:attrName>ppt_y</p:attrName>
                                        </p:attrNameLst>
                                      </p:cBhvr>
                                      <p:rCtr x="5816" y="216"/>
                                    </p:animMotion>
                                  </p:childTnLst>
                                </p:cTn>
                              </p:par>
                              <p:par>
                                <p:cTn id="67" presetID="1" presetClass="entr" presetSubtype="0" fill="hold" nodeType="withEffect">
                                  <p:stCondLst>
                                    <p:cond delay="250"/>
                                  </p:stCondLst>
                                  <p:childTnLst>
                                    <p:set>
                                      <p:cBhvr>
                                        <p:cTn id="68" dur="1" fill="hold">
                                          <p:stCondLst>
                                            <p:cond delay="0"/>
                                          </p:stCondLst>
                                        </p:cTn>
                                        <p:tgtEl>
                                          <p:spTgt spid="168"/>
                                        </p:tgtEl>
                                        <p:attrNameLst>
                                          <p:attrName>style.visibility</p:attrName>
                                        </p:attrNameLst>
                                      </p:cBhvr>
                                      <p:to>
                                        <p:strVal val="visible"/>
                                      </p:to>
                                    </p:set>
                                  </p:childTnLst>
                                </p:cTn>
                              </p:par>
                              <p:par>
                                <p:cTn id="69" presetID="64" presetClass="path" presetSubtype="0" decel="50000" fill="hold" nodeType="withEffect">
                                  <p:stCondLst>
                                    <p:cond delay="250"/>
                                  </p:stCondLst>
                                  <p:childTnLst>
                                    <p:animMotion origin="layout" path="M -0.1158 -0.00339 L 1.66667E-6 -1.8008E-6 " pathEditMode="relative" rAng="0" ptsTypes="AA">
                                      <p:cBhvr>
                                        <p:cTn id="70" dur="500" fill="hold"/>
                                        <p:tgtEl>
                                          <p:spTgt spid="168"/>
                                        </p:tgtEl>
                                        <p:attrNameLst>
                                          <p:attrName>ppt_x</p:attrName>
                                          <p:attrName>ppt_y</p:attrName>
                                        </p:attrNameLst>
                                      </p:cBhvr>
                                      <p:rCtr x="5816" y="216"/>
                                    </p:animMotion>
                                  </p:childTnLst>
                                </p:cTn>
                              </p:par>
                            </p:childTnLst>
                          </p:cTn>
                        </p:par>
                        <p:par>
                          <p:cTn id="71" fill="hold">
                            <p:stCondLst>
                              <p:cond delay="5000"/>
                            </p:stCondLst>
                            <p:childTnLst>
                              <p:par>
                                <p:cTn id="72" presetID="22" presetClass="entr" presetSubtype="8" fill="hold" nodeType="afterEffect">
                                  <p:stCondLst>
                                    <p:cond delay="0"/>
                                  </p:stCondLst>
                                  <p:childTnLst>
                                    <p:set>
                                      <p:cBhvr>
                                        <p:cTn id="73" dur="1" fill="hold">
                                          <p:stCondLst>
                                            <p:cond delay="0"/>
                                          </p:stCondLst>
                                        </p:cTn>
                                        <p:tgtEl>
                                          <p:spTgt spid="97"/>
                                        </p:tgtEl>
                                        <p:attrNameLst>
                                          <p:attrName>style.visibility</p:attrName>
                                        </p:attrNameLst>
                                      </p:cBhvr>
                                      <p:to>
                                        <p:strVal val="visible"/>
                                      </p:to>
                                    </p:set>
                                    <p:animEffect transition="in" filter="wipe(left)">
                                      <p:cBhvr>
                                        <p:cTn id="74" dur="500"/>
                                        <p:tgtEl>
                                          <p:spTgt spid="9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Effect transition="in" filter="fade">
                                      <p:cBhvr>
                                        <p:cTn id="77" dur="250"/>
                                        <p:tgtEl>
                                          <p:spTgt spid="9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39"/>
                                        </p:tgtEl>
                                        <p:attrNameLst>
                                          <p:attrName>style.visibility</p:attrName>
                                        </p:attrNameLst>
                                      </p:cBhvr>
                                      <p:to>
                                        <p:strVal val="visible"/>
                                      </p:to>
                                    </p:set>
                                    <p:animEffect transition="in" filter="fade">
                                      <p:cBhvr>
                                        <p:cTn id="80" dur="250"/>
                                        <p:tgtEl>
                                          <p:spTgt spid="13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0"/>
                                        </p:tgtEl>
                                        <p:attrNameLst>
                                          <p:attrName>style.visibility</p:attrName>
                                        </p:attrNameLst>
                                      </p:cBhvr>
                                      <p:to>
                                        <p:strVal val="visible"/>
                                      </p:to>
                                    </p:set>
                                    <p:animEffect transition="in" filter="fade">
                                      <p:cBhvr>
                                        <p:cTn id="83" dur="250"/>
                                        <p:tgtEl>
                                          <p:spTgt spid="14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4"/>
                                        </p:tgtEl>
                                        <p:attrNameLst>
                                          <p:attrName>style.visibility</p:attrName>
                                        </p:attrNameLst>
                                      </p:cBhvr>
                                      <p:to>
                                        <p:strVal val="visible"/>
                                      </p:to>
                                    </p:set>
                                    <p:animEffect transition="in" filter="fade">
                                      <p:cBhvr>
                                        <p:cTn id="86" dur="250"/>
                                        <p:tgtEl>
                                          <p:spTgt spid="14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45"/>
                                        </p:tgtEl>
                                        <p:attrNameLst>
                                          <p:attrName>style.visibility</p:attrName>
                                        </p:attrNameLst>
                                      </p:cBhvr>
                                      <p:to>
                                        <p:strVal val="visible"/>
                                      </p:to>
                                    </p:set>
                                    <p:animEffect transition="in" filter="fade">
                                      <p:cBhvr>
                                        <p:cTn id="89" dur="25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3" grpId="0"/>
      <p:bldP spid="94" grpId="0"/>
      <p:bldP spid="95" grpId="0"/>
      <p:bldP spid="96" grpId="0"/>
      <p:bldP spid="102" grpId="0" animBg="1"/>
      <p:bldP spid="103" grpId="0" animBg="1"/>
      <p:bldP spid="139" grpId="0"/>
      <p:bldP spid="140" grpId="0"/>
      <p:bldP spid="144" grpId="0"/>
      <p:bldP spid="145" grpId="0"/>
      <p:bldP spid="14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Rectangle 280">
            <a:extLst>
              <a:ext uri="{FF2B5EF4-FFF2-40B4-BE49-F238E27FC236}">
                <a16:creationId xmlns:a16="http://schemas.microsoft.com/office/drawing/2014/main" id="{4E6C0C67-E66C-C42C-67AB-52BD7F1549EF}"/>
              </a:ext>
            </a:extLst>
          </p:cNvPr>
          <p:cNvSpPr/>
          <p:nvPr/>
        </p:nvSpPr>
        <p:spPr>
          <a:xfrm>
            <a:off x="-1" y="0"/>
            <a:ext cx="298173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err="1"/>
          </a:p>
        </p:txBody>
      </p:sp>
      <p:grpSp>
        <p:nvGrpSpPr>
          <p:cNvPr id="6" name="Group 4">
            <a:extLst>
              <a:ext uri="{FF2B5EF4-FFF2-40B4-BE49-F238E27FC236}">
                <a16:creationId xmlns:a16="http://schemas.microsoft.com/office/drawing/2014/main" id="{C2C9B216-E7DA-160F-55ED-4F224DD6D05E}"/>
              </a:ext>
            </a:extLst>
          </p:cNvPr>
          <p:cNvGrpSpPr>
            <a:grpSpLocks noChangeAspect="1"/>
          </p:cNvGrpSpPr>
          <p:nvPr/>
        </p:nvGrpSpPr>
        <p:grpSpPr bwMode="gray">
          <a:xfrm>
            <a:off x="1678821" y="-65802"/>
            <a:ext cx="11115166" cy="5312933"/>
            <a:chOff x="6" y="2"/>
            <a:chExt cx="5770" cy="2758"/>
          </a:xfrm>
          <a:solidFill>
            <a:srgbClr val="C3E0F1"/>
          </a:solidFill>
        </p:grpSpPr>
        <p:grpSp>
          <p:nvGrpSpPr>
            <p:cNvPr id="47" name="Group 205">
              <a:extLst>
                <a:ext uri="{FF2B5EF4-FFF2-40B4-BE49-F238E27FC236}">
                  <a16:creationId xmlns:a16="http://schemas.microsoft.com/office/drawing/2014/main" id="{71D8302B-FA93-B57E-3637-8EE3BEA55C11}"/>
                </a:ext>
              </a:extLst>
            </p:cNvPr>
            <p:cNvGrpSpPr>
              <a:grpSpLocks/>
            </p:cNvGrpSpPr>
            <p:nvPr/>
          </p:nvGrpSpPr>
          <p:grpSpPr bwMode="gray">
            <a:xfrm>
              <a:off x="200" y="2"/>
              <a:ext cx="5576" cy="2758"/>
              <a:chOff x="200" y="2"/>
              <a:chExt cx="5576" cy="2758"/>
            </a:xfrm>
            <a:grpFill/>
          </p:grpSpPr>
          <p:sp>
            <p:nvSpPr>
              <p:cNvPr id="78" name="Freeform 5">
                <a:extLst>
                  <a:ext uri="{FF2B5EF4-FFF2-40B4-BE49-F238E27FC236}">
                    <a16:creationId xmlns:a16="http://schemas.microsoft.com/office/drawing/2014/main" id="{9F516CE0-63D0-1A22-016E-7FD8DD5CEB75}"/>
                  </a:ext>
                </a:extLst>
              </p:cNvPr>
              <p:cNvSpPr>
                <a:spLocks/>
              </p:cNvSpPr>
              <p:nvPr/>
            </p:nvSpPr>
            <p:spPr bwMode="gray">
              <a:xfrm>
                <a:off x="2700" y="751"/>
                <a:ext cx="5" cy="6"/>
              </a:xfrm>
              <a:custGeom>
                <a:avLst/>
                <a:gdLst>
                  <a:gd name="T0" fmla="*/ 5 w 5"/>
                  <a:gd name="T1" fmla="*/ 5 h 6"/>
                  <a:gd name="T2" fmla="*/ 5 w 5"/>
                  <a:gd name="T3" fmla="*/ 5 h 6"/>
                  <a:gd name="T4" fmla="*/ 3 w 5"/>
                  <a:gd name="T5" fmla="*/ 5 h 6"/>
                  <a:gd name="T6" fmla="*/ 2 w 5"/>
                  <a:gd name="T7" fmla="*/ 5 h 6"/>
                  <a:gd name="T8" fmla="*/ 0 w 5"/>
                  <a:gd name="T9" fmla="*/ 6 h 6"/>
                  <a:gd name="T10" fmla="*/ 0 w 5"/>
                  <a:gd name="T11" fmla="*/ 6 h 6"/>
                  <a:gd name="T12" fmla="*/ 0 w 5"/>
                  <a:gd name="T13" fmla="*/ 5 h 6"/>
                  <a:gd name="T14" fmla="*/ 0 w 5"/>
                  <a:gd name="T15" fmla="*/ 5 h 6"/>
                  <a:gd name="T16" fmla="*/ 0 w 5"/>
                  <a:gd name="T17" fmla="*/ 3 h 6"/>
                  <a:gd name="T18" fmla="*/ 0 w 5"/>
                  <a:gd name="T19" fmla="*/ 3 h 6"/>
                  <a:gd name="T20" fmla="*/ 0 w 5"/>
                  <a:gd name="T21" fmla="*/ 2 h 6"/>
                  <a:gd name="T22" fmla="*/ 0 w 5"/>
                  <a:gd name="T23" fmla="*/ 2 h 6"/>
                  <a:gd name="T24" fmla="*/ 2 w 5"/>
                  <a:gd name="T25" fmla="*/ 0 h 6"/>
                  <a:gd name="T26" fmla="*/ 2 w 5"/>
                  <a:gd name="T27" fmla="*/ 2 h 6"/>
                  <a:gd name="T28" fmla="*/ 5 w 5"/>
                  <a:gd name="T29" fmla="*/ 2 h 6"/>
                  <a:gd name="T30" fmla="*/ 5 w 5"/>
                  <a:gd name="T31" fmla="*/ 2 h 6"/>
                  <a:gd name="T32" fmla="*/ 5 w 5"/>
                  <a:gd name="T33" fmla="*/ 3 h 6"/>
                  <a:gd name="T34" fmla="*/ 5 w 5"/>
                  <a:gd name="T35" fmla="*/ 3 h 6"/>
                  <a:gd name="T36" fmla="*/ 5 w 5"/>
                  <a:gd name="T3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6">
                    <a:moveTo>
                      <a:pt x="5" y="5"/>
                    </a:moveTo>
                    <a:lnTo>
                      <a:pt x="5" y="5"/>
                    </a:lnTo>
                    <a:lnTo>
                      <a:pt x="3" y="5"/>
                    </a:lnTo>
                    <a:lnTo>
                      <a:pt x="2" y="5"/>
                    </a:lnTo>
                    <a:lnTo>
                      <a:pt x="0" y="6"/>
                    </a:lnTo>
                    <a:lnTo>
                      <a:pt x="0" y="6"/>
                    </a:lnTo>
                    <a:lnTo>
                      <a:pt x="0" y="5"/>
                    </a:lnTo>
                    <a:lnTo>
                      <a:pt x="0" y="5"/>
                    </a:lnTo>
                    <a:lnTo>
                      <a:pt x="0" y="3"/>
                    </a:lnTo>
                    <a:lnTo>
                      <a:pt x="0" y="3"/>
                    </a:lnTo>
                    <a:lnTo>
                      <a:pt x="0" y="2"/>
                    </a:lnTo>
                    <a:lnTo>
                      <a:pt x="0" y="2"/>
                    </a:lnTo>
                    <a:lnTo>
                      <a:pt x="2" y="0"/>
                    </a:lnTo>
                    <a:lnTo>
                      <a:pt x="2" y="2"/>
                    </a:lnTo>
                    <a:lnTo>
                      <a:pt x="5" y="2"/>
                    </a:lnTo>
                    <a:lnTo>
                      <a:pt x="5" y="2"/>
                    </a:lnTo>
                    <a:lnTo>
                      <a:pt x="5" y="3"/>
                    </a:lnTo>
                    <a:lnTo>
                      <a:pt x="5" y="3"/>
                    </a:lnTo>
                    <a:lnTo>
                      <a:pt x="5"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9" name="Freeform 6">
                <a:extLst>
                  <a:ext uri="{FF2B5EF4-FFF2-40B4-BE49-F238E27FC236}">
                    <a16:creationId xmlns:a16="http://schemas.microsoft.com/office/drawing/2014/main" id="{A43D65A3-6EDC-E071-095B-0CCCCA1D3D9F}"/>
                  </a:ext>
                </a:extLst>
              </p:cNvPr>
              <p:cNvSpPr>
                <a:spLocks noEditPoints="1"/>
              </p:cNvSpPr>
              <p:nvPr/>
            </p:nvSpPr>
            <p:spPr bwMode="gray">
              <a:xfrm>
                <a:off x="3580" y="1105"/>
                <a:ext cx="85" cy="67"/>
              </a:xfrm>
              <a:custGeom>
                <a:avLst/>
                <a:gdLst>
                  <a:gd name="T0" fmla="*/ 36 w 85"/>
                  <a:gd name="T1" fmla="*/ 37 h 67"/>
                  <a:gd name="T2" fmla="*/ 41 w 85"/>
                  <a:gd name="T3" fmla="*/ 37 h 67"/>
                  <a:gd name="T4" fmla="*/ 18 w 85"/>
                  <a:gd name="T5" fmla="*/ 33 h 67"/>
                  <a:gd name="T6" fmla="*/ 19 w 85"/>
                  <a:gd name="T7" fmla="*/ 34 h 67"/>
                  <a:gd name="T8" fmla="*/ 32 w 85"/>
                  <a:gd name="T9" fmla="*/ 34 h 67"/>
                  <a:gd name="T10" fmla="*/ 32 w 85"/>
                  <a:gd name="T11" fmla="*/ 34 h 67"/>
                  <a:gd name="T12" fmla="*/ 50 w 85"/>
                  <a:gd name="T13" fmla="*/ 31 h 67"/>
                  <a:gd name="T14" fmla="*/ 49 w 85"/>
                  <a:gd name="T15" fmla="*/ 31 h 67"/>
                  <a:gd name="T16" fmla="*/ 50 w 85"/>
                  <a:gd name="T17" fmla="*/ 31 h 67"/>
                  <a:gd name="T18" fmla="*/ 83 w 85"/>
                  <a:gd name="T19" fmla="*/ 9 h 67"/>
                  <a:gd name="T20" fmla="*/ 80 w 85"/>
                  <a:gd name="T21" fmla="*/ 6 h 67"/>
                  <a:gd name="T22" fmla="*/ 80 w 85"/>
                  <a:gd name="T23" fmla="*/ 1 h 67"/>
                  <a:gd name="T24" fmla="*/ 79 w 85"/>
                  <a:gd name="T25" fmla="*/ 3 h 67"/>
                  <a:gd name="T26" fmla="*/ 66 w 85"/>
                  <a:gd name="T27" fmla="*/ 16 h 67"/>
                  <a:gd name="T28" fmla="*/ 54 w 85"/>
                  <a:gd name="T29" fmla="*/ 26 h 67"/>
                  <a:gd name="T30" fmla="*/ 52 w 85"/>
                  <a:gd name="T31" fmla="*/ 31 h 67"/>
                  <a:gd name="T32" fmla="*/ 46 w 85"/>
                  <a:gd name="T33" fmla="*/ 37 h 67"/>
                  <a:gd name="T34" fmla="*/ 25 w 85"/>
                  <a:gd name="T35" fmla="*/ 37 h 67"/>
                  <a:gd name="T36" fmla="*/ 10 w 85"/>
                  <a:gd name="T37" fmla="*/ 41 h 67"/>
                  <a:gd name="T38" fmla="*/ 4 w 85"/>
                  <a:gd name="T39" fmla="*/ 36 h 67"/>
                  <a:gd name="T40" fmla="*/ 0 w 85"/>
                  <a:gd name="T41" fmla="*/ 34 h 67"/>
                  <a:gd name="T42" fmla="*/ 0 w 85"/>
                  <a:gd name="T43" fmla="*/ 39 h 67"/>
                  <a:gd name="T44" fmla="*/ 4 w 85"/>
                  <a:gd name="T45" fmla="*/ 44 h 67"/>
                  <a:gd name="T46" fmla="*/ 8 w 85"/>
                  <a:gd name="T47" fmla="*/ 48 h 67"/>
                  <a:gd name="T48" fmla="*/ 11 w 85"/>
                  <a:gd name="T49" fmla="*/ 52 h 67"/>
                  <a:gd name="T50" fmla="*/ 13 w 85"/>
                  <a:gd name="T51" fmla="*/ 56 h 67"/>
                  <a:gd name="T52" fmla="*/ 18 w 85"/>
                  <a:gd name="T53" fmla="*/ 61 h 67"/>
                  <a:gd name="T54" fmla="*/ 21 w 85"/>
                  <a:gd name="T55" fmla="*/ 61 h 67"/>
                  <a:gd name="T56" fmla="*/ 32 w 85"/>
                  <a:gd name="T57" fmla="*/ 62 h 67"/>
                  <a:gd name="T58" fmla="*/ 47 w 85"/>
                  <a:gd name="T59" fmla="*/ 64 h 67"/>
                  <a:gd name="T60" fmla="*/ 57 w 85"/>
                  <a:gd name="T61" fmla="*/ 66 h 67"/>
                  <a:gd name="T62" fmla="*/ 61 w 85"/>
                  <a:gd name="T63" fmla="*/ 66 h 67"/>
                  <a:gd name="T64" fmla="*/ 63 w 85"/>
                  <a:gd name="T65" fmla="*/ 66 h 67"/>
                  <a:gd name="T66" fmla="*/ 65 w 85"/>
                  <a:gd name="T67" fmla="*/ 56 h 67"/>
                  <a:gd name="T68" fmla="*/ 69 w 85"/>
                  <a:gd name="T69" fmla="*/ 45 h 67"/>
                  <a:gd name="T70" fmla="*/ 69 w 85"/>
                  <a:gd name="T71" fmla="*/ 42 h 67"/>
                  <a:gd name="T72" fmla="*/ 72 w 85"/>
                  <a:gd name="T73" fmla="*/ 39 h 67"/>
                  <a:gd name="T74" fmla="*/ 77 w 85"/>
                  <a:gd name="T75" fmla="*/ 39 h 67"/>
                  <a:gd name="T76" fmla="*/ 74 w 85"/>
                  <a:gd name="T77" fmla="*/ 36 h 67"/>
                  <a:gd name="T78" fmla="*/ 74 w 85"/>
                  <a:gd name="T79" fmla="*/ 31 h 67"/>
                  <a:gd name="T80" fmla="*/ 74 w 85"/>
                  <a:gd name="T81" fmla="*/ 25 h 67"/>
                  <a:gd name="T82" fmla="*/ 76 w 85"/>
                  <a:gd name="T83" fmla="*/ 22 h 67"/>
                  <a:gd name="T84" fmla="*/ 79 w 85"/>
                  <a:gd name="T85" fmla="*/ 23 h 67"/>
                  <a:gd name="T86" fmla="*/ 77 w 85"/>
                  <a:gd name="T87" fmla="*/ 23 h 67"/>
                  <a:gd name="T88" fmla="*/ 80 w 85"/>
                  <a:gd name="T89" fmla="*/ 26 h 67"/>
                  <a:gd name="T90" fmla="*/ 82 w 85"/>
                  <a:gd name="T91" fmla="*/ 23 h 67"/>
                  <a:gd name="T92" fmla="*/ 85 w 85"/>
                  <a:gd name="T93" fmla="*/ 20 h 67"/>
                  <a:gd name="T94" fmla="*/ 82 w 85"/>
                  <a:gd name="T95" fmla="*/ 16 h 67"/>
                  <a:gd name="T96" fmla="*/ 83 w 85"/>
                  <a:gd name="T97"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67">
                    <a:moveTo>
                      <a:pt x="41" y="36"/>
                    </a:moveTo>
                    <a:lnTo>
                      <a:pt x="40" y="36"/>
                    </a:lnTo>
                    <a:lnTo>
                      <a:pt x="38" y="36"/>
                    </a:lnTo>
                    <a:lnTo>
                      <a:pt x="36" y="37"/>
                    </a:lnTo>
                    <a:lnTo>
                      <a:pt x="38" y="37"/>
                    </a:lnTo>
                    <a:lnTo>
                      <a:pt x="40" y="37"/>
                    </a:lnTo>
                    <a:lnTo>
                      <a:pt x="40" y="37"/>
                    </a:lnTo>
                    <a:lnTo>
                      <a:pt x="41" y="37"/>
                    </a:lnTo>
                    <a:lnTo>
                      <a:pt x="41" y="37"/>
                    </a:lnTo>
                    <a:lnTo>
                      <a:pt x="41" y="36"/>
                    </a:lnTo>
                    <a:close/>
                    <a:moveTo>
                      <a:pt x="19" y="33"/>
                    </a:moveTo>
                    <a:lnTo>
                      <a:pt x="18" y="33"/>
                    </a:lnTo>
                    <a:lnTo>
                      <a:pt x="18" y="34"/>
                    </a:lnTo>
                    <a:lnTo>
                      <a:pt x="18" y="34"/>
                    </a:lnTo>
                    <a:lnTo>
                      <a:pt x="18" y="34"/>
                    </a:lnTo>
                    <a:lnTo>
                      <a:pt x="19" y="34"/>
                    </a:lnTo>
                    <a:lnTo>
                      <a:pt x="19" y="33"/>
                    </a:lnTo>
                    <a:close/>
                    <a:moveTo>
                      <a:pt x="32" y="33"/>
                    </a:moveTo>
                    <a:lnTo>
                      <a:pt x="32" y="33"/>
                    </a:lnTo>
                    <a:lnTo>
                      <a:pt x="32" y="34"/>
                    </a:lnTo>
                    <a:lnTo>
                      <a:pt x="29" y="34"/>
                    </a:lnTo>
                    <a:lnTo>
                      <a:pt x="30" y="36"/>
                    </a:lnTo>
                    <a:lnTo>
                      <a:pt x="32" y="36"/>
                    </a:lnTo>
                    <a:lnTo>
                      <a:pt x="32" y="34"/>
                    </a:lnTo>
                    <a:lnTo>
                      <a:pt x="32" y="34"/>
                    </a:lnTo>
                    <a:lnTo>
                      <a:pt x="33" y="33"/>
                    </a:lnTo>
                    <a:lnTo>
                      <a:pt x="32" y="33"/>
                    </a:lnTo>
                    <a:close/>
                    <a:moveTo>
                      <a:pt x="50" y="31"/>
                    </a:moveTo>
                    <a:lnTo>
                      <a:pt x="49" y="31"/>
                    </a:lnTo>
                    <a:lnTo>
                      <a:pt x="49" y="31"/>
                    </a:lnTo>
                    <a:lnTo>
                      <a:pt x="49" y="31"/>
                    </a:lnTo>
                    <a:lnTo>
                      <a:pt x="49" y="31"/>
                    </a:lnTo>
                    <a:lnTo>
                      <a:pt x="50" y="33"/>
                    </a:lnTo>
                    <a:lnTo>
                      <a:pt x="50" y="33"/>
                    </a:lnTo>
                    <a:lnTo>
                      <a:pt x="50" y="31"/>
                    </a:lnTo>
                    <a:lnTo>
                      <a:pt x="50" y="31"/>
                    </a:lnTo>
                    <a:close/>
                    <a:moveTo>
                      <a:pt x="85" y="20"/>
                    </a:moveTo>
                    <a:lnTo>
                      <a:pt x="85" y="9"/>
                    </a:lnTo>
                    <a:lnTo>
                      <a:pt x="83" y="8"/>
                    </a:lnTo>
                    <a:lnTo>
                      <a:pt x="83" y="9"/>
                    </a:lnTo>
                    <a:lnTo>
                      <a:pt x="82" y="9"/>
                    </a:lnTo>
                    <a:lnTo>
                      <a:pt x="82" y="9"/>
                    </a:lnTo>
                    <a:lnTo>
                      <a:pt x="80" y="8"/>
                    </a:lnTo>
                    <a:lnTo>
                      <a:pt x="80" y="6"/>
                    </a:lnTo>
                    <a:lnTo>
                      <a:pt x="80" y="5"/>
                    </a:lnTo>
                    <a:lnTo>
                      <a:pt x="80" y="3"/>
                    </a:lnTo>
                    <a:lnTo>
                      <a:pt x="80" y="1"/>
                    </a:lnTo>
                    <a:lnTo>
                      <a:pt x="80" y="1"/>
                    </a:lnTo>
                    <a:lnTo>
                      <a:pt x="80" y="0"/>
                    </a:lnTo>
                    <a:lnTo>
                      <a:pt x="79" y="0"/>
                    </a:lnTo>
                    <a:lnTo>
                      <a:pt x="79" y="0"/>
                    </a:lnTo>
                    <a:lnTo>
                      <a:pt x="79" y="3"/>
                    </a:lnTo>
                    <a:lnTo>
                      <a:pt x="77" y="6"/>
                    </a:lnTo>
                    <a:lnTo>
                      <a:pt x="69" y="11"/>
                    </a:lnTo>
                    <a:lnTo>
                      <a:pt x="68" y="14"/>
                    </a:lnTo>
                    <a:lnTo>
                      <a:pt x="66" y="16"/>
                    </a:lnTo>
                    <a:lnTo>
                      <a:pt x="66" y="17"/>
                    </a:lnTo>
                    <a:lnTo>
                      <a:pt x="61" y="20"/>
                    </a:lnTo>
                    <a:lnTo>
                      <a:pt x="55" y="25"/>
                    </a:lnTo>
                    <a:lnTo>
                      <a:pt x="54" y="26"/>
                    </a:lnTo>
                    <a:lnTo>
                      <a:pt x="54" y="28"/>
                    </a:lnTo>
                    <a:lnTo>
                      <a:pt x="54" y="30"/>
                    </a:lnTo>
                    <a:lnTo>
                      <a:pt x="52" y="30"/>
                    </a:lnTo>
                    <a:lnTo>
                      <a:pt x="52" y="31"/>
                    </a:lnTo>
                    <a:lnTo>
                      <a:pt x="50" y="33"/>
                    </a:lnTo>
                    <a:lnTo>
                      <a:pt x="49" y="34"/>
                    </a:lnTo>
                    <a:lnTo>
                      <a:pt x="47" y="36"/>
                    </a:lnTo>
                    <a:lnTo>
                      <a:pt x="46" y="37"/>
                    </a:lnTo>
                    <a:lnTo>
                      <a:pt x="41" y="39"/>
                    </a:lnTo>
                    <a:lnTo>
                      <a:pt x="40" y="39"/>
                    </a:lnTo>
                    <a:lnTo>
                      <a:pt x="30" y="39"/>
                    </a:lnTo>
                    <a:lnTo>
                      <a:pt x="25" y="37"/>
                    </a:lnTo>
                    <a:lnTo>
                      <a:pt x="19" y="37"/>
                    </a:lnTo>
                    <a:lnTo>
                      <a:pt x="16" y="37"/>
                    </a:lnTo>
                    <a:lnTo>
                      <a:pt x="11" y="41"/>
                    </a:lnTo>
                    <a:lnTo>
                      <a:pt x="10" y="41"/>
                    </a:lnTo>
                    <a:lnTo>
                      <a:pt x="7" y="41"/>
                    </a:lnTo>
                    <a:lnTo>
                      <a:pt x="5" y="41"/>
                    </a:lnTo>
                    <a:lnTo>
                      <a:pt x="4" y="39"/>
                    </a:lnTo>
                    <a:lnTo>
                      <a:pt x="4" y="36"/>
                    </a:lnTo>
                    <a:lnTo>
                      <a:pt x="4" y="36"/>
                    </a:lnTo>
                    <a:lnTo>
                      <a:pt x="2" y="36"/>
                    </a:lnTo>
                    <a:lnTo>
                      <a:pt x="0" y="34"/>
                    </a:lnTo>
                    <a:lnTo>
                      <a:pt x="0" y="34"/>
                    </a:lnTo>
                    <a:lnTo>
                      <a:pt x="0" y="34"/>
                    </a:lnTo>
                    <a:lnTo>
                      <a:pt x="0" y="36"/>
                    </a:lnTo>
                    <a:lnTo>
                      <a:pt x="0" y="37"/>
                    </a:lnTo>
                    <a:lnTo>
                      <a:pt x="0" y="39"/>
                    </a:lnTo>
                    <a:lnTo>
                      <a:pt x="0" y="39"/>
                    </a:lnTo>
                    <a:lnTo>
                      <a:pt x="2" y="41"/>
                    </a:lnTo>
                    <a:lnTo>
                      <a:pt x="4" y="42"/>
                    </a:lnTo>
                    <a:lnTo>
                      <a:pt x="4" y="44"/>
                    </a:lnTo>
                    <a:lnTo>
                      <a:pt x="5" y="45"/>
                    </a:lnTo>
                    <a:lnTo>
                      <a:pt x="5" y="45"/>
                    </a:lnTo>
                    <a:lnTo>
                      <a:pt x="7" y="47"/>
                    </a:lnTo>
                    <a:lnTo>
                      <a:pt x="8" y="48"/>
                    </a:lnTo>
                    <a:lnTo>
                      <a:pt x="8" y="50"/>
                    </a:lnTo>
                    <a:lnTo>
                      <a:pt x="10" y="52"/>
                    </a:lnTo>
                    <a:lnTo>
                      <a:pt x="11" y="52"/>
                    </a:lnTo>
                    <a:lnTo>
                      <a:pt x="11" y="52"/>
                    </a:lnTo>
                    <a:lnTo>
                      <a:pt x="11" y="53"/>
                    </a:lnTo>
                    <a:lnTo>
                      <a:pt x="13" y="55"/>
                    </a:lnTo>
                    <a:lnTo>
                      <a:pt x="13" y="55"/>
                    </a:lnTo>
                    <a:lnTo>
                      <a:pt x="13" y="56"/>
                    </a:lnTo>
                    <a:lnTo>
                      <a:pt x="15" y="58"/>
                    </a:lnTo>
                    <a:lnTo>
                      <a:pt x="16" y="58"/>
                    </a:lnTo>
                    <a:lnTo>
                      <a:pt x="16" y="59"/>
                    </a:lnTo>
                    <a:lnTo>
                      <a:pt x="18" y="61"/>
                    </a:lnTo>
                    <a:lnTo>
                      <a:pt x="19" y="61"/>
                    </a:lnTo>
                    <a:lnTo>
                      <a:pt x="19" y="61"/>
                    </a:lnTo>
                    <a:lnTo>
                      <a:pt x="21" y="61"/>
                    </a:lnTo>
                    <a:lnTo>
                      <a:pt x="21" y="61"/>
                    </a:lnTo>
                    <a:lnTo>
                      <a:pt x="22" y="61"/>
                    </a:lnTo>
                    <a:lnTo>
                      <a:pt x="25" y="61"/>
                    </a:lnTo>
                    <a:lnTo>
                      <a:pt x="29" y="62"/>
                    </a:lnTo>
                    <a:lnTo>
                      <a:pt x="32" y="62"/>
                    </a:lnTo>
                    <a:lnTo>
                      <a:pt x="36" y="62"/>
                    </a:lnTo>
                    <a:lnTo>
                      <a:pt x="40" y="64"/>
                    </a:lnTo>
                    <a:lnTo>
                      <a:pt x="44" y="64"/>
                    </a:lnTo>
                    <a:lnTo>
                      <a:pt x="47" y="64"/>
                    </a:lnTo>
                    <a:lnTo>
                      <a:pt x="50" y="66"/>
                    </a:lnTo>
                    <a:lnTo>
                      <a:pt x="54" y="66"/>
                    </a:lnTo>
                    <a:lnTo>
                      <a:pt x="54" y="66"/>
                    </a:lnTo>
                    <a:lnTo>
                      <a:pt x="57" y="66"/>
                    </a:lnTo>
                    <a:lnTo>
                      <a:pt x="58" y="66"/>
                    </a:lnTo>
                    <a:lnTo>
                      <a:pt x="58" y="66"/>
                    </a:lnTo>
                    <a:lnTo>
                      <a:pt x="60" y="66"/>
                    </a:lnTo>
                    <a:lnTo>
                      <a:pt x="61" y="66"/>
                    </a:lnTo>
                    <a:lnTo>
                      <a:pt x="61" y="67"/>
                    </a:lnTo>
                    <a:lnTo>
                      <a:pt x="63" y="67"/>
                    </a:lnTo>
                    <a:lnTo>
                      <a:pt x="63" y="66"/>
                    </a:lnTo>
                    <a:lnTo>
                      <a:pt x="63" y="66"/>
                    </a:lnTo>
                    <a:lnTo>
                      <a:pt x="63" y="62"/>
                    </a:lnTo>
                    <a:lnTo>
                      <a:pt x="63" y="61"/>
                    </a:lnTo>
                    <a:lnTo>
                      <a:pt x="63" y="59"/>
                    </a:lnTo>
                    <a:lnTo>
                      <a:pt x="65" y="56"/>
                    </a:lnTo>
                    <a:lnTo>
                      <a:pt x="66" y="52"/>
                    </a:lnTo>
                    <a:lnTo>
                      <a:pt x="68" y="50"/>
                    </a:lnTo>
                    <a:lnTo>
                      <a:pt x="68" y="47"/>
                    </a:lnTo>
                    <a:lnTo>
                      <a:pt x="69" y="45"/>
                    </a:lnTo>
                    <a:lnTo>
                      <a:pt x="69" y="45"/>
                    </a:lnTo>
                    <a:lnTo>
                      <a:pt x="69" y="44"/>
                    </a:lnTo>
                    <a:lnTo>
                      <a:pt x="69" y="42"/>
                    </a:lnTo>
                    <a:lnTo>
                      <a:pt x="69" y="42"/>
                    </a:lnTo>
                    <a:lnTo>
                      <a:pt x="69" y="42"/>
                    </a:lnTo>
                    <a:lnTo>
                      <a:pt x="68" y="41"/>
                    </a:lnTo>
                    <a:lnTo>
                      <a:pt x="69" y="41"/>
                    </a:lnTo>
                    <a:lnTo>
                      <a:pt x="72" y="39"/>
                    </a:lnTo>
                    <a:lnTo>
                      <a:pt x="74" y="41"/>
                    </a:lnTo>
                    <a:lnTo>
                      <a:pt x="76" y="39"/>
                    </a:lnTo>
                    <a:lnTo>
                      <a:pt x="77" y="39"/>
                    </a:lnTo>
                    <a:lnTo>
                      <a:pt x="77" y="39"/>
                    </a:lnTo>
                    <a:lnTo>
                      <a:pt x="77" y="37"/>
                    </a:lnTo>
                    <a:lnTo>
                      <a:pt x="77" y="36"/>
                    </a:lnTo>
                    <a:lnTo>
                      <a:pt x="74" y="36"/>
                    </a:lnTo>
                    <a:lnTo>
                      <a:pt x="74" y="36"/>
                    </a:lnTo>
                    <a:lnTo>
                      <a:pt x="74" y="33"/>
                    </a:lnTo>
                    <a:lnTo>
                      <a:pt x="74" y="33"/>
                    </a:lnTo>
                    <a:lnTo>
                      <a:pt x="74" y="33"/>
                    </a:lnTo>
                    <a:lnTo>
                      <a:pt x="74" y="31"/>
                    </a:lnTo>
                    <a:lnTo>
                      <a:pt x="74" y="30"/>
                    </a:lnTo>
                    <a:lnTo>
                      <a:pt x="74" y="28"/>
                    </a:lnTo>
                    <a:lnTo>
                      <a:pt x="74" y="26"/>
                    </a:lnTo>
                    <a:lnTo>
                      <a:pt x="74" y="25"/>
                    </a:lnTo>
                    <a:lnTo>
                      <a:pt x="74" y="23"/>
                    </a:lnTo>
                    <a:lnTo>
                      <a:pt x="74" y="23"/>
                    </a:lnTo>
                    <a:lnTo>
                      <a:pt x="74" y="23"/>
                    </a:lnTo>
                    <a:lnTo>
                      <a:pt x="76" y="22"/>
                    </a:lnTo>
                    <a:lnTo>
                      <a:pt x="77" y="22"/>
                    </a:lnTo>
                    <a:lnTo>
                      <a:pt x="77" y="22"/>
                    </a:lnTo>
                    <a:lnTo>
                      <a:pt x="77" y="22"/>
                    </a:lnTo>
                    <a:lnTo>
                      <a:pt x="79" y="23"/>
                    </a:lnTo>
                    <a:lnTo>
                      <a:pt x="79" y="23"/>
                    </a:lnTo>
                    <a:lnTo>
                      <a:pt x="79" y="23"/>
                    </a:lnTo>
                    <a:lnTo>
                      <a:pt x="77" y="23"/>
                    </a:lnTo>
                    <a:lnTo>
                      <a:pt x="77" y="23"/>
                    </a:lnTo>
                    <a:lnTo>
                      <a:pt x="77" y="23"/>
                    </a:lnTo>
                    <a:lnTo>
                      <a:pt x="79" y="25"/>
                    </a:lnTo>
                    <a:lnTo>
                      <a:pt x="79" y="26"/>
                    </a:lnTo>
                    <a:lnTo>
                      <a:pt x="80" y="26"/>
                    </a:lnTo>
                    <a:lnTo>
                      <a:pt x="80" y="25"/>
                    </a:lnTo>
                    <a:lnTo>
                      <a:pt x="80" y="25"/>
                    </a:lnTo>
                    <a:lnTo>
                      <a:pt x="82" y="25"/>
                    </a:lnTo>
                    <a:lnTo>
                      <a:pt x="82" y="23"/>
                    </a:lnTo>
                    <a:lnTo>
                      <a:pt x="83" y="22"/>
                    </a:lnTo>
                    <a:lnTo>
                      <a:pt x="83" y="22"/>
                    </a:lnTo>
                    <a:lnTo>
                      <a:pt x="85" y="22"/>
                    </a:lnTo>
                    <a:lnTo>
                      <a:pt x="85" y="20"/>
                    </a:lnTo>
                    <a:close/>
                    <a:moveTo>
                      <a:pt x="83" y="17"/>
                    </a:moveTo>
                    <a:lnTo>
                      <a:pt x="82" y="17"/>
                    </a:lnTo>
                    <a:lnTo>
                      <a:pt x="82" y="17"/>
                    </a:lnTo>
                    <a:lnTo>
                      <a:pt x="82" y="16"/>
                    </a:lnTo>
                    <a:lnTo>
                      <a:pt x="82" y="16"/>
                    </a:lnTo>
                    <a:lnTo>
                      <a:pt x="83" y="16"/>
                    </a:lnTo>
                    <a:lnTo>
                      <a:pt x="83" y="16"/>
                    </a:lnTo>
                    <a:lnTo>
                      <a:pt x="83" y="1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0" name="Freeform 7">
                <a:extLst>
                  <a:ext uri="{FF2B5EF4-FFF2-40B4-BE49-F238E27FC236}">
                    <a16:creationId xmlns:a16="http://schemas.microsoft.com/office/drawing/2014/main" id="{5A926875-FC74-C039-4B82-7A0CB1FA0982}"/>
                  </a:ext>
                </a:extLst>
              </p:cNvPr>
              <p:cNvSpPr>
                <a:spLocks/>
              </p:cNvSpPr>
              <p:nvPr/>
            </p:nvSpPr>
            <p:spPr bwMode="gray">
              <a:xfrm>
                <a:off x="3737" y="848"/>
                <a:ext cx="253" cy="191"/>
              </a:xfrm>
              <a:custGeom>
                <a:avLst/>
                <a:gdLst>
                  <a:gd name="T0" fmla="*/ 247 w 253"/>
                  <a:gd name="T1" fmla="*/ 27 h 191"/>
                  <a:gd name="T2" fmla="*/ 241 w 253"/>
                  <a:gd name="T3" fmla="*/ 35 h 191"/>
                  <a:gd name="T4" fmla="*/ 222 w 253"/>
                  <a:gd name="T5" fmla="*/ 35 h 191"/>
                  <a:gd name="T6" fmla="*/ 206 w 253"/>
                  <a:gd name="T7" fmla="*/ 38 h 191"/>
                  <a:gd name="T8" fmla="*/ 195 w 253"/>
                  <a:gd name="T9" fmla="*/ 44 h 191"/>
                  <a:gd name="T10" fmla="*/ 191 w 253"/>
                  <a:gd name="T11" fmla="*/ 55 h 191"/>
                  <a:gd name="T12" fmla="*/ 195 w 253"/>
                  <a:gd name="T13" fmla="*/ 68 h 191"/>
                  <a:gd name="T14" fmla="*/ 195 w 253"/>
                  <a:gd name="T15" fmla="*/ 72 h 191"/>
                  <a:gd name="T16" fmla="*/ 186 w 253"/>
                  <a:gd name="T17" fmla="*/ 83 h 191"/>
                  <a:gd name="T18" fmla="*/ 186 w 253"/>
                  <a:gd name="T19" fmla="*/ 91 h 191"/>
                  <a:gd name="T20" fmla="*/ 172 w 253"/>
                  <a:gd name="T21" fmla="*/ 97 h 191"/>
                  <a:gd name="T22" fmla="*/ 170 w 253"/>
                  <a:gd name="T23" fmla="*/ 108 h 191"/>
                  <a:gd name="T24" fmla="*/ 158 w 253"/>
                  <a:gd name="T25" fmla="*/ 118 h 191"/>
                  <a:gd name="T26" fmla="*/ 153 w 253"/>
                  <a:gd name="T27" fmla="*/ 133 h 191"/>
                  <a:gd name="T28" fmla="*/ 144 w 253"/>
                  <a:gd name="T29" fmla="*/ 144 h 191"/>
                  <a:gd name="T30" fmla="*/ 134 w 253"/>
                  <a:gd name="T31" fmla="*/ 143 h 191"/>
                  <a:gd name="T32" fmla="*/ 125 w 253"/>
                  <a:gd name="T33" fmla="*/ 150 h 191"/>
                  <a:gd name="T34" fmla="*/ 116 w 253"/>
                  <a:gd name="T35" fmla="*/ 154 h 191"/>
                  <a:gd name="T36" fmla="*/ 106 w 253"/>
                  <a:gd name="T37" fmla="*/ 160 h 191"/>
                  <a:gd name="T38" fmla="*/ 101 w 253"/>
                  <a:gd name="T39" fmla="*/ 175 h 191"/>
                  <a:gd name="T40" fmla="*/ 95 w 253"/>
                  <a:gd name="T41" fmla="*/ 183 h 191"/>
                  <a:gd name="T42" fmla="*/ 73 w 253"/>
                  <a:gd name="T43" fmla="*/ 188 h 191"/>
                  <a:gd name="T44" fmla="*/ 61 w 253"/>
                  <a:gd name="T45" fmla="*/ 191 h 191"/>
                  <a:gd name="T46" fmla="*/ 6 w 253"/>
                  <a:gd name="T47" fmla="*/ 182 h 191"/>
                  <a:gd name="T48" fmla="*/ 22 w 253"/>
                  <a:gd name="T49" fmla="*/ 154 h 191"/>
                  <a:gd name="T50" fmla="*/ 5 w 253"/>
                  <a:gd name="T51" fmla="*/ 144 h 191"/>
                  <a:gd name="T52" fmla="*/ 1 w 253"/>
                  <a:gd name="T53" fmla="*/ 118 h 191"/>
                  <a:gd name="T54" fmla="*/ 8 w 253"/>
                  <a:gd name="T55" fmla="*/ 107 h 191"/>
                  <a:gd name="T56" fmla="*/ 0 w 253"/>
                  <a:gd name="T57" fmla="*/ 96 h 191"/>
                  <a:gd name="T58" fmla="*/ 5 w 253"/>
                  <a:gd name="T59" fmla="*/ 86 h 191"/>
                  <a:gd name="T60" fmla="*/ 8 w 253"/>
                  <a:gd name="T61" fmla="*/ 82 h 191"/>
                  <a:gd name="T62" fmla="*/ 11 w 253"/>
                  <a:gd name="T63" fmla="*/ 72 h 191"/>
                  <a:gd name="T64" fmla="*/ 12 w 253"/>
                  <a:gd name="T65" fmla="*/ 66 h 191"/>
                  <a:gd name="T66" fmla="*/ 19 w 253"/>
                  <a:gd name="T67" fmla="*/ 66 h 191"/>
                  <a:gd name="T68" fmla="*/ 30 w 253"/>
                  <a:gd name="T69" fmla="*/ 69 h 191"/>
                  <a:gd name="T70" fmla="*/ 37 w 253"/>
                  <a:gd name="T71" fmla="*/ 71 h 191"/>
                  <a:gd name="T72" fmla="*/ 45 w 253"/>
                  <a:gd name="T73" fmla="*/ 63 h 191"/>
                  <a:gd name="T74" fmla="*/ 48 w 253"/>
                  <a:gd name="T75" fmla="*/ 57 h 191"/>
                  <a:gd name="T76" fmla="*/ 62 w 253"/>
                  <a:gd name="T77" fmla="*/ 53 h 191"/>
                  <a:gd name="T78" fmla="*/ 73 w 253"/>
                  <a:gd name="T79" fmla="*/ 38 h 191"/>
                  <a:gd name="T80" fmla="*/ 89 w 253"/>
                  <a:gd name="T81" fmla="*/ 27 h 191"/>
                  <a:gd name="T82" fmla="*/ 98 w 253"/>
                  <a:gd name="T83" fmla="*/ 24 h 191"/>
                  <a:gd name="T84" fmla="*/ 120 w 253"/>
                  <a:gd name="T85" fmla="*/ 28 h 191"/>
                  <a:gd name="T86" fmla="*/ 126 w 253"/>
                  <a:gd name="T87" fmla="*/ 28 h 191"/>
                  <a:gd name="T88" fmla="*/ 136 w 253"/>
                  <a:gd name="T89" fmla="*/ 32 h 191"/>
                  <a:gd name="T90" fmla="*/ 145 w 253"/>
                  <a:gd name="T91" fmla="*/ 27 h 191"/>
                  <a:gd name="T92" fmla="*/ 150 w 253"/>
                  <a:gd name="T93" fmla="*/ 27 h 191"/>
                  <a:gd name="T94" fmla="*/ 156 w 253"/>
                  <a:gd name="T95" fmla="*/ 24 h 191"/>
                  <a:gd name="T96" fmla="*/ 167 w 253"/>
                  <a:gd name="T97" fmla="*/ 21 h 191"/>
                  <a:gd name="T98" fmla="*/ 170 w 253"/>
                  <a:gd name="T99" fmla="*/ 11 h 191"/>
                  <a:gd name="T100" fmla="*/ 184 w 253"/>
                  <a:gd name="T101" fmla="*/ 2 h 191"/>
                  <a:gd name="T102" fmla="*/ 192 w 253"/>
                  <a:gd name="T103" fmla="*/ 11 h 191"/>
                  <a:gd name="T104" fmla="*/ 192 w 253"/>
                  <a:gd name="T105" fmla="*/ 27 h 191"/>
                  <a:gd name="T106" fmla="*/ 198 w 253"/>
                  <a:gd name="T107" fmla="*/ 39 h 191"/>
                  <a:gd name="T108" fmla="*/ 223 w 253"/>
                  <a:gd name="T109" fmla="*/ 24 h 191"/>
                  <a:gd name="T110" fmla="*/ 233 w 253"/>
                  <a:gd name="T111" fmla="*/ 24 h 191"/>
                  <a:gd name="T112" fmla="*/ 237 w 253"/>
                  <a:gd name="T113" fmla="*/ 25 h 191"/>
                  <a:gd name="T114" fmla="*/ 248 w 253"/>
                  <a:gd name="T115" fmla="*/ 2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191">
                    <a:moveTo>
                      <a:pt x="253" y="27"/>
                    </a:moveTo>
                    <a:lnTo>
                      <a:pt x="252" y="27"/>
                    </a:lnTo>
                    <a:lnTo>
                      <a:pt x="250" y="27"/>
                    </a:lnTo>
                    <a:lnTo>
                      <a:pt x="250" y="27"/>
                    </a:lnTo>
                    <a:lnTo>
                      <a:pt x="250" y="27"/>
                    </a:lnTo>
                    <a:lnTo>
                      <a:pt x="248" y="27"/>
                    </a:lnTo>
                    <a:lnTo>
                      <a:pt x="247" y="27"/>
                    </a:lnTo>
                    <a:lnTo>
                      <a:pt x="244" y="28"/>
                    </a:lnTo>
                    <a:lnTo>
                      <a:pt x="244" y="30"/>
                    </a:lnTo>
                    <a:lnTo>
                      <a:pt x="245" y="32"/>
                    </a:lnTo>
                    <a:lnTo>
                      <a:pt x="245" y="32"/>
                    </a:lnTo>
                    <a:lnTo>
                      <a:pt x="247" y="32"/>
                    </a:lnTo>
                    <a:lnTo>
                      <a:pt x="244" y="33"/>
                    </a:lnTo>
                    <a:lnTo>
                      <a:pt x="241" y="35"/>
                    </a:lnTo>
                    <a:lnTo>
                      <a:pt x="237" y="36"/>
                    </a:lnTo>
                    <a:lnTo>
                      <a:pt x="237" y="36"/>
                    </a:lnTo>
                    <a:lnTo>
                      <a:pt x="234" y="36"/>
                    </a:lnTo>
                    <a:lnTo>
                      <a:pt x="233" y="35"/>
                    </a:lnTo>
                    <a:lnTo>
                      <a:pt x="233" y="35"/>
                    </a:lnTo>
                    <a:lnTo>
                      <a:pt x="227" y="35"/>
                    </a:lnTo>
                    <a:lnTo>
                      <a:pt x="222" y="35"/>
                    </a:lnTo>
                    <a:lnTo>
                      <a:pt x="219" y="36"/>
                    </a:lnTo>
                    <a:lnTo>
                      <a:pt x="216" y="36"/>
                    </a:lnTo>
                    <a:lnTo>
                      <a:pt x="212" y="36"/>
                    </a:lnTo>
                    <a:lnTo>
                      <a:pt x="211" y="36"/>
                    </a:lnTo>
                    <a:lnTo>
                      <a:pt x="209" y="38"/>
                    </a:lnTo>
                    <a:lnTo>
                      <a:pt x="208" y="38"/>
                    </a:lnTo>
                    <a:lnTo>
                      <a:pt x="206" y="38"/>
                    </a:lnTo>
                    <a:lnTo>
                      <a:pt x="205" y="39"/>
                    </a:lnTo>
                    <a:lnTo>
                      <a:pt x="203" y="41"/>
                    </a:lnTo>
                    <a:lnTo>
                      <a:pt x="200" y="42"/>
                    </a:lnTo>
                    <a:lnTo>
                      <a:pt x="198" y="44"/>
                    </a:lnTo>
                    <a:lnTo>
                      <a:pt x="198" y="46"/>
                    </a:lnTo>
                    <a:lnTo>
                      <a:pt x="197" y="46"/>
                    </a:lnTo>
                    <a:lnTo>
                      <a:pt x="195" y="44"/>
                    </a:lnTo>
                    <a:lnTo>
                      <a:pt x="194" y="46"/>
                    </a:lnTo>
                    <a:lnTo>
                      <a:pt x="192" y="47"/>
                    </a:lnTo>
                    <a:lnTo>
                      <a:pt x="189" y="50"/>
                    </a:lnTo>
                    <a:lnTo>
                      <a:pt x="187" y="52"/>
                    </a:lnTo>
                    <a:lnTo>
                      <a:pt x="187" y="53"/>
                    </a:lnTo>
                    <a:lnTo>
                      <a:pt x="187" y="55"/>
                    </a:lnTo>
                    <a:lnTo>
                      <a:pt x="191" y="55"/>
                    </a:lnTo>
                    <a:lnTo>
                      <a:pt x="191" y="57"/>
                    </a:lnTo>
                    <a:lnTo>
                      <a:pt x="192" y="58"/>
                    </a:lnTo>
                    <a:lnTo>
                      <a:pt x="192" y="60"/>
                    </a:lnTo>
                    <a:lnTo>
                      <a:pt x="194" y="63"/>
                    </a:lnTo>
                    <a:lnTo>
                      <a:pt x="194" y="64"/>
                    </a:lnTo>
                    <a:lnTo>
                      <a:pt x="194" y="66"/>
                    </a:lnTo>
                    <a:lnTo>
                      <a:pt x="195" y="68"/>
                    </a:lnTo>
                    <a:lnTo>
                      <a:pt x="194" y="68"/>
                    </a:lnTo>
                    <a:lnTo>
                      <a:pt x="194" y="69"/>
                    </a:lnTo>
                    <a:lnTo>
                      <a:pt x="194" y="69"/>
                    </a:lnTo>
                    <a:lnTo>
                      <a:pt x="194" y="71"/>
                    </a:lnTo>
                    <a:lnTo>
                      <a:pt x="195" y="71"/>
                    </a:lnTo>
                    <a:lnTo>
                      <a:pt x="195" y="72"/>
                    </a:lnTo>
                    <a:lnTo>
                      <a:pt x="195" y="72"/>
                    </a:lnTo>
                    <a:lnTo>
                      <a:pt x="194" y="74"/>
                    </a:lnTo>
                    <a:lnTo>
                      <a:pt x="194" y="75"/>
                    </a:lnTo>
                    <a:lnTo>
                      <a:pt x="192" y="77"/>
                    </a:lnTo>
                    <a:lnTo>
                      <a:pt x="191" y="77"/>
                    </a:lnTo>
                    <a:lnTo>
                      <a:pt x="189" y="78"/>
                    </a:lnTo>
                    <a:lnTo>
                      <a:pt x="187" y="80"/>
                    </a:lnTo>
                    <a:lnTo>
                      <a:pt x="186" y="83"/>
                    </a:lnTo>
                    <a:lnTo>
                      <a:pt x="186" y="85"/>
                    </a:lnTo>
                    <a:lnTo>
                      <a:pt x="184" y="85"/>
                    </a:lnTo>
                    <a:lnTo>
                      <a:pt x="183" y="86"/>
                    </a:lnTo>
                    <a:lnTo>
                      <a:pt x="184" y="86"/>
                    </a:lnTo>
                    <a:lnTo>
                      <a:pt x="184" y="88"/>
                    </a:lnTo>
                    <a:lnTo>
                      <a:pt x="186" y="89"/>
                    </a:lnTo>
                    <a:lnTo>
                      <a:pt x="186" y="91"/>
                    </a:lnTo>
                    <a:lnTo>
                      <a:pt x="186" y="93"/>
                    </a:lnTo>
                    <a:lnTo>
                      <a:pt x="186" y="94"/>
                    </a:lnTo>
                    <a:lnTo>
                      <a:pt x="184" y="96"/>
                    </a:lnTo>
                    <a:lnTo>
                      <a:pt x="181" y="97"/>
                    </a:lnTo>
                    <a:lnTo>
                      <a:pt x="178" y="97"/>
                    </a:lnTo>
                    <a:lnTo>
                      <a:pt x="173" y="97"/>
                    </a:lnTo>
                    <a:lnTo>
                      <a:pt x="172" y="97"/>
                    </a:lnTo>
                    <a:lnTo>
                      <a:pt x="170" y="97"/>
                    </a:lnTo>
                    <a:lnTo>
                      <a:pt x="167" y="96"/>
                    </a:lnTo>
                    <a:lnTo>
                      <a:pt x="164" y="97"/>
                    </a:lnTo>
                    <a:lnTo>
                      <a:pt x="164" y="99"/>
                    </a:lnTo>
                    <a:lnTo>
                      <a:pt x="167" y="104"/>
                    </a:lnTo>
                    <a:lnTo>
                      <a:pt x="169" y="105"/>
                    </a:lnTo>
                    <a:lnTo>
                      <a:pt x="170" y="108"/>
                    </a:lnTo>
                    <a:lnTo>
                      <a:pt x="172" y="110"/>
                    </a:lnTo>
                    <a:lnTo>
                      <a:pt x="172" y="111"/>
                    </a:lnTo>
                    <a:lnTo>
                      <a:pt x="169" y="114"/>
                    </a:lnTo>
                    <a:lnTo>
                      <a:pt x="166" y="116"/>
                    </a:lnTo>
                    <a:lnTo>
                      <a:pt x="161" y="116"/>
                    </a:lnTo>
                    <a:lnTo>
                      <a:pt x="159" y="116"/>
                    </a:lnTo>
                    <a:lnTo>
                      <a:pt x="158" y="118"/>
                    </a:lnTo>
                    <a:lnTo>
                      <a:pt x="156" y="121"/>
                    </a:lnTo>
                    <a:lnTo>
                      <a:pt x="156" y="122"/>
                    </a:lnTo>
                    <a:lnTo>
                      <a:pt x="156" y="124"/>
                    </a:lnTo>
                    <a:lnTo>
                      <a:pt x="155" y="127"/>
                    </a:lnTo>
                    <a:lnTo>
                      <a:pt x="155" y="127"/>
                    </a:lnTo>
                    <a:lnTo>
                      <a:pt x="153" y="130"/>
                    </a:lnTo>
                    <a:lnTo>
                      <a:pt x="153" y="133"/>
                    </a:lnTo>
                    <a:lnTo>
                      <a:pt x="155" y="140"/>
                    </a:lnTo>
                    <a:lnTo>
                      <a:pt x="151" y="143"/>
                    </a:lnTo>
                    <a:lnTo>
                      <a:pt x="150" y="144"/>
                    </a:lnTo>
                    <a:lnTo>
                      <a:pt x="148" y="146"/>
                    </a:lnTo>
                    <a:lnTo>
                      <a:pt x="147" y="146"/>
                    </a:lnTo>
                    <a:lnTo>
                      <a:pt x="145" y="146"/>
                    </a:lnTo>
                    <a:lnTo>
                      <a:pt x="144" y="144"/>
                    </a:lnTo>
                    <a:lnTo>
                      <a:pt x="144" y="144"/>
                    </a:lnTo>
                    <a:lnTo>
                      <a:pt x="142" y="143"/>
                    </a:lnTo>
                    <a:lnTo>
                      <a:pt x="141" y="143"/>
                    </a:lnTo>
                    <a:lnTo>
                      <a:pt x="139" y="144"/>
                    </a:lnTo>
                    <a:lnTo>
                      <a:pt x="137" y="144"/>
                    </a:lnTo>
                    <a:lnTo>
                      <a:pt x="136" y="143"/>
                    </a:lnTo>
                    <a:lnTo>
                      <a:pt x="134" y="143"/>
                    </a:lnTo>
                    <a:lnTo>
                      <a:pt x="134" y="144"/>
                    </a:lnTo>
                    <a:lnTo>
                      <a:pt x="131" y="146"/>
                    </a:lnTo>
                    <a:lnTo>
                      <a:pt x="126" y="147"/>
                    </a:lnTo>
                    <a:lnTo>
                      <a:pt x="125" y="149"/>
                    </a:lnTo>
                    <a:lnTo>
                      <a:pt x="123" y="149"/>
                    </a:lnTo>
                    <a:lnTo>
                      <a:pt x="125" y="150"/>
                    </a:lnTo>
                    <a:lnTo>
                      <a:pt x="125" y="150"/>
                    </a:lnTo>
                    <a:lnTo>
                      <a:pt x="126" y="152"/>
                    </a:lnTo>
                    <a:lnTo>
                      <a:pt x="126" y="152"/>
                    </a:lnTo>
                    <a:lnTo>
                      <a:pt x="125" y="152"/>
                    </a:lnTo>
                    <a:lnTo>
                      <a:pt x="125" y="154"/>
                    </a:lnTo>
                    <a:lnTo>
                      <a:pt x="122" y="154"/>
                    </a:lnTo>
                    <a:lnTo>
                      <a:pt x="119" y="155"/>
                    </a:lnTo>
                    <a:lnTo>
                      <a:pt x="116" y="154"/>
                    </a:lnTo>
                    <a:lnTo>
                      <a:pt x="114" y="154"/>
                    </a:lnTo>
                    <a:lnTo>
                      <a:pt x="112" y="154"/>
                    </a:lnTo>
                    <a:lnTo>
                      <a:pt x="111" y="154"/>
                    </a:lnTo>
                    <a:lnTo>
                      <a:pt x="109" y="155"/>
                    </a:lnTo>
                    <a:lnTo>
                      <a:pt x="108" y="158"/>
                    </a:lnTo>
                    <a:lnTo>
                      <a:pt x="106" y="158"/>
                    </a:lnTo>
                    <a:lnTo>
                      <a:pt x="106" y="160"/>
                    </a:lnTo>
                    <a:lnTo>
                      <a:pt x="105" y="160"/>
                    </a:lnTo>
                    <a:lnTo>
                      <a:pt x="103" y="161"/>
                    </a:lnTo>
                    <a:lnTo>
                      <a:pt x="103" y="163"/>
                    </a:lnTo>
                    <a:lnTo>
                      <a:pt x="101" y="168"/>
                    </a:lnTo>
                    <a:lnTo>
                      <a:pt x="101" y="169"/>
                    </a:lnTo>
                    <a:lnTo>
                      <a:pt x="101" y="172"/>
                    </a:lnTo>
                    <a:lnTo>
                      <a:pt x="101" y="175"/>
                    </a:lnTo>
                    <a:lnTo>
                      <a:pt x="100" y="177"/>
                    </a:lnTo>
                    <a:lnTo>
                      <a:pt x="100" y="179"/>
                    </a:lnTo>
                    <a:lnTo>
                      <a:pt x="101" y="180"/>
                    </a:lnTo>
                    <a:lnTo>
                      <a:pt x="101" y="182"/>
                    </a:lnTo>
                    <a:lnTo>
                      <a:pt x="100" y="182"/>
                    </a:lnTo>
                    <a:lnTo>
                      <a:pt x="100" y="183"/>
                    </a:lnTo>
                    <a:lnTo>
                      <a:pt x="95" y="183"/>
                    </a:lnTo>
                    <a:lnTo>
                      <a:pt x="91" y="185"/>
                    </a:lnTo>
                    <a:lnTo>
                      <a:pt x="87" y="186"/>
                    </a:lnTo>
                    <a:lnTo>
                      <a:pt x="83" y="188"/>
                    </a:lnTo>
                    <a:lnTo>
                      <a:pt x="81" y="188"/>
                    </a:lnTo>
                    <a:lnTo>
                      <a:pt x="78" y="188"/>
                    </a:lnTo>
                    <a:lnTo>
                      <a:pt x="76" y="188"/>
                    </a:lnTo>
                    <a:lnTo>
                      <a:pt x="73" y="188"/>
                    </a:lnTo>
                    <a:lnTo>
                      <a:pt x="70" y="188"/>
                    </a:lnTo>
                    <a:lnTo>
                      <a:pt x="69" y="188"/>
                    </a:lnTo>
                    <a:lnTo>
                      <a:pt x="65" y="190"/>
                    </a:lnTo>
                    <a:lnTo>
                      <a:pt x="64" y="190"/>
                    </a:lnTo>
                    <a:lnTo>
                      <a:pt x="64" y="191"/>
                    </a:lnTo>
                    <a:lnTo>
                      <a:pt x="62" y="191"/>
                    </a:lnTo>
                    <a:lnTo>
                      <a:pt x="61" y="191"/>
                    </a:lnTo>
                    <a:lnTo>
                      <a:pt x="53" y="190"/>
                    </a:lnTo>
                    <a:lnTo>
                      <a:pt x="34" y="191"/>
                    </a:lnTo>
                    <a:lnTo>
                      <a:pt x="33" y="191"/>
                    </a:lnTo>
                    <a:lnTo>
                      <a:pt x="26" y="190"/>
                    </a:lnTo>
                    <a:lnTo>
                      <a:pt x="17" y="186"/>
                    </a:lnTo>
                    <a:lnTo>
                      <a:pt x="12" y="185"/>
                    </a:lnTo>
                    <a:lnTo>
                      <a:pt x="6" y="182"/>
                    </a:lnTo>
                    <a:lnTo>
                      <a:pt x="11" y="177"/>
                    </a:lnTo>
                    <a:lnTo>
                      <a:pt x="14" y="172"/>
                    </a:lnTo>
                    <a:lnTo>
                      <a:pt x="19" y="168"/>
                    </a:lnTo>
                    <a:lnTo>
                      <a:pt x="22" y="163"/>
                    </a:lnTo>
                    <a:lnTo>
                      <a:pt x="23" y="161"/>
                    </a:lnTo>
                    <a:lnTo>
                      <a:pt x="23" y="158"/>
                    </a:lnTo>
                    <a:lnTo>
                      <a:pt x="22" y="154"/>
                    </a:lnTo>
                    <a:lnTo>
                      <a:pt x="20" y="152"/>
                    </a:lnTo>
                    <a:lnTo>
                      <a:pt x="14" y="150"/>
                    </a:lnTo>
                    <a:lnTo>
                      <a:pt x="11" y="150"/>
                    </a:lnTo>
                    <a:lnTo>
                      <a:pt x="6" y="149"/>
                    </a:lnTo>
                    <a:lnTo>
                      <a:pt x="6" y="149"/>
                    </a:lnTo>
                    <a:lnTo>
                      <a:pt x="5" y="146"/>
                    </a:lnTo>
                    <a:lnTo>
                      <a:pt x="5" y="144"/>
                    </a:lnTo>
                    <a:lnTo>
                      <a:pt x="5" y="141"/>
                    </a:lnTo>
                    <a:lnTo>
                      <a:pt x="5" y="140"/>
                    </a:lnTo>
                    <a:lnTo>
                      <a:pt x="6" y="135"/>
                    </a:lnTo>
                    <a:lnTo>
                      <a:pt x="6" y="133"/>
                    </a:lnTo>
                    <a:lnTo>
                      <a:pt x="3" y="127"/>
                    </a:lnTo>
                    <a:lnTo>
                      <a:pt x="3" y="122"/>
                    </a:lnTo>
                    <a:lnTo>
                      <a:pt x="1" y="118"/>
                    </a:lnTo>
                    <a:lnTo>
                      <a:pt x="1" y="116"/>
                    </a:lnTo>
                    <a:lnTo>
                      <a:pt x="1" y="114"/>
                    </a:lnTo>
                    <a:lnTo>
                      <a:pt x="3" y="111"/>
                    </a:lnTo>
                    <a:lnTo>
                      <a:pt x="5" y="110"/>
                    </a:lnTo>
                    <a:lnTo>
                      <a:pt x="6" y="108"/>
                    </a:lnTo>
                    <a:lnTo>
                      <a:pt x="8" y="107"/>
                    </a:lnTo>
                    <a:lnTo>
                      <a:pt x="8" y="107"/>
                    </a:lnTo>
                    <a:lnTo>
                      <a:pt x="5" y="107"/>
                    </a:lnTo>
                    <a:lnTo>
                      <a:pt x="3" y="107"/>
                    </a:lnTo>
                    <a:lnTo>
                      <a:pt x="1" y="105"/>
                    </a:lnTo>
                    <a:lnTo>
                      <a:pt x="0" y="105"/>
                    </a:lnTo>
                    <a:lnTo>
                      <a:pt x="0" y="104"/>
                    </a:lnTo>
                    <a:lnTo>
                      <a:pt x="0" y="100"/>
                    </a:lnTo>
                    <a:lnTo>
                      <a:pt x="0" y="96"/>
                    </a:lnTo>
                    <a:lnTo>
                      <a:pt x="1" y="93"/>
                    </a:lnTo>
                    <a:lnTo>
                      <a:pt x="3" y="91"/>
                    </a:lnTo>
                    <a:lnTo>
                      <a:pt x="6" y="89"/>
                    </a:lnTo>
                    <a:lnTo>
                      <a:pt x="5" y="88"/>
                    </a:lnTo>
                    <a:lnTo>
                      <a:pt x="5" y="86"/>
                    </a:lnTo>
                    <a:lnTo>
                      <a:pt x="5" y="86"/>
                    </a:lnTo>
                    <a:lnTo>
                      <a:pt x="5" y="86"/>
                    </a:lnTo>
                    <a:lnTo>
                      <a:pt x="5" y="85"/>
                    </a:lnTo>
                    <a:lnTo>
                      <a:pt x="5" y="85"/>
                    </a:lnTo>
                    <a:lnTo>
                      <a:pt x="6" y="85"/>
                    </a:lnTo>
                    <a:lnTo>
                      <a:pt x="8" y="83"/>
                    </a:lnTo>
                    <a:lnTo>
                      <a:pt x="8" y="83"/>
                    </a:lnTo>
                    <a:lnTo>
                      <a:pt x="8" y="82"/>
                    </a:lnTo>
                    <a:lnTo>
                      <a:pt x="8" y="82"/>
                    </a:lnTo>
                    <a:lnTo>
                      <a:pt x="9" y="80"/>
                    </a:lnTo>
                    <a:lnTo>
                      <a:pt x="9" y="78"/>
                    </a:lnTo>
                    <a:lnTo>
                      <a:pt x="9" y="77"/>
                    </a:lnTo>
                    <a:lnTo>
                      <a:pt x="11" y="75"/>
                    </a:lnTo>
                    <a:lnTo>
                      <a:pt x="11" y="75"/>
                    </a:lnTo>
                    <a:lnTo>
                      <a:pt x="11" y="74"/>
                    </a:lnTo>
                    <a:lnTo>
                      <a:pt x="11" y="72"/>
                    </a:lnTo>
                    <a:lnTo>
                      <a:pt x="11" y="71"/>
                    </a:lnTo>
                    <a:lnTo>
                      <a:pt x="11" y="71"/>
                    </a:lnTo>
                    <a:lnTo>
                      <a:pt x="11" y="69"/>
                    </a:lnTo>
                    <a:lnTo>
                      <a:pt x="12" y="69"/>
                    </a:lnTo>
                    <a:lnTo>
                      <a:pt x="12" y="68"/>
                    </a:lnTo>
                    <a:lnTo>
                      <a:pt x="12" y="66"/>
                    </a:lnTo>
                    <a:lnTo>
                      <a:pt x="12" y="66"/>
                    </a:lnTo>
                    <a:lnTo>
                      <a:pt x="14" y="64"/>
                    </a:lnTo>
                    <a:lnTo>
                      <a:pt x="14" y="64"/>
                    </a:lnTo>
                    <a:lnTo>
                      <a:pt x="14" y="63"/>
                    </a:lnTo>
                    <a:lnTo>
                      <a:pt x="14" y="63"/>
                    </a:lnTo>
                    <a:lnTo>
                      <a:pt x="15" y="63"/>
                    </a:lnTo>
                    <a:lnTo>
                      <a:pt x="15" y="64"/>
                    </a:lnTo>
                    <a:lnTo>
                      <a:pt x="19" y="66"/>
                    </a:lnTo>
                    <a:lnTo>
                      <a:pt x="20" y="66"/>
                    </a:lnTo>
                    <a:lnTo>
                      <a:pt x="22" y="68"/>
                    </a:lnTo>
                    <a:lnTo>
                      <a:pt x="23" y="66"/>
                    </a:lnTo>
                    <a:lnTo>
                      <a:pt x="25" y="66"/>
                    </a:lnTo>
                    <a:lnTo>
                      <a:pt x="26" y="66"/>
                    </a:lnTo>
                    <a:lnTo>
                      <a:pt x="28" y="68"/>
                    </a:lnTo>
                    <a:lnTo>
                      <a:pt x="30" y="69"/>
                    </a:lnTo>
                    <a:lnTo>
                      <a:pt x="31" y="71"/>
                    </a:lnTo>
                    <a:lnTo>
                      <a:pt x="31" y="72"/>
                    </a:lnTo>
                    <a:lnTo>
                      <a:pt x="31" y="72"/>
                    </a:lnTo>
                    <a:lnTo>
                      <a:pt x="33" y="71"/>
                    </a:lnTo>
                    <a:lnTo>
                      <a:pt x="34" y="71"/>
                    </a:lnTo>
                    <a:lnTo>
                      <a:pt x="36" y="71"/>
                    </a:lnTo>
                    <a:lnTo>
                      <a:pt x="37" y="71"/>
                    </a:lnTo>
                    <a:lnTo>
                      <a:pt x="39" y="71"/>
                    </a:lnTo>
                    <a:lnTo>
                      <a:pt x="39" y="71"/>
                    </a:lnTo>
                    <a:lnTo>
                      <a:pt x="40" y="68"/>
                    </a:lnTo>
                    <a:lnTo>
                      <a:pt x="44" y="68"/>
                    </a:lnTo>
                    <a:lnTo>
                      <a:pt x="45" y="66"/>
                    </a:lnTo>
                    <a:lnTo>
                      <a:pt x="45" y="63"/>
                    </a:lnTo>
                    <a:lnTo>
                      <a:pt x="45" y="63"/>
                    </a:lnTo>
                    <a:lnTo>
                      <a:pt x="47" y="61"/>
                    </a:lnTo>
                    <a:lnTo>
                      <a:pt x="47" y="60"/>
                    </a:lnTo>
                    <a:lnTo>
                      <a:pt x="45" y="60"/>
                    </a:lnTo>
                    <a:lnTo>
                      <a:pt x="45" y="58"/>
                    </a:lnTo>
                    <a:lnTo>
                      <a:pt x="45" y="58"/>
                    </a:lnTo>
                    <a:lnTo>
                      <a:pt x="47" y="57"/>
                    </a:lnTo>
                    <a:lnTo>
                      <a:pt x="48" y="57"/>
                    </a:lnTo>
                    <a:lnTo>
                      <a:pt x="53" y="57"/>
                    </a:lnTo>
                    <a:lnTo>
                      <a:pt x="56" y="55"/>
                    </a:lnTo>
                    <a:lnTo>
                      <a:pt x="59" y="53"/>
                    </a:lnTo>
                    <a:lnTo>
                      <a:pt x="61" y="53"/>
                    </a:lnTo>
                    <a:lnTo>
                      <a:pt x="61" y="53"/>
                    </a:lnTo>
                    <a:lnTo>
                      <a:pt x="62" y="53"/>
                    </a:lnTo>
                    <a:lnTo>
                      <a:pt x="62" y="53"/>
                    </a:lnTo>
                    <a:lnTo>
                      <a:pt x="62" y="52"/>
                    </a:lnTo>
                    <a:lnTo>
                      <a:pt x="64" y="50"/>
                    </a:lnTo>
                    <a:lnTo>
                      <a:pt x="67" y="49"/>
                    </a:lnTo>
                    <a:lnTo>
                      <a:pt x="70" y="47"/>
                    </a:lnTo>
                    <a:lnTo>
                      <a:pt x="72" y="46"/>
                    </a:lnTo>
                    <a:lnTo>
                      <a:pt x="72" y="42"/>
                    </a:lnTo>
                    <a:lnTo>
                      <a:pt x="73" y="38"/>
                    </a:lnTo>
                    <a:lnTo>
                      <a:pt x="75" y="33"/>
                    </a:lnTo>
                    <a:lnTo>
                      <a:pt x="75" y="32"/>
                    </a:lnTo>
                    <a:lnTo>
                      <a:pt x="75" y="30"/>
                    </a:lnTo>
                    <a:lnTo>
                      <a:pt x="78" y="28"/>
                    </a:lnTo>
                    <a:lnTo>
                      <a:pt x="80" y="27"/>
                    </a:lnTo>
                    <a:lnTo>
                      <a:pt x="84" y="27"/>
                    </a:lnTo>
                    <a:lnTo>
                      <a:pt x="89" y="27"/>
                    </a:lnTo>
                    <a:lnTo>
                      <a:pt x="89" y="24"/>
                    </a:lnTo>
                    <a:lnTo>
                      <a:pt x="91" y="22"/>
                    </a:lnTo>
                    <a:lnTo>
                      <a:pt x="91" y="21"/>
                    </a:lnTo>
                    <a:lnTo>
                      <a:pt x="92" y="21"/>
                    </a:lnTo>
                    <a:lnTo>
                      <a:pt x="92" y="21"/>
                    </a:lnTo>
                    <a:lnTo>
                      <a:pt x="95" y="21"/>
                    </a:lnTo>
                    <a:lnTo>
                      <a:pt x="98" y="24"/>
                    </a:lnTo>
                    <a:lnTo>
                      <a:pt x="103" y="24"/>
                    </a:lnTo>
                    <a:lnTo>
                      <a:pt x="105" y="25"/>
                    </a:lnTo>
                    <a:lnTo>
                      <a:pt x="106" y="25"/>
                    </a:lnTo>
                    <a:lnTo>
                      <a:pt x="111" y="24"/>
                    </a:lnTo>
                    <a:lnTo>
                      <a:pt x="116" y="25"/>
                    </a:lnTo>
                    <a:lnTo>
                      <a:pt x="117" y="27"/>
                    </a:lnTo>
                    <a:lnTo>
                      <a:pt x="120" y="28"/>
                    </a:lnTo>
                    <a:lnTo>
                      <a:pt x="122" y="27"/>
                    </a:lnTo>
                    <a:lnTo>
                      <a:pt x="123" y="27"/>
                    </a:lnTo>
                    <a:lnTo>
                      <a:pt x="123" y="27"/>
                    </a:lnTo>
                    <a:lnTo>
                      <a:pt x="125" y="27"/>
                    </a:lnTo>
                    <a:lnTo>
                      <a:pt x="126" y="27"/>
                    </a:lnTo>
                    <a:lnTo>
                      <a:pt x="126" y="28"/>
                    </a:lnTo>
                    <a:lnTo>
                      <a:pt x="126" y="28"/>
                    </a:lnTo>
                    <a:lnTo>
                      <a:pt x="128" y="30"/>
                    </a:lnTo>
                    <a:lnTo>
                      <a:pt x="128" y="32"/>
                    </a:lnTo>
                    <a:lnTo>
                      <a:pt x="131" y="33"/>
                    </a:lnTo>
                    <a:lnTo>
                      <a:pt x="133" y="33"/>
                    </a:lnTo>
                    <a:lnTo>
                      <a:pt x="136" y="32"/>
                    </a:lnTo>
                    <a:lnTo>
                      <a:pt x="136" y="32"/>
                    </a:lnTo>
                    <a:lnTo>
                      <a:pt x="136" y="32"/>
                    </a:lnTo>
                    <a:lnTo>
                      <a:pt x="137" y="30"/>
                    </a:lnTo>
                    <a:lnTo>
                      <a:pt x="139" y="30"/>
                    </a:lnTo>
                    <a:lnTo>
                      <a:pt x="141" y="28"/>
                    </a:lnTo>
                    <a:lnTo>
                      <a:pt x="142" y="27"/>
                    </a:lnTo>
                    <a:lnTo>
                      <a:pt x="144" y="27"/>
                    </a:lnTo>
                    <a:lnTo>
                      <a:pt x="144" y="27"/>
                    </a:lnTo>
                    <a:lnTo>
                      <a:pt x="145" y="27"/>
                    </a:lnTo>
                    <a:lnTo>
                      <a:pt x="145" y="27"/>
                    </a:lnTo>
                    <a:lnTo>
                      <a:pt x="147" y="25"/>
                    </a:lnTo>
                    <a:lnTo>
                      <a:pt x="147" y="25"/>
                    </a:lnTo>
                    <a:lnTo>
                      <a:pt x="147" y="25"/>
                    </a:lnTo>
                    <a:lnTo>
                      <a:pt x="147" y="25"/>
                    </a:lnTo>
                    <a:lnTo>
                      <a:pt x="148" y="25"/>
                    </a:lnTo>
                    <a:lnTo>
                      <a:pt x="150" y="27"/>
                    </a:lnTo>
                    <a:lnTo>
                      <a:pt x="151" y="28"/>
                    </a:lnTo>
                    <a:lnTo>
                      <a:pt x="153" y="30"/>
                    </a:lnTo>
                    <a:lnTo>
                      <a:pt x="155" y="30"/>
                    </a:lnTo>
                    <a:lnTo>
                      <a:pt x="155" y="30"/>
                    </a:lnTo>
                    <a:lnTo>
                      <a:pt x="156" y="28"/>
                    </a:lnTo>
                    <a:lnTo>
                      <a:pt x="156" y="27"/>
                    </a:lnTo>
                    <a:lnTo>
                      <a:pt x="156" y="24"/>
                    </a:lnTo>
                    <a:lnTo>
                      <a:pt x="156" y="22"/>
                    </a:lnTo>
                    <a:lnTo>
                      <a:pt x="158" y="21"/>
                    </a:lnTo>
                    <a:lnTo>
                      <a:pt x="159" y="19"/>
                    </a:lnTo>
                    <a:lnTo>
                      <a:pt x="164" y="19"/>
                    </a:lnTo>
                    <a:lnTo>
                      <a:pt x="166" y="19"/>
                    </a:lnTo>
                    <a:lnTo>
                      <a:pt x="166" y="21"/>
                    </a:lnTo>
                    <a:lnTo>
                      <a:pt x="167" y="21"/>
                    </a:lnTo>
                    <a:lnTo>
                      <a:pt x="169" y="21"/>
                    </a:lnTo>
                    <a:lnTo>
                      <a:pt x="170" y="19"/>
                    </a:lnTo>
                    <a:lnTo>
                      <a:pt x="170" y="17"/>
                    </a:lnTo>
                    <a:lnTo>
                      <a:pt x="170" y="16"/>
                    </a:lnTo>
                    <a:lnTo>
                      <a:pt x="170" y="13"/>
                    </a:lnTo>
                    <a:lnTo>
                      <a:pt x="170" y="13"/>
                    </a:lnTo>
                    <a:lnTo>
                      <a:pt x="170" y="11"/>
                    </a:lnTo>
                    <a:lnTo>
                      <a:pt x="172" y="11"/>
                    </a:lnTo>
                    <a:lnTo>
                      <a:pt x="173" y="8"/>
                    </a:lnTo>
                    <a:lnTo>
                      <a:pt x="175" y="6"/>
                    </a:lnTo>
                    <a:lnTo>
                      <a:pt x="178" y="3"/>
                    </a:lnTo>
                    <a:lnTo>
                      <a:pt x="180" y="2"/>
                    </a:lnTo>
                    <a:lnTo>
                      <a:pt x="181" y="0"/>
                    </a:lnTo>
                    <a:lnTo>
                      <a:pt x="184" y="2"/>
                    </a:lnTo>
                    <a:lnTo>
                      <a:pt x="189" y="3"/>
                    </a:lnTo>
                    <a:lnTo>
                      <a:pt x="191" y="6"/>
                    </a:lnTo>
                    <a:lnTo>
                      <a:pt x="189" y="10"/>
                    </a:lnTo>
                    <a:lnTo>
                      <a:pt x="189" y="13"/>
                    </a:lnTo>
                    <a:lnTo>
                      <a:pt x="189" y="13"/>
                    </a:lnTo>
                    <a:lnTo>
                      <a:pt x="191" y="13"/>
                    </a:lnTo>
                    <a:lnTo>
                      <a:pt x="192" y="11"/>
                    </a:lnTo>
                    <a:lnTo>
                      <a:pt x="194" y="11"/>
                    </a:lnTo>
                    <a:lnTo>
                      <a:pt x="194" y="13"/>
                    </a:lnTo>
                    <a:lnTo>
                      <a:pt x="194" y="13"/>
                    </a:lnTo>
                    <a:lnTo>
                      <a:pt x="194" y="14"/>
                    </a:lnTo>
                    <a:lnTo>
                      <a:pt x="194" y="19"/>
                    </a:lnTo>
                    <a:lnTo>
                      <a:pt x="192" y="22"/>
                    </a:lnTo>
                    <a:lnTo>
                      <a:pt x="192" y="27"/>
                    </a:lnTo>
                    <a:lnTo>
                      <a:pt x="192" y="30"/>
                    </a:lnTo>
                    <a:lnTo>
                      <a:pt x="192" y="32"/>
                    </a:lnTo>
                    <a:lnTo>
                      <a:pt x="194" y="36"/>
                    </a:lnTo>
                    <a:lnTo>
                      <a:pt x="195" y="38"/>
                    </a:lnTo>
                    <a:lnTo>
                      <a:pt x="195" y="39"/>
                    </a:lnTo>
                    <a:lnTo>
                      <a:pt x="197" y="39"/>
                    </a:lnTo>
                    <a:lnTo>
                      <a:pt x="198" y="39"/>
                    </a:lnTo>
                    <a:lnTo>
                      <a:pt x="200" y="38"/>
                    </a:lnTo>
                    <a:lnTo>
                      <a:pt x="205" y="35"/>
                    </a:lnTo>
                    <a:lnTo>
                      <a:pt x="208" y="33"/>
                    </a:lnTo>
                    <a:lnTo>
                      <a:pt x="212" y="32"/>
                    </a:lnTo>
                    <a:lnTo>
                      <a:pt x="216" y="28"/>
                    </a:lnTo>
                    <a:lnTo>
                      <a:pt x="217" y="27"/>
                    </a:lnTo>
                    <a:lnTo>
                      <a:pt x="223" y="24"/>
                    </a:lnTo>
                    <a:lnTo>
                      <a:pt x="227" y="22"/>
                    </a:lnTo>
                    <a:lnTo>
                      <a:pt x="228" y="22"/>
                    </a:lnTo>
                    <a:lnTo>
                      <a:pt x="230" y="22"/>
                    </a:lnTo>
                    <a:lnTo>
                      <a:pt x="230" y="22"/>
                    </a:lnTo>
                    <a:lnTo>
                      <a:pt x="231" y="24"/>
                    </a:lnTo>
                    <a:lnTo>
                      <a:pt x="231" y="24"/>
                    </a:lnTo>
                    <a:lnTo>
                      <a:pt x="233" y="24"/>
                    </a:lnTo>
                    <a:lnTo>
                      <a:pt x="231" y="25"/>
                    </a:lnTo>
                    <a:lnTo>
                      <a:pt x="231" y="27"/>
                    </a:lnTo>
                    <a:lnTo>
                      <a:pt x="230" y="27"/>
                    </a:lnTo>
                    <a:lnTo>
                      <a:pt x="231" y="27"/>
                    </a:lnTo>
                    <a:lnTo>
                      <a:pt x="233" y="27"/>
                    </a:lnTo>
                    <a:lnTo>
                      <a:pt x="236" y="27"/>
                    </a:lnTo>
                    <a:lnTo>
                      <a:pt x="237" y="25"/>
                    </a:lnTo>
                    <a:lnTo>
                      <a:pt x="239" y="25"/>
                    </a:lnTo>
                    <a:lnTo>
                      <a:pt x="241" y="24"/>
                    </a:lnTo>
                    <a:lnTo>
                      <a:pt x="241" y="24"/>
                    </a:lnTo>
                    <a:lnTo>
                      <a:pt x="242" y="24"/>
                    </a:lnTo>
                    <a:lnTo>
                      <a:pt x="245" y="24"/>
                    </a:lnTo>
                    <a:lnTo>
                      <a:pt x="245" y="24"/>
                    </a:lnTo>
                    <a:lnTo>
                      <a:pt x="248" y="24"/>
                    </a:lnTo>
                    <a:lnTo>
                      <a:pt x="250" y="25"/>
                    </a:lnTo>
                    <a:lnTo>
                      <a:pt x="252" y="27"/>
                    </a:lnTo>
                    <a:lnTo>
                      <a:pt x="252" y="27"/>
                    </a:lnTo>
                    <a:lnTo>
                      <a:pt x="253" y="2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1" name="Freeform 8">
                <a:extLst>
                  <a:ext uri="{FF2B5EF4-FFF2-40B4-BE49-F238E27FC236}">
                    <a16:creationId xmlns:a16="http://schemas.microsoft.com/office/drawing/2014/main" id="{9F5E85BC-C37F-5A42-261B-C306E0438FA5}"/>
                  </a:ext>
                </a:extLst>
              </p:cNvPr>
              <p:cNvSpPr>
                <a:spLocks noEditPoints="1"/>
              </p:cNvSpPr>
              <p:nvPr/>
            </p:nvSpPr>
            <p:spPr bwMode="gray">
              <a:xfrm>
                <a:off x="1589" y="1263"/>
                <a:ext cx="3" cy="12"/>
              </a:xfrm>
              <a:custGeom>
                <a:avLst/>
                <a:gdLst>
                  <a:gd name="T0" fmla="*/ 3 w 3"/>
                  <a:gd name="T1" fmla="*/ 1 h 12"/>
                  <a:gd name="T2" fmla="*/ 1 w 3"/>
                  <a:gd name="T3" fmla="*/ 0 h 12"/>
                  <a:gd name="T4" fmla="*/ 1 w 3"/>
                  <a:gd name="T5" fmla="*/ 0 h 12"/>
                  <a:gd name="T6" fmla="*/ 0 w 3"/>
                  <a:gd name="T7" fmla="*/ 0 h 12"/>
                  <a:gd name="T8" fmla="*/ 0 w 3"/>
                  <a:gd name="T9" fmla="*/ 0 h 12"/>
                  <a:gd name="T10" fmla="*/ 0 w 3"/>
                  <a:gd name="T11" fmla="*/ 0 h 12"/>
                  <a:gd name="T12" fmla="*/ 1 w 3"/>
                  <a:gd name="T13" fmla="*/ 1 h 12"/>
                  <a:gd name="T14" fmla="*/ 1 w 3"/>
                  <a:gd name="T15" fmla="*/ 3 h 12"/>
                  <a:gd name="T16" fmla="*/ 3 w 3"/>
                  <a:gd name="T17" fmla="*/ 3 h 12"/>
                  <a:gd name="T18" fmla="*/ 3 w 3"/>
                  <a:gd name="T19" fmla="*/ 1 h 12"/>
                  <a:gd name="T20" fmla="*/ 3 w 3"/>
                  <a:gd name="T21" fmla="*/ 11 h 12"/>
                  <a:gd name="T22" fmla="*/ 3 w 3"/>
                  <a:gd name="T23" fmla="*/ 11 h 12"/>
                  <a:gd name="T24" fmla="*/ 1 w 3"/>
                  <a:gd name="T25" fmla="*/ 9 h 12"/>
                  <a:gd name="T26" fmla="*/ 0 w 3"/>
                  <a:gd name="T27" fmla="*/ 11 h 12"/>
                  <a:gd name="T28" fmla="*/ 0 w 3"/>
                  <a:gd name="T29" fmla="*/ 12 h 12"/>
                  <a:gd name="T30" fmla="*/ 0 w 3"/>
                  <a:gd name="T31" fmla="*/ 12 h 12"/>
                  <a:gd name="T32" fmla="*/ 3 w 3"/>
                  <a:gd name="T33" fmla="*/ 12 h 12"/>
                  <a:gd name="T34" fmla="*/ 3 w 3"/>
                  <a:gd name="T35" fmla="*/ 12 h 12"/>
                  <a:gd name="T36" fmla="*/ 3 w 3"/>
                  <a:gd name="T37" fmla="*/ 12 h 12"/>
                  <a:gd name="T38" fmla="*/ 3 w 3"/>
                  <a:gd name="T39" fmla="*/ 11 h 12"/>
                  <a:gd name="T40" fmla="*/ 3 w 3"/>
                  <a:gd name="T41" fmla="*/ 11 h 12"/>
                  <a:gd name="T42" fmla="*/ 3 w 3"/>
                  <a:gd name="T4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12">
                    <a:moveTo>
                      <a:pt x="3" y="1"/>
                    </a:moveTo>
                    <a:lnTo>
                      <a:pt x="1" y="0"/>
                    </a:lnTo>
                    <a:lnTo>
                      <a:pt x="1" y="0"/>
                    </a:lnTo>
                    <a:lnTo>
                      <a:pt x="0" y="0"/>
                    </a:lnTo>
                    <a:lnTo>
                      <a:pt x="0" y="0"/>
                    </a:lnTo>
                    <a:lnTo>
                      <a:pt x="0" y="0"/>
                    </a:lnTo>
                    <a:lnTo>
                      <a:pt x="1" y="1"/>
                    </a:lnTo>
                    <a:lnTo>
                      <a:pt x="1" y="3"/>
                    </a:lnTo>
                    <a:lnTo>
                      <a:pt x="3" y="3"/>
                    </a:lnTo>
                    <a:lnTo>
                      <a:pt x="3" y="1"/>
                    </a:lnTo>
                    <a:close/>
                    <a:moveTo>
                      <a:pt x="3" y="11"/>
                    </a:moveTo>
                    <a:lnTo>
                      <a:pt x="3" y="11"/>
                    </a:lnTo>
                    <a:lnTo>
                      <a:pt x="1" y="9"/>
                    </a:lnTo>
                    <a:lnTo>
                      <a:pt x="0" y="11"/>
                    </a:lnTo>
                    <a:lnTo>
                      <a:pt x="0" y="12"/>
                    </a:lnTo>
                    <a:lnTo>
                      <a:pt x="0" y="12"/>
                    </a:lnTo>
                    <a:lnTo>
                      <a:pt x="3" y="12"/>
                    </a:lnTo>
                    <a:lnTo>
                      <a:pt x="3" y="12"/>
                    </a:lnTo>
                    <a:lnTo>
                      <a:pt x="3" y="12"/>
                    </a:lnTo>
                    <a:lnTo>
                      <a:pt x="3" y="11"/>
                    </a:lnTo>
                    <a:lnTo>
                      <a:pt x="3" y="11"/>
                    </a:lnTo>
                    <a:lnTo>
                      <a:pt x="3"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2" name="Freeform 9">
                <a:extLst>
                  <a:ext uri="{FF2B5EF4-FFF2-40B4-BE49-F238E27FC236}">
                    <a16:creationId xmlns:a16="http://schemas.microsoft.com/office/drawing/2014/main" id="{B30EA4FC-49C9-5298-E3C6-CAEBEE79AA94}"/>
                  </a:ext>
                </a:extLst>
              </p:cNvPr>
              <p:cNvSpPr>
                <a:spLocks/>
              </p:cNvSpPr>
              <p:nvPr/>
            </p:nvSpPr>
            <p:spPr bwMode="gray">
              <a:xfrm>
                <a:off x="1567" y="1252"/>
                <a:ext cx="3" cy="3"/>
              </a:xfrm>
              <a:custGeom>
                <a:avLst/>
                <a:gdLst>
                  <a:gd name="T0" fmla="*/ 3 w 3"/>
                  <a:gd name="T1" fmla="*/ 2 h 3"/>
                  <a:gd name="T2" fmla="*/ 0 w 3"/>
                  <a:gd name="T3" fmla="*/ 3 h 3"/>
                  <a:gd name="T4" fmla="*/ 0 w 3"/>
                  <a:gd name="T5" fmla="*/ 2 h 3"/>
                  <a:gd name="T6" fmla="*/ 1 w 3"/>
                  <a:gd name="T7" fmla="*/ 0 h 3"/>
                  <a:gd name="T8" fmla="*/ 3 w 3"/>
                  <a:gd name="T9" fmla="*/ 0 h 3"/>
                  <a:gd name="T10" fmla="*/ 3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3" y="2"/>
                    </a:moveTo>
                    <a:lnTo>
                      <a:pt x="0" y="3"/>
                    </a:lnTo>
                    <a:lnTo>
                      <a:pt x="0" y="2"/>
                    </a:lnTo>
                    <a:lnTo>
                      <a:pt x="1" y="0"/>
                    </a:lnTo>
                    <a:lnTo>
                      <a:pt x="3" y="0"/>
                    </a:lnTo>
                    <a:lnTo>
                      <a:pt x="3"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3" name="Freeform 10">
                <a:extLst>
                  <a:ext uri="{FF2B5EF4-FFF2-40B4-BE49-F238E27FC236}">
                    <a16:creationId xmlns:a16="http://schemas.microsoft.com/office/drawing/2014/main" id="{2B4DE9BE-8458-09F2-A873-0C70BA425E2F}"/>
                  </a:ext>
                </a:extLst>
              </p:cNvPr>
              <p:cNvSpPr>
                <a:spLocks/>
              </p:cNvSpPr>
              <p:nvPr/>
            </p:nvSpPr>
            <p:spPr bwMode="gray">
              <a:xfrm>
                <a:off x="3013" y="751"/>
                <a:ext cx="31" cy="71"/>
              </a:xfrm>
              <a:custGeom>
                <a:avLst/>
                <a:gdLst>
                  <a:gd name="T0" fmla="*/ 14 w 31"/>
                  <a:gd name="T1" fmla="*/ 3 h 71"/>
                  <a:gd name="T2" fmla="*/ 17 w 31"/>
                  <a:gd name="T3" fmla="*/ 8 h 71"/>
                  <a:gd name="T4" fmla="*/ 20 w 31"/>
                  <a:gd name="T5" fmla="*/ 10 h 71"/>
                  <a:gd name="T6" fmla="*/ 22 w 31"/>
                  <a:gd name="T7" fmla="*/ 13 h 71"/>
                  <a:gd name="T8" fmla="*/ 23 w 31"/>
                  <a:gd name="T9" fmla="*/ 17 h 71"/>
                  <a:gd name="T10" fmla="*/ 23 w 31"/>
                  <a:gd name="T11" fmla="*/ 19 h 71"/>
                  <a:gd name="T12" fmla="*/ 22 w 31"/>
                  <a:gd name="T13" fmla="*/ 25 h 71"/>
                  <a:gd name="T14" fmla="*/ 22 w 31"/>
                  <a:gd name="T15" fmla="*/ 27 h 71"/>
                  <a:gd name="T16" fmla="*/ 22 w 31"/>
                  <a:gd name="T17" fmla="*/ 30 h 71"/>
                  <a:gd name="T18" fmla="*/ 22 w 31"/>
                  <a:gd name="T19" fmla="*/ 33 h 71"/>
                  <a:gd name="T20" fmla="*/ 23 w 31"/>
                  <a:gd name="T21" fmla="*/ 38 h 71"/>
                  <a:gd name="T22" fmla="*/ 25 w 31"/>
                  <a:gd name="T23" fmla="*/ 41 h 71"/>
                  <a:gd name="T24" fmla="*/ 28 w 31"/>
                  <a:gd name="T25" fmla="*/ 41 h 71"/>
                  <a:gd name="T26" fmla="*/ 30 w 31"/>
                  <a:gd name="T27" fmla="*/ 42 h 71"/>
                  <a:gd name="T28" fmla="*/ 30 w 31"/>
                  <a:gd name="T29" fmla="*/ 44 h 71"/>
                  <a:gd name="T30" fmla="*/ 31 w 31"/>
                  <a:gd name="T31" fmla="*/ 47 h 71"/>
                  <a:gd name="T32" fmla="*/ 31 w 31"/>
                  <a:gd name="T33" fmla="*/ 49 h 71"/>
                  <a:gd name="T34" fmla="*/ 28 w 31"/>
                  <a:gd name="T35" fmla="*/ 52 h 71"/>
                  <a:gd name="T36" fmla="*/ 26 w 31"/>
                  <a:gd name="T37" fmla="*/ 53 h 71"/>
                  <a:gd name="T38" fmla="*/ 25 w 31"/>
                  <a:gd name="T39" fmla="*/ 55 h 71"/>
                  <a:gd name="T40" fmla="*/ 25 w 31"/>
                  <a:gd name="T41" fmla="*/ 60 h 71"/>
                  <a:gd name="T42" fmla="*/ 23 w 31"/>
                  <a:gd name="T43" fmla="*/ 61 h 71"/>
                  <a:gd name="T44" fmla="*/ 20 w 31"/>
                  <a:gd name="T45" fmla="*/ 61 h 71"/>
                  <a:gd name="T46" fmla="*/ 20 w 31"/>
                  <a:gd name="T47" fmla="*/ 61 h 71"/>
                  <a:gd name="T48" fmla="*/ 19 w 31"/>
                  <a:gd name="T49" fmla="*/ 63 h 71"/>
                  <a:gd name="T50" fmla="*/ 19 w 31"/>
                  <a:gd name="T51" fmla="*/ 64 h 71"/>
                  <a:gd name="T52" fmla="*/ 20 w 31"/>
                  <a:gd name="T53" fmla="*/ 68 h 71"/>
                  <a:gd name="T54" fmla="*/ 19 w 31"/>
                  <a:gd name="T55" fmla="*/ 68 h 71"/>
                  <a:gd name="T56" fmla="*/ 19 w 31"/>
                  <a:gd name="T57" fmla="*/ 69 h 71"/>
                  <a:gd name="T58" fmla="*/ 17 w 31"/>
                  <a:gd name="T59" fmla="*/ 69 h 71"/>
                  <a:gd name="T60" fmla="*/ 16 w 31"/>
                  <a:gd name="T61" fmla="*/ 71 h 71"/>
                  <a:gd name="T62" fmla="*/ 14 w 31"/>
                  <a:gd name="T63" fmla="*/ 69 h 71"/>
                  <a:gd name="T64" fmla="*/ 12 w 31"/>
                  <a:gd name="T65" fmla="*/ 68 h 71"/>
                  <a:gd name="T66" fmla="*/ 11 w 31"/>
                  <a:gd name="T67" fmla="*/ 61 h 71"/>
                  <a:gd name="T68" fmla="*/ 3 w 31"/>
                  <a:gd name="T69" fmla="*/ 57 h 71"/>
                  <a:gd name="T70" fmla="*/ 1 w 31"/>
                  <a:gd name="T71" fmla="*/ 53 h 71"/>
                  <a:gd name="T72" fmla="*/ 3 w 31"/>
                  <a:gd name="T73" fmla="*/ 53 h 71"/>
                  <a:gd name="T74" fmla="*/ 3 w 31"/>
                  <a:gd name="T75" fmla="*/ 53 h 71"/>
                  <a:gd name="T76" fmla="*/ 1 w 31"/>
                  <a:gd name="T77" fmla="*/ 49 h 71"/>
                  <a:gd name="T78" fmla="*/ 1 w 31"/>
                  <a:gd name="T79" fmla="*/ 44 h 71"/>
                  <a:gd name="T80" fmla="*/ 3 w 31"/>
                  <a:gd name="T81" fmla="*/ 36 h 71"/>
                  <a:gd name="T82" fmla="*/ 3 w 31"/>
                  <a:gd name="T83" fmla="*/ 32 h 71"/>
                  <a:gd name="T84" fmla="*/ 5 w 31"/>
                  <a:gd name="T85" fmla="*/ 27 h 71"/>
                  <a:gd name="T86" fmla="*/ 6 w 31"/>
                  <a:gd name="T87" fmla="*/ 25 h 71"/>
                  <a:gd name="T88" fmla="*/ 3 w 31"/>
                  <a:gd name="T89" fmla="*/ 19 h 71"/>
                  <a:gd name="T90" fmla="*/ 1 w 31"/>
                  <a:gd name="T91" fmla="*/ 17 h 71"/>
                  <a:gd name="T92" fmla="*/ 1 w 31"/>
                  <a:gd name="T93" fmla="*/ 16 h 71"/>
                  <a:gd name="T94" fmla="*/ 1 w 31"/>
                  <a:gd name="T95" fmla="*/ 13 h 71"/>
                  <a:gd name="T96" fmla="*/ 1 w 31"/>
                  <a:gd name="T97" fmla="*/ 10 h 71"/>
                  <a:gd name="T98" fmla="*/ 3 w 31"/>
                  <a:gd name="T99" fmla="*/ 6 h 71"/>
                  <a:gd name="T100" fmla="*/ 6 w 31"/>
                  <a:gd name="T101" fmla="*/ 3 h 71"/>
                  <a:gd name="T102" fmla="*/ 8 w 31"/>
                  <a:gd name="T103" fmla="*/ 0 h 71"/>
                  <a:gd name="T104" fmla="*/ 8 w 31"/>
                  <a:gd name="T105" fmla="*/ 2 h 71"/>
                  <a:gd name="T106" fmla="*/ 9 w 31"/>
                  <a:gd name="T107" fmla="*/ 5 h 71"/>
                  <a:gd name="T108" fmla="*/ 11 w 31"/>
                  <a:gd name="T109" fmla="*/ 5 h 71"/>
                  <a:gd name="T110" fmla="*/ 14 w 31"/>
                  <a:gd name="T111"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71">
                    <a:moveTo>
                      <a:pt x="14" y="3"/>
                    </a:moveTo>
                    <a:lnTo>
                      <a:pt x="14" y="3"/>
                    </a:lnTo>
                    <a:lnTo>
                      <a:pt x="16" y="6"/>
                    </a:lnTo>
                    <a:lnTo>
                      <a:pt x="17" y="8"/>
                    </a:lnTo>
                    <a:lnTo>
                      <a:pt x="19" y="8"/>
                    </a:lnTo>
                    <a:lnTo>
                      <a:pt x="20" y="10"/>
                    </a:lnTo>
                    <a:lnTo>
                      <a:pt x="22" y="11"/>
                    </a:lnTo>
                    <a:lnTo>
                      <a:pt x="22" y="13"/>
                    </a:lnTo>
                    <a:lnTo>
                      <a:pt x="23" y="16"/>
                    </a:lnTo>
                    <a:lnTo>
                      <a:pt x="23" y="17"/>
                    </a:lnTo>
                    <a:lnTo>
                      <a:pt x="23" y="19"/>
                    </a:lnTo>
                    <a:lnTo>
                      <a:pt x="23" y="19"/>
                    </a:lnTo>
                    <a:lnTo>
                      <a:pt x="22" y="24"/>
                    </a:lnTo>
                    <a:lnTo>
                      <a:pt x="22" y="25"/>
                    </a:lnTo>
                    <a:lnTo>
                      <a:pt x="22" y="25"/>
                    </a:lnTo>
                    <a:lnTo>
                      <a:pt x="22" y="27"/>
                    </a:lnTo>
                    <a:lnTo>
                      <a:pt x="20" y="27"/>
                    </a:lnTo>
                    <a:lnTo>
                      <a:pt x="22" y="30"/>
                    </a:lnTo>
                    <a:lnTo>
                      <a:pt x="22" y="32"/>
                    </a:lnTo>
                    <a:lnTo>
                      <a:pt x="22" y="33"/>
                    </a:lnTo>
                    <a:lnTo>
                      <a:pt x="23" y="36"/>
                    </a:lnTo>
                    <a:lnTo>
                      <a:pt x="23" y="38"/>
                    </a:lnTo>
                    <a:lnTo>
                      <a:pt x="25" y="38"/>
                    </a:lnTo>
                    <a:lnTo>
                      <a:pt x="25" y="41"/>
                    </a:lnTo>
                    <a:lnTo>
                      <a:pt x="26" y="41"/>
                    </a:lnTo>
                    <a:lnTo>
                      <a:pt x="28" y="41"/>
                    </a:lnTo>
                    <a:lnTo>
                      <a:pt x="30" y="41"/>
                    </a:lnTo>
                    <a:lnTo>
                      <a:pt x="30" y="42"/>
                    </a:lnTo>
                    <a:lnTo>
                      <a:pt x="30" y="42"/>
                    </a:lnTo>
                    <a:lnTo>
                      <a:pt x="30" y="44"/>
                    </a:lnTo>
                    <a:lnTo>
                      <a:pt x="30" y="46"/>
                    </a:lnTo>
                    <a:lnTo>
                      <a:pt x="31" y="47"/>
                    </a:lnTo>
                    <a:lnTo>
                      <a:pt x="31" y="49"/>
                    </a:lnTo>
                    <a:lnTo>
                      <a:pt x="31" y="49"/>
                    </a:lnTo>
                    <a:lnTo>
                      <a:pt x="30" y="52"/>
                    </a:lnTo>
                    <a:lnTo>
                      <a:pt x="28" y="52"/>
                    </a:lnTo>
                    <a:lnTo>
                      <a:pt x="26" y="52"/>
                    </a:lnTo>
                    <a:lnTo>
                      <a:pt x="26" y="53"/>
                    </a:lnTo>
                    <a:lnTo>
                      <a:pt x="26" y="55"/>
                    </a:lnTo>
                    <a:lnTo>
                      <a:pt x="25" y="55"/>
                    </a:lnTo>
                    <a:lnTo>
                      <a:pt x="25" y="57"/>
                    </a:lnTo>
                    <a:lnTo>
                      <a:pt x="25" y="60"/>
                    </a:lnTo>
                    <a:lnTo>
                      <a:pt x="25" y="60"/>
                    </a:lnTo>
                    <a:lnTo>
                      <a:pt x="23" y="61"/>
                    </a:lnTo>
                    <a:lnTo>
                      <a:pt x="22" y="61"/>
                    </a:lnTo>
                    <a:lnTo>
                      <a:pt x="20" y="61"/>
                    </a:lnTo>
                    <a:lnTo>
                      <a:pt x="20" y="61"/>
                    </a:lnTo>
                    <a:lnTo>
                      <a:pt x="20" y="61"/>
                    </a:lnTo>
                    <a:lnTo>
                      <a:pt x="19" y="63"/>
                    </a:lnTo>
                    <a:lnTo>
                      <a:pt x="19" y="63"/>
                    </a:lnTo>
                    <a:lnTo>
                      <a:pt x="19" y="63"/>
                    </a:lnTo>
                    <a:lnTo>
                      <a:pt x="19" y="64"/>
                    </a:lnTo>
                    <a:lnTo>
                      <a:pt x="20" y="66"/>
                    </a:lnTo>
                    <a:lnTo>
                      <a:pt x="20" y="68"/>
                    </a:lnTo>
                    <a:lnTo>
                      <a:pt x="19" y="68"/>
                    </a:lnTo>
                    <a:lnTo>
                      <a:pt x="19" y="68"/>
                    </a:lnTo>
                    <a:lnTo>
                      <a:pt x="19" y="68"/>
                    </a:lnTo>
                    <a:lnTo>
                      <a:pt x="19" y="69"/>
                    </a:lnTo>
                    <a:lnTo>
                      <a:pt x="17" y="69"/>
                    </a:lnTo>
                    <a:lnTo>
                      <a:pt x="17" y="69"/>
                    </a:lnTo>
                    <a:lnTo>
                      <a:pt x="17" y="71"/>
                    </a:lnTo>
                    <a:lnTo>
                      <a:pt x="16" y="71"/>
                    </a:lnTo>
                    <a:lnTo>
                      <a:pt x="14" y="69"/>
                    </a:lnTo>
                    <a:lnTo>
                      <a:pt x="14" y="69"/>
                    </a:lnTo>
                    <a:lnTo>
                      <a:pt x="12" y="69"/>
                    </a:lnTo>
                    <a:lnTo>
                      <a:pt x="12" y="68"/>
                    </a:lnTo>
                    <a:lnTo>
                      <a:pt x="12" y="66"/>
                    </a:lnTo>
                    <a:lnTo>
                      <a:pt x="11" y="61"/>
                    </a:lnTo>
                    <a:lnTo>
                      <a:pt x="5" y="58"/>
                    </a:lnTo>
                    <a:lnTo>
                      <a:pt x="3" y="57"/>
                    </a:lnTo>
                    <a:lnTo>
                      <a:pt x="1" y="55"/>
                    </a:lnTo>
                    <a:lnTo>
                      <a:pt x="1" y="53"/>
                    </a:lnTo>
                    <a:lnTo>
                      <a:pt x="1" y="53"/>
                    </a:lnTo>
                    <a:lnTo>
                      <a:pt x="3" y="53"/>
                    </a:lnTo>
                    <a:lnTo>
                      <a:pt x="3" y="53"/>
                    </a:lnTo>
                    <a:lnTo>
                      <a:pt x="3" y="53"/>
                    </a:lnTo>
                    <a:lnTo>
                      <a:pt x="3" y="52"/>
                    </a:lnTo>
                    <a:lnTo>
                      <a:pt x="1" y="49"/>
                    </a:lnTo>
                    <a:lnTo>
                      <a:pt x="1" y="47"/>
                    </a:lnTo>
                    <a:lnTo>
                      <a:pt x="1" y="44"/>
                    </a:lnTo>
                    <a:lnTo>
                      <a:pt x="3" y="41"/>
                    </a:lnTo>
                    <a:lnTo>
                      <a:pt x="3" y="36"/>
                    </a:lnTo>
                    <a:lnTo>
                      <a:pt x="3" y="35"/>
                    </a:lnTo>
                    <a:lnTo>
                      <a:pt x="3" y="32"/>
                    </a:lnTo>
                    <a:lnTo>
                      <a:pt x="3" y="30"/>
                    </a:lnTo>
                    <a:lnTo>
                      <a:pt x="5" y="27"/>
                    </a:lnTo>
                    <a:lnTo>
                      <a:pt x="5" y="25"/>
                    </a:lnTo>
                    <a:lnTo>
                      <a:pt x="6" y="25"/>
                    </a:lnTo>
                    <a:lnTo>
                      <a:pt x="6" y="21"/>
                    </a:lnTo>
                    <a:lnTo>
                      <a:pt x="3" y="19"/>
                    </a:lnTo>
                    <a:lnTo>
                      <a:pt x="1" y="19"/>
                    </a:lnTo>
                    <a:lnTo>
                      <a:pt x="1" y="17"/>
                    </a:lnTo>
                    <a:lnTo>
                      <a:pt x="1" y="16"/>
                    </a:lnTo>
                    <a:lnTo>
                      <a:pt x="1" y="16"/>
                    </a:lnTo>
                    <a:lnTo>
                      <a:pt x="1" y="14"/>
                    </a:lnTo>
                    <a:lnTo>
                      <a:pt x="1" y="13"/>
                    </a:lnTo>
                    <a:lnTo>
                      <a:pt x="0" y="13"/>
                    </a:lnTo>
                    <a:lnTo>
                      <a:pt x="1" y="10"/>
                    </a:lnTo>
                    <a:lnTo>
                      <a:pt x="3" y="8"/>
                    </a:lnTo>
                    <a:lnTo>
                      <a:pt x="3" y="6"/>
                    </a:lnTo>
                    <a:lnTo>
                      <a:pt x="5" y="5"/>
                    </a:lnTo>
                    <a:lnTo>
                      <a:pt x="6" y="3"/>
                    </a:lnTo>
                    <a:lnTo>
                      <a:pt x="6" y="2"/>
                    </a:lnTo>
                    <a:lnTo>
                      <a:pt x="8" y="0"/>
                    </a:lnTo>
                    <a:lnTo>
                      <a:pt x="8" y="2"/>
                    </a:lnTo>
                    <a:lnTo>
                      <a:pt x="8" y="2"/>
                    </a:lnTo>
                    <a:lnTo>
                      <a:pt x="8" y="3"/>
                    </a:lnTo>
                    <a:lnTo>
                      <a:pt x="9" y="5"/>
                    </a:lnTo>
                    <a:lnTo>
                      <a:pt x="9" y="5"/>
                    </a:lnTo>
                    <a:lnTo>
                      <a:pt x="11" y="5"/>
                    </a:lnTo>
                    <a:lnTo>
                      <a:pt x="12" y="3"/>
                    </a:lnTo>
                    <a:lnTo>
                      <a:pt x="14" y="3"/>
                    </a:lnTo>
                    <a:lnTo>
                      <a:pt x="14"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4" name="Freeform 11">
                <a:extLst>
                  <a:ext uri="{FF2B5EF4-FFF2-40B4-BE49-F238E27FC236}">
                    <a16:creationId xmlns:a16="http://schemas.microsoft.com/office/drawing/2014/main" id="{8CD43F75-827F-EAA1-2351-A082AFCFF164}"/>
                  </a:ext>
                </a:extLst>
              </p:cNvPr>
              <p:cNvSpPr>
                <a:spLocks noEditPoints="1"/>
              </p:cNvSpPr>
              <p:nvPr/>
            </p:nvSpPr>
            <p:spPr bwMode="gray">
              <a:xfrm>
                <a:off x="3437" y="784"/>
                <a:ext cx="56" cy="55"/>
              </a:xfrm>
              <a:custGeom>
                <a:avLst/>
                <a:gdLst>
                  <a:gd name="T0" fmla="*/ 36 w 56"/>
                  <a:gd name="T1" fmla="*/ 14 h 55"/>
                  <a:gd name="T2" fmla="*/ 37 w 56"/>
                  <a:gd name="T3" fmla="*/ 16 h 55"/>
                  <a:gd name="T4" fmla="*/ 53 w 56"/>
                  <a:gd name="T5" fmla="*/ 47 h 55"/>
                  <a:gd name="T6" fmla="*/ 56 w 56"/>
                  <a:gd name="T7" fmla="*/ 47 h 55"/>
                  <a:gd name="T8" fmla="*/ 51 w 56"/>
                  <a:gd name="T9" fmla="*/ 44 h 55"/>
                  <a:gd name="T10" fmla="*/ 51 w 56"/>
                  <a:gd name="T11" fmla="*/ 42 h 55"/>
                  <a:gd name="T12" fmla="*/ 54 w 56"/>
                  <a:gd name="T13" fmla="*/ 39 h 55"/>
                  <a:gd name="T14" fmla="*/ 47 w 56"/>
                  <a:gd name="T15" fmla="*/ 38 h 55"/>
                  <a:gd name="T16" fmla="*/ 45 w 56"/>
                  <a:gd name="T17" fmla="*/ 35 h 55"/>
                  <a:gd name="T18" fmla="*/ 39 w 56"/>
                  <a:gd name="T19" fmla="*/ 30 h 55"/>
                  <a:gd name="T20" fmla="*/ 39 w 56"/>
                  <a:gd name="T21" fmla="*/ 30 h 55"/>
                  <a:gd name="T22" fmla="*/ 43 w 56"/>
                  <a:gd name="T23" fmla="*/ 28 h 55"/>
                  <a:gd name="T24" fmla="*/ 45 w 56"/>
                  <a:gd name="T25" fmla="*/ 25 h 55"/>
                  <a:gd name="T26" fmla="*/ 37 w 56"/>
                  <a:gd name="T27" fmla="*/ 20 h 55"/>
                  <a:gd name="T28" fmla="*/ 34 w 56"/>
                  <a:gd name="T29" fmla="*/ 14 h 55"/>
                  <a:gd name="T30" fmla="*/ 37 w 56"/>
                  <a:gd name="T31" fmla="*/ 11 h 55"/>
                  <a:gd name="T32" fmla="*/ 37 w 56"/>
                  <a:gd name="T33" fmla="*/ 9 h 55"/>
                  <a:gd name="T34" fmla="*/ 34 w 56"/>
                  <a:gd name="T35" fmla="*/ 6 h 55"/>
                  <a:gd name="T36" fmla="*/ 29 w 56"/>
                  <a:gd name="T37" fmla="*/ 5 h 55"/>
                  <a:gd name="T38" fmla="*/ 31 w 56"/>
                  <a:gd name="T39" fmla="*/ 3 h 55"/>
                  <a:gd name="T40" fmla="*/ 31 w 56"/>
                  <a:gd name="T41" fmla="*/ 2 h 55"/>
                  <a:gd name="T42" fmla="*/ 28 w 56"/>
                  <a:gd name="T43" fmla="*/ 0 h 55"/>
                  <a:gd name="T44" fmla="*/ 28 w 56"/>
                  <a:gd name="T45" fmla="*/ 0 h 55"/>
                  <a:gd name="T46" fmla="*/ 25 w 56"/>
                  <a:gd name="T47" fmla="*/ 2 h 55"/>
                  <a:gd name="T48" fmla="*/ 18 w 56"/>
                  <a:gd name="T49" fmla="*/ 2 h 55"/>
                  <a:gd name="T50" fmla="*/ 12 w 56"/>
                  <a:gd name="T51" fmla="*/ 2 h 55"/>
                  <a:gd name="T52" fmla="*/ 4 w 56"/>
                  <a:gd name="T53" fmla="*/ 3 h 55"/>
                  <a:gd name="T54" fmla="*/ 1 w 56"/>
                  <a:gd name="T55" fmla="*/ 5 h 55"/>
                  <a:gd name="T56" fmla="*/ 4 w 56"/>
                  <a:gd name="T57" fmla="*/ 8 h 55"/>
                  <a:gd name="T58" fmla="*/ 6 w 56"/>
                  <a:gd name="T59" fmla="*/ 14 h 55"/>
                  <a:gd name="T60" fmla="*/ 3 w 56"/>
                  <a:gd name="T61" fmla="*/ 19 h 55"/>
                  <a:gd name="T62" fmla="*/ 4 w 56"/>
                  <a:gd name="T63" fmla="*/ 24 h 55"/>
                  <a:gd name="T64" fmla="*/ 4 w 56"/>
                  <a:gd name="T65" fmla="*/ 27 h 55"/>
                  <a:gd name="T66" fmla="*/ 11 w 56"/>
                  <a:gd name="T67" fmla="*/ 30 h 55"/>
                  <a:gd name="T68" fmla="*/ 17 w 56"/>
                  <a:gd name="T69" fmla="*/ 30 h 55"/>
                  <a:gd name="T70" fmla="*/ 23 w 56"/>
                  <a:gd name="T71" fmla="*/ 36 h 55"/>
                  <a:gd name="T72" fmla="*/ 25 w 56"/>
                  <a:gd name="T73" fmla="*/ 36 h 55"/>
                  <a:gd name="T74" fmla="*/ 29 w 56"/>
                  <a:gd name="T75" fmla="*/ 36 h 55"/>
                  <a:gd name="T76" fmla="*/ 31 w 56"/>
                  <a:gd name="T77" fmla="*/ 39 h 55"/>
                  <a:gd name="T78" fmla="*/ 32 w 56"/>
                  <a:gd name="T79" fmla="*/ 39 h 55"/>
                  <a:gd name="T80" fmla="*/ 39 w 56"/>
                  <a:gd name="T81" fmla="*/ 39 h 55"/>
                  <a:gd name="T82" fmla="*/ 42 w 56"/>
                  <a:gd name="T83" fmla="*/ 39 h 55"/>
                  <a:gd name="T84" fmla="*/ 42 w 56"/>
                  <a:gd name="T85" fmla="*/ 44 h 55"/>
                  <a:gd name="T86" fmla="*/ 43 w 56"/>
                  <a:gd name="T87" fmla="*/ 45 h 55"/>
                  <a:gd name="T88" fmla="*/ 47 w 56"/>
                  <a:gd name="T89" fmla="*/ 52 h 55"/>
                  <a:gd name="T90" fmla="*/ 48 w 56"/>
                  <a:gd name="T91" fmla="*/ 55 h 55"/>
                  <a:gd name="T92" fmla="*/ 54 w 56"/>
                  <a:gd name="T93" fmla="*/ 55 h 55"/>
                  <a:gd name="T94" fmla="*/ 54 w 56"/>
                  <a:gd name="T95" fmla="*/ 50 h 55"/>
                  <a:gd name="T96" fmla="*/ 53 w 56"/>
                  <a:gd name="T97" fmla="*/ 47 h 55"/>
                  <a:gd name="T98" fmla="*/ 28 w 56"/>
                  <a:gd name="T99" fmla="*/ 5 h 55"/>
                  <a:gd name="T100" fmla="*/ 28 w 56"/>
                  <a:gd name="T101" fmla="*/ 6 h 55"/>
                  <a:gd name="T102" fmla="*/ 28 w 56"/>
                  <a:gd name="T103" fmla="*/ 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 h="55">
                    <a:moveTo>
                      <a:pt x="37" y="14"/>
                    </a:moveTo>
                    <a:lnTo>
                      <a:pt x="37" y="14"/>
                    </a:lnTo>
                    <a:lnTo>
                      <a:pt x="36" y="14"/>
                    </a:lnTo>
                    <a:lnTo>
                      <a:pt x="36" y="16"/>
                    </a:lnTo>
                    <a:lnTo>
                      <a:pt x="37" y="16"/>
                    </a:lnTo>
                    <a:lnTo>
                      <a:pt x="37" y="16"/>
                    </a:lnTo>
                    <a:lnTo>
                      <a:pt x="37" y="14"/>
                    </a:lnTo>
                    <a:lnTo>
                      <a:pt x="37" y="14"/>
                    </a:lnTo>
                    <a:close/>
                    <a:moveTo>
                      <a:pt x="53" y="47"/>
                    </a:moveTo>
                    <a:lnTo>
                      <a:pt x="54" y="47"/>
                    </a:lnTo>
                    <a:lnTo>
                      <a:pt x="54" y="47"/>
                    </a:lnTo>
                    <a:lnTo>
                      <a:pt x="56" y="47"/>
                    </a:lnTo>
                    <a:lnTo>
                      <a:pt x="54" y="45"/>
                    </a:lnTo>
                    <a:lnTo>
                      <a:pt x="53" y="44"/>
                    </a:lnTo>
                    <a:lnTo>
                      <a:pt x="51" y="44"/>
                    </a:lnTo>
                    <a:lnTo>
                      <a:pt x="51" y="42"/>
                    </a:lnTo>
                    <a:lnTo>
                      <a:pt x="51" y="42"/>
                    </a:lnTo>
                    <a:lnTo>
                      <a:pt x="51" y="42"/>
                    </a:lnTo>
                    <a:lnTo>
                      <a:pt x="54" y="41"/>
                    </a:lnTo>
                    <a:lnTo>
                      <a:pt x="54" y="41"/>
                    </a:lnTo>
                    <a:lnTo>
                      <a:pt x="54" y="39"/>
                    </a:lnTo>
                    <a:lnTo>
                      <a:pt x="51" y="38"/>
                    </a:lnTo>
                    <a:lnTo>
                      <a:pt x="48" y="39"/>
                    </a:lnTo>
                    <a:lnTo>
                      <a:pt x="47" y="38"/>
                    </a:lnTo>
                    <a:lnTo>
                      <a:pt x="47" y="38"/>
                    </a:lnTo>
                    <a:lnTo>
                      <a:pt x="45" y="36"/>
                    </a:lnTo>
                    <a:lnTo>
                      <a:pt x="45" y="35"/>
                    </a:lnTo>
                    <a:lnTo>
                      <a:pt x="43" y="35"/>
                    </a:lnTo>
                    <a:lnTo>
                      <a:pt x="42" y="31"/>
                    </a:lnTo>
                    <a:lnTo>
                      <a:pt x="39" y="30"/>
                    </a:lnTo>
                    <a:lnTo>
                      <a:pt x="37" y="30"/>
                    </a:lnTo>
                    <a:lnTo>
                      <a:pt x="37" y="30"/>
                    </a:lnTo>
                    <a:lnTo>
                      <a:pt x="39" y="30"/>
                    </a:lnTo>
                    <a:lnTo>
                      <a:pt x="39" y="30"/>
                    </a:lnTo>
                    <a:lnTo>
                      <a:pt x="43" y="30"/>
                    </a:lnTo>
                    <a:lnTo>
                      <a:pt x="43" y="28"/>
                    </a:lnTo>
                    <a:lnTo>
                      <a:pt x="43" y="28"/>
                    </a:lnTo>
                    <a:lnTo>
                      <a:pt x="43" y="27"/>
                    </a:lnTo>
                    <a:lnTo>
                      <a:pt x="45" y="25"/>
                    </a:lnTo>
                    <a:lnTo>
                      <a:pt x="45" y="24"/>
                    </a:lnTo>
                    <a:lnTo>
                      <a:pt x="40" y="22"/>
                    </a:lnTo>
                    <a:lnTo>
                      <a:pt x="37" y="20"/>
                    </a:lnTo>
                    <a:lnTo>
                      <a:pt x="36" y="17"/>
                    </a:lnTo>
                    <a:lnTo>
                      <a:pt x="34" y="14"/>
                    </a:lnTo>
                    <a:lnTo>
                      <a:pt x="34" y="14"/>
                    </a:lnTo>
                    <a:lnTo>
                      <a:pt x="34" y="14"/>
                    </a:lnTo>
                    <a:lnTo>
                      <a:pt x="34" y="13"/>
                    </a:lnTo>
                    <a:lnTo>
                      <a:pt x="37" y="11"/>
                    </a:lnTo>
                    <a:lnTo>
                      <a:pt x="39" y="11"/>
                    </a:lnTo>
                    <a:lnTo>
                      <a:pt x="39" y="9"/>
                    </a:lnTo>
                    <a:lnTo>
                      <a:pt x="37" y="9"/>
                    </a:lnTo>
                    <a:lnTo>
                      <a:pt x="36" y="8"/>
                    </a:lnTo>
                    <a:lnTo>
                      <a:pt x="36" y="6"/>
                    </a:lnTo>
                    <a:lnTo>
                      <a:pt x="34" y="6"/>
                    </a:lnTo>
                    <a:lnTo>
                      <a:pt x="32" y="6"/>
                    </a:lnTo>
                    <a:lnTo>
                      <a:pt x="29" y="5"/>
                    </a:lnTo>
                    <a:lnTo>
                      <a:pt x="29" y="5"/>
                    </a:lnTo>
                    <a:lnTo>
                      <a:pt x="29" y="5"/>
                    </a:lnTo>
                    <a:lnTo>
                      <a:pt x="29" y="5"/>
                    </a:lnTo>
                    <a:lnTo>
                      <a:pt x="31" y="3"/>
                    </a:lnTo>
                    <a:lnTo>
                      <a:pt x="31" y="3"/>
                    </a:lnTo>
                    <a:lnTo>
                      <a:pt x="31" y="3"/>
                    </a:lnTo>
                    <a:lnTo>
                      <a:pt x="31" y="2"/>
                    </a:lnTo>
                    <a:lnTo>
                      <a:pt x="29" y="2"/>
                    </a:lnTo>
                    <a:lnTo>
                      <a:pt x="29" y="2"/>
                    </a:lnTo>
                    <a:lnTo>
                      <a:pt x="28" y="0"/>
                    </a:lnTo>
                    <a:lnTo>
                      <a:pt x="28" y="0"/>
                    </a:lnTo>
                    <a:lnTo>
                      <a:pt x="28" y="0"/>
                    </a:lnTo>
                    <a:lnTo>
                      <a:pt x="28" y="0"/>
                    </a:lnTo>
                    <a:lnTo>
                      <a:pt x="25" y="0"/>
                    </a:lnTo>
                    <a:lnTo>
                      <a:pt x="25" y="0"/>
                    </a:lnTo>
                    <a:lnTo>
                      <a:pt x="25" y="2"/>
                    </a:lnTo>
                    <a:lnTo>
                      <a:pt x="25" y="2"/>
                    </a:lnTo>
                    <a:lnTo>
                      <a:pt x="20" y="2"/>
                    </a:lnTo>
                    <a:lnTo>
                      <a:pt x="18" y="2"/>
                    </a:lnTo>
                    <a:lnTo>
                      <a:pt x="14" y="2"/>
                    </a:lnTo>
                    <a:lnTo>
                      <a:pt x="12" y="2"/>
                    </a:lnTo>
                    <a:lnTo>
                      <a:pt x="12" y="2"/>
                    </a:lnTo>
                    <a:lnTo>
                      <a:pt x="9" y="3"/>
                    </a:lnTo>
                    <a:lnTo>
                      <a:pt x="6" y="3"/>
                    </a:lnTo>
                    <a:lnTo>
                      <a:pt x="4" y="3"/>
                    </a:lnTo>
                    <a:lnTo>
                      <a:pt x="1" y="3"/>
                    </a:lnTo>
                    <a:lnTo>
                      <a:pt x="0" y="3"/>
                    </a:lnTo>
                    <a:lnTo>
                      <a:pt x="1" y="5"/>
                    </a:lnTo>
                    <a:lnTo>
                      <a:pt x="1" y="6"/>
                    </a:lnTo>
                    <a:lnTo>
                      <a:pt x="3" y="8"/>
                    </a:lnTo>
                    <a:lnTo>
                      <a:pt x="4" y="8"/>
                    </a:lnTo>
                    <a:lnTo>
                      <a:pt x="4" y="11"/>
                    </a:lnTo>
                    <a:lnTo>
                      <a:pt x="6" y="13"/>
                    </a:lnTo>
                    <a:lnTo>
                      <a:pt x="6" y="14"/>
                    </a:lnTo>
                    <a:lnTo>
                      <a:pt x="4" y="16"/>
                    </a:lnTo>
                    <a:lnTo>
                      <a:pt x="3" y="19"/>
                    </a:lnTo>
                    <a:lnTo>
                      <a:pt x="3" y="19"/>
                    </a:lnTo>
                    <a:lnTo>
                      <a:pt x="3" y="20"/>
                    </a:lnTo>
                    <a:lnTo>
                      <a:pt x="3" y="22"/>
                    </a:lnTo>
                    <a:lnTo>
                      <a:pt x="4" y="24"/>
                    </a:lnTo>
                    <a:lnTo>
                      <a:pt x="4" y="25"/>
                    </a:lnTo>
                    <a:lnTo>
                      <a:pt x="4" y="27"/>
                    </a:lnTo>
                    <a:lnTo>
                      <a:pt x="4" y="27"/>
                    </a:lnTo>
                    <a:lnTo>
                      <a:pt x="6" y="28"/>
                    </a:lnTo>
                    <a:lnTo>
                      <a:pt x="9" y="28"/>
                    </a:lnTo>
                    <a:lnTo>
                      <a:pt x="11" y="30"/>
                    </a:lnTo>
                    <a:lnTo>
                      <a:pt x="14" y="28"/>
                    </a:lnTo>
                    <a:lnTo>
                      <a:pt x="15" y="28"/>
                    </a:lnTo>
                    <a:lnTo>
                      <a:pt x="17" y="30"/>
                    </a:lnTo>
                    <a:lnTo>
                      <a:pt x="20" y="31"/>
                    </a:lnTo>
                    <a:lnTo>
                      <a:pt x="23" y="35"/>
                    </a:lnTo>
                    <a:lnTo>
                      <a:pt x="23" y="36"/>
                    </a:lnTo>
                    <a:lnTo>
                      <a:pt x="23" y="36"/>
                    </a:lnTo>
                    <a:lnTo>
                      <a:pt x="23" y="36"/>
                    </a:lnTo>
                    <a:lnTo>
                      <a:pt x="25" y="36"/>
                    </a:lnTo>
                    <a:lnTo>
                      <a:pt x="28" y="35"/>
                    </a:lnTo>
                    <a:lnTo>
                      <a:pt x="29" y="36"/>
                    </a:lnTo>
                    <a:lnTo>
                      <a:pt x="29" y="36"/>
                    </a:lnTo>
                    <a:lnTo>
                      <a:pt x="31" y="38"/>
                    </a:lnTo>
                    <a:lnTo>
                      <a:pt x="31" y="39"/>
                    </a:lnTo>
                    <a:lnTo>
                      <a:pt x="31" y="39"/>
                    </a:lnTo>
                    <a:lnTo>
                      <a:pt x="32" y="39"/>
                    </a:lnTo>
                    <a:lnTo>
                      <a:pt x="32" y="39"/>
                    </a:lnTo>
                    <a:lnTo>
                      <a:pt x="32" y="39"/>
                    </a:lnTo>
                    <a:lnTo>
                      <a:pt x="34" y="41"/>
                    </a:lnTo>
                    <a:lnTo>
                      <a:pt x="36" y="41"/>
                    </a:lnTo>
                    <a:lnTo>
                      <a:pt x="39" y="39"/>
                    </a:lnTo>
                    <a:lnTo>
                      <a:pt x="40" y="39"/>
                    </a:lnTo>
                    <a:lnTo>
                      <a:pt x="40" y="39"/>
                    </a:lnTo>
                    <a:lnTo>
                      <a:pt x="42" y="39"/>
                    </a:lnTo>
                    <a:lnTo>
                      <a:pt x="42" y="41"/>
                    </a:lnTo>
                    <a:lnTo>
                      <a:pt x="42" y="42"/>
                    </a:lnTo>
                    <a:lnTo>
                      <a:pt x="42" y="44"/>
                    </a:lnTo>
                    <a:lnTo>
                      <a:pt x="42" y="44"/>
                    </a:lnTo>
                    <a:lnTo>
                      <a:pt x="42" y="44"/>
                    </a:lnTo>
                    <a:lnTo>
                      <a:pt x="43" y="45"/>
                    </a:lnTo>
                    <a:lnTo>
                      <a:pt x="45" y="47"/>
                    </a:lnTo>
                    <a:lnTo>
                      <a:pt x="45" y="49"/>
                    </a:lnTo>
                    <a:lnTo>
                      <a:pt x="47" y="52"/>
                    </a:lnTo>
                    <a:lnTo>
                      <a:pt x="47" y="53"/>
                    </a:lnTo>
                    <a:lnTo>
                      <a:pt x="47" y="55"/>
                    </a:lnTo>
                    <a:lnTo>
                      <a:pt x="48" y="55"/>
                    </a:lnTo>
                    <a:lnTo>
                      <a:pt x="51" y="53"/>
                    </a:lnTo>
                    <a:lnTo>
                      <a:pt x="54" y="55"/>
                    </a:lnTo>
                    <a:lnTo>
                      <a:pt x="54" y="55"/>
                    </a:lnTo>
                    <a:lnTo>
                      <a:pt x="54" y="55"/>
                    </a:lnTo>
                    <a:lnTo>
                      <a:pt x="54" y="52"/>
                    </a:lnTo>
                    <a:lnTo>
                      <a:pt x="54" y="50"/>
                    </a:lnTo>
                    <a:lnTo>
                      <a:pt x="54" y="50"/>
                    </a:lnTo>
                    <a:lnTo>
                      <a:pt x="53" y="49"/>
                    </a:lnTo>
                    <a:lnTo>
                      <a:pt x="53" y="47"/>
                    </a:lnTo>
                    <a:lnTo>
                      <a:pt x="53" y="47"/>
                    </a:lnTo>
                    <a:close/>
                    <a:moveTo>
                      <a:pt x="28" y="5"/>
                    </a:moveTo>
                    <a:lnTo>
                      <a:pt x="28" y="5"/>
                    </a:lnTo>
                    <a:lnTo>
                      <a:pt x="28" y="5"/>
                    </a:lnTo>
                    <a:lnTo>
                      <a:pt x="28" y="5"/>
                    </a:lnTo>
                    <a:lnTo>
                      <a:pt x="28" y="6"/>
                    </a:lnTo>
                    <a:lnTo>
                      <a:pt x="28" y="6"/>
                    </a:lnTo>
                    <a:lnTo>
                      <a:pt x="28" y="6"/>
                    </a:lnTo>
                    <a:lnTo>
                      <a:pt x="28" y="5"/>
                    </a:lnTo>
                    <a:lnTo>
                      <a:pt x="28"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5" name="Freeform 12">
                <a:extLst>
                  <a:ext uri="{FF2B5EF4-FFF2-40B4-BE49-F238E27FC236}">
                    <a16:creationId xmlns:a16="http://schemas.microsoft.com/office/drawing/2014/main" id="{98D78DCF-2D7C-36E7-5F8F-3B3A76021CA8}"/>
                  </a:ext>
                </a:extLst>
              </p:cNvPr>
              <p:cNvSpPr>
                <a:spLocks noEditPoints="1"/>
              </p:cNvSpPr>
              <p:nvPr/>
            </p:nvSpPr>
            <p:spPr bwMode="gray">
              <a:xfrm>
                <a:off x="2882" y="1654"/>
                <a:ext cx="215" cy="243"/>
              </a:xfrm>
              <a:custGeom>
                <a:avLst/>
                <a:gdLst>
                  <a:gd name="T0" fmla="*/ 212 w 215"/>
                  <a:gd name="T1" fmla="*/ 114 h 243"/>
                  <a:gd name="T2" fmla="*/ 206 w 215"/>
                  <a:gd name="T3" fmla="*/ 116 h 243"/>
                  <a:gd name="T4" fmla="*/ 190 w 215"/>
                  <a:gd name="T5" fmla="*/ 117 h 243"/>
                  <a:gd name="T6" fmla="*/ 184 w 215"/>
                  <a:gd name="T7" fmla="*/ 119 h 243"/>
                  <a:gd name="T8" fmla="*/ 184 w 215"/>
                  <a:gd name="T9" fmla="*/ 111 h 243"/>
                  <a:gd name="T10" fmla="*/ 183 w 215"/>
                  <a:gd name="T11" fmla="*/ 99 h 243"/>
                  <a:gd name="T12" fmla="*/ 176 w 215"/>
                  <a:gd name="T13" fmla="*/ 78 h 243"/>
                  <a:gd name="T14" fmla="*/ 176 w 215"/>
                  <a:gd name="T15" fmla="*/ 53 h 243"/>
                  <a:gd name="T16" fmla="*/ 165 w 215"/>
                  <a:gd name="T17" fmla="*/ 50 h 243"/>
                  <a:gd name="T18" fmla="*/ 154 w 215"/>
                  <a:gd name="T19" fmla="*/ 44 h 243"/>
                  <a:gd name="T20" fmla="*/ 142 w 215"/>
                  <a:gd name="T21" fmla="*/ 46 h 243"/>
                  <a:gd name="T22" fmla="*/ 134 w 215"/>
                  <a:gd name="T23" fmla="*/ 55 h 243"/>
                  <a:gd name="T24" fmla="*/ 125 w 215"/>
                  <a:gd name="T25" fmla="*/ 63 h 243"/>
                  <a:gd name="T26" fmla="*/ 109 w 215"/>
                  <a:gd name="T27" fmla="*/ 64 h 243"/>
                  <a:gd name="T28" fmla="*/ 101 w 215"/>
                  <a:gd name="T29" fmla="*/ 64 h 243"/>
                  <a:gd name="T30" fmla="*/ 90 w 215"/>
                  <a:gd name="T31" fmla="*/ 50 h 243"/>
                  <a:gd name="T32" fmla="*/ 86 w 215"/>
                  <a:gd name="T33" fmla="*/ 36 h 243"/>
                  <a:gd name="T34" fmla="*/ 84 w 215"/>
                  <a:gd name="T35" fmla="*/ 28 h 243"/>
                  <a:gd name="T36" fmla="*/ 57 w 215"/>
                  <a:gd name="T37" fmla="*/ 25 h 243"/>
                  <a:gd name="T38" fmla="*/ 40 w 215"/>
                  <a:gd name="T39" fmla="*/ 25 h 243"/>
                  <a:gd name="T40" fmla="*/ 26 w 215"/>
                  <a:gd name="T41" fmla="*/ 25 h 243"/>
                  <a:gd name="T42" fmla="*/ 11 w 215"/>
                  <a:gd name="T43" fmla="*/ 30 h 243"/>
                  <a:gd name="T44" fmla="*/ 18 w 215"/>
                  <a:gd name="T45" fmla="*/ 44 h 243"/>
                  <a:gd name="T46" fmla="*/ 28 w 215"/>
                  <a:gd name="T47" fmla="*/ 74 h 243"/>
                  <a:gd name="T48" fmla="*/ 21 w 215"/>
                  <a:gd name="T49" fmla="*/ 80 h 243"/>
                  <a:gd name="T50" fmla="*/ 25 w 215"/>
                  <a:gd name="T51" fmla="*/ 92 h 243"/>
                  <a:gd name="T52" fmla="*/ 34 w 215"/>
                  <a:gd name="T53" fmla="*/ 110 h 243"/>
                  <a:gd name="T54" fmla="*/ 32 w 215"/>
                  <a:gd name="T55" fmla="*/ 136 h 243"/>
                  <a:gd name="T56" fmla="*/ 14 w 215"/>
                  <a:gd name="T57" fmla="*/ 160 h 243"/>
                  <a:gd name="T58" fmla="*/ 3 w 215"/>
                  <a:gd name="T59" fmla="*/ 199 h 243"/>
                  <a:gd name="T60" fmla="*/ 0 w 215"/>
                  <a:gd name="T61" fmla="*/ 215 h 243"/>
                  <a:gd name="T62" fmla="*/ 1 w 215"/>
                  <a:gd name="T63" fmla="*/ 229 h 243"/>
                  <a:gd name="T64" fmla="*/ 11 w 215"/>
                  <a:gd name="T65" fmla="*/ 229 h 243"/>
                  <a:gd name="T66" fmla="*/ 20 w 215"/>
                  <a:gd name="T67" fmla="*/ 224 h 243"/>
                  <a:gd name="T68" fmla="*/ 31 w 215"/>
                  <a:gd name="T69" fmla="*/ 227 h 243"/>
                  <a:gd name="T70" fmla="*/ 39 w 215"/>
                  <a:gd name="T71" fmla="*/ 232 h 243"/>
                  <a:gd name="T72" fmla="*/ 82 w 215"/>
                  <a:gd name="T73" fmla="*/ 232 h 243"/>
                  <a:gd name="T74" fmla="*/ 117 w 215"/>
                  <a:gd name="T75" fmla="*/ 232 h 243"/>
                  <a:gd name="T76" fmla="*/ 128 w 215"/>
                  <a:gd name="T77" fmla="*/ 240 h 243"/>
                  <a:gd name="T78" fmla="*/ 151 w 215"/>
                  <a:gd name="T79" fmla="*/ 241 h 243"/>
                  <a:gd name="T80" fmla="*/ 164 w 215"/>
                  <a:gd name="T81" fmla="*/ 241 h 243"/>
                  <a:gd name="T82" fmla="*/ 184 w 215"/>
                  <a:gd name="T83" fmla="*/ 240 h 243"/>
                  <a:gd name="T84" fmla="*/ 192 w 215"/>
                  <a:gd name="T85" fmla="*/ 225 h 243"/>
                  <a:gd name="T86" fmla="*/ 179 w 215"/>
                  <a:gd name="T87" fmla="*/ 211 h 243"/>
                  <a:gd name="T88" fmla="*/ 212 w 215"/>
                  <a:gd name="T89" fmla="*/ 149 h 243"/>
                  <a:gd name="T90" fmla="*/ 214 w 215"/>
                  <a:gd name="T91" fmla="*/ 139 h 243"/>
                  <a:gd name="T92" fmla="*/ 214 w 215"/>
                  <a:gd name="T93" fmla="*/ 127 h 243"/>
                  <a:gd name="T94" fmla="*/ 20 w 215"/>
                  <a:gd name="T95" fmla="*/ 2 h 243"/>
                  <a:gd name="T96" fmla="*/ 15 w 215"/>
                  <a:gd name="T97" fmla="*/ 2 h 243"/>
                  <a:gd name="T98" fmla="*/ 7 w 215"/>
                  <a:gd name="T99" fmla="*/ 6 h 243"/>
                  <a:gd name="T100" fmla="*/ 6 w 215"/>
                  <a:gd name="T101" fmla="*/ 16 h 243"/>
                  <a:gd name="T102" fmla="*/ 7 w 215"/>
                  <a:gd name="T103" fmla="*/ 24 h 243"/>
                  <a:gd name="T104" fmla="*/ 12 w 215"/>
                  <a:gd name="T105" fmla="*/ 13 h 243"/>
                  <a:gd name="T106" fmla="*/ 15 w 215"/>
                  <a:gd name="T107" fmla="*/ 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5" h="243">
                    <a:moveTo>
                      <a:pt x="215" y="122"/>
                    </a:moveTo>
                    <a:lnTo>
                      <a:pt x="215" y="122"/>
                    </a:lnTo>
                    <a:lnTo>
                      <a:pt x="214" y="119"/>
                    </a:lnTo>
                    <a:lnTo>
                      <a:pt x="214" y="116"/>
                    </a:lnTo>
                    <a:lnTo>
                      <a:pt x="214" y="114"/>
                    </a:lnTo>
                    <a:lnTo>
                      <a:pt x="212" y="114"/>
                    </a:lnTo>
                    <a:lnTo>
                      <a:pt x="212" y="114"/>
                    </a:lnTo>
                    <a:lnTo>
                      <a:pt x="212" y="116"/>
                    </a:lnTo>
                    <a:lnTo>
                      <a:pt x="211" y="116"/>
                    </a:lnTo>
                    <a:lnTo>
                      <a:pt x="209" y="116"/>
                    </a:lnTo>
                    <a:lnTo>
                      <a:pt x="209" y="116"/>
                    </a:lnTo>
                    <a:lnTo>
                      <a:pt x="206" y="116"/>
                    </a:lnTo>
                    <a:lnTo>
                      <a:pt x="204" y="116"/>
                    </a:lnTo>
                    <a:lnTo>
                      <a:pt x="203" y="116"/>
                    </a:lnTo>
                    <a:lnTo>
                      <a:pt x="200" y="117"/>
                    </a:lnTo>
                    <a:lnTo>
                      <a:pt x="198" y="117"/>
                    </a:lnTo>
                    <a:lnTo>
                      <a:pt x="193" y="117"/>
                    </a:lnTo>
                    <a:lnTo>
                      <a:pt x="190" y="117"/>
                    </a:lnTo>
                    <a:lnTo>
                      <a:pt x="189" y="117"/>
                    </a:lnTo>
                    <a:lnTo>
                      <a:pt x="187" y="117"/>
                    </a:lnTo>
                    <a:lnTo>
                      <a:pt x="186" y="119"/>
                    </a:lnTo>
                    <a:lnTo>
                      <a:pt x="184" y="119"/>
                    </a:lnTo>
                    <a:lnTo>
                      <a:pt x="184" y="119"/>
                    </a:lnTo>
                    <a:lnTo>
                      <a:pt x="184" y="119"/>
                    </a:lnTo>
                    <a:lnTo>
                      <a:pt x="183" y="119"/>
                    </a:lnTo>
                    <a:lnTo>
                      <a:pt x="183" y="116"/>
                    </a:lnTo>
                    <a:lnTo>
                      <a:pt x="183" y="114"/>
                    </a:lnTo>
                    <a:lnTo>
                      <a:pt x="183" y="113"/>
                    </a:lnTo>
                    <a:lnTo>
                      <a:pt x="184" y="113"/>
                    </a:lnTo>
                    <a:lnTo>
                      <a:pt x="184" y="111"/>
                    </a:lnTo>
                    <a:lnTo>
                      <a:pt x="184" y="111"/>
                    </a:lnTo>
                    <a:lnTo>
                      <a:pt x="184" y="108"/>
                    </a:lnTo>
                    <a:lnTo>
                      <a:pt x="184" y="107"/>
                    </a:lnTo>
                    <a:lnTo>
                      <a:pt x="184" y="105"/>
                    </a:lnTo>
                    <a:lnTo>
                      <a:pt x="184" y="103"/>
                    </a:lnTo>
                    <a:lnTo>
                      <a:pt x="183" y="99"/>
                    </a:lnTo>
                    <a:lnTo>
                      <a:pt x="181" y="96"/>
                    </a:lnTo>
                    <a:lnTo>
                      <a:pt x="178" y="94"/>
                    </a:lnTo>
                    <a:lnTo>
                      <a:pt x="176" y="91"/>
                    </a:lnTo>
                    <a:lnTo>
                      <a:pt x="176" y="89"/>
                    </a:lnTo>
                    <a:lnTo>
                      <a:pt x="176" y="83"/>
                    </a:lnTo>
                    <a:lnTo>
                      <a:pt x="176" y="78"/>
                    </a:lnTo>
                    <a:lnTo>
                      <a:pt x="178" y="75"/>
                    </a:lnTo>
                    <a:lnTo>
                      <a:pt x="178" y="69"/>
                    </a:lnTo>
                    <a:lnTo>
                      <a:pt x="176" y="64"/>
                    </a:lnTo>
                    <a:lnTo>
                      <a:pt x="175" y="61"/>
                    </a:lnTo>
                    <a:lnTo>
                      <a:pt x="176" y="56"/>
                    </a:lnTo>
                    <a:lnTo>
                      <a:pt x="176" y="53"/>
                    </a:lnTo>
                    <a:lnTo>
                      <a:pt x="176" y="52"/>
                    </a:lnTo>
                    <a:lnTo>
                      <a:pt x="176" y="52"/>
                    </a:lnTo>
                    <a:lnTo>
                      <a:pt x="175" y="50"/>
                    </a:lnTo>
                    <a:lnTo>
                      <a:pt x="175" y="50"/>
                    </a:lnTo>
                    <a:lnTo>
                      <a:pt x="170" y="50"/>
                    </a:lnTo>
                    <a:lnTo>
                      <a:pt x="165" y="50"/>
                    </a:lnTo>
                    <a:lnTo>
                      <a:pt x="161" y="50"/>
                    </a:lnTo>
                    <a:lnTo>
                      <a:pt x="154" y="50"/>
                    </a:lnTo>
                    <a:lnTo>
                      <a:pt x="154" y="50"/>
                    </a:lnTo>
                    <a:lnTo>
                      <a:pt x="153" y="49"/>
                    </a:lnTo>
                    <a:lnTo>
                      <a:pt x="153" y="47"/>
                    </a:lnTo>
                    <a:lnTo>
                      <a:pt x="154" y="44"/>
                    </a:lnTo>
                    <a:lnTo>
                      <a:pt x="154" y="44"/>
                    </a:lnTo>
                    <a:lnTo>
                      <a:pt x="154" y="44"/>
                    </a:lnTo>
                    <a:lnTo>
                      <a:pt x="153" y="44"/>
                    </a:lnTo>
                    <a:lnTo>
                      <a:pt x="147" y="44"/>
                    </a:lnTo>
                    <a:lnTo>
                      <a:pt x="143" y="46"/>
                    </a:lnTo>
                    <a:lnTo>
                      <a:pt x="142" y="46"/>
                    </a:lnTo>
                    <a:lnTo>
                      <a:pt x="139" y="46"/>
                    </a:lnTo>
                    <a:lnTo>
                      <a:pt x="136" y="49"/>
                    </a:lnTo>
                    <a:lnTo>
                      <a:pt x="136" y="50"/>
                    </a:lnTo>
                    <a:lnTo>
                      <a:pt x="136" y="52"/>
                    </a:lnTo>
                    <a:lnTo>
                      <a:pt x="134" y="53"/>
                    </a:lnTo>
                    <a:lnTo>
                      <a:pt x="134" y="55"/>
                    </a:lnTo>
                    <a:lnTo>
                      <a:pt x="132" y="56"/>
                    </a:lnTo>
                    <a:lnTo>
                      <a:pt x="132" y="58"/>
                    </a:lnTo>
                    <a:lnTo>
                      <a:pt x="132" y="63"/>
                    </a:lnTo>
                    <a:lnTo>
                      <a:pt x="129" y="63"/>
                    </a:lnTo>
                    <a:lnTo>
                      <a:pt x="125" y="63"/>
                    </a:lnTo>
                    <a:lnTo>
                      <a:pt x="125" y="63"/>
                    </a:lnTo>
                    <a:lnTo>
                      <a:pt x="120" y="61"/>
                    </a:lnTo>
                    <a:lnTo>
                      <a:pt x="118" y="61"/>
                    </a:lnTo>
                    <a:lnTo>
                      <a:pt x="117" y="63"/>
                    </a:lnTo>
                    <a:lnTo>
                      <a:pt x="115" y="63"/>
                    </a:lnTo>
                    <a:lnTo>
                      <a:pt x="112" y="63"/>
                    </a:lnTo>
                    <a:lnTo>
                      <a:pt x="109" y="64"/>
                    </a:lnTo>
                    <a:lnTo>
                      <a:pt x="109" y="64"/>
                    </a:lnTo>
                    <a:lnTo>
                      <a:pt x="107" y="64"/>
                    </a:lnTo>
                    <a:lnTo>
                      <a:pt x="104" y="64"/>
                    </a:lnTo>
                    <a:lnTo>
                      <a:pt x="103" y="64"/>
                    </a:lnTo>
                    <a:lnTo>
                      <a:pt x="101" y="64"/>
                    </a:lnTo>
                    <a:lnTo>
                      <a:pt x="101" y="64"/>
                    </a:lnTo>
                    <a:lnTo>
                      <a:pt x="98" y="61"/>
                    </a:lnTo>
                    <a:lnTo>
                      <a:pt x="95" y="56"/>
                    </a:lnTo>
                    <a:lnTo>
                      <a:pt x="93" y="53"/>
                    </a:lnTo>
                    <a:lnTo>
                      <a:pt x="93" y="53"/>
                    </a:lnTo>
                    <a:lnTo>
                      <a:pt x="92" y="52"/>
                    </a:lnTo>
                    <a:lnTo>
                      <a:pt x="90" y="50"/>
                    </a:lnTo>
                    <a:lnTo>
                      <a:pt x="90" y="49"/>
                    </a:lnTo>
                    <a:lnTo>
                      <a:pt x="90" y="47"/>
                    </a:lnTo>
                    <a:lnTo>
                      <a:pt x="90" y="44"/>
                    </a:lnTo>
                    <a:lnTo>
                      <a:pt x="89" y="41"/>
                    </a:lnTo>
                    <a:lnTo>
                      <a:pt x="87" y="39"/>
                    </a:lnTo>
                    <a:lnTo>
                      <a:pt x="86" y="36"/>
                    </a:lnTo>
                    <a:lnTo>
                      <a:pt x="86" y="35"/>
                    </a:lnTo>
                    <a:lnTo>
                      <a:pt x="86" y="31"/>
                    </a:lnTo>
                    <a:lnTo>
                      <a:pt x="86" y="31"/>
                    </a:lnTo>
                    <a:lnTo>
                      <a:pt x="86" y="30"/>
                    </a:lnTo>
                    <a:lnTo>
                      <a:pt x="84" y="28"/>
                    </a:lnTo>
                    <a:lnTo>
                      <a:pt x="84" y="28"/>
                    </a:lnTo>
                    <a:lnTo>
                      <a:pt x="82" y="27"/>
                    </a:lnTo>
                    <a:lnTo>
                      <a:pt x="81" y="27"/>
                    </a:lnTo>
                    <a:lnTo>
                      <a:pt x="79" y="25"/>
                    </a:lnTo>
                    <a:lnTo>
                      <a:pt x="68" y="25"/>
                    </a:lnTo>
                    <a:lnTo>
                      <a:pt x="64" y="25"/>
                    </a:lnTo>
                    <a:lnTo>
                      <a:pt x="57" y="25"/>
                    </a:lnTo>
                    <a:lnTo>
                      <a:pt x="51" y="25"/>
                    </a:lnTo>
                    <a:lnTo>
                      <a:pt x="51" y="25"/>
                    </a:lnTo>
                    <a:lnTo>
                      <a:pt x="50" y="25"/>
                    </a:lnTo>
                    <a:lnTo>
                      <a:pt x="45" y="27"/>
                    </a:lnTo>
                    <a:lnTo>
                      <a:pt x="42" y="25"/>
                    </a:lnTo>
                    <a:lnTo>
                      <a:pt x="40" y="25"/>
                    </a:lnTo>
                    <a:lnTo>
                      <a:pt x="39" y="25"/>
                    </a:lnTo>
                    <a:lnTo>
                      <a:pt x="34" y="25"/>
                    </a:lnTo>
                    <a:lnTo>
                      <a:pt x="32" y="25"/>
                    </a:lnTo>
                    <a:lnTo>
                      <a:pt x="28" y="25"/>
                    </a:lnTo>
                    <a:lnTo>
                      <a:pt x="26" y="25"/>
                    </a:lnTo>
                    <a:lnTo>
                      <a:pt x="26" y="25"/>
                    </a:lnTo>
                    <a:lnTo>
                      <a:pt x="25" y="25"/>
                    </a:lnTo>
                    <a:lnTo>
                      <a:pt x="23" y="25"/>
                    </a:lnTo>
                    <a:lnTo>
                      <a:pt x="21" y="27"/>
                    </a:lnTo>
                    <a:lnTo>
                      <a:pt x="17" y="28"/>
                    </a:lnTo>
                    <a:lnTo>
                      <a:pt x="14" y="28"/>
                    </a:lnTo>
                    <a:lnTo>
                      <a:pt x="11" y="30"/>
                    </a:lnTo>
                    <a:lnTo>
                      <a:pt x="9" y="30"/>
                    </a:lnTo>
                    <a:lnTo>
                      <a:pt x="9" y="30"/>
                    </a:lnTo>
                    <a:lnTo>
                      <a:pt x="9" y="31"/>
                    </a:lnTo>
                    <a:lnTo>
                      <a:pt x="11" y="35"/>
                    </a:lnTo>
                    <a:lnTo>
                      <a:pt x="12" y="38"/>
                    </a:lnTo>
                    <a:lnTo>
                      <a:pt x="18" y="44"/>
                    </a:lnTo>
                    <a:lnTo>
                      <a:pt x="18" y="50"/>
                    </a:lnTo>
                    <a:lnTo>
                      <a:pt x="23" y="60"/>
                    </a:lnTo>
                    <a:lnTo>
                      <a:pt x="28" y="69"/>
                    </a:lnTo>
                    <a:lnTo>
                      <a:pt x="28" y="71"/>
                    </a:lnTo>
                    <a:lnTo>
                      <a:pt x="28" y="72"/>
                    </a:lnTo>
                    <a:lnTo>
                      <a:pt x="28" y="74"/>
                    </a:lnTo>
                    <a:lnTo>
                      <a:pt x="28" y="75"/>
                    </a:lnTo>
                    <a:lnTo>
                      <a:pt x="21" y="81"/>
                    </a:lnTo>
                    <a:lnTo>
                      <a:pt x="21" y="80"/>
                    </a:lnTo>
                    <a:lnTo>
                      <a:pt x="23" y="80"/>
                    </a:lnTo>
                    <a:lnTo>
                      <a:pt x="23" y="78"/>
                    </a:lnTo>
                    <a:lnTo>
                      <a:pt x="21" y="80"/>
                    </a:lnTo>
                    <a:lnTo>
                      <a:pt x="21" y="80"/>
                    </a:lnTo>
                    <a:lnTo>
                      <a:pt x="21" y="81"/>
                    </a:lnTo>
                    <a:lnTo>
                      <a:pt x="23" y="85"/>
                    </a:lnTo>
                    <a:lnTo>
                      <a:pt x="23" y="88"/>
                    </a:lnTo>
                    <a:lnTo>
                      <a:pt x="25" y="91"/>
                    </a:lnTo>
                    <a:lnTo>
                      <a:pt x="25" y="92"/>
                    </a:lnTo>
                    <a:lnTo>
                      <a:pt x="26" y="96"/>
                    </a:lnTo>
                    <a:lnTo>
                      <a:pt x="26" y="99"/>
                    </a:lnTo>
                    <a:lnTo>
                      <a:pt x="29" y="103"/>
                    </a:lnTo>
                    <a:lnTo>
                      <a:pt x="31" y="107"/>
                    </a:lnTo>
                    <a:lnTo>
                      <a:pt x="32" y="108"/>
                    </a:lnTo>
                    <a:lnTo>
                      <a:pt x="34" y="110"/>
                    </a:lnTo>
                    <a:lnTo>
                      <a:pt x="34" y="111"/>
                    </a:lnTo>
                    <a:lnTo>
                      <a:pt x="36" y="114"/>
                    </a:lnTo>
                    <a:lnTo>
                      <a:pt x="36" y="117"/>
                    </a:lnTo>
                    <a:lnTo>
                      <a:pt x="36" y="125"/>
                    </a:lnTo>
                    <a:lnTo>
                      <a:pt x="36" y="130"/>
                    </a:lnTo>
                    <a:lnTo>
                      <a:pt x="32" y="136"/>
                    </a:lnTo>
                    <a:lnTo>
                      <a:pt x="31" y="139"/>
                    </a:lnTo>
                    <a:lnTo>
                      <a:pt x="28" y="143"/>
                    </a:lnTo>
                    <a:lnTo>
                      <a:pt x="25" y="146"/>
                    </a:lnTo>
                    <a:lnTo>
                      <a:pt x="21" y="147"/>
                    </a:lnTo>
                    <a:lnTo>
                      <a:pt x="20" y="152"/>
                    </a:lnTo>
                    <a:lnTo>
                      <a:pt x="14" y="160"/>
                    </a:lnTo>
                    <a:lnTo>
                      <a:pt x="12" y="166"/>
                    </a:lnTo>
                    <a:lnTo>
                      <a:pt x="11" y="171"/>
                    </a:lnTo>
                    <a:lnTo>
                      <a:pt x="9" y="182"/>
                    </a:lnTo>
                    <a:lnTo>
                      <a:pt x="4" y="193"/>
                    </a:lnTo>
                    <a:lnTo>
                      <a:pt x="4" y="197"/>
                    </a:lnTo>
                    <a:lnTo>
                      <a:pt x="3" y="199"/>
                    </a:lnTo>
                    <a:lnTo>
                      <a:pt x="1" y="200"/>
                    </a:lnTo>
                    <a:lnTo>
                      <a:pt x="1" y="202"/>
                    </a:lnTo>
                    <a:lnTo>
                      <a:pt x="0" y="204"/>
                    </a:lnTo>
                    <a:lnTo>
                      <a:pt x="0" y="205"/>
                    </a:lnTo>
                    <a:lnTo>
                      <a:pt x="0" y="205"/>
                    </a:lnTo>
                    <a:lnTo>
                      <a:pt x="0" y="215"/>
                    </a:lnTo>
                    <a:lnTo>
                      <a:pt x="0" y="219"/>
                    </a:lnTo>
                    <a:lnTo>
                      <a:pt x="0" y="222"/>
                    </a:lnTo>
                    <a:lnTo>
                      <a:pt x="0" y="229"/>
                    </a:lnTo>
                    <a:lnTo>
                      <a:pt x="0" y="229"/>
                    </a:lnTo>
                    <a:lnTo>
                      <a:pt x="0" y="229"/>
                    </a:lnTo>
                    <a:lnTo>
                      <a:pt x="1" y="229"/>
                    </a:lnTo>
                    <a:lnTo>
                      <a:pt x="4" y="227"/>
                    </a:lnTo>
                    <a:lnTo>
                      <a:pt x="6" y="227"/>
                    </a:lnTo>
                    <a:lnTo>
                      <a:pt x="6" y="227"/>
                    </a:lnTo>
                    <a:lnTo>
                      <a:pt x="7" y="229"/>
                    </a:lnTo>
                    <a:lnTo>
                      <a:pt x="9" y="229"/>
                    </a:lnTo>
                    <a:lnTo>
                      <a:pt x="11" y="229"/>
                    </a:lnTo>
                    <a:lnTo>
                      <a:pt x="14" y="229"/>
                    </a:lnTo>
                    <a:lnTo>
                      <a:pt x="14" y="229"/>
                    </a:lnTo>
                    <a:lnTo>
                      <a:pt x="15" y="227"/>
                    </a:lnTo>
                    <a:lnTo>
                      <a:pt x="17" y="225"/>
                    </a:lnTo>
                    <a:lnTo>
                      <a:pt x="18" y="225"/>
                    </a:lnTo>
                    <a:lnTo>
                      <a:pt x="20" y="224"/>
                    </a:lnTo>
                    <a:lnTo>
                      <a:pt x="23" y="224"/>
                    </a:lnTo>
                    <a:lnTo>
                      <a:pt x="25" y="224"/>
                    </a:lnTo>
                    <a:lnTo>
                      <a:pt x="26" y="224"/>
                    </a:lnTo>
                    <a:lnTo>
                      <a:pt x="28" y="224"/>
                    </a:lnTo>
                    <a:lnTo>
                      <a:pt x="29" y="225"/>
                    </a:lnTo>
                    <a:lnTo>
                      <a:pt x="31" y="227"/>
                    </a:lnTo>
                    <a:lnTo>
                      <a:pt x="34" y="229"/>
                    </a:lnTo>
                    <a:lnTo>
                      <a:pt x="36" y="230"/>
                    </a:lnTo>
                    <a:lnTo>
                      <a:pt x="37" y="230"/>
                    </a:lnTo>
                    <a:lnTo>
                      <a:pt x="37" y="232"/>
                    </a:lnTo>
                    <a:lnTo>
                      <a:pt x="37" y="232"/>
                    </a:lnTo>
                    <a:lnTo>
                      <a:pt x="39" y="232"/>
                    </a:lnTo>
                    <a:lnTo>
                      <a:pt x="39" y="232"/>
                    </a:lnTo>
                    <a:lnTo>
                      <a:pt x="39" y="232"/>
                    </a:lnTo>
                    <a:lnTo>
                      <a:pt x="42" y="232"/>
                    </a:lnTo>
                    <a:lnTo>
                      <a:pt x="46" y="232"/>
                    </a:lnTo>
                    <a:lnTo>
                      <a:pt x="76" y="232"/>
                    </a:lnTo>
                    <a:lnTo>
                      <a:pt x="82" y="232"/>
                    </a:lnTo>
                    <a:lnTo>
                      <a:pt x="106" y="232"/>
                    </a:lnTo>
                    <a:lnTo>
                      <a:pt x="111" y="232"/>
                    </a:lnTo>
                    <a:lnTo>
                      <a:pt x="115" y="232"/>
                    </a:lnTo>
                    <a:lnTo>
                      <a:pt x="117" y="232"/>
                    </a:lnTo>
                    <a:lnTo>
                      <a:pt x="117" y="232"/>
                    </a:lnTo>
                    <a:lnTo>
                      <a:pt x="117" y="232"/>
                    </a:lnTo>
                    <a:lnTo>
                      <a:pt x="117" y="232"/>
                    </a:lnTo>
                    <a:lnTo>
                      <a:pt x="118" y="235"/>
                    </a:lnTo>
                    <a:lnTo>
                      <a:pt x="122" y="236"/>
                    </a:lnTo>
                    <a:lnTo>
                      <a:pt x="123" y="238"/>
                    </a:lnTo>
                    <a:lnTo>
                      <a:pt x="126" y="240"/>
                    </a:lnTo>
                    <a:lnTo>
                      <a:pt x="128" y="240"/>
                    </a:lnTo>
                    <a:lnTo>
                      <a:pt x="129" y="240"/>
                    </a:lnTo>
                    <a:lnTo>
                      <a:pt x="132" y="240"/>
                    </a:lnTo>
                    <a:lnTo>
                      <a:pt x="137" y="240"/>
                    </a:lnTo>
                    <a:lnTo>
                      <a:pt x="142" y="240"/>
                    </a:lnTo>
                    <a:lnTo>
                      <a:pt x="148" y="240"/>
                    </a:lnTo>
                    <a:lnTo>
                      <a:pt x="151" y="241"/>
                    </a:lnTo>
                    <a:lnTo>
                      <a:pt x="153" y="241"/>
                    </a:lnTo>
                    <a:lnTo>
                      <a:pt x="154" y="243"/>
                    </a:lnTo>
                    <a:lnTo>
                      <a:pt x="157" y="243"/>
                    </a:lnTo>
                    <a:lnTo>
                      <a:pt x="157" y="243"/>
                    </a:lnTo>
                    <a:lnTo>
                      <a:pt x="159" y="243"/>
                    </a:lnTo>
                    <a:lnTo>
                      <a:pt x="164" y="241"/>
                    </a:lnTo>
                    <a:lnTo>
                      <a:pt x="167" y="241"/>
                    </a:lnTo>
                    <a:lnTo>
                      <a:pt x="168" y="243"/>
                    </a:lnTo>
                    <a:lnTo>
                      <a:pt x="168" y="243"/>
                    </a:lnTo>
                    <a:lnTo>
                      <a:pt x="175" y="241"/>
                    </a:lnTo>
                    <a:lnTo>
                      <a:pt x="178" y="241"/>
                    </a:lnTo>
                    <a:lnTo>
                      <a:pt x="184" y="240"/>
                    </a:lnTo>
                    <a:lnTo>
                      <a:pt x="190" y="238"/>
                    </a:lnTo>
                    <a:lnTo>
                      <a:pt x="198" y="236"/>
                    </a:lnTo>
                    <a:lnTo>
                      <a:pt x="203" y="236"/>
                    </a:lnTo>
                    <a:lnTo>
                      <a:pt x="200" y="233"/>
                    </a:lnTo>
                    <a:lnTo>
                      <a:pt x="195" y="229"/>
                    </a:lnTo>
                    <a:lnTo>
                      <a:pt x="192" y="225"/>
                    </a:lnTo>
                    <a:lnTo>
                      <a:pt x="189" y="222"/>
                    </a:lnTo>
                    <a:lnTo>
                      <a:pt x="187" y="221"/>
                    </a:lnTo>
                    <a:lnTo>
                      <a:pt x="184" y="219"/>
                    </a:lnTo>
                    <a:lnTo>
                      <a:pt x="183" y="218"/>
                    </a:lnTo>
                    <a:lnTo>
                      <a:pt x="181" y="216"/>
                    </a:lnTo>
                    <a:lnTo>
                      <a:pt x="179" y="211"/>
                    </a:lnTo>
                    <a:lnTo>
                      <a:pt x="179" y="205"/>
                    </a:lnTo>
                    <a:lnTo>
                      <a:pt x="179" y="152"/>
                    </a:lnTo>
                    <a:lnTo>
                      <a:pt x="212" y="152"/>
                    </a:lnTo>
                    <a:lnTo>
                      <a:pt x="214" y="152"/>
                    </a:lnTo>
                    <a:lnTo>
                      <a:pt x="214" y="150"/>
                    </a:lnTo>
                    <a:lnTo>
                      <a:pt x="212" y="149"/>
                    </a:lnTo>
                    <a:lnTo>
                      <a:pt x="212" y="149"/>
                    </a:lnTo>
                    <a:lnTo>
                      <a:pt x="212" y="147"/>
                    </a:lnTo>
                    <a:lnTo>
                      <a:pt x="212" y="146"/>
                    </a:lnTo>
                    <a:lnTo>
                      <a:pt x="214" y="144"/>
                    </a:lnTo>
                    <a:lnTo>
                      <a:pt x="214" y="141"/>
                    </a:lnTo>
                    <a:lnTo>
                      <a:pt x="214" y="139"/>
                    </a:lnTo>
                    <a:lnTo>
                      <a:pt x="214" y="136"/>
                    </a:lnTo>
                    <a:lnTo>
                      <a:pt x="214" y="133"/>
                    </a:lnTo>
                    <a:lnTo>
                      <a:pt x="214" y="132"/>
                    </a:lnTo>
                    <a:lnTo>
                      <a:pt x="214" y="128"/>
                    </a:lnTo>
                    <a:lnTo>
                      <a:pt x="214" y="127"/>
                    </a:lnTo>
                    <a:lnTo>
                      <a:pt x="214" y="127"/>
                    </a:lnTo>
                    <a:lnTo>
                      <a:pt x="214" y="125"/>
                    </a:lnTo>
                    <a:lnTo>
                      <a:pt x="215" y="124"/>
                    </a:lnTo>
                    <a:lnTo>
                      <a:pt x="215" y="124"/>
                    </a:lnTo>
                    <a:lnTo>
                      <a:pt x="215" y="122"/>
                    </a:lnTo>
                    <a:close/>
                    <a:moveTo>
                      <a:pt x="21" y="3"/>
                    </a:moveTo>
                    <a:lnTo>
                      <a:pt x="20" y="2"/>
                    </a:lnTo>
                    <a:lnTo>
                      <a:pt x="18" y="0"/>
                    </a:lnTo>
                    <a:lnTo>
                      <a:pt x="18" y="0"/>
                    </a:lnTo>
                    <a:lnTo>
                      <a:pt x="18" y="0"/>
                    </a:lnTo>
                    <a:lnTo>
                      <a:pt x="17" y="0"/>
                    </a:lnTo>
                    <a:lnTo>
                      <a:pt x="17" y="2"/>
                    </a:lnTo>
                    <a:lnTo>
                      <a:pt x="15" y="2"/>
                    </a:lnTo>
                    <a:lnTo>
                      <a:pt x="12" y="3"/>
                    </a:lnTo>
                    <a:lnTo>
                      <a:pt x="11" y="3"/>
                    </a:lnTo>
                    <a:lnTo>
                      <a:pt x="11" y="5"/>
                    </a:lnTo>
                    <a:lnTo>
                      <a:pt x="9" y="5"/>
                    </a:lnTo>
                    <a:lnTo>
                      <a:pt x="9" y="6"/>
                    </a:lnTo>
                    <a:lnTo>
                      <a:pt x="7" y="6"/>
                    </a:lnTo>
                    <a:lnTo>
                      <a:pt x="6" y="8"/>
                    </a:lnTo>
                    <a:lnTo>
                      <a:pt x="4" y="10"/>
                    </a:lnTo>
                    <a:lnTo>
                      <a:pt x="4" y="11"/>
                    </a:lnTo>
                    <a:lnTo>
                      <a:pt x="4" y="11"/>
                    </a:lnTo>
                    <a:lnTo>
                      <a:pt x="6" y="14"/>
                    </a:lnTo>
                    <a:lnTo>
                      <a:pt x="6" y="16"/>
                    </a:lnTo>
                    <a:lnTo>
                      <a:pt x="7" y="19"/>
                    </a:lnTo>
                    <a:lnTo>
                      <a:pt x="7" y="20"/>
                    </a:lnTo>
                    <a:lnTo>
                      <a:pt x="6" y="22"/>
                    </a:lnTo>
                    <a:lnTo>
                      <a:pt x="7" y="24"/>
                    </a:lnTo>
                    <a:lnTo>
                      <a:pt x="7" y="24"/>
                    </a:lnTo>
                    <a:lnTo>
                      <a:pt x="7" y="24"/>
                    </a:lnTo>
                    <a:lnTo>
                      <a:pt x="11" y="24"/>
                    </a:lnTo>
                    <a:lnTo>
                      <a:pt x="12" y="24"/>
                    </a:lnTo>
                    <a:lnTo>
                      <a:pt x="12" y="22"/>
                    </a:lnTo>
                    <a:lnTo>
                      <a:pt x="12" y="17"/>
                    </a:lnTo>
                    <a:lnTo>
                      <a:pt x="12" y="13"/>
                    </a:lnTo>
                    <a:lnTo>
                      <a:pt x="12" y="13"/>
                    </a:lnTo>
                    <a:lnTo>
                      <a:pt x="12" y="13"/>
                    </a:lnTo>
                    <a:lnTo>
                      <a:pt x="12" y="11"/>
                    </a:lnTo>
                    <a:lnTo>
                      <a:pt x="12" y="11"/>
                    </a:lnTo>
                    <a:lnTo>
                      <a:pt x="14" y="10"/>
                    </a:lnTo>
                    <a:lnTo>
                      <a:pt x="14" y="10"/>
                    </a:lnTo>
                    <a:lnTo>
                      <a:pt x="15" y="8"/>
                    </a:lnTo>
                    <a:lnTo>
                      <a:pt x="18" y="6"/>
                    </a:lnTo>
                    <a:lnTo>
                      <a:pt x="20" y="5"/>
                    </a:lnTo>
                    <a:lnTo>
                      <a:pt x="21" y="5"/>
                    </a:lnTo>
                    <a:lnTo>
                      <a:pt x="23" y="3"/>
                    </a:lnTo>
                    <a:lnTo>
                      <a:pt x="21"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6" name="Freeform 13">
                <a:extLst>
                  <a:ext uri="{FF2B5EF4-FFF2-40B4-BE49-F238E27FC236}">
                    <a16:creationId xmlns:a16="http://schemas.microsoft.com/office/drawing/2014/main" id="{A07DB497-2EDE-919E-FC43-FD54B3732B1F}"/>
                  </a:ext>
                </a:extLst>
              </p:cNvPr>
              <p:cNvSpPr>
                <a:spLocks noEditPoints="1"/>
              </p:cNvSpPr>
              <p:nvPr/>
            </p:nvSpPr>
            <p:spPr bwMode="gray">
              <a:xfrm>
                <a:off x="1384" y="1967"/>
                <a:ext cx="348" cy="767"/>
              </a:xfrm>
              <a:custGeom>
                <a:avLst/>
                <a:gdLst>
                  <a:gd name="T0" fmla="*/ 170 w 348"/>
                  <a:gd name="T1" fmla="*/ 759 h 767"/>
                  <a:gd name="T2" fmla="*/ 95 w 348"/>
                  <a:gd name="T3" fmla="*/ 715 h 767"/>
                  <a:gd name="T4" fmla="*/ 86 w 348"/>
                  <a:gd name="T5" fmla="*/ 762 h 767"/>
                  <a:gd name="T6" fmla="*/ 137 w 348"/>
                  <a:gd name="T7" fmla="*/ 764 h 767"/>
                  <a:gd name="T8" fmla="*/ 345 w 348"/>
                  <a:gd name="T9" fmla="*/ 75 h 767"/>
                  <a:gd name="T10" fmla="*/ 331 w 348"/>
                  <a:gd name="T11" fmla="*/ 86 h 767"/>
                  <a:gd name="T12" fmla="*/ 316 w 348"/>
                  <a:gd name="T13" fmla="*/ 103 h 767"/>
                  <a:gd name="T14" fmla="*/ 300 w 348"/>
                  <a:gd name="T15" fmla="*/ 111 h 767"/>
                  <a:gd name="T16" fmla="*/ 266 w 348"/>
                  <a:gd name="T17" fmla="*/ 99 h 767"/>
                  <a:gd name="T18" fmla="*/ 270 w 348"/>
                  <a:gd name="T19" fmla="*/ 85 h 767"/>
                  <a:gd name="T20" fmla="*/ 273 w 348"/>
                  <a:gd name="T21" fmla="*/ 61 h 767"/>
                  <a:gd name="T22" fmla="*/ 217 w 348"/>
                  <a:gd name="T23" fmla="*/ 33 h 767"/>
                  <a:gd name="T24" fmla="*/ 187 w 348"/>
                  <a:gd name="T25" fmla="*/ 3 h 767"/>
                  <a:gd name="T26" fmla="*/ 158 w 348"/>
                  <a:gd name="T27" fmla="*/ 8 h 767"/>
                  <a:gd name="T28" fmla="*/ 128 w 348"/>
                  <a:gd name="T29" fmla="*/ 0 h 767"/>
                  <a:gd name="T30" fmla="*/ 115 w 348"/>
                  <a:gd name="T31" fmla="*/ 22 h 767"/>
                  <a:gd name="T32" fmla="*/ 87 w 348"/>
                  <a:gd name="T33" fmla="*/ 58 h 767"/>
                  <a:gd name="T34" fmla="*/ 87 w 348"/>
                  <a:gd name="T35" fmla="*/ 88 h 767"/>
                  <a:gd name="T36" fmla="*/ 81 w 348"/>
                  <a:gd name="T37" fmla="*/ 108 h 767"/>
                  <a:gd name="T38" fmla="*/ 65 w 348"/>
                  <a:gd name="T39" fmla="*/ 141 h 767"/>
                  <a:gd name="T40" fmla="*/ 62 w 348"/>
                  <a:gd name="T41" fmla="*/ 166 h 767"/>
                  <a:gd name="T42" fmla="*/ 53 w 348"/>
                  <a:gd name="T43" fmla="*/ 185 h 767"/>
                  <a:gd name="T44" fmla="*/ 56 w 348"/>
                  <a:gd name="T45" fmla="*/ 205 h 767"/>
                  <a:gd name="T46" fmla="*/ 65 w 348"/>
                  <a:gd name="T47" fmla="*/ 227 h 767"/>
                  <a:gd name="T48" fmla="*/ 59 w 348"/>
                  <a:gd name="T49" fmla="*/ 254 h 767"/>
                  <a:gd name="T50" fmla="*/ 54 w 348"/>
                  <a:gd name="T51" fmla="*/ 282 h 767"/>
                  <a:gd name="T52" fmla="*/ 42 w 348"/>
                  <a:gd name="T53" fmla="*/ 301 h 767"/>
                  <a:gd name="T54" fmla="*/ 47 w 348"/>
                  <a:gd name="T55" fmla="*/ 340 h 767"/>
                  <a:gd name="T56" fmla="*/ 36 w 348"/>
                  <a:gd name="T57" fmla="*/ 365 h 767"/>
                  <a:gd name="T58" fmla="*/ 33 w 348"/>
                  <a:gd name="T59" fmla="*/ 382 h 767"/>
                  <a:gd name="T60" fmla="*/ 31 w 348"/>
                  <a:gd name="T61" fmla="*/ 421 h 767"/>
                  <a:gd name="T62" fmla="*/ 25 w 348"/>
                  <a:gd name="T63" fmla="*/ 444 h 767"/>
                  <a:gd name="T64" fmla="*/ 33 w 348"/>
                  <a:gd name="T65" fmla="*/ 466 h 767"/>
                  <a:gd name="T66" fmla="*/ 33 w 348"/>
                  <a:gd name="T67" fmla="*/ 487 h 767"/>
                  <a:gd name="T68" fmla="*/ 33 w 348"/>
                  <a:gd name="T69" fmla="*/ 506 h 767"/>
                  <a:gd name="T70" fmla="*/ 33 w 348"/>
                  <a:gd name="T71" fmla="*/ 534 h 767"/>
                  <a:gd name="T72" fmla="*/ 18 w 348"/>
                  <a:gd name="T73" fmla="*/ 565 h 767"/>
                  <a:gd name="T74" fmla="*/ 15 w 348"/>
                  <a:gd name="T75" fmla="*/ 592 h 767"/>
                  <a:gd name="T76" fmla="*/ 4 w 348"/>
                  <a:gd name="T77" fmla="*/ 635 h 767"/>
                  <a:gd name="T78" fmla="*/ 20 w 348"/>
                  <a:gd name="T79" fmla="*/ 651 h 767"/>
                  <a:gd name="T80" fmla="*/ 54 w 348"/>
                  <a:gd name="T81" fmla="*/ 678 h 767"/>
                  <a:gd name="T82" fmla="*/ 75 w 348"/>
                  <a:gd name="T83" fmla="*/ 667 h 767"/>
                  <a:gd name="T84" fmla="*/ 81 w 348"/>
                  <a:gd name="T85" fmla="*/ 632 h 767"/>
                  <a:gd name="T86" fmla="*/ 95 w 348"/>
                  <a:gd name="T87" fmla="*/ 624 h 767"/>
                  <a:gd name="T88" fmla="*/ 134 w 348"/>
                  <a:gd name="T89" fmla="*/ 563 h 767"/>
                  <a:gd name="T90" fmla="*/ 104 w 348"/>
                  <a:gd name="T91" fmla="*/ 518 h 767"/>
                  <a:gd name="T92" fmla="*/ 145 w 348"/>
                  <a:gd name="T93" fmla="*/ 474 h 767"/>
                  <a:gd name="T94" fmla="*/ 156 w 348"/>
                  <a:gd name="T95" fmla="*/ 432 h 767"/>
                  <a:gd name="T96" fmla="*/ 162 w 348"/>
                  <a:gd name="T97" fmla="*/ 426 h 767"/>
                  <a:gd name="T98" fmla="*/ 147 w 348"/>
                  <a:gd name="T99" fmla="*/ 399 h 767"/>
                  <a:gd name="T100" fmla="*/ 198 w 348"/>
                  <a:gd name="T101" fmla="*/ 390 h 767"/>
                  <a:gd name="T102" fmla="*/ 197 w 348"/>
                  <a:gd name="T103" fmla="*/ 346 h 767"/>
                  <a:gd name="T104" fmla="*/ 297 w 348"/>
                  <a:gd name="T105" fmla="*/ 301 h 767"/>
                  <a:gd name="T106" fmla="*/ 264 w 348"/>
                  <a:gd name="T107" fmla="*/ 247 h 767"/>
                  <a:gd name="T108" fmla="*/ 270 w 348"/>
                  <a:gd name="T109" fmla="*/ 205 h 767"/>
                  <a:gd name="T110" fmla="*/ 275 w 348"/>
                  <a:gd name="T111" fmla="*/ 182 h 767"/>
                  <a:gd name="T112" fmla="*/ 286 w 348"/>
                  <a:gd name="T113" fmla="*/ 157 h 767"/>
                  <a:gd name="T114" fmla="*/ 308 w 348"/>
                  <a:gd name="T115" fmla="*/ 130 h 767"/>
                  <a:gd name="T116" fmla="*/ 312 w 348"/>
                  <a:gd name="T117" fmla="*/ 124 h 767"/>
                  <a:gd name="T118" fmla="*/ 330 w 348"/>
                  <a:gd name="T119" fmla="*/ 110 h 767"/>
                  <a:gd name="T120" fmla="*/ 345 w 348"/>
                  <a:gd name="T121" fmla="*/ 103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8" h="767">
                    <a:moveTo>
                      <a:pt x="170" y="757"/>
                    </a:moveTo>
                    <a:lnTo>
                      <a:pt x="167" y="759"/>
                    </a:lnTo>
                    <a:lnTo>
                      <a:pt x="167" y="757"/>
                    </a:lnTo>
                    <a:lnTo>
                      <a:pt x="165" y="757"/>
                    </a:lnTo>
                    <a:lnTo>
                      <a:pt x="164" y="757"/>
                    </a:lnTo>
                    <a:lnTo>
                      <a:pt x="159" y="757"/>
                    </a:lnTo>
                    <a:lnTo>
                      <a:pt x="158" y="757"/>
                    </a:lnTo>
                    <a:lnTo>
                      <a:pt x="158" y="759"/>
                    </a:lnTo>
                    <a:lnTo>
                      <a:pt x="156" y="759"/>
                    </a:lnTo>
                    <a:lnTo>
                      <a:pt x="156" y="759"/>
                    </a:lnTo>
                    <a:lnTo>
                      <a:pt x="155" y="761"/>
                    </a:lnTo>
                    <a:lnTo>
                      <a:pt x="155" y="762"/>
                    </a:lnTo>
                    <a:lnTo>
                      <a:pt x="156" y="764"/>
                    </a:lnTo>
                    <a:lnTo>
                      <a:pt x="159" y="761"/>
                    </a:lnTo>
                    <a:lnTo>
                      <a:pt x="159" y="761"/>
                    </a:lnTo>
                    <a:lnTo>
                      <a:pt x="162" y="761"/>
                    </a:lnTo>
                    <a:lnTo>
                      <a:pt x="167" y="761"/>
                    </a:lnTo>
                    <a:lnTo>
                      <a:pt x="169" y="761"/>
                    </a:lnTo>
                    <a:lnTo>
                      <a:pt x="170" y="759"/>
                    </a:lnTo>
                    <a:lnTo>
                      <a:pt x="170" y="757"/>
                    </a:lnTo>
                    <a:lnTo>
                      <a:pt x="170" y="757"/>
                    </a:lnTo>
                    <a:close/>
                    <a:moveTo>
                      <a:pt x="145" y="756"/>
                    </a:moveTo>
                    <a:lnTo>
                      <a:pt x="144" y="754"/>
                    </a:lnTo>
                    <a:lnTo>
                      <a:pt x="137" y="756"/>
                    </a:lnTo>
                    <a:lnTo>
                      <a:pt x="133" y="754"/>
                    </a:lnTo>
                    <a:lnTo>
                      <a:pt x="128" y="751"/>
                    </a:lnTo>
                    <a:lnTo>
                      <a:pt x="125" y="750"/>
                    </a:lnTo>
                    <a:lnTo>
                      <a:pt x="120" y="745"/>
                    </a:lnTo>
                    <a:lnTo>
                      <a:pt x="117" y="743"/>
                    </a:lnTo>
                    <a:lnTo>
                      <a:pt x="114" y="740"/>
                    </a:lnTo>
                    <a:lnTo>
                      <a:pt x="109" y="737"/>
                    </a:lnTo>
                    <a:lnTo>
                      <a:pt x="106" y="734"/>
                    </a:lnTo>
                    <a:lnTo>
                      <a:pt x="103" y="729"/>
                    </a:lnTo>
                    <a:lnTo>
                      <a:pt x="100" y="726"/>
                    </a:lnTo>
                    <a:lnTo>
                      <a:pt x="98" y="725"/>
                    </a:lnTo>
                    <a:lnTo>
                      <a:pt x="97" y="723"/>
                    </a:lnTo>
                    <a:lnTo>
                      <a:pt x="95" y="715"/>
                    </a:lnTo>
                    <a:lnTo>
                      <a:pt x="95" y="715"/>
                    </a:lnTo>
                    <a:lnTo>
                      <a:pt x="90" y="715"/>
                    </a:lnTo>
                    <a:lnTo>
                      <a:pt x="89" y="714"/>
                    </a:lnTo>
                    <a:lnTo>
                      <a:pt x="89" y="714"/>
                    </a:lnTo>
                    <a:lnTo>
                      <a:pt x="89" y="712"/>
                    </a:lnTo>
                    <a:lnTo>
                      <a:pt x="89" y="711"/>
                    </a:lnTo>
                    <a:lnTo>
                      <a:pt x="90" y="707"/>
                    </a:lnTo>
                    <a:lnTo>
                      <a:pt x="92" y="707"/>
                    </a:lnTo>
                    <a:lnTo>
                      <a:pt x="94" y="709"/>
                    </a:lnTo>
                    <a:lnTo>
                      <a:pt x="92" y="706"/>
                    </a:lnTo>
                    <a:lnTo>
                      <a:pt x="92" y="704"/>
                    </a:lnTo>
                    <a:lnTo>
                      <a:pt x="87" y="698"/>
                    </a:lnTo>
                    <a:lnTo>
                      <a:pt x="86" y="696"/>
                    </a:lnTo>
                    <a:lnTo>
                      <a:pt x="86" y="704"/>
                    </a:lnTo>
                    <a:lnTo>
                      <a:pt x="86" y="714"/>
                    </a:lnTo>
                    <a:lnTo>
                      <a:pt x="86" y="721"/>
                    </a:lnTo>
                    <a:lnTo>
                      <a:pt x="86" y="737"/>
                    </a:lnTo>
                    <a:lnTo>
                      <a:pt x="86" y="745"/>
                    </a:lnTo>
                    <a:lnTo>
                      <a:pt x="86" y="754"/>
                    </a:lnTo>
                    <a:lnTo>
                      <a:pt x="86" y="762"/>
                    </a:lnTo>
                    <a:lnTo>
                      <a:pt x="86" y="762"/>
                    </a:lnTo>
                    <a:lnTo>
                      <a:pt x="86" y="762"/>
                    </a:lnTo>
                    <a:lnTo>
                      <a:pt x="86" y="761"/>
                    </a:lnTo>
                    <a:lnTo>
                      <a:pt x="89" y="761"/>
                    </a:lnTo>
                    <a:lnTo>
                      <a:pt x="92" y="761"/>
                    </a:lnTo>
                    <a:lnTo>
                      <a:pt x="94" y="761"/>
                    </a:lnTo>
                    <a:lnTo>
                      <a:pt x="97" y="762"/>
                    </a:lnTo>
                    <a:lnTo>
                      <a:pt x="101" y="762"/>
                    </a:lnTo>
                    <a:lnTo>
                      <a:pt x="112" y="764"/>
                    </a:lnTo>
                    <a:lnTo>
                      <a:pt x="115" y="764"/>
                    </a:lnTo>
                    <a:lnTo>
                      <a:pt x="122" y="767"/>
                    </a:lnTo>
                    <a:lnTo>
                      <a:pt x="123" y="767"/>
                    </a:lnTo>
                    <a:lnTo>
                      <a:pt x="125" y="767"/>
                    </a:lnTo>
                    <a:lnTo>
                      <a:pt x="128" y="765"/>
                    </a:lnTo>
                    <a:lnTo>
                      <a:pt x="129" y="765"/>
                    </a:lnTo>
                    <a:lnTo>
                      <a:pt x="131" y="765"/>
                    </a:lnTo>
                    <a:lnTo>
                      <a:pt x="133" y="764"/>
                    </a:lnTo>
                    <a:lnTo>
                      <a:pt x="136" y="764"/>
                    </a:lnTo>
                    <a:lnTo>
                      <a:pt x="137" y="764"/>
                    </a:lnTo>
                    <a:lnTo>
                      <a:pt x="139" y="764"/>
                    </a:lnTo>
                    <a:lnTo>
                      <a:pt x="142" y="764"/>
                    </a:lnTo>
                    <a:lnTo>
                      <a:pt x="144" y="762"/>
                    </a:lnTo>
                    <a:lnTo>
                      <a:pt x="145" y="759"/>
                    </a:lnTo>
                    <a:lnTo>
                      <a:pt x="147" y="756"/>
                    </a:lnTo>
                    <a:lnTo>
                      <a:pt x="145" y="756"/>
                    </a:lnTo>
                    <a:close/>
                    <a:moveTo>
                      <a:pt x="205" y="355"/>
                    </a:moveTo>
                    <a:lnTo>
                      <a:pt x="205" y="354"/>
                    </a:lnTo>
                    <a:lnTo>
                      <a:pt x="203" y="354"/>
                    </a:lnTo>
                    <a:lnTo>
                      <a:pt x="201" y="352"/>
                    </a:lnTo>
                    <a:lnTo>
                      <a:pt x="201" y="354"/>
                    </a:lnTo>
                    <a:lnTo>
                      <a:pt x="201" y="355"/>
                    </a:lnTo>
                    <a:lnTo>
                      <a:pt x="205" y="355"/>
                    </a:lnTo>
                    <a:lnTo>
                      <a:pt x="205" y="357"/>
                    </a:lnTo>
                    <a:lnTo>
                      <a:pt x="205" y="355"/>
                    </a:lnTo>
                    <a:close/>
                    <a:moveTo>
                      <a:pt x="348" y="85"/>
                    </a:moveTo>
                    <a:lnTo>
                      <a:pt x="347" y="81"/>
                    </a:lnTo>
                    <a:lnTo>
                      <a:pt x="347" y="80"/>
                    </a:lnTo>
                    <a:lnTo>
                      <a:pt x="345" y="75"/>
                    </a:lnTo>
                    <a:lnTo>
                      <a:pt x="345" y="74"/>
                    </a:lnTo>
                    <a:lnTo>
                      <a:pt x="344" y="74"/>
                    </a:lnTo>
                    <a:lnTo>
                      <a:pt x="342" y="72"/>
                    </a:lnTo>
                    <a:lnTo>
                      <a:pt x="342" y="72"/>
                    </a:lnTo>
                    <a:lnTo>
                      <a:pt x="341" y="72"/>
                    </a:lnTo>
                    <a:lnTo>
                      <a:pt x="341" y="71"/>
                    </a:lnTo>
                    <a:lnTo>
                      <a:pt x="339" y="71"/>
                    </a:lnTo>
                    <a:lnTo>
                      <a:pt x="339" y="72"/>
                    </a:lnTo>
                    <a:lnTo>
                      <a:pt x="339" y="72"/>
                    </a:lnTo>
                    <a:lnTo>
                      <a:pt x="337" y="72"/>
                    </a:lnTo>
                    <a:lnTo>
                      <a:pt x="336" y="72"/>
                    </a:lnTo>
                    <a:lnTo>
                      <a:pt x="336" y="74"/>
                    </a:lnTo>
                    <a:lnTo>
                      <a:pt x="336" y="74"/>
                    </a:lnTo>
                    <a:lnTo>
                      <a:pt x="334" y="72"/>
                    </a:lnTo>
                    <a:lnTo>
                      <a:pt x="334" y="72"/>
                    </a:lnTo>
                    <a:lnTo>
                      <a:pt x="333" y="72"/>
                    </a:lnTo>
                    <a:lnTo>
                      <a:pt x="333" y="74"/>
                    </a:lnTo>
                    <a:lnTo>
                      <a:pt x="331" y="80"/>
                    </a:lnTo>
                    <a:lnTo>
                      <a:pt x="331" y="86"/>
                    </a:lnTo>
                    <a:lnTo>
                      <a:pt x="330" y="91"/>
                    </a:lnTo>
                    <a:lnTo>
                      <a:pt x="328" y="92"/>
                    </a:lnTo>
                    <a:lnTo>
                      <a:pt x="328" y="94"/>
                    </a:lnTo>
                    <a:lnTo>
                      <a:pt x="326" y="94"/>
                    </a:lnTo>
                    <a:lnTo>
                      <a:pt x="326" y="94"/>
                    </a:lnTo>
                    <a:lnTo>
                      <a:pt x="326" y="96"/>
                    </a:lnTo>
                    <a:lnTo>
                      <a:pt x="325" y="96"/>
                    </a:lnTo>
                    <a:lnTo>
                      <a:pt x="323" y="97"/>
                    </a:lnTo>
                    <a:lnTo>
                      <a:pt x="323" y="97"/>
                    </a:lnTo>
                    <a:lnTo>
                      <a:pt x="323" y="99"/>
                    </a:lnTo>
                    <a:lnTo>
                      <a:pt x="322" y="99"/>
                    </a:lnTo>
                    <a:lnTo>
                      <a:pt x="320" y="99"/>
                    </a:lnTo>
                    <a:lnTo>
                      <a:pt x="319" y="99"/>
                    </a:lnTo>
                    <a:lnTo>
                      <a:pt x="319" y="100"/>
                    </a:lnTo>
                    <a:lnTo>
                      <a:pt x="319" y="100"/>
                    </a:lnTo>
                    <a:lnTo>
                      <a:pt x="319" y="100"/>
                    </a:lnTo>
                    <a:lnTo>
                      <a:pt x="317" y="102"/>
                    </a:lnTo>
                    <a:lnTo>
                      <a:pt x="317" y="102"/>
                    </a:lnTo>
                    <a:lnTo>
                      <a:pt x="316" y="103"/>
                    </a:lnTo>
                    <a:lnTo>
                      <a:pt x="316" y="103"/>
                    </a:lnTo>
                    <a:lnTo>
                      <a:pt x="316" y="103"/>
                    </a:lnTo>
                    <a:lnTo>
                      <a:pt x="316" y="105"/>
                    </a:lnTo>
                    <a:lnTo>
                      <a:pt x="314" y="106"/>
                    </a:lnTo>
                    <a:lnTo>
                      <a:pt x="312" y="108"/>
                    </a:lnTo>
                    <a:lnTo>
                      <a:pt x="312" y="108"/>
                    </a:lnTo>
                    <a:lnTo>
                      <a:pt x="311" y="108"/>
                    </a:lnTo>
                    <a:lnTo>
                      <a:pt x="311" y="106"/>
                    </a:lnTo>
                    <a:lnTo>
                      <a:pt x="309" y="106"/>
                    </a:lnTo>
                    <a:lnTo>
                      <a:pt x="306" y="106"/>
                    </a:lnTo>
                    <a:lnTo>
                      <a:pt x="306" y="106"/>
                    </a:lnTo>
                    <a:lnTo>
                      <a:pt x="305" y="106"/>
                    </a:lnTo>
                    <a:lnTo>
                      <a:pt x="303" y="106"/>
                    </a:lnTo>
                    <a:lnTo>
                      <a:pt x="303" y="106"/>
                    </a:lnTo>
                    <a:lnTo>
                      <a:pt x="303" y="108"/>
                    </a:lnTo>
                    <a:lnTo>
                      <a:pt x="301" y="110"/>
                    </a:lnTo>
                    <a:lnTo>
                      <a:pt x="301" y="110"/>
                    </a:lnTo>
                    <a:lnTo>
                      <a:pt x="301" y="110"/>
                    </a:lnTo>
                    <a:lnTo>
                      <a:pt x="300" y="111"/>
                    </a:lnTo>
                    <a:lnTo>
                      <a:pt x="298" y="110"/>
                    </a:lnTo>
                    <a:lnTo>
                      <a:pt x="297" y="110"/>
                    </a:lnTo>
                    <a:lnTo>
                      <a:pt x="295" y="110"/>
                    </a:lnTo>
                    <a:lnTo>
                      <a:pt x="294" y="110"/>
                    </a:lnTo>
                    <a:lnTo>
                      <a:pt x="292" y="108"/>
                    </a:lnTo>
                    <a:lnTo>
                      <a:pt x="291" y="108"/>
                    </a:lnTo>
                    <a:lnTo>
                      <a:pt x="289" y="110"/>
                    </a:lnTo>
                    <a:lnTo>
                      <a:pt x="284" y="108"/>
                    </a:lnTo>
                    <a:lnTo>
                      <a:pt x="276" y="106"/>
                    </a:lnTo>
                    <a:lnTo>
                      <a:pt x="270" y="105"/>
                    </a:lnTo>
                    <a:lnTo>
                      <a:pt x="262" y="106"/>
                    </a:lnTo>
                    <a:lnTo>
                      <a:pt x="261" y="103"/>
                    </a:lnTo>
                    <a:lnTo>
                      <a:pt x="262" y="102"/>
                    </a:lnTo>
                    <a:lnTo>
                      <a:pt x="262" y="102"/>
                    </a:lnTo>
                    <a:lnTo>
                      <a:pt x="264" y="102"/>
                    </a:lnTo>
                    <a:lnTo>
                      <a:pt x="264" y="100"/>
                    </a:lnTo>
                    <a:lnTo>
                      <a:pt x="264" y="99"/>
                    </a:lnTo>
                    <a:lnTo>
                      <a:pt x="266" y="99"/>
                    </a:lnTo>
                    <a:lnTo>
                      <a:pt x="266" y="99"/>
                    </a:lnTo>
                    <a:lnTo>
                      <a:pt x="266" y="99"/>
                    </a:lnTo>
                    <a:lnTo>
                      <a:pt x="267" y="97"/>
                    </a:lnTo>
                    <a:lnTo>
                      <a:pt x="267" y="97"/>
                    </a:lnTo>
                    <a:lnTo>
                      <a:pt x="267" y="97"/>
                    </a:lnTo>
                    <a:lnTo>
                      <a:pt x="267" y="97"/>
                    </a:lnTo>
                    <a:lnTo>
                      <a:pt x="267" y="97"/>
                    </a:lnTo>
                    <a:lnTo>
                      <a:pt x="267" y="96"/>
                    </a:lnTo>
                    <a:lnTo>
                      <a:pt x="269" y="96"/>
                    </a:lnTo>
                    <a:lnTo>
                      <a:pt x="269" y="94"/>
                    </a:lnTo>
                    <a:lnTo>
                      <a:pt x="269" y="94"/>
                    </a:lnTo>
                    <a:lnTo>
                      <a:pt x="269" y="92"/>
                    </a:lnTo>
                    <a:lnTo>
                      <a:pt x="270" y="92"/>
                    </a:lnTo>
                    <a:lnTo>
                      <a:pt x="270" y="92"/>
                    </a:lnTo>
                    <a:lnTo>
                      <a:pt x="269" y="89"/>
                    </a:lnTo>
                    <a:lnTo>
                      <a:pt x="269" y="88"/>
                    </a:lnTo>
                    <a:lnTo>
                      <a:pt x="269" y="88"/>
                    </a:lnTo>
                    <a:lnTo>
                      <a:pt x="270" y="86"/>
                    </a:lnTo>
                    <a:lnTo>
                      <a:pt x="270" y="86"/>
                    </a:lnTo>
                    <a:lnTo>
                      <a:pt x="270" y="85"/>
                    </a:lnTo>
                    <a:lnTo>
                      <a:pt x="270" y="85"/>
                    </a:lnTo>
                    <a:lnTo>
                      <a:pt x="270" y="83"/>
                    </a:lnTo>
                    <a:lnTo>
                      <a:pt x="272" y="83"/>
                    </a:lnTo>
                    <a:lnTo>
                      <a:pt x="273" y="81"/>
                    </a:lnTo>
                    <a:lnTo>
                      <a:pt x="275" y="80"/>
                    </a:lnTo>
                    <a:lnTo>
                      <a:pt x="275" y="80"/>
                    </a:lnTo>
                    <a:lnTo>
                      <a:pt x="275" y="78"/>
                    </a:lnTo>
                    <a:lnTo>
                      <a:pt x="276" y="77"/>
                    </a:lnTo>
                    <a:lnTo>
                      <a:pt x="276" y="75"/>
                    </a:lnTo>
                    <a:lnTo>
                      <a:pt x="276" y="74"/>
                    </a:lnTo>
                    <a:lnTo>
                      <a:pt x="278" y="74"/>
                    </a:lnTo>
                    <a:lnTo>
                      <a:pt x="280" y="72"/>
                    </a:lnTo>
                    <a:lnTo>
                      <a:pt x="280" y="72"/>
                    </a:lnTo>
                    <a:lnTo>
                      <a:pt x="280" y="71"/>
                    </a:lnTo>
                    <a:lnTo>
                      <a:pt x="281" y="71"/>
                    </a:lnTo>
                    <a:lnTo>
                      <a:pt x="280" y="69"/>
                    </a:lnTo>
                    <a:lnTo>
                      <a:pt x="280" y="67"/>
                    </a:lnTo>
                    <a:lnTo>
                      <a:pt x="276" y="64"/>
                    </a:lnTo>
                    <a:lnTo>
                      <a:pt x="273" y="61"/>
                    </a:lnTo>
                    <a:lnTo>
                      <a:pt x="270" y="61"/>
                    </a:lnTo>
                    <a:lnTo>
                      <a:pt x="269" y="60"/>
                    </a:lnTo>
                    <a:lnTo>
                      <a:pt x="267" y="61"/>
                    </a:lnTo>
                    <a:lnTo>
                      <a:pt x="267" y="60"/>
                    </a:lnTo>
                    <a:lnTo>
                      <a:pt x="266" y="60"/>
                    </a:lnTo>
                    <a:lnTo>
                      <a:pt x="264" y="58"/>
                    </a:lnTo>
                    <a:lnTo>
                      <a:pt x="261" y="56"/>
                    </a:lnTo>
                    <a:lnTo>
                      <a:pt x="251" y="52"/>
                    </a:lnTo>
                    <a:lnTo>
                      <a:pt x="248" y="50"/>
                    </a:lnTo>
                    <a:lnTo>
                      <a:pt x="248" y="49"/>
                    </a:lnTo>
                    <a:lnTo>
                      <a:pt x="245" y="47"/>
                    </a:lnTo>
                    <a:lnTo>
                      <a:pt x="239" y="44"/>
                    </a:lnTo>
                    <a:lnTo>
                      <a:pt x="236" y="42"/>
                    </a:lnTo>
                    <a:lnTo>
                      <a:pt x="233" y="42"/>
                    </a:lnTo>
                    <a:lnTo>
                      <a:pt x="230" y="41"/>
                    </a:lnTo>
                    <a:lnTo>
                      <a:pt x="223" y="39"/>
                    </a:lnTo>
                    <a:lnTo>
                      <a:pt x="220" y="38"/>
                    </a:lnTo>
                    <a:lnTo>
                      <a:pt x="219" y="35"/>
                    </a:lnTo>
                    <a:lnTo>
                      <a:pt x="217" y="33"/>
                    </a:lnTo>
                    <a:lnTo>
                      <a:pt x="212" y="31"/>
                    </a:lnTo>
                    <a:lnTo>
                      <a:pt x="211" y="30"/>
                    </a:lnTo>
                    <a:lnTo>
                      <a:pt x="211" y="30"/>
                    </a:lnTo>
                    <a:lnTo>
                      <a:pt x="211" y="28"/>
                    </a:lnTo>
                    <a:lnTo>
                      <a:pt x="208" y="28"/>
                    </a:lnTo>
                    <a:lnTo>
                      <a:pt x="206" y="27"/>
                    </a:lnTo>
                    <a:lnTo>
                      <a:pt x="205" y="24"/>
                    </a:lnTo>
                    <a:lnTo>
                      <a:pt x="201" y="20"/>
                    </a:lnTo>
                    <a:lnTo>
                      <a:pt x="198" y="16"/>
                    </a:lnTo>
                    <a:lnTo>
                      <a:pt x="197" y="13"/>
                    </a:lnTo>
                    <a:lnTo>
                      <a:pt x="194" y="11"/>
                    </a:lnTo>
                    <a:lnTo>
                      <a:pt x="192" y="9"/>
                    </a:lnTo>
                    <a:lnTo>
                      <a:pt x="192" y="8"/>
                    </a:lnTo>
                    <a:lnTo>
                      <a:pt x="190" y="8"/>
                    </a:lnTo>
                    <a:lnTo>
                      <a:pt x="190" y="8"/>
                    </a:lnTo>
                    <a:lnTo>
                      <a:pt x="189" y="6"/>
                    </a:lnTo>
                    <a:lnTo>
                      <a:pt x="189" y="5"/>
                    </a:lnTo>
                    <a:lnTo>
                      <a:pt x="187" y="3"/>
                    </a:lnTo>
                    <a:lnTo>
                      <a:pt x="187" y="3"/>
                    </a:lnTo>
                    <a:lnTo>
                      <a:pt x="181" y="3"/>
                    </a:lnTo>
                    <a:lnTo>
                      <a:pt x="173" y="3"/>
                    </a:lnTo>
                    <a:lnTo>
                      <a:pt x="172" y="5"/>
                    </a:lnTo>
                    <a:lnTo>
                      <a:pt x="172" y="5"/>
                    </a:lnTo>
                    <a:lnTo>
                      <a:pt x="170" y="3"/>
                    </a:lnTo>
                    <a:lnTo>
                      <a:pt x="170" y="3"/>
                    </a:lnTo>
                    <a:lnTo>
                      <a:pt x="169" y="5"/>
                    </a:lnTo>
                    <a:lnTo>
                      <a:pt x="169" y="5"/>
                    </a:lnTo>
                    <a:lnTo>
                      <a:pt x="165" y="11"/>
                    </a:lnTo>
                    <a:lnTo>
                      <a:pt x="164" y="13"/>
                    </a:lnTo>
                    <a:lnTo>
                      <a:pt x="162" y="16"/>
                    </a:lnTo>
                    <a:lnTo>
                      <a:pt x="162" y="19"/>
                    </a:lnTo>
                    <a:lnTo>
                      <a:pt x="162" y="19"/>
                    </a:lnTo>
                    <a:lnTo>
                      <a:pt x="161" y="19"/>
                    </a:lnTo>
                    <a:lnTo>
                      <a:pt x="159" y="14"/>
                    </a:lnTo>
                    <a:lnTo>
                      <a:pt x="159" y="13"/>
                    </a:lnTo>
                    <a:lnTo>
                      <a:pt x="158" y="11"/>
                    </a:lnTo>
                    <a:lnTo>
                      <a:pt x="158" y="9"/>
                    </a:lnTo>
                    <a:lnTo>
                      <a:pt x="158" y="8"/>
                    </a:lnTo>
                    <a:lnTo>
                      <a:pt x="155" y="8"/>
                    </a:lnTo>
                    <a:lnTo>
                      <a:pt x="155" y="6"/>
                    </a:lnTo>
                    <a:lnTo>
                      <a:pt x="153" y="6"/>
                    </a:lnTo>
                    <a:lnTo>
                      <a:pt x="153" y="6"/>
                    </a:lnTo>
                    <a:lnTo>
                      <a:pt x="150" y="6"/>
                    </a:lnTo>
                    <a:lnTo>
                      <a:pt x="148" y="6"/>
                    </a:lnTo>
                    <a:lnTo>
                      <a:pt x="142" y="6"/>
                    </a:lnTo>
                    <a:lnTo>
                      <a:pt x="140" y="6"/>
                    </a:lnTo>
                    <a:lnTo>
                      <a:pt x="140" y="5"/>
                    </a:lnTo>
                    <a:lnTo>
                      <a:pt x="137" y="6"/>
                    </a:lnTo>
                    <a:lnTo>
                      <a:pt x="136" y="6"/>
                    </a:lnTo>
                    <a:lnTo>
                      <a:pt x="134" y="5"/>
                    </a:lnTo>
                    <a:lnTo>
                      <a:pt x="133" y="3"/>
                    </a:lnTo>
                    <a:lnTo>
                      <a:pt x="131" y="2"/>
                    </a:lnTo>
                    <a:lnTo>
                      <a:pt x="131" y="2"/>
                    </a:lnTo>
                    <a:lnTo>
                      <a:pt x="131" y="0"/>
                    </a:lnTo>
                    <a:lnTo>
                      <a:pt x="129" y="0"/>
                    </a:lnTo>
                    <a:lnTo>
                      <a:pt x="128" y="0"/>
                    </a:lnTo>
                    <a:lnTo>
                      <a:pt x="128" y="0"/>
                    </a:lnTo>
                    <a:lnTo>
                      <a:pt x="128" y="3"/>
                    </a:lnTo>
                    <a:lnTo>
                      <a:pt x="126" y="5"/>
                    </a:lnTo>
                    <a:lnTo>
                      <a:pt x="126" y="6"/>
                    </a:lnTo>
                    <a:lnTo>
                      <a:pt x="123" y="6"/>
                    </a:lnTo>
                    <a:lnTo>
                      <a:pt x="122" y="8"/>
                    </a:lnTo>
                    <a:lnTo>
                      <a:pt x="122" y="8"/>
                    </a:lnTo>
                    <a:lnTo>
                      <a:pt x="120" y="8"/>
                    </a:lnTo>
                    <a:lnTo>
                      <a:pt x="120" y="8"/>
                    </a:lnTo>
                    <a:lnTo>
                      <a:pt x="119" y="9"/>
                    </a:lnTo>
                    <a:lnTo>
                      <a:pt x="119" y="9"/>
                    </a:lnTo>
                    <a:lnTo>
                      <a:pt x="119" y="11"/>
                    </a:lnTo>
                    <a:lnTo>
                      <a:pt x="115" y="13"/>
                    </a:lnTo>
                    <a:lnTo>
                      <a:pt x="115" y="13"/>
                    </a:lnTo>
                    <a:lnTo>
                      <a:pt x="114" y="14"/>
                    </a:lnTo>
                    <a:lnTo>
                      <a:pt x="114" y="16"/>
                    </a:lnTo>
                    <a:lnTo>
                      <a:pt x="112" y="19"/>
                    </a:lnTo>
                    <a:lnTo>
                      <a:pt x="111" y="19"/>
                    </a:lnTo>
                    <a:lnTo>
                      <a:pt x="111" y="19"/>
                    </a:lnTo>
                    <a:lnTo>
                      <a:pt x="115" y="22"/>
                    </a:lnTo>
                    <a:lnTo>
                      <a:pt x="114" y="27"/>
                    </a:lnTo>
                    <a:lnTo>
                      <a:pt x="111" y="35"/>
                    </a:lnTo>
                    <a:lnTo>
                      <a:pt x="109" y="41"/>
                    </a:lnTo>
                    <a:lnTo>
                      <a:pt x="109" y="41"/>
                    </a:lnTo>
                    <a:lnTo>
                      <a:pt x="109" y="42"/>
                    </a:lnTo>
                    <a:lnTo>
                      <a:pt x="104" y="44"/>
                    </a:lnTo>
                    <a:lnTo>
                      <a:pt x="100" y="47"/>
                    </a:lnTo>
                    <a:lnTo>
                      <a:pt x="97" y="47"/>
                    </a:lnTo>
                    <a:lnTo>
                      <a:pt x="94" y="49"/>
                    </a:lnTo>
                    <a:lnTo>
                      <a:pt x="94" y="49"/>
                    </a:lnTo>
                    <a:lnTo>
                      <a:pt x="92" y="50"/>
                    </a:lnTo>
                    <a:lnTo>
                      <a:pt x="90" y="52"/>
                    </a:lnTo>
                    <a:lnTo>
                      <a:pt x="90" y="52"/>
                    </a:lnTo>
                    <a:lnTo>
                      <a:pt x="90" y="52"/>
                    </a:lnTo>
                    <a:lnTo>
                      <a:pt x="90" y="52"/>
                    </a:lnTo>
                    <a:lnTo>
                      <a:pt x="89" y="53"/>
                    </a:lnTo>
                    <a:lnTo>
                      <a:pt x="89" y="53"/>
                    </a:lnTo>
                    <a:lnTo>
                      <a:pt x="87" y="56"/>
                    </a:lnTo>
                    <a:lnTo>
                      <a:pt x="87" y="58"/>
                    </a:lnTo>
                    <a:lnTo>
                      <a:pt x="87" y="60"/>
                    </a:lnTo>
                    <a:lnTo>
                      <a:pt x="89" y="60"/>
                    </a:lnTo>
                    <a:lnTo>
                      <a:pt x="89" y="60"/>
                    </a:lnTo>
                    <a:lnTo>
                      <a:pt x="89" y="61"/>
                    </a:lnTo>
                    <a:lnTo>
                      <a:pt x="90" y="61"/>
                    </a:lnTo>
                    <a:lnTo>
                      <a:pt x="90" y="63"/>
                    </a:lnTo>
                    <a:lnTo>
                      <a:pt x="90" y="63"/>
                    </a:lnTo>
                    <a:lnTo>
                      <a:pt x="90" y="64"/>
                    </a:lnTo>
                    <a:lnTo>
                      <a:pt x="90" y="64"/>
                    </a:lnTo>
                    <a:lnTo>
                      <a:pt x="89" y="64"/>
                    </a:lnTo>
                    <a:lnTo>
                      <a:pt x="87" y="66"/>
                    </a:lnTo>
                    <a:lnTo>
                      <a:pt x="87" y="69"/>
                    </a:lnTo>
                    <a:lnTo>
                      <a:pt x="87" y="71"/>
                    </a:lnTo>
                    <a:lnTo>
                      <a:pt x="87" y="74"/>
                    </a:lnTo>
                    <a:lnTo>
                      <a:pt x="89" y="75"/>
                    </a:lnTo>
                    <a:lnTo>
                      <a:pt x="90" y="81"/>
                    </a:lnTo>
                    <a:lnTo>
                      <a:pt x="90" y="83"/>
                    </a:lnTo>
                    <a:lnTo>
                      <a:pt x="87" y="86"/>
                    </a:lnTo>
                    <a:lnTo>
                      <a:pt x="87" y="88"/>
                    </a:lnTo>
                    <a:lnTo>
                      <a:pt x="87" y="88"/>
                    </a:lnTo>
                    <a:lnTo>
                      <a:pt x="87" y="89"/>
                    </a:lnTo>
                    <a:lnTo>
                      <a:pt x="87" y="91"/>
                    </a:lnTo>
                    <a:lnTo>
                      <a:pt x="89" y="94"/>
                    </a:lnTo>
                    <a:lnTo>
                      <a:pt x="90" y="96"/>
                    </a:lnTo>
                    <a:lnTo>
                      <a:pt x="92" y="97"/>
                    </a:lnTo>
                    <a:lnTo>
                      <a:pt x="92" y="99"/>
                    </a:lnTo>
                    <a:lnTo>
                      <a:pt x="92" y="100"/>
                    </a:lnTo>
                    <a:lnTo>
                      <a:pt x="90" y="100"/>
                    </a:lnTo>
                    <a:lnTo>
                      <a:pt x="87" y="102"/>
                    </a:lnTo>
                    <a:lnTo>
                      <a:pt x="87" y="102"/>
                    </a:lnTo>
                    <a:lnTo>
                      <a:pt x="86" y="103"/>
                    </a:lnTo>
                    <a:lnTo>
                      <a:pt x="84" y="102"/>
                    </a:lnTo>
                    <a:lnTo>
                      <a:pt x="84" y="102"/>
                    </a:lnTo>
                    <a:lnTo>
                      <a:pt x="84" y="102"/>
                    </a:lnTo>
                    <a:lnTo>
                      <a:pt x="83" y="103"/>
                    </a:lnTo>
                    <a:lnTo>
                      <a:pt x="83" y="103"/>
                    </a:lnTo>
                    <a:lnTo>
                      <a:pt x="83" y="105"/>
                    </a:lnTo>
                    <a:lnTo>
                      <a:pt x="81" y="108"/>
                    </a:lnTo>
                    <a:lnTo>
                      <a:pt x="79" y="108"/>
                    </a:lnTo>
                    <a:lnTo>
                      <a:pt x="79" y="111"/>
                    </a:lnTo>
                    <a:lnTo>
                      <a:pt x="78" y="114"/>
                    </a:lnTo>
                    <a:lnTo>
                      <a:pt x="76" y="116"/>
                    </a:lnTo>
                    <a:lnTo>
                      <a:pt x="76" y="117"/>
                    </a:lnTo>
                    <a:lnTo>
                      <a:pt x="75" y="119"/>
                    </a:lnTo>
                    <a:lnTo>
                      <a:pt x="75" y="119"/>
                    </a:lnTo>
                    <a:lnTo>
                      <a:pt x="73" y="121"/>
                    </a:lnTo>
                    <a:lnTo>
                      <a:pt x="73" y="122"/>
                    </a:lnTo>
                    <a:lnTo>
                      <a:pt x="72" y="124"/>
                    </a:lnTo>
                    <a:lnTo>
                      <a:pt x="72" y="124"/>
                    </a:lnTo>
                    <a:lnTo>
                      <a:pt x="72" y="124"/>
                    </a:lnTo>
                    <a:lnTo>
                      <a:pt x="70" y="125"/>
                    </a:lnTo>
                    <a:lnTo>
                      <a:pt x="70" y="125"/>
                    </a:lnTo>
                    <a:lnTo>
                      <a:pt x="69" y="128"/>
                    </a:lnTo>
                    <a:lnTo>
                      <a:pt x="67" y="130"/>
                    </a:lnTo>
                    <a:lnTo>
                      <a:pt x="67" y="132"/>
                    </a:lnTo>
                    <a:lnTo>
                      <a:pt x="67" y="135"/>
                    </a:lnTo>
                    <a:lnTo>
                      <a:pt x="65" y="141"/>
                    </a:lnTo>
                    <a:lnTo>
                      <a:pt x="65" y="141"/>
                    </a:lnTo>
                    <a:lnTo>
                      <a:pt x="64" y="142"/>
                    </a:lnTo>
                    <a:lnTo>
                      <a:pt x="62" y="144"/>
                    </a:lnTo>
                    <a:lnTo>
                      <a:pt x="62" y="146"/>
                    </a:lnTo>
                    <a:lnTo>
                      <a:pt x="62" y="146"/>
                    </a:lnTo>
                    <a:lnTo>
                      <a:pt x="62" y="147"/>
                    </a:lnTo>
                    <a:lnTo>
                      <a:pt x="62" y="150"/>
                    </a:lnTo>
                    <a:lnTo>
                      <a:pt x="64" y="155"/>
                    </a:lnTo>
                    <a:lnTo>
                      <a:pt x="64" y="157"/>
                    </a:lnTo>
                    <a:lnTo>
                      <a:pt x="64" y="160"/>
                    </a:lnTo>
                    <a:lnTo>
                      <a:pt x="62" y="161"/>
                    </a:lnTo>
                    <a:lnTo>
                      <a:pt x="62" y="161"/>
                    </a:lnTo>
                    <a:lnTo>
                      <a:pt x="64" y="161"/>
                    </a:lnTo>
                    <a:lnTo>
                      <a:pt x="64" y="161"/>
                    </a:lnTo>
                    <a:lnTo>
                      <a:pt x="65" y="163"/>
                    </a:lnTo>
                    <a:lnTo>
                      <a:pt x="64" y="164"/>
                    </a:lnTo>
                    <a:lnTo>
                      <a:pt x="64" y="164"/>
                    </a:lnTo>
                    <a:lnTo>
                      <a:pt x="64" y="164"/>
                    </a:lnTo>
                    <a:lnTo>
                      <a:pt x="62" y="166"/>
                    </a:lnTo>
                    <a:lnTo>
                      <a:pt x="61" y="168"/>
                    </a:lnTo>
                    <a:lnTo>
                      <a:pt x="59" y="168"/>
                    </a:lnTo>
                    <a:lnTo>
                      <a:pt x="59" y="166"/>
                    </a:lnTo>
                    <a:lnTo>
                      <a:pt x="59" y="168"/>
                    </a:lnTo>
                    <a:lnTo>
                      <a:pt x="59" y="169"/>
                    </a:lnTo>
                    <a:lnTo>
                      <a:pt x="59" y="169"/>
                    </a:lnTo>
                    <a:lnTo>
                      <a:pt x="58" y="174"/>
                    </a:lnTo>
                    <a:lnTo>
                      <a:pt x="56" y="177"/>
                    </a:lnTo>
                    <a:lnTo>
                      <a:pt x="56" y="178"/>
                    </a:lnTo>
                    <a:lnTo>
                      <a:pt x="56" y="178"/>
                    </a:lnTo>
                    <a:lnTo>
                      <a:pt x="56" y="180"/>
                    </a:lnTo>
                    <a:lnTo>
                      <a:pt x="56" y="180"/>
                    </a:lnTo>
                    <a:lnTo>
                      <a:pt x="56" y="182"/>
                    </a:lnTo>
                    <a:lnTo>
                      <a:pt x="56" y="182"/>
                    </a:lnTo>
                    <a:lnTo>
                      <a:pt x="54" y="182"/>
                    </a:lnTo>
                    <a:lnTo>
                      <a:pt x="54" y="182"/>
                    </a:lnTo>
                    <a:lnTo>
                      <a:pt x="54" y="182"/>
                    </a:lnTo>
                    <a:lnTo>
                      <a:pt x="53" y="183"/>
                    </a:lnTo>
                    <a:lnTo>
                      <a:pt x="53" y="185"/>
                    </a:lnTo>
                    <a:lnTo>
                      <a:pt x="53" y="186"/>
                    </a:lnTo>
                    <a:lnTo>
                      <a:pt x="53" y="188"/>
                    </a:lnTo>
                    <a:lnTo>
                      <a:pt x="51" y="191"/>
                    </a:lnTo>
                    <a:lnTo>
                      <a:pt x="53" y="194"/>
                    </a:lnTo>
                    <a:lnTo>
                      <a:pt x="54" y="196"/>
                    </a:lnTo>
                    <a:lnTo>
                      <a:pt x="54" y="197"/>
                    </a:lnTo>
                    <a:lnTo>
                      <a:pt x="54" y="197"/>
                    </a:lnTo>
                    <a:lnTo>
                      <a:pt x="54" y="197"/>
                    </a:lnTo>
                    <a:lnTo>
                      <a:pt x="56" y="197"/>
                    </a:lnTo>
                    <a:lnTo>
                      <a:pt x="56" y="197"/>
                    </a:lnTo>
                    <a:lnTo>
                      <a:pt x="56" y="197"/>
                    </a:lnTo>
                    <a:lnTo>
                      <a:pt x="58" y="199"/>
                    </a:lnTo>
                    <a:lnTo>
                      <a:pt x="58" y="199"/>
                    </a:lnTo>
                    <a:lnTo>
                      <a:pt x="58" y="200"/>
                    </a:lnTo>
                    <a:lnTo>
                      <a:pt x="56" y="200"/>
                    </a:lnTo>
                    <a:lnTo>
                      <a:pt x="56" y="200"/>
                    </a:lnTo>
                    <a:lnTo>
                      <a:pt x="56" y="202"/>
                    </a:lnTo>
                    <a:lnTo>
                      <a:pt x="56" y="204"/>
                    </a:lnTo>
                    <a:lnTo>
                      <a:pt x="56" y="205"/>
                    </a:lnTo>
                    <a:lnTo>
                      <a:pt x="56" y="205"/>
                    </a:lnTo>
                    <a:lnTo>
                      <a:pt x="58" y="207"/>
                    </a:lnTo>
                    <a:lnTo>
                      <a:pt x="58" y="210"/>
                    </a:lnTo>
                    <a:lnTo>
                      <a:pt x="58" y="210"/>
                    </a:lnTo>
                    <a:lnTo>
                      <a:pt x="59" y="210"/>
                    </a:lnTo>
                    <a:lnTo>
                      <a:pt x="59" y="213"/>
                    </a:lnTo>
                    <a:lnTo>
                      <a:pt x="61" y="218"/>
                    </a:lnTo>
                    <a:lnTo>
                      <a:pt x="61" y="218"/>
                    </a:lnTo>
                    <a:lnTo>
                      <a:pt x="61" y="218"/>
                    </a:lnTo>
                    <a:lnTo>
                      <a:pt x="62" y="219"/>
                    </a:lnTo>
                    <a:lnTo>
                      <a:pt x="61" y="221"/>
                    </a:lnTo>
                    <a:lnTo>
                      <a:pt x="61" y="222"/>
                    </a:lnTo>
                    <a:lnTo>
                      <a:pt x="61" y="224"/>
                    </a:lnTo>
                    <a:lnTo>
                      <a:pt x="61" y="225"/>
                    </a:lnTo>
                    <a:lnTo>
                      <a:pt x="62" y="227"/>
                    </a:lnTo>
                    <a:lnTo>
                      <a:pt x="62" y="227"/>
                    </a:lnTo>
                    <a:lnTo>
                      <a:pt x="62" y="227"/>
                    </a:lnTo>
                    <a:lnTo>
                      <a:pt x="64" y="227"/>
                    </a:lnTo>
                    <a:lnTo>
                      <a:pt x="65" y="227"/>
                    </a:lnTo>
                    <a:lnTo>
                      <a:pt x="65" y="229"/>
                    </a:lnTo>
                    <a:lnTo>
                      <a:pt x="65" y="229"/>
                    </a:lnTo>
                    <a:lnTo>
                      <a:pt x="65" y="230"/>
                    </a:lnTo>
                    <a:lnTo>
                      <a:pt x="64" y="233"/>
                    </a:lnTo>
                    <a:lnTo>
                      <a:pt x="64" y="236"/>
                    </a:lnTo>
                    <a:lnTo>
                      <a:pt x="64" y="241"/>
                    </a:lnTo>
                    <a:lnTo>
                      <a:pt x="65" y="244"/>
                    </a:lnTo>
                    <a:lnTo>
                      <a:pt x="65" y="246"/>
                    </a:lnTo>
                    <a:lnTo>
                      <a:pt x="65" y="247"/>
                    </a:lnTo>
                    <a:lnTo>
                      <a:pt x="64" y="247"/>
                    </a:lnTo>
                    <a:lnTo>
                      <a:pt x="64" y="247"/>
                    </a:lnTo>
                    <a:lnTo>
                      <a:pt x="62" y="247"/>
                    </a:lnTo>
                    <a:lnTo>
                      <a:pt x="62" y="247"/>
                    </a:lnTo>
                    <a:lnTo>
                      <a:pt x="61" y="249"/>
                    </a:lnTo>
                    <a:lnTo>
                      <a:pt x="61" y="249"/>
                    </a:lnTo>
                    <a:lnTo>
                      <a:pt x="61" y="250"/>
                    </a:lnTo>
                    <a:lnTo>
                      <a:pt x="59" y="252"/>
                    </a:lnTo>
                    <a:lnTo>
                      <a:pt x="59" y="254"/>
                    </a:lnTo>
                    <a:lnTo>
                      <a:pt x="59" y="254"/>
                    </a:lnTo>
                    <a:lnTo>
                      <a:pt x="58" y="257"/>
                    </a:lnTo>
                    <a:lnTo>
                      <a:pt x="58" y="257"/>
                    </a:lnTo>
                    <a:lnTo>
                      <a:pt x="58" y="258"/>
                    </a:lnTo>
                    <a:lnTo>
                      <a:pt x="56" y="260"/>
                    </a:lnTo>
                    <a:lnTo>
                      <a:pt x="56" y="261"/>
                    </a:lnTo>
                    <a:lnTo>
                      <a:pt x="56" y="266"/>
                    </a:lnTo>
                    <a:lnTo>
                      <a:pt x="54" y="268"/>
                    </a:lnTo>
                    <a:lnTo>
                      <a:pt x="53" y="268"/>
                    </a:lnTo>
                    <a:lnTo>
                      <a:pt x="53" y="268"/>
                    </a:lnTo>
                    <a:lnTo>
                      <a:pt x="53" y="268"/>
                    </a:lnTo>
                    <a:lnTo>
                      <a:pt x="53" y="269"/>
                    </a:lnTo>
                    <a:lnTo>
                      <a:pt x="53" y="269"/>
                    </a:lnTo>
                    <a:lnTo>
                      <a:pt x="54" y="271"/>
                    </a:lnTo>
                    <a:lnTo>
                      <a:pt x="54" y="271"/>
                    </a:lnTo>
                    <a:lnTo>
                      <a:pt x="54" y="272"/>
                    </a:lnTo>
                    <a:lnTo>
                      <a:pt x="54" y="274"/>
                    </a:lnTo>
                    <a:lnTo>
                      <a:pt x="54" y="275"/>
                    </a:lnTo>
                    <a:lnTo>
                      <a:pt x="56" y="280"/>
                    </a:lnTo>
                    <a:lnTo>
                      <a:pt x="54" y="282"/>
                    </a:lnTo>
                    <a:lnTo>
                      <a:pt x="54" y="283"/>
                    </a:lnTo>
                    <a:lnTo>
                      <a:pt x="54" y="286"/>
                    </a:lnTo>
                    <a:lnTo>
                      <a:pt x="54" y="288"/>
                    </a:lnTo>
                    <a:lnTo>
                      <a:pt x="53" y="288"/>
                    </a:lnTo>
                    <a:lnTo>
                      <a:pt x="53" y="288"/>
                    </a:lnTo>
                    <a:lnTo>
                      <a:pt x="51" y="290"/>
                    </a:lnTo>
                    <a:lnTo>
                      <a:pt x="50" y="291"/>
                    </a:lnTo>
                    <a:lnTo>
                      <a:pt x="50" y="293"/>
                    </a:lnTo>
                    <a:lnTo>
                      <a:pt x="50" y="293"/>
                    </a:lnTo>
                    <a:lnTo>
                      <a:pt x="48" y="294"/>
                    </a:lnTo>
                    <a:lnTo>
                      <a:pt x="47" y="294"/>
                    </a:lnTo>
                    <a:lnTo>
                      <a:pt x="47" y="294"/>
                    </a:lnTo>
                    <a:lnTo>
                      <a:pt x="47" y="294"/>
                    </a:lnTo>
                    <a:lnTo>
                      <a:pt x="45" y="296"/>
                    </a:lnTo>
                    <a:lnTo>
                      <a:pt x="43" y="296"/>
                    </a:lnTo>
                    <a:lnTo>
                      <a:pt x="43" y="297"/>
                    </a:lnTo>
                    <a:lnTo>
                      <a:pt x="43" y="299"/>
                    </a:lnTo>
                    <a:lnTo>
                      <a:pt x="43" y="299"/>
                    </a:lnTo>
                    <a:lnTo>
                      <a:pt x="42" y="301"/>
                    </a:lnTo>
                    <a:lnTo>
                      <a:pt x="42" y="304"/>
                    </a:lnTo>
                    <a:lnTo>
                      <a:pt x="42" y="305"/>
                    </a:lnTo>
                    <a:lnTo>
                      <a:pt x="42" y="308"/>
                    </a:lnTo>
                    <a:lnTo>
                      <a:pt x="42" y="308"/>
                    </a:lnTo>
                    <a:lnTo>
                      <a:pt x="42" y="311"/>
                    </a:lnTo>
                    <a:lnTo>
                      <a:pt x="40" y="313"/>
                    </a:lnTo>
                    <a:lnTo>
                      <a:pt x="42" y="315"/>
                    </a:lnTo>
                    <a:lnTo>
                      <a:pt x="42" y="316"/>
                    </a:lnTo>
                    <a:lnTo>
                      <a:pt x="42" y="319"/>
                    </a:lnTo>
                    <a:lnTo>
                      <a:pt x="42" y="321"/>
                    </a:lnTo>
                    <a:lnTo>
                      <a:pt x="42" y="322"/>
                    </a:lnTo>
                    <a:lnTo>
                      <a:pt x="43" y="327"/>
                    </a:lnTo>
                    <a:lnTo>
                      <a:pt x="43" y="327"/>
                    </a:lnTo>
                    <a:lnTo>
                      <a:pt x="43" y="329"/>
                    </a:lnTo>
                    <a:lnTo>
                      <a:pt x="45" y="333"/>
                    </a:lnTo>
                    <a:lnTo>
                      <a:pt x="45" y="335"/>
                    </a:lnTo>
                    <a:lnTo>
                      <a:pt x="45" y="338"/>
                    </a:lnTo>
                    <a:lnTo>
                      <a:pt x="45" y="338"/>
                    </a:lnTo>
                    <a:lnTo>
                      <a:pt x="47" y="340"/>
                    </a:lnTo>
                    <a:lnTo>
                      <a:pt x="47" y="341"/>
                    </a:lnTo>
                    <a:lnTo>
                      <a:pt x="47" y="341"/>
                    </a:lnTo>
                    <a:lnTo>
                      <a:pt x="47" y="344"/>
                    </a:lnTo>
                    <a:lnTo>
                      <a:pt x="45" y="344"/>
                    </a:lnTo>
                    <a:lnTo>
                      <a:pt x="43" y="346"/>
                    </a:lnTo>
                    <a:lnTo>
                      <a:pt x="42" y="346"/>
                    </a:lnTo>
                    <a:lnTo>
                      <a:pt x="40" y="347"/>
                    </a:lnTo>
                    <a:lnTo>
                      <a:pt x="40" y="347"/>
                    </a:lnTo>
                    <a:lnTo>
                      <a:pt x="39" y="349"/>
                    </a:lnTo>
                    <a:lnTo>
                      <a:pt x="37" y="349"/>
                    </a:lnTo>
                    <a:lnTo>
                      <a:pt x="37" y="351"/>
                    </a:lnTo>
                    <a:lnTo>
                      <a:pt x="37" y="355"/>
                    </a:lnTo>
                    <a:lnTo>
                      <a:pt x="37" y="357"/>
                    </a:lnTo>
                    <a:lnTo>
                      <a:pt x="37" y="360"/>
                    </a:lnTo>
                    <a:lnTo>
                      <a:pt x="37" y="360"/>
                    </a:lnTo>
                    <a:lnTo>
                      <a:pt x="36" y="362"/>
                    </a:lnTo>
                    <a:lnTo>
                      <a:pt x="36" y="363"/>
                    </a:lnTo>
                    <a:lnTo>
                      <a:pt x="36" y="363"/>
                    </a:lnTo>
                    <a:lnTo>
                      <a:pt x="36" y="365"/>
                    </a:lnTo>
                    <a:lnTo>
                      <a:pt x="34" y="365"/>
                    </a:lnTo>
                    <a:lnTo>
                      <a:pt x="33" y="365"/>
                    </a:lnTo>
                    <a:lnTo>
                      <a:pt x="33" y="365"/>
                    </a:lnTo>
                    <a:lnTo>
                      <a:pt x="33" y="365"/>
                    </a:lnTo>
                    <a:lnTo>
                      <a:pt x="33" y="365"/>
                    </a:lnTo>
                    <a:lnTo>
                      <a:pt x="33" y="366"/>
                    </a:lnTo>
                    <a:lnTo>
                      <a:pt x="33" y="369"/>
                    </a:lnTo>
                    <a:lnTo>
                      <a:pt x="34" y="371"/>
                    </a:lnTo>
                    <a:lnTo>
                      <a:pt x="33" y="373"/>
                    </a:lnTo>
                    <a:lnTo>
                      <a:pt x="33" y="374"/>
                    </a:lnTo>
                    <a:lnTo>
                      <a:pt x="33" y="376"/>
                    </a:lnTo>
                    <a:lnTo>
                      <a:pt x="31" y="376"/>
                    </a:lnTo>
                    <a:lnTo>
                      <a:pt x="31" y="376"/>
                    </a:lnTo>
                    <a:lnTo>
                      <a:pt x="31" y="376"/>
                    </a:lnTo>
                    <a:lnTo>
                      <a:pt x="31" y="377"/>
                    </a:lnTo>
                    <a:lnTo>
                      <a:pt x="31" y="379"/>
                    </a:lnTo>
                    <a:lnTo>
                      <a:pt x="33" y="380"/>
                    </a:lnTo>
                    <a:lnTo>
                      <a:pt x="33" y="382"/>
                    </a:lnTo>
                    <a:lnTo>
                      <a:pt x="33" y="382"/>
                    </a:lnTo>
                    <a:lnTo>
                      <a:pt x="31" y="382"/>
                    </a:lnTo>
                    <a:lnTo>
                      <a:pt x="31" y="382"/>
                    </a:lnTo>
                    <a:lnTo>
                      <a:pt x="31" y="383"/>
                    </a:lnTo>
                    <a:lnTo>
                      <a:pt x="29" y="385"/>
                    </a:lnTo>
                    <a:lnTo>
                      <a:pt x="29" y="388"/>
                    </a:lnTo>
                    <a:lnTo>
                      <a:pt x="28" y="390"/>
                    </a:lnTo>
                    <a:lnTo>
                      <a:pt x="28" y="391"/>
                    </a:lnTo>
                    <a:lnTo>
                      <a:pt x="29" y="394"/>
                    </a:lnTo>
                    <a:lnTo>
                      <a:pt x="29" y="396"/>
                    </a:lnTo>
                    <a:lnTo>
                      <a:pt x="29" y="404"/>
                    </a:lnTo>
                    <a:lnTo>
                      <a:pt x="29" y="404"/>
                    </a:lnTo>
                    <a:lnTo>
                      <a:pt x="29" y="405"/>
                    </a:lnTo>
                    <a:lnTo>
                      <a:pt x="29" y="410"/>
                    </a:lnTo>
                    <a:lnTo>
                      <a:pt x="29" y="410"/>
                    </a:lnTo>
                    <a:lnTo>
                      <a:pt x="29" y="410"/>
                    </a:lnTo>
                    <a:lnTo>
                      <a:pt x="28" y="412"/>
                    </a:lnTo>
                    <a:lnTo>
                      <a:pt x="29" y="415"/>
                    </a:lnTo>
                    <a:lnTo>
                      <a:pt x="31" y="419"/>
                    </a:lnTo>
                    <a:lnTo>
                      <a:pt x="31" y="421"/>
                    </a:lnTo>
                    <a:lnTo>
                      <a:pt x="31" y="423"/>
                    </a:lnTo>
                    <a:lnTo>
                      <a:pt x="31" y="423"/>
                    </a:lnTo>
                    <a:lnTo>
                      <a:pt x="29" y="423"/>
                    </a:lnTo>
                    <a:lnTo>
                      <a:pt x="28" y="424"/>
                    </a:lnTo>
                    <a:lnTo>
                      <a:pt x="28" y="423"/>
                    </a:lnTo>
                    <a:lnTo>
                      <a:pt x="26" y="423"/>
                    </a:lnTo>
                    <a:lnTo>
                      <a:pt x="26" y="423"/>
                    </a:lnTo>
                    <a:lnTo>
                      <a:pt x="26" y="424"/>
                    </a:lnTo>
                    <a:lnTo>
                      <a:pt x="25" y="426"/>
                    </a:lnTo>
                    <a:lnTo>
                      <a:pt x="25" y="427"/>
                    </a:lnTo>
                    <a:lnTo>
                      <a:pt x="26" y="429"/>
                    </a:lnTo>
                    <a:lnTo>
                      <a:pt x="26" y="430"/>
                    </a:lnTo>
                    <a:lnTo>
                      <a:pt x="25" y="432"/>
                    </a:lnTo>
                    <a:lnTo>
                      <a:pt x="25" y="434"/>
                    </a:lnTo>
                    <a:lnTo>
                      <a:pt x="25" y="434"/>
                    </a:lnTo>
                    <a:lnTo>
                      <a:pt x="25" y="435"/>
                    </a:lnTo>
                    <a:lnTo>
                      <a:pt x="25" y="438"/>
                    </a:lnTo>
                    <a:lnTo>
                      <a:pt x="25" y="443"/>
                    </a:lnTo>
                    <a:lnTo>
                      <a:pt x="25" y="444"/>
                    </a:lnTo>
                    <a:lnTo>
                      <a:pt x="26" y="446"/>
                    </a:lnTo>
                    <a:lnTo>
                      <a:pt x="26" y="446"/>
                    </a:lnTo>
                    <a:lnTo>
                      <a:pt x="29" y="448"/>
                    </a:lnTo>
                    <a:lnTo>
                      <a:pt x="31" y="448"/>
                    </a:lnTo>
                    <a:lnTo>
                      <a:pt x="31" y="449"/>
                    </a:lnTo>
                    <a:lnTo>
                      <a:pt x="31" y="451"/>
                    </a:lnTo>
                    <a:lnTo>
                      <a:pt x="31" y="451"/>
                    </a:lnTo>
                    <a:lnTo>
                      <a:pt x="29" y="452"/>
                    </a:lnTo>
                    <a:lnTo>
                      <a:pt x="29" y="452"/>
                    </a:lnTo>
                    <a:lnTo>
                      <a:pt x="29" y="454"/>
                    </a:lnTo>
                    <a:lnTo>
                      <a:pt x="29" y="457"/>
                    </a:lnTo>
                    <a:lnTo>
                      <a:pt x="31" y="457"/>
                    </a:lnTo>
                    <a:lnTo>
                      <a:pt x="33" y="459"/>
                    </a:lnTo>
                    <a:lnTo>
                      <a:pt x="33" y="459"/>
                    </a:lnTo>
                    <a:lnTo>
                      <a:pt x="31" y="460"/>
                    </a:lnTo>
                    <a:lnTo>
                      <a:pt x="31" y="462"/>
                    </a:lnTo>
                    <a:lnTo>
                      <a:pt x="31" y="462"/>
                    </a:lnTo>
                    <a:lnTo>
                      <a:pt x="33" y="465"/>
                    </a:lnTo>
                    <a:lnTo>
                      <a:pt x="33" y="466"/>
                    </a:lnTo>
                    <a:lnTo>
                      <a:pt x="33" y="468"/>
                    </a:lnTo>
                    <a:lnTo>
                      <a:pt x="31" y="470"/>
                    </a:lnTo>
                    <a:lnTo>
                      <a:pt x="31" y="470"/>
                    </a:lnTo>
                    <a:lnTo>
                      <a:pt x="31" y="471"/>
                    </a:lnTo>
                    <a:lnTo>
                      <a:pt x="31" y="471"/>
                    </a:lnTo>
                    <a:lnTo>
                      <a:pt x="29" y="474"/>
                    </a:lnTo>
                    <a:lnTo>
                      <a:pt x="29" y="476"/>
                    </a:lnTo>
                    <a:lnTo>
                      <a:pt x="31" y="477"/>
                    </a:lnTo>
                    <a:lnTo>
                      <a:pt x="31" y="477"/>
                    </a:lnTo>
                    <a:lnTo>
                      <a:pt x="39" y="477"/>
                    </a:lnTo>
                    <a:lnTo>
                      <a:pt x="40" y="479"/>
                    </a:lnTo>
                    <a:lnTo>
                      <a:pt x="42" y="480"/>
                    </a:lnTo>
                    <a:lnTo>
                      <a:pt x="42" y="482"/>
                    </a:lnTo>
                    <a:lnTo>
                      <a:pt x="40" y="484"/>
                    </a:lnTo>
                    <a:lnTo>
                      <a:pt x="40" y="487"/>
                    </a:lnTo>
                    <a:lnTo>
                      <a:pt x="39" y="487"/>
                    </a:lnTo>
                    <a:lnTo>
                      <a:pt x="37" y="487"/>
                    </a:lnTo>
                    <a:lnTo>
                      <a:pt x="34" y="487"/>
                    </a:lnTo>
                    <a:lnTo>
                      <a:pt x="33" y="487"/>
                    </a:lnTo>
                    <a:lnTo>
                      <a:pt x="31" y="487"/>
                    </a:lnTo>
                    <a:lnTo>
                      <a:pt x="28" y="487"/>
                    </a:lnTo>
                    <a:lnTo>
                      <a:pt x="28" y="487"/>
                    </a:lnTo>
                    <a:lnTo>
                      <a:pt x="28" y="487"/>
                    </a:lnTo>
                    <a:lnTo>
                      <a:pt x="26" y="487"/>
                    </a:lnTo>
                    <a:lnTo>
                      <a:pt x="26" y="487"/>
                    </a:lnTo>
                    <a:lnTo>
                      <a:pt x="26" y="488"/>
                    </a:lnTo>
                    <a:lnTo>
                      <a:pt x="26" y="490"/>
                    </a:lnTo>
                    <a:lnTo>
                      <a:pt x="26" y="490"/>
                    </a:lnTo>
                    <a:lnTo>
                      <a:pt x="31" y="490"/>
                    </a:lnTo>
                    <a:lnTo>
                      <a:pt x="34" y="491"/>
                    </a:lnTo>
                    <a:lnTo>
                      <a:pt x="36" y="495"/>
                    </a:lnTo>
                    <a:lnTo>
                      <a:pt x="37" y="496"/>
                    </a:lnTo>
                    <a:lnTo>
                      <a:pt x="39" y="498"/>
                    </a:lnTo>
                    <a:lnTo>
                      <a:pt x="39" y="501"/>
                    </a:lnTo>
                    <a:lnTo>
                      <a:pt x="36" y="502"/>
                    </a:lnTo>
                    <a:lnTo>
                      <a:pt x="36" y="504"/>
                    </a:lnTo>
                    <a:lnTo>
                      <a:pt x="36" y="506"/>
                    </a:lnTo>
                    <a:lnTo>
                      <a:pt x="33" y="506"/>
                    </a:lnTo>
                    <a:lnTo>
                      <a:pt x="33" y="506"/>
                    </a:lnTo>
                    <a:lnTo>
                      <a:pt x="31" y="507"/>
                    </a:lnTo>
                    <a:lnTo>
                      <a:pt x="31" y="510"/>
                    </a:lnTo>
                    <a:lnTo>
                      <a:pt x="31" y="513"/>
                    </a:lnTo>
                    <a:lnTo>
                      <a:pt x="31" y="513"/>
                    </a:lnTo>
                    <a:lnTo>
                      <a:pt x="33" y="515"/>
                    </a:lnTo>
                    <a:lnTo>
                      <a:pt x="34" y="516"/>
                    </a:lnTo>
                    <a:lnTo>
                      <a:pt x="33" y="518"/>
                    </a:lnTo>
                    <a:lnTo>
                      <a:pt x="33" y="518"/>
                    </a:lnTo>
                    <a:lnTo>
                      <a:pt x="33" y="518"/>
                    </a:lnTo>
                    <a:lnTo>
                      <a:pt x="31" y="520"/>
                    </a:lnTo>
                    <a:lnTo>
                      <a:pt x="29" y="521"/>
                    </a:lnTo>
                    <a:lnTo>
                      <a:pt x="29" y="521"/>
                    </a:lnTo>
                    <a:lnTo>
                      <a:pt x="29" y="523"/>
                    </a:lnTo>
                    <a:lnTo>
                      <a:pt x="31" y="524"/>
                    </a:lnTo>
                    <a:lnTo>
                      <a:pt x="31" y="526"/>
                    </a:lnTo>
                    <a:lnTo>
                      <a:pt x="33" y="527"/>
                    </a:lnTo>
                    <a:lnTo>
                      <a:pt x="33" y="532"/>
                    </a:lnTo>
                    <a:lnTo>
                      <a:pt x="33" y="534"/>
                    </a:lnTo>
                    <a:lnTo>
                      <a:pt x="33" y="535"/>
                    </a:lnTo>
                    <a:lnTo>
                      <a:pt x="29" y="537"/>
                    </a:lnTo>
                    <a:lnTo>
                      <a:pt x="28" y="538"/>
                    </a:lnTo>
                    <a:lnTo>
                      <a:pt x="28" y="542"/>
                    </a:lnTo>
                    <a:lnTo>
                      <a:pt x="28" y="543"/>
                    </a:lnTo>
                    <a:lnTo>
                      <a:pt x="28" y="545"/>
                    </a:lnTo>
                    <a:lnTo>
                      <a:pt x="29" y="546"/>
                    </a:lnTo>
                    <a:lnTo>
                      <a:pt x="29" y="548"/>
                    </a:lnTo>
                    <a:lnTo>
                      <a:pt x="28" y="548"/>
                    </a:lnTo>
                    <a:lnTo>
                      <a:pt x="26" y="549"/>
                    </a:lnTo>
                    <a:lnTo>
                      <a:pt x="26" y="549"/>
                    </a:lnTo>
                    <a:lnTo>
                      <a:pt x="25" y="551"/>
                    </a:lnTo>
                    <a:lnTo>
                      <a:pt x="22" y="554"/>
                    </a:lnTo>
                    <a:lnTo>
                      <a:pt x="22" y="554"/>
                    </a:lnTo>
                    <a:lnTo>
                      <a:pt x="22" y="556"/>
                    </a:lnTo>
                    <a:lnTo>
                      <a:pt x="22" y="557"/>
                    </a:lnTo>
                    <a:lnTo>
                      <a:pt x="20" y="560"/>
                    </a:lnTo>
                    <a:lnTo>
                      <a:pt x="18" y="563"/>
                    </a:lnTo>
                    <a:lnTo>
                      <a:pt x="18" y="565"/>
                    </a:lnTo>
                    <a:lnTo>
                      <a:pt x="18" y="565"/>
                    </a:lnTo>
                    <a:lnTo>
                      <a:pt x="18" y="565"/>
                    </a:lnTo>
                    <a:lnTo>
                      <a:pt x="18" y="568"/>
                    </a:lnTo>
                    <a:lnTo>
                      <a:pt x="18" y="568"/>
                    </a:lnTo>
                    <a:lnTo>
                      <a:pt x="20" y="570"/>
                    </a:lnTo>
                    <a:lnTo>
                      <a:pt x="22" y="571"/>
                    </a:lnTo>
                    <a:lnTo>
                      <a:pt x="22" y="574"/>
                    </a:lnTo>
                    <a:lnTo>
                      <a:pt x="22" y="578"/>
                    </a:lnTo>
                    <a:lnTo>
                      <a:pt x="18" y="579"/>
                    </a:lnTo>
                    <a:lnTo>
                      <a:pt x="17" y="581"/>
                    </a:lnTo>
                    <a:lnTo>
                      <a:pt x="17" y="581"/>
                    </a:lnTo>
                    <a:lnTo>
                      <a:pt x="17" y="582"/>
                    </a:lnTo>
                    <a:lnTo>
                      <a:pt x="17" y="582"/>
                    </a:lnTo>
                    <a:lnTo>
                      <a:pt x="17" y="585"/>
                    </a:lnTo>
                    <a:lnTo>
                      <a:pt x="17" y="588"/>
                    </a:lnTo>
                    <a:lnTo>
                      <a:pt x="17" y="588"/>
                    </a:lnTo>
                    <a:lnTo>
                      <a:pt x="17" y="588"/>
                    </a:lnTo>
                    <a:lnTo>
                      <a:pt x="17" y="590"/>
                    </a:lnTo>
                    <a:lnTo>
                      <a:pt x="15" y="592"/>
                    </a:lnTo>
                    <a:lnTo>
                      <a:pt x="14" y="592"/>
                    </a:lnTo>
                    <a:lnTo>
                      <a:pt x="12" y="593"/>
                    </a:lnTo>
                    <a:lnTo>
                      <a:pt x="11" y="595"/>
                    </a:lnTo>
                    <a:lnTo>
                      <a:pt x="9" y="595"/>
                    </a:lnTo>
                    <a:lnTo>
                      <a:pt x="8" y="598"/>
                    </a:lnTo>
                    <a:lnTo>
                      <a:pt x="8" y="599"/>
                    </a:lnTo>
                    <a:lnTo>
                      <a:pt x="8" y="603"/>
                    </a:lnTo>
                    <a:lnTo>
                      <a:pt x="1" y="604"/>
                    </a:lnTo>
                    <a:lnTo>
                      <a:pt x="1" y="606"/>
                    </a:lnTo>
                    <a:lnTo>
                      <a:pt x="0" y="607"/>
                    </a:lnTo>
                    <a:lnTo>
                      <a:pt x="0" y="610"/>
                    </a:lnTo>
                    <a:lnTo>
                      <a:pt x="1" y="613"/>
                    </a:lnTo>
                    <a:lnTo>
                      <a:pt x="1" y="617"/>
                    </a:lnTo>
                    <a:lnTo>
                      <a:pt x="0" y="620"/>
                    </a:lnTo>
                    <a:lnTo>
                      <a:pt x="1" y="623"/>
                    </a:lnTo>
                    <a:lnTo>
                      <a:pt x="1" y="626"/>
                    </a:lnTo>
                    <a:lnTo>
                      <a:pt x="3" y="628"/>
                    </a:lnTo>
                    <a:lnTo>
                      <a:pt x="4" y="632"/>
                    </a:lnTo>
                    <a:lnTo>
                      <a:pt x="4" y="635"/>
                    </a:lnTo>
                    <a:lnTo>
                      <a:pt x="4" y="637"/>
                    </a:lnTo>
                    <a:lnTo>
                      <a:pt x="6" y="639"/>
                    </a:lnTo>
                    <a:lnTo>
                      <a:pt x="6" y="640"/>
                    </a:lnTo>
                    <a:lnTo>
                      <a:pt x="8" y="642"/>
                    </a:lnTo>
                    <a:lnTo>
                      <a:pt x="8" y="642"/>
                    </a:lnTo>
                    <a:lnTo>
                      <a:pt x="8" y="643"/>
                    </a:lnTo>
                    <a:lnTo>
                      <a:pt x="11" y="642"/>
                    </a:lnTo>
                    <a:lnTo>
                      <a:pt x="12" y="640"/>
                    </a:lnTo>
                    <a:lnTo>
                      <a:pt x="14" y="640"/>
                    </a:lnTo>
                    <a:lnTo>
                      <a:pt x="17" y="640"/>
                    </a:lnTo>
                    <a:lnTo>
                      <a:pt x="18" y="639"/>
                    </a:lnTo>
                    <a:lnTo>
                      <a:pt x="18" y="639"/>
                    </a:lnTo>
                    <a:lnTo>
                      <a:pt x="20" y="640"/>
                    </a:lnTo>
                    <a:lnTo>
                      <a:pt x="22" y="640"/>
                    </a:lnTo>
                    <a:lnTo>
                      <a:pt x="22" y="643"/>
                    </a:lnTo>
                    <a:lnTo>
                      <a:pt x="22" y="646"/>
                    </a:lnTo>
                    <a:lnTo>
                      <a:pt x="22" y="651"/>
                    </a:lnTo>
                    <a:lnTo>
                      <a:pt x="22" y="651"/>
                    </a:lnTo>
                    <a:lnTo>
                      <a:pt x="20" y="651"/>
                    </a:lnTo>
                    <a:lnTo>
                      <a:pt x="20" y="653"/>
                    </a:lnTo>
                    <a:lnTo>
                      <a:pt x="20" y="654"/>
                    </a:lnTo>
                    <a:lnTo>
                      <a:pt x="22" y="656"/>
                    </a:lnTo>
                    <a:lnTo>
                      <a:pt x="22" y="657"/>
                    </a:lnTo>
                    <a:lnTo>
                      <a:pt x="20" y="662"/>
                    </a:lnTo>
                    <a:lnTo>
                      <a:pt x="20" y="665"/>
                    </a:lnTo>
                    <a:lnTo>
                      <a:pt x="22" y="667"/>
                    </a:lnTo>
                    <a:lnTo>
                      <a:pt x="22" y="668"/>
                    </a:lnTo>
                    <a:lnTo>
                      <a:pt x="23" y="668"/>
                    </a:lnTo>
                    <a:lnTo>
                      <a:pt x="25" y="670"/>
                    </a:lnTo>
                    <a:lnTo>
                      <a:pt x="26" y="673"/>
                    </a:lnTo>
                    <a:lnTo>
                      <a:pt x="28" y="675"/>
                    </a:lnTo>
                    <a:lnTo>
                      <a:pt x="28" y="676"/>
                    </a:lnTo>
                    <a:lnTo>
                      <a:pt x="28" y="676"/>
                    </a:lnTo>
                    <a:lnTo>
                      <a:pt x="28" y="678"/>
                    </a:lnTo>
                    <a:lnTo>
                      <a:pt x="33" y="678"/>
                    </a:lnTo>
                    <a:lnTo>
                      <a:pt x="37" y="678"/>
                    </a:lnTo>
                    <a:lnTo>
                      <a:pt x="45" y="678"/>
                    </a:lnTo>
                    <a:lnTo>
                      <a:pt x="54" y="678"/>
                    </a:lnTo>
                    <a:lnTo>
                      <a:pt x="62" y="678"/>
                    </a:lnTo>
                    <a:lnTo>
                      <a:pt x="67" y="679"/>
                    </a:lnTo>
                    <a:lnTo>
                      <a:pt x="72" y="682"/>
                    </a:lnTo>
                    <a:lnTo>
                      <a:pt x="76" y="682"/>
                    </a:lnTo>
                    <a:lnTo>
                      <a:pt x="81" y="684"/>
                    </a:lnTo>
                    <a:lnTo>
                      <a:pt x="84" y="685"/>
                    </a:lnTo>
                    <a:lnTo>
                      <a:pt x="87" y="685"/>
                    </a:lnTo>
                    <a:lnTo>
                      <a:pt x="89" y="685"/>
                    </a:lnTo>
                    <a:lnTo>
                      <a:pt x="89" y="689"/>
                    </a:lnTo>
                    <a:lnTo>
                      <a:pt x="89" y="689"/>
                    </a:lnTo>
                    <a:lnTo>
                      <a:pt x="89" y="689"/>
                    </a:lnTo>
                    <a:lnTo>
                      <a:pt x="90" y="687"/>
                    </a:lnTo>
                    <a:lnTo>
                      <a:pt x="89" y="684"/>
                    </a:lnTo>
                    <a:lnTo>
                      <a:pt x="86" y="678"/>
                    </a:lnTo>
                    <a:lnTo>
                      <a:pt x="81" y="670"/>
                    </a:lnTo>
                    <a:lnTo>
                      <a:pt x="81" y="668"/>
                    </a:lnTo>
                    <a:lnTo>
                      <a:pt x="79" y="667"/>
                    </a:lnTo>
                    <a:lnTo>
                      <a:pt x="76" y="668"/>
                    </a:lnTo>
                    <a:lnTo>
                      <a:pt x="75" y="667"/>
                    </a:lnTo>
                    <a:lnTo>
                      <a:pt x="73" y="667"/>
                    </a:lnTo>
                    <a:lnTo>
                      <a:pt x="72" y="667"/>
                    </a:lnTo>
                    <a:lnTo>
                      <a:pt x="73" y="665"/>
                    </a:lnTo>
                    <a:lnTo>
                      <a:pt x="76" y="665"/>
                    </a:lnTo>
                    <a:lnTo>
                      <a:pt x="79" y="665"/>
                    </a:lnTo>
                    <a:lnTo>
                      <a:pt x="79" y="664"/>
                    </a:lnTo>
                    <a:lnTo>
                      <a:pt x="79" y="662"/>
                    </a:lnTo>
                    <a:lnTo>
                      <a:pt x="78" y="657"/>
                    </a:lnTo>
                    <a:lnTo>
                      <a:pt x="78" y="653"/>
                    </a:lnTo>
                    <a:lnTo>
                      <a:pt x="76" y="649"/>
                    </a:lnTo>
                    <a:lnTo>
                      <a:pt x="75" y="649"/>
                    </a:lnTo>
                    <a:lnTo>
                      <a:pt x="73" y="651"/>
                    </a:lnTo>
                    <a:lnTo>
                      <a:pt x="73" y="651"/>
                    </a:lnTo>
                    <a:lnTo>
                      <a:pt x="76" y="648"/>
                    </a:lnTo>
                    <a:lnTo>
                      <a:pt x="76" y="646"/>
                    </a:lnTo>
                    <a:lnTo>
                      <a:pt x="78" y="643"/>
                    </a:lnTo>
                    <a:lnTo>
                      <a:pt x="78" y="639"/>
                    </a:lnTo>
                    <a:lnTo>
                      <a:pt x="79" y="635"/>
                    </a:lnTo>
                    <a:lnTo>
                      <a:pt x="81" y="632"/>
                    </a:lnTo>
                    <a:lnTo>
                      <a:pt x="84" y="629"/>
                    </a:lnTo>
                    <a:lnTo>
                      <a:pt x="87" y="628"/>
                    </a:lnTo>
                    <a:lnTo>
                      <a:pt x="89" y="628"/>
                    </a:lnTo>
                    <a:lnTo>
                      <a:pt x="90" y="626"/>
                    </a:lnTo>
                    <a:lnTo>
                      <a:pt x="89" y="624"/>
                    </a:lnTo>
                    <a:lnTo>
                      <a:pt x="87" y="623"/>
                    </a:lnTo>
                    <a:lnTo>
                      <a:pt x="87" y="623"/>
                    </a:lnTo>
                    <a:lnTo>
                      <a:pt x="84" y="621"/>
                    </a:lnTo>
                    <a:lnTo>
                      <a:pt x="79" y="623"/>
                    </a:lnTo>
                    <a:lnTo>
                      <a:pt x="81" y="621"/>
                    </a:lnTo>
                    <a:lnTo>
                      <a:pt x="86" y="620"/>
                    </a:lnTo>
                    <a:lnTo>
                      <a:pt x="86" y="618"/>
                    </a:lnTo>
                    <a:lnTo>
                      <a:pt x="86" y="617"/>
                    </a:lnTo>
                    <a:lnTo>
                      <a:pt x="86" y="615"/>
                    </a:lnTo>
                    <a:lnTo>
                      <a:pt x="87" y="618"/>
                    </a:lnTo>
                    <a:lnTo>
                      <a:pt x="89" y="621"/>
                    </a:lnTo>
                    <a:lnTo>
                      <a:pt x="90" y="623"/>
                    </a:lnTo>
                    <a:lnTo>
                      <a:pt x="94" y="624"/>
                    </a:lnTo>
                    <a:lnTo>
                      <a:pt x="95" y="624"/>
                    </a:lnTo>
                    <a:lnTo>
                      <a:pt x="98" y="621"/>
                    </a:lnTo>
                    <a:lnTo>
                      <a:pt x="100" y="620"/>
                    </a:lnTo>
                    <a:lnTo>
                      <a:pt x="101" y="618"/>
                    </a:lnTo>
                    <a:lnTo>
                      <a:pt x="103" y="604"/>
                    </a:lnTo>
                    <a:lnTo>
                      <a:pt x="103" y="603"/>
                    </a:lnTo>
                    <a:lnTo>
                      <a:pt x="103" y="601"/>
                    </a:lnTo>
                    <a:lnTo>
                      <a:pt x="106" y="593"/>
                    </a:lnTo>
                    <a:lnTo>
                      <a:pt x="111" y="590"/>
                    </a:lnTo>
                    <a:lnTo>
                      <a:pt x="112" y="587"/>
                    </a:lnTo>
                    <a:lnTo>
                      <a:pt x="114" y="585"/>
                    </a:lnTo>
                    <a:lnTo>
                      <a:pt x="119" y="582"/>
                    </a:lnTo>
                    <a:lnTo>
                      <a:pt x="122" y="579"/>
                    </a:lnTo>
                    <a:lnTo>
                      <a:pt x="125" y="578"/>
                    </a:lnTo>
                    <a:lnTo>
                      <a:pt x="133" y="571"/>
                    </a:lnTo>
                    <a:lnTo>
                      <a:pt x="133" y="570"/>
                    </a:lnTo>
                    <a:lnTo>
                      <a:pt x="134" y="568"/>
                    </a:lnTo>
                    <a:lnTo>
                      <a:pt x="136" y="567"/>
                    </a:lnTo>
                    <a:lnTo>
                      <a:pt x="134" y="565"/>
                    </a:lnTo>
                    <a:lnTo>
                      <a:pt x="134" y="563"/>
                    </a:lnTo>
                    <a:lnTo>
                      <a:pt x="131" y="565"/>
                    </a:lnTo>
                    <a:lnTo>
                      <a:pt x="129" y="565"/>
                    </a:lnTo>
                    <a:lnTo>
                      <a:pt x="128" y="563"/>
                    </a:lnTo>
                    <a:lnTo>
                      <a:pt x="131" y="563"/>
                    </a:lnTo>
                    <a:lnTo>
                      <a:pt x="134" y="560"/>
                    </a:lnTo>
                    <a:lnTo>
                      <a:pt x="136" y="559"/>
                    </a:lnTo>
                    <a:lnTo>
                      <a:pt x="136" y="557"/>
                    </a:lnTo>
                    <a:lnTo>
                      <a:pt x="137" y="551"/>
                    </a:lnTo>
                    <a:lnTo>
                      <a:pt x="136" y="549"/>
                    </a:lnTo>
                    <a:lnTo>
                      <a:pt x="136" y="546"/>
                    </a:lnTo>
                    <a:lnTo>
                      <a:pt x="133" y="545"/>
                    </a:lnTo>
                    <a:lnTo>
                      <a:pt x="122" y="545"/>
                    </a:lnTo>
                    <a:lnTo>
                      <a:pt x="119" y="543"/>
                    </a:lnTo>
                    <a:lnTo>
                      <a:pt x="108" y="531"/>
                    </a:lnTo>
                    <a:lnTo>
                      <a:pt x="106" y="529"/>
                    </a:lnTo>
                    <a:lnTo>
                      <a:pt x="104" y="526"/>
                    </a:lnTo>
                    <a:lnTo>
                      <a:pt x="104" y="524"/>
                    </a:lnTo>
                    <a:lnTo>
                      <a:pt x="104" y="521"/>
                    </a:lnTo>
                    <a:lnTo>
                      <a:pt x="104" y="518"/>
                    </a:lnTo>
                    <a:lnTo>
                      <a:pt x="104" y="516"/>
                    </a:lnTo>
                    <a:lnTo>
                      <a:pt x="108" y="512"/>
                    </a:lnTo>
                    <a:lnTo>
                      <a:pt x="111" y="507"/>
                    </a:lnTo>
                    <a:lnTo>
                      <a:pt x="115" y="499"/>
                    </a:lnTo>
                    <a:lnTo>
                      <a:pt x="117" y="498"/>
                    </a:lnTo>
                    <a:lnTo>
                      <a:pt x="122" y="496"/>
                    </a:lnTo>
                    <a:lnTo>
                      <a:pt x="123" y="496"/>
                    </a:lnTo>
                    <a:lnTo>
                      <a:pt x="123" y="495"/>
                    </a:lnTo>
                    <a:lnTo>
                      <a:pt x="126" y="493"/>
                    </a:lnTo>
                    <a:lnTo>
                      <a:pt x="129" y="491"/>
                    </a:lnTo>
                    <a:lnTo>
                      <a:pt x="137" y="493"/>
                    </a:lnTo>
                    <a:lnTo>
                      <a:pt x="139" y="493"/>
                    </a:lnTo>
                    <a:lnTo>
                      <a:pt x="139" y="491"/>
                    </a:lnTo>
                    <a:lnTo>
                      <a:pt x="139" y="490"/>
                    </a:lnTo>
                    <a:lnTo>
                      <a:pt x="137" y="487"/>
                    </a:lnTo>
                    <a:lnTo>
                      <a:pt x="139" y="484"/>
                    </a:lnTo>
                    <a:lnTo>
                      <a:pt x="144" y="479"/>
                    </a:lnTo>
                    <a:lnTo>
                      <a:pt x="145" y="476"/>
                    </a:lnTo>
                    <a:lnTo>
                      <a:pt x="145" y="474"/>
                    </a:lnTo>
                    <a:lnTo>
                      <a:pt x="145" y="471"/>
                    </a:lnTo>
                    <a:lnTo>
                      <a:pt x="145" y="470"/>
                    </a:lnTo>
                    <a:lnTo>
                      <a:pt x="145" y="463"/>
                    </a:lnTo>
                    <a:lnTo>
                      <a:pt x="145" y="459"/>
                    </a:lnTo>
                    <a:lnTo>
                      <a:pt x="145" y="457"/>
                    </a:lnTo>
                    <a:lnTo>
                      <a:pt x="147" y="455"/>
                    </a:lnTo>
                    <a:lnTo>
                      <a:pt x="150" y="451"/>
                    </a:lnTo>
                    <a:lnTo>
                      <a:pt x="153" y="448"/>
                    </a:lnTo>
                    <a:lnTo>
                      <a:pt x="155" y="448"/>
                    </a:lnTo>
                    <a:lnTo>
                      <a:pt x="159" y="444"/>
                    </a:lnTo>
                    <a:lnTo>
                      <a:pt x="161" y="444"/>
                    </a:lnTo>
                    <a:lnTo>
                      <a:pt x="162" y="443"/>
                    </a:lnTo>
                    <a:lnTo>
                      <a:pt x="161" y="443"/>
                    </a:lnTo>
                    <a:lnTo>
                      <a:pt x="159" y="443"/>
                    </a:lnTo>
                    <a:lnTo>
                      <a:pt x="156" y="441"/>
                    </a:lnTo>
                    <a:lnTo>
                      <a:pt x="150" y="438"/>
                    </a:lnTo>
                    <a:lnTo>
                      <a:pt x="150" y="435"/>
                    </a:lnTo>
                    <a:lnTo>
                      <a:pt x="153" y="435"/>
                    </a:lnTo>
                    <a:lnTo>
                      <a:pt x="156" y="432"/>
                    </a:lnTo>
                    <a:lnTo>
                      <a:pt x="159" y="432"/>
                    </a:lnTo>
                    <a:lnTo>
                      <a:pt x="162" y="434"/>
                    </a:lnTo>
                    <a:lnTo>
                      <a:pt x="164" y="435"/>
                    </a:lnTo>
                    <a:lnTo>
                      <a:pt x="164" y="438"/>
                    </a:lnTo>
                    <a:lnTo>
                      <a:pt x="165" y="440"/>
                    </a:lnTo>
                    <a:lnTo>
                      <a:pt x="167" y="441"/>
                    </a:lnTo>
                    <a:lnTo>
                      <a:pt x="173" y="438"/>
                    </a:lnTo>
                    <a:lnTo>
                      <a:pt x="173" y="438"/>
                    </a:lnTo>
                    <a:lnTo>
                      <a:pt x="175" y="437"/>
                    </a:lnTo>
                    <a:lnTo>
                      <a:pt x="175" y="434"/>
                    </a:lnTo>
                    <a:lnTo>
                      <a:pt x="175" y="429"/>
                    </a:lnTo>
                    <a:lnTo>
                      <a:pt x="173" y="427"/>
                    </a:lnTo>
                    <a:lnTo>
                      <a:pt x="173" y="424"/>
                    </a:lnTo>
                    <a:lnTo>
                      <a:pt x="172" y="424"/>
                    </a:lnTo>
                    <a:lnTo>
                      <a:pt x="172" y="423"/>
                    </a:lnTo>
                    <a:lnTo>
                      <a:pt x="170" y="423"/>
                    </a:lnTo>
                    <a:lnTo>
                      <a:pt x="165" y="424"/>
                    </a:lnTo>
                    <a:lnTo>
                      <a:pt x="164" y="426"/>
                    </a:lnTo>
                    <a:lnTo>
                      <a:pt x="162" y="426"/>
                    </a:lnTo>
                    <a:lnTo>
                      <a:pt x="167" y="426"/>
                    </a:lnTo>
                    <a:lnTo>
                      <a:pt x="167" y="429"/>
                    </a:lnTo>
                    <a:lnTo>
                      <a:pt x="165" y="429"/>
                    </a:lnTo>
                    <a:lnTo>
                      <a:pt x="162" y="430"/>
                    </a:lnTo>
                    <a:lnTo>
                      <a:pt x="161" y="430"/>
                    </a:lnTo>
                    <a:lnTo>
                      <a:pt x="158" y="430"/>
                    </a:lnTo>
                    <a:lnTo>
                      <a:pt x="158" y="429"/>
                    </a:lnTo>
                    <a:lnTo>
                      <a:pt x="158" y="427"/>
                    </a:lnTo>
                    <a:lnTo>
                      <a:pt x="159" y="426"/>
                    </a:lnTo>
                    <a:lnTo>
                      <a:pt x="158" y="426"/>
                    </a:lnTo>
                    <a:lnTo>
                      <a:pt x="156" y="426"/>
                    </a:lnTo>
                    <a:lnTo>
                      <a:pt x="155" y="426"/>
                    </a:lnTo>
                    <a:lnTo>
                      <a:pt x="151" y="424"/>
                    </a:lnTo>
                    <a:lnTo>
                      <a:pt x="150" y="423"/>
                    </a:lnTo>
                    <a:lnTo>
                      <a:pt x="148" y="419"/>
                    </a:lnTo>
                    <a:lnTo>
                      <a:pt x="150" y="413"/>
                    </a:lnTo>
                    <a:lnTo>
                      <a:pt x="150" y="410"/>
                    </a:lnTo>
                    <a:lnTo>
                      <a:pt x="148" y="402"/>
                    </a:lnTo>
                    <a:lnTo>
                      <a:pt x="147" y="399"/>
                    </a:lnTo>
                    <a:lnTo>
                      <a:pt x="147" y="396"/>
                    </a:lnTo>
                    <a:lnTo>
                      <a:pt x="148" y="394"/>
                    </a:lnTo>
                    <a:lnTo>
                      <a:pt x="148" y="391"/>
                    </a:lnTo>
                    <a:lnTo>
                      <a:pt x="151" y="390"/>
                    </a:lnTo>
                    <a:lnTo>
                      <a:pt x="153" y="390"/>
                    </a:lnTo>
                    <a:lnTo>
                      <a:pt x="153" y="391"/>
                    </a:lnTo>
                    <a:lnTo>
                      <a:pt x="153" y="391"/>
                    </a:lnTo>
                    <a:lnTo>
                      <a:pt x="153" y="393"/>
                    </a:lnTo>
                    <a:lnTo>
                      <a:pt x="156" y="393"/>
                    </a:lnTo>
                    <a:lnTo>
                      <a:pt x="161" y="394"/>
                    </a:lnTo>
                    <a:lnTo>
                      <a:pt x="165" y="396"/>
                    </a:lnTo>
                    <a:lnTo>
                      <a:pt x="172" y="401"/>
                    </a:lnTo>
                    <a:lnTo>
                      <a:pt x="175" y="401"/>
                    </a:lnTo>
                    <a:lnTo>
                      <a:pt x="181" y="401"/>
                    </a:lnTo>
                    <a:lnTo>
                      <a:pt x="186" y="399"/>
                    </a:lnTo>
                    <a:lnTo>
                      <a:pt x="189" y="398"/>
                    </a:lnTo>
                    <a:lnTo>
                      <a:pt x="195" y="394"/>
                    </a:lnTo>
                    <a:lnTo>
                      <a:pt x="197" y="393"/>
                    </a:lnTo>
                    <a:lnTo>
                      <a:pt x="198" y="390"/>
                    </a:lnTo>
                    <a:lnTo>
                      <a:pt x="195" y="383"/>
                    </a:lnTo>
                    <a:lnTo>
                      <a:pt x="195" y="382"/>
                    </a:lnTo>
                    <a:lnTo>
                      <a:pt x="195" y="379"/>
                    </a:lnTo>
                    <a:lnTo>
                      <a:pt x="197" y="373"/>
                    </a:lnTo>
                    <a:lnTo>
                      <a:pt x="198" y="371"/>
                    </a:lnTo>
                    <a:lnTo>
                      <a:pt x="198" y="371"/>
                    </a:lnTo>
                    <a:lnTo>
                      <a:pt x="200" y="369"/>
                    </a:lnTo>
                    <a:lnTo>
                      <a:pt x="201" y="363"/>
                    </a:lnTo>
                    <a:lnTo>
                      <a:pt x="201" y="362"/>
                    </a:lnTo>
                    <a:lnTo>
                      <a:pt x="200" y="360"/>
                    </a:lnTo>
                    <a:lnTo>
                      <a:pt x="200" y="360"/>
                    </a:lnTo>
                    <a:lnTo>
                      <a:pt x="201" y="360"/>
                    </a:lnTo>
                    <a:lnTo>
                      <a:pt x="200" y="358"/>
                    </a:lnTo>
                    <a:lnTo>
                      <a:pt x="198" y="357"/>
                    </a:lnTo>
                    <a:lnTo>
                      <a:pt x="197" y="357"/>
                    </a:lnTo>
                    <a:lnTo>
                      <a:pt x="197" y="354"/>
                    </a:lnTo>
                    <a:lnTo>
                      <a:pt x="197" y="351"/>
                    </a:lnTo>
                    <a:lnTo>
                      <a:pt x="197" y="347"/>
                    </a:lnTo>
                    <a:lnTo>
                      <a:pt x="197" y="346"/>
                    </a:lnTo>
                    <a:lnTo>
                      <a:pt x="200" y="346"/>
                    </a:lnTo>
                    <a:lnTo>
                      <a:pt x="201" y="349"/>
                    </a:lnTo>
                    <a:lnTo>
                      <a:pt x="205" y="351"/>
                    </a:lnTo>
                    <a:lnTo>
                      <a:pt x="209" y="351"/>
                    </a:lnTo>
                    <a:lnTo>
                      <a:pt x="214" y="351"/>
                    </a:lnTo>
                    <a:lnTo>
                      <a:pt x="219" y="351"/>
                    </a:lnTo>
                    <a:lnTo>
                      <a:pt x="222" y="351"/>
                    </a:lnTo>
                    <a:lnTo>
                      <a:pt x="241" y="347"/>
                    </a:lnTo>
                    <a:lnTo>
                      <a:pt x="244" y="346"/>
                    </a:lnTo>
                    <a:lnTo>
                      <a:pt x="255" y="343"/>
                    </a:lnTo>
                    <a:lnTo>
                      <a:pt x="270" y="338"/>
                    </a:lnTo>
                    <a:lnTo>
                      <a:pt x="280" y="332"/>
                    </a:lnTo>
                    <a:lnTo>
                      <a:pt x="281" y="330"/>
                    </a:lnTo>
                    <a:lnTo>
                      <a:pt x="281" y="327"/>
                    </a:lnTo>
                    <a:lnTo>
                      <a:pt x="283" y="322"/>
                    </a:lnTo>
                    <a:lnTo>
                      <a:pt x="289" y="316"/>
                    </a:lnTo>
                    <a:lnTo>
                      <a:pt x="295" y="305"/>
                    </a:lnTo>
                    <a:lnTo>
                      <a:pt x="297" y="304"/>
                    </a:lnTo>
                    <a:lnTo>
                      <a:pt x="297" y="301"/>
                    </a:lnTo>
                    <a:lnTo>
                      <a:pt x="295" y="294"/>
                    </a:lnTo>
                    <a:lnTo>
                      <a:pt x="295" y="293"/>
                    </a:lnTo>
                    <a:lnTo>
                      <a:pt x="295" y="293"/>
                    </a:lnTo>
                    <a:lnTo>
                      <a:pt x="292" y="293"/>
                    </a:lnTo>
                    <a:lnTo>
                      <a:pt x="289" y="291"/>
                    </a:lnTo>
                    <a:lnTo>
                      <a:pt x="286" y="288"/>
                    </a:lnTo>
                    <a:lnTo>
                      <a:pt x="284" y="285"/>
                    </a:lnTo>
                    <a:lnTo>
                      <a:pt x="284" y="282"/>
                    </a:lnTo>
                    <a:lnTo>
                      <a:pt x="284" y="279"/>
                    </a:lnTo>
                    <a:lnTo>
                      <a:pt x="287" y="274"/>
                    </a:lnTo>
                    <a:lnTo>
                      <a:pt x="287" y="271"/>
                    </a:lnTo>
                    <a:lnTo>
                      <a:pt x="284" y="268"/>
                    </a:lnTo>
                    <a:lnTo>
                      <a:pt x="281" y="263"/>
                    </a:lnTo>
                    <a:lnTo>
                      <a:pt x="276" y="261"/>
                    </a:lnTo>
                    <a:lnTo>
                      <a:pt x="267" y="257"/>
                    </a:lnTo>
                    <a:lnTo>
                      <a:pt x="266" y="254"/>
                    </a:lnTo>
                    <a:lnTo>
                      <a:pt x="264" y="252"/>
                    </a:lnTo>
                    <a:lnTo>
                      <a:pt x="264" y="249"/>
                    </a:lnTo>
                    <a:lnTo>
                      <a:pt x="264" y="247"/>
                    </a:lnTo>
                    <a:lnTo>
                      <a:pt x="266" y="247"/>
                    </a:lnTo>
                    <a:lnTo>
                      <a:pt x="266" y="246"/>
                    </a:lnTo>
                    <a:lnTo>
                      <a:pt x="266" y="243"/>
                    </a:lnTo>
                    <a:lnTo>
                      <a:pt x="266" y="241"/>
                    </a:lnTo>
                    <a:lnTo>
                      <a:pt x="266" y="240"/>
                    </a:lnTo>
                    <a:lnTo>
                      <a:pt x="264" y="236"/>
                    </a:lnTo>
                    <a:lnTo>
                      <a:pt x="264" y="235"/>
                    </a:lnTo>
                    <a:lnTo>
                      <a:pt x="266" y="227"/>
                    </a:lnTo>
                    <a:lnTo>
                      <a:pt x="266" y="224"/>
                    </a:lnTo>
                    <a:lnTo>
                      <a:pt x="266" y="222"/>
                    </a:lnTo>
                    <a:lnTo>
                      <a:pt x="267" y="222"/>
                    </a:lnTo>
                    <a:lnTo>
                      <a:pt x="269" y="222"/>
                    </a:lnTo>
                    <a:lnTo>
                      <a:pt x="269" y="221"/>
                    </a:lnTo>
                    <a:lnTo>
                      <a:pt x="270" y="221"/>
                    </a:lnTo>
                    <a:lnTo>
                      <a:pt x="269" y="211"/>
                    </a:lnTo>
                    <a:lnTo>
                      <a:pt x="269" y="210"/>
                    </a:lnTo>
                    <a:lnTo>
                      <a:pt x="269" y="210"/>
                    </a:lnTo>
                    <a:lnTo>
                      <a:pt x="270" y="207"/>
                    </a:lnTo>
                    <a:lnTo>
                      <a:pt x="270" y="205"/>
                    </a:lnTo>
                    <a:lnTo>
                      <a:pt x="270" y="204"/>
                    </a:lnTo>
                    <a:lnTo>
                      <a:pt x="270" y="204"/>
                    </a:lnTo>
                    <a:lnTo>
                      <a:pt x="270" y="202"/>
                    </a:lnTo>
                    <a:lnTo>
                      <a:pt x="270" y="200"/>
                    </a:lnTo>
                    <a:lnTo>
                      <a:pt x="270" y="199"/>
                    </a:lnTo>
                    <a:lnTo>
                      <a:pt x="270" y="197"/>
                    </a:lnTo>
                    <a:lnTo>
                      <a:pt x="272" y="197"/>
                    </a:lnTo>
                    <a:lnTo>
                      <a:pt x="272" y="197"/>
                    </a:lnTo>
                    <a:lnTo>
                      <a:pt x="272" y="196"/>
                    </a:lnTo>
                    <a:lnTo>
                      <a:pt x="273" y="194"/>
                    </a:lnTo>
                    <a:lnTo>
                      <a:pt x="273" y="193"/>
                    </a:lnTo>
                    <a:lnTo>
                      <a:pt x="273" y="191"/>
                    </a:lnTo>
                    <a:lnTo>
                      <a:pt x="273" y="191"/>
                    </a:lnTo>
                    <a:lnTo>
                      <a:pt x="272" y="189"/>
                    </a:lnTo>
                    <a:lnTo>
                      <a:pt x="272" y="188"/>
                    </a:lnTo>
                    <a:lnTo>
                      <a:pt x="272" y="188"/>
                    </a:lnTo>
                    <a:lnTo>
                      <a:pt x="273" y="186"/>
                    </a:lnTo>
                    <a:lnTo>
                      <a:pt x="275" y="183"/>
                    </a:lnTo>
                    <a:lnTo>
                      <a:pt x="275" y="182"/>
                    </a:lnTo>
                    <a:lnTo>
                      <a:pt x="275" y="180"/>
                    </a:lnTo>
                    <a:lnTo>
                      <a:pt x="275" y="180"/>
                    </a:lnTo>
                    <a:lnTo>
                      <a:pt x="275" y="178"/>
                    </a:lnTo>
                    <a:lnTo>
                      <a:pt x="276" y="178"/>
                    </a:lnTo>
                    <a:lnTo>
                      <a:pt x="276" y="177"/>
                    </a:lnTo>
                    <a:lnTo>
                      <a:pt x="276" y="174"/>
                    </a:lnTo>
                    <a:lnTo>
                      <a:pt x="275" y="171"/>
                    </a:lnTo>
                    <a:lnTo>
                      <a:pt x="276" y="169"/>
                    </a:lnTo>
                    <a:lnTo>
                      <a:pt x="278" y="168"/>
                    </a:lnTo>
                    <a:lnTo>
                      <a:pt x="280" y="166"/>
                    </a:lnTo>
                    <a:lnTo>
                      <a:pt x="280" y="166"/>
                    </a:lnTo>
                    <a:lnTo>
                      <a:pt x="280" y="164"/>
                    </a:lnTo>
                    <a:lnTo>
                      <a:pt x="280" y="164"/>
                    </a:lnTo>
                    <a:lnTo>
                      <a:pt x="280" y="163"/>
                    </a:lnTo>
                    <a:lnTo>
                      <a:pt x="281" y="163"/>
                    </a:lnTo>
                    <a:lnTo>
                      <a:pt x="281" y="163"/>
                    </a:lnTo>
                    <a:lnTo>
                      <a:pt x="283" y="160"/>
                    </a:lnTo>
                    <a:lnTo>
                      <a:pt x="284" y="158"/>
                    </a:lnTo>
                    <a:lnTo>
                      <a:pt x="286" y="157"/>
                    </a:lnTo>
                    <a:lnTo>
                      <a:pt x="286" y="155"/>
                    </a:lnTo>
                    <a:lnTo>
                      <a:pt x="286" y="155"/>
                    </a:lnTo>
                    <a:lnTo>
                      <a:pt x="289" y="153"/>
                    </a:lnTo>
                    <a:lnTo>
                      <a:pt x="292" y="152"/>
                    </a:lnTo>
                    <a:lnTo>
                      <a:pt x="294" y="147"/>
                    </a:lnTo>
                    <a:lnTo>
                      <a:pt x="297" y="146"/>
                    </a:lnTo>
                    <a:lnTo>
                      <a:pt x="297" y="144"/>
                    </a:lnTo>
                    <a:lnTo>
                      <a:pt x="297" y="144"/>
                    </a:lnTo>
                    <a:lnTo>
                      <a:pt x="298" y="142"/>
                    </a:lnTo>
                    <a:lnTo>
                      <a:pt x="300" y="141"/>
                    </a:lnTo>
                    <a:lnTo>
                      <a:pt x="300" y="141"/>
                    </a:lnTo>
                    <a:lnTo>
                      <a:pt x="301" y="139"/>
                    </a:lnTo>
                    <a:lnTo>
                      <a:pt x="303" y="136"/>
                    </a:lnTo>
                    <a:lnTo>
                      <a:pt x="303" y="136"/>
                    </a:lnTo>
                    <a:lnTo>
                      <a:pt x="305" y="135"/>
                    </a:lnTo>
                    <a:lnTo>
                      <a:pt x="306" y="133"/>
                    </a:lnTo>
                    <a:lnTo>
                      <a:pt x="308" y="132"/>
                    </a:lnTo>
                    <a:lnTo>
                      <a:pt x="308" y="130"/>
                    </a:lnTo>
                    <a:lnTo>
                      <a:pt x="308" y="130"/>
                    </a:lnTo>
                    <a:lnTo>
                      <a:pt x="308" y="130"/>
                    </a:lnTo>
                    <a:lnTo>
                      <a:pt x="309" y="128"/>
                    </a:lnTo>
                    <a:lnTo>
                      <a:pt x="309" y="128"/>
                    </a:lnTo>
                    <a:lnTo>
                      <a:pt x="309" y="128"/>
                    </a:lnTo>
                    <a:lnTo>
                      <a:pt x="309" y="128"/>
                    </a:lnTo>
                    <a:lnTo>
                      <a:pt x="309" y="127"/>
                    </a:lnTo>
                    <a:lnTo>
                      <a:pt x="309" y="127"/>
                    </a:lnTo>
                    <a:lnTo>
                      <a:pt x="309" y="127"/>
                    </a:lnTo>
                    <a:lnTo>
                      <a:pt x="311" y="127"/>
                    </a:lnTo>
                    <a:lnTo>
                      <a:pt x="311" y="127"/>
                    </a:lnTo>
                    <a:lnTo>
                      <a:pt x="312" y="127"/>
                    </a:lnTo>
                    <a:lnTo>
                      <a:pt x="314" y="127"/>
                    </a:lnTo>
                    <a:lnTo>
                      <a:pt x="314" y="127"/>
                    </a:lnTo>
                    <a:lnTo>
                      <a:pt x="314" y="127"/>
                    </a:lnTo>
                    <a:lnTo>
                      <a:pt x="314" y="125"/>
                    </a:lnTo>
                    <a:lnTo>
                      <a:pt x="312" y="125"/>
                    </a:lnTo>
                    <a:lnTo>
                      <a:pt x="312" y="124"/>
                    </a:lnTo>
                    <a:lnTo>
                      <a:pt x="312" y="124"/>
                    </a:lnTo>
                    <a:lnTo>
                      <a:pt x="312" y="124"/>
                    </a:lnTo>
                    <a:lnTo>
                      <a:pt x="316" y="122"/>
                    </a:lnTo>
                    <a:lnTo>
                      <a:pt x="317" y="121"/>
                    </a:lnTo>
                    <a:lnTo>
                      <a:pt x="319" y="121"/>
                    </a:lnTo>
                    <a:lnTo>
                      <a:pt x="320" y="119"/>
                    </a:lnTo>
                    <a:lnTo>
                      <a:pt x="322" y="117"/>
                    </a:lnTo>
                    <a:lnTo>
                      <a:pt x="323" y="117"/>
                    </a:lnTo>
                    <a:lnTo>
                      <a:pt x="323" y="117"/>
                    </a:lnTo>
                    <a:lnTo>
                      <a:pt x="325" y="116"/>
                    </a:lnTo>
                    <a:lnTo>
                      <a:pt x="325" y="116"/>
                    </a:lnTo>
                    <a:lnTo>
                      <a:pt x="325" y="116"/>
                    </a:lnTo>
                    <a:lnTo>
                      <a:pt x="325" y="114"/>
                    </a:lnTo>
                    <a:lnTo>
                      <a:pt x="326" y="114"/>
                    </a:lnTo>
                    <a:lnTo>
                      <a:pt x="326" y="114"/>
                    </a:lnTo>
                    <a:lnTo>
                      <a:pt x="326" y="114"/>
                    </a:lnTo>
                    <a:lnTo>
                      <a:pt x="326" y="113"/>
                    </a:lnTo>
                    <a:lnTo>
                      <a:pt x="328" y="111"/>
                    </a:lnTo>
                    <a:lnTo>
                      <a:pt x="328" y="111"/>
                    </a:lnTo>
                    <a:lnTo>
                      <a:pt x="328" y="111"/>
                    </a:lnTo>
                    <a:lnTo>
                      <a:pt x="330" y="110"/>
                    </a:lnTo>
                    <a:lnTo>
                      <a:pt x="330" y="111"/>
                    </a:lnTo>
                    <a:lnTo>
                      <a:pt x="331" y="111"/>
                    </a:lnTo>
                    <a:lnTo>
                      <a:pt x="331" y="110"/>
                    </a:lnTo>
                    <a:lnTo>
                      <a:pt x="333" y="110"/>
                    </a:lnTo>
                    <a:lnTo>
                      <a:pt x="333" y="108"/>
                    </a:lnTo>
                    <a:lnTo>
                      <a:pt x="334" y="108"/>
                    </a:lnTo>
                    <a:lnTo>
                      <a:pt x="336" y="108"/>
                    </a:lnTo>
                    <a:lnTo>
                      <a:pt x="336" y="108"/>
                    </a:lnTo>
                    <a:lnTo>
                      <a:pt x="337" y="108"/>
                    </a:lnTo>
                    <a:lnTo>
                      <a:pt x="339" y="108"/>
                    </a:lnTo>
                    <a:lnTo>
                      <a:pt x="339" y="105"/>
                    </a:lnTo>
                    <a:lnTo>
                      <a:pt x="339" y="105"/>
                    </a:lnTo>
                    <a:lnTo>
                      <a:pt x="341" y="105"/>
                    </a:lnTo>
                    <a:lnTo>
                      <a:pt x="341" y="105"/>
                    </a:lnTo>
                    <a:lnTo>
                      <a:pt x="341" y="105"/>
                    </a:lnTo>
                    <a:lnTo>
                      <a:pt x="342" y="105"/>
                    </a:lnTo>
                    <a:lnTo>
                      <a:pt x="342" y="105"/>
                    </a:lnTo>
                    <a:lnTo>
                      <a:pt x="344" y="103"/>
                    </a:lnTo>
                    <a:lnTo>
                      <a:pt x="345" y="103"/>
                    </a:lnTo>
                    <a:lnTo>
                      <a:pt x="345" y="103"/>
                    </a:lnTo>
                    <a:lnTo>
                      <a:pt x="345" y="102"/>
                    </a:lnTo>
                    <a:lnTo>
                      <a:pt x="347" y="99"/>
                    </a:lnTo>
                    <a:lnTo>
                      <a:pt x="348" y="97"/>
                    </a:lnTo>
                    <a:lnTo>
                      <a:pt x="348" y="96"/>
                    </a:lnTo>
                    <a:lnTo>
                      <a:pt x="347" y="96"/>
                    </a:lnTo>
                    <a:lnTo>
                      <a:pt x="347" y="94"/>
                    </a:lnTo>
                    <a:lnTo>
                      <a:pt x="348" y="89"/>
                    </a:lnTo>
                    <a:lnTo>
                      <a:pt x="348" y="88"/>
                    </a:lnTo>
                    <a:lnTo>
                      <a:pt x="348" y="88"/>
                    </a:lnTo>
                    <a:lnTo>
                      <a:pt x="348" y="86"/>
                    </a:lnTo>
                    <a:lnTo>
                      <a:pt x="348" y="8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7" name="Freeform 14">
                <a:extLst>
                  <a:ext uri="{FF2B5EF4-FFF2-40B4-BE49-F238E27FC236}">
                    <a16:creationId xmlns:a16="http://schemas.microsoft.com/office/drawing/2014/main" id="{DDF37A64-7214-BB48-9AE0-F52E58D3C6A5}"/>
                  </a:ext>
                </a:extLst>
              </p:cNvPr>
              <p:cNvSpPr>
                <a:spLocks/>
              </p:cNvSpPr>
              <p:nvPr/>
            </p:nvSpPr>
            <p:spPr bwMode="gray">
              <a:xfrm>
                <a:off x="2842" y="592"/>
                <a:ext cx="133" cy="67"/>
              </a:xfrm>
              <a:custGeom>
                <a:avLst/>
                <a:gdLst>
                  <a:gd name="T0" fmla="*/ 129 w 133"/>
                  <a:gd name="T1" fmla="*/ 15 h 67"/>
                  <a:gd name="T2" fmla="*/ 133 w 133"/>
                  <a:gd name="T3" fmla="*/ 26 h 67"/>
                  <a:gd name="T4" fmla="*/ 132 w 133"/>
                  <a:gd name="T5" fmla="*/ 31 h 67"/>
                  <a:gd name="T6" fmla="*/ 129 w 133"/>
                  <a:gd name="T7" fmla="*/ 34 h 67"/>
                  <a:gd name="T8" fmla="*/ 124 w 133"/>
                  <a:gd name="T9" fmla="*/ 32 h 67"/>
                  <a:gd name="T10" fmla="*/ 126 w 133"/>
                  <a:gd name="T11" fmla="*/ 37 h 67"/>
                  <a:gd name="T12" fmla="*/ 122 w 133"/>
                  <a:gd name="T13" fmla="*/ 42 h 67"/>
                  <a:gd name="T14" fmla="*/ 121 w 133"/>
                  <a:gd name="T15" fmla="*/ 47 h 67"/>
                  <a:gd name="T16" fmla="*/ 122 w 133"/>
                  <a:gd name="T17" fmla="*/ 51 h 67"/>
                  <a:gd name="T18" fmla="*/ 118 w 133"/>
                  <a:gd name="T19" fmla="*/ 53 h 67"/>
                  <a:gd name="T20" fmla="*/ 113 w 133"/>
                  <a:gd name="T21" fmla="*/ 61 h 67"/>
                  <a:gd name="T22" fmla="*/ 105 w 133"/>
                  <a:gd name="T23" fmla="*/ 61 h 67"/>
                  <a:gd name="T24" fmla="*/ 94 w 133"/>
                  <a:gd name="T25" fmla="*/ 62 h 67"/>
                  <a:gd name="T26" fmla="*/ 90 w 133"/>
                  <a:gd name="T27" fmla="*/ 67 h 67"/>
                  <a:gd name="T28" fmla="*/ 86 w 133"/>
                  <a:gd name="T29" fmla="*/ 67 h 67"/>
                  <a:gd name="T30" fmla="*/ 76 w 133"/>
                  <a:gd name="T31" fmla="*/ 65 h 67"/>
                  <a:gd name="T32" fmla="*/ 65 w 133"/>
                  <a:gd name="T33" fmla="*/ 64 h 67"/>
                  <a:gd name="T34" fmla="*/ 51 w 133"/>
                  <a:gd name="T35" fmla="*/ 59 h 67"/>
                  <a:gd name="T36" fmla="*/ 46 w 133"/>
                  <a:gd name="T37" fmla="*/ 51 h 67"/>
                  <a:gd name="T38" fmla="*/ 40 w 133"/>
                  <a:gd name="T39" fmla="*/ 53 h 67"/>
                  <a:gd name="T40" fmla="*/ 30 w 133"/>
                  <a:gd name="T41" fmla="*/ 53 h 67"/>
                  <a:gd name="T42" fmla="*/ 24 w 133"/>
                  <a:gd name="T43" fmla="*/ 58 h 67"/>
                  <a:gd name="T44" fmla="*/ 16 w 133"/>
                  <a:gd name="T45" fmla="*/ 56 h 67"/>
                  <a:gd name="T46" fmla="*/ 11 w 133"/>
                  <a:gd name="T47" fmla="*/ 56 h 67"/>
                  <a:gd name="T48" fmla="*/ 5 w 133"/>
                  <a:gd name="T49" fmla="*/ 51 h 67"/>
                  <a:gd name="T50" fmla="*/ 2 w 133"/>
                  <a:gd name="T51" fmla="*/ 50 h 67"/>
                  <a:gd name="T52" fmla="*/ 0 w 133"/>
                  <a:gd name="T53" fmla="*/ 47 h 67"/>
                  <a:gd name="T54" fmla="*/ 0 w 133"/>
                  <a:gd name="T55" fmla="*/ 39 h 67"/>
                  <a:gd name="T56" fmla="*/ 4 w 133"/>
                  <a:gd name="T57" fmla="*/ 37 h 67"/>
                  <a:gd name="T58" fmla="*/ 10 w 133"/>
                  <a:gd name="T59" fmla="*/ 42 h 67"/>
                  <a:gd name="T60" fmla="*/ 11 w 133"/>
                  <a:gd name="T61" fmla="*/ 43 h 67"/>
                  <a:gd name="T62" fmla="*/ 16 w 133"/>
                  <a:gd name="T63" fmla="*/ 42 h 67"/>
                  <a:gd name="T64" fmla="*/ 21 w 133"/>
                  <a:gd name="T65" fmla="*/ 39 h 67"/>
                  <a:gd name="T66" fmla="*/ 25 w 133"/>
                  <a:gd name="T67" fmla="*/ 42 h 67"/>
                  <a:gd name="T68" fmla="*/ 32 w 133"/>
                  <a:gd name="T69" fmla="*/ 42 h 67"/>
                  <a:gd name="T70" fmla="*/ 38 w 133"/>
                  <a:gd name="T71" fmla="*/ 37 h 67"/>
                  <a:gd name="T72" fmla="*/ 49 w 133"/>
                  <a:gd name="T73" fmla="*/ 34 h 67"/>
                  <a:gd name="T74" fmla="*/ 54 w 133"/>
                  <a:gd name="T75" fmla="*/ 36 h 67"/>
                  <a:gd name="T76" fmla="*/ 57 w 133"/>
                  <a:gd name="T77" fmla="*/ 37 h 67"/>
                  <a:gd name="T78" fmla="*/ 61 w 133"/>
                  <a:gd name="T79" fmla="*/ 39 h 67"/>
                  <a:gd name="T80" fmla="*/ 60 w 133"/>
                  <a:gd name="T81" fmla="*/ 34 h 67"/>
                  <a:gd name="T82" fmla="*/ 58 w 133"/>
                  <a:gd name="T83" fmla="*/ 26 h 67"/>
                  <a:gd name="T84" fmla="*/ 63 w 133"/>
                  <a:gd name="T85" fmla="*/ 18 h 67"/>
                  <a:gd name="T86" fmla="*/ 68 w 133"/>
                  <a:gd name="T87" fmla="*/ 15 h 67"/>
                  <a:gd name="T88" fmla="*/ 74 w 133"/>
                  <a:gd name="T89" fmla="*/ 12 h 67"/>
                  <a:gd name="T90" fmla="*/ 76 w 133"/>
                  <a:gd name="T91" fmla="*/ 6 h 67"/>
                  <a:gd name="T92" fmla="*/ 80 w 133"/>
                  <a:gd name="T93" fmla="*/ 11 h 67"/>
                  <a:gd name="T94" fmla="*/ 88 w 133"/>
                  <a:gd name="T95" fmla="*/ 11 h 67"/>
                  <a:gd name="T96" fmla="*/ 94 w 133"/>
                  <a:gd name="T97" fmla="*/ 6 h 67"/>
                  <a:gd name="T98" fmla="*/ 99 w 133"/>
                  <a:gd name="T99" fmla="*/ 1 h 67"/>
                  <a:gd name="T100" fmla="*/ 104 w 133"/>
                  <a:gd name="T101" fmla="*/ 1 h 67"/>
                  <a:gd name="T102" fmla="*/ 115 w 133"/>
                  <a:gd name="T103" fmla="*/ 6 h 67"/>
                  <a:gd name="T104" fmla="*/ 124 w 133"/>
                  <a:gd name="T105" fmla="*/ 6 h 67"/>
                  <a:gd name="T106" fmla="*/ 129 w 133"/>
                  <a:gd name="T107"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 h="67">
                    <a:moveTo>
                      <a:pt x="130" y="11"/>
                    </a:moveTo>
                    <a:lnTo>
                      <a:pt x="130" y="11"/>
                    </a:lnTo>
                    <a:lnTo>
                      <a:pt x="130" y="12"/>
                    </a:lnTo>
                    <a:lnTo>
                      <a:pt x="130" y="14"/>
                    </a:lnTo>
                    <a:lnTo>
                      <a:pt x="129" y="15"/>
                    </a:lnTo>
                    <a:lnTo>
                      <a:pt x="129" y="17"/>
                    </a:lnTo>
                    <a:lnTo>
                      <a:pt x="130" y="22"/>
                    </a:lnTo>
                    <a:lnTo>
                      <a:pt x="132" y="25"/>
                    </a:lnTo>
                    <a:lnTo>
                      <a:pt x="133" y="25"/>
                    </a:lnTo>
                    <a:lnTo>
                      <a:pt x="133" y="26"/>
                    </a:lnTo>
                    <a:lnTo>
                      <a:pt x="133" y="28"/>
                    </a:lnTo>
                    <a:lnTo>
                      <a:pt x="133" y="29"/>
                    </a:lnTo>
                    <a:lnTo>
                      <a:pt x="132" y="29"/>
                    </a:lnTo>
                    <a:lnTo>
                      <a:pt x="132" y="31"/>
                    </a:lnTo>
                    <a:lnTo>
                      <a:pt x="132" y="31"/>
                    </a:lnTo>
                    <a:lnTo>
                      <a:pt x="132" y="32"/>
                    </a:lnTo>
                    <a:lnTo>
                      <a:pt x="132" y="34"/>
                    </a:lnTo>
                    <a:lnTo>
                      <a:pt x="130" y="34"/>
                    </a:lnTo>
                    <a:lnTo>
                      <a:pt x="129" y="34"/>
                    </a:lnTo>
                    <a:lnTo>
                      <a:pt x="129" y="34"/>
                    </a:lnTo>
                    <a:lnTo>
                      <a:pt x="127" y="34"/>
                    </a:lnTo>
                    <a:lnTo>
                      <a:pt x="127" y="34"/>
                    </a:lnTo>
                    <a:lnTo>
                      <a:pt x="126" y="32"/>
                    </a:lnTo>
                    <a:lnTo>
                      <a:pt x="124" y="32"/>
                    </a:lnTo>
                    <a:lnTo>
                      <a:pt x="124" y="32"/>
                    </a:lnTo>
                    <a:lnTo>
                      <a:pt x="122" y="34"/>
                    </a:lnTo>
                    <a:lnTo>
                      <a:pt x="122" y="34"/>
                    </a:lnTo>
                    <a:lnTo>
                      <a:pt x="121" y="34"/>
                    </a:lnTo>
                    <a:lnTo>
                      <a:pt x="121" y="36"/>
                    </a:lnTo>
                    <a:lnTo>
                      <a:pt x="126" y="37"/>
                    </a:lnTo>
                    <a:lnTo>
                      <a:pt x="126" y="39"/>
                    </a:lnTo>
                    <a:lnTo>
                      <a:pt x="126" y="40"/>
                    </a:lnTo>
                    <a:lnTo>
                      <a:pt x="124" y="40"/>
                    </a:lnTo>
                    <a:lnTo>
                      <a:pt x="124" y="42"/>
                    </a:lnTo>
                    <a:lnTo>
                      <a:pt x="122" y="42"/>
                    </a:lnTo>
                    <a:lnTo>
                      <a:pt x="121" y="42"/>
                    </a:lnTo>
                    <a:lnTo>
                      <a:pt x="121" y="43"/>
                    </a:lnTo>
                    <a:lnTo>
                      <a:pt x="122" y="45"/>
                    </a:lnTo>
                    <a:lnTo>
                      <a:pt x="121" y="45"/>
                    </a:lnTo>
                    <a:lnTo>
                      <a:pt x="121" y="47"/>
                    </a:lnTo>
                    <a:lnTo>
                      <a:pt x="121" y="48"/>
                    </a:lnTo>
                    <a:lnTo>
                      <a:pt x="122" y="48"/>
                    </a:lnTo>
                    <a:lnTo>
                      <a:pt x="122" y="50"/>
                    </a:lnTo>
                    <a:lnTo>
                      <a:pt x="122" y="50"/>
                    </a:lnTo>
                    <a:lnTo>
                      <a:pt x="122" y="51"/>
                    </a:lnTo>
                    <a:lnTo>
                      <a:pt x="122" y="51"/>
                    </a:lnTo>
                    <a:lnTo>
                      <a:pt x="122" y="51"/>
                    </a:lnTo>
                    <a:lnTo>
                      <a:pt x="121" y="53"/>
                    </a:lnTo>
                    <a:lnTo>
                      <a:pt x="119" y="53"/>
                    </a:lnTo>
                    <a:lnTo>
                      <a:pt x="118" y="53"/>
                    </a:lnTo>
                    <a:lnTo>
                      <a:pt x="115" y="56"/>
                    </a:lnTo>
                    <a:lnTo>
                      <a:pt x="115" y="56"/>
                    </a:lnTo>
                    <a:lnTo>
                      <a:pt x="113" y="58"/>
                    </a:lnTo>
                    <a:lnTo>
                      <a:pt x="113" y="59"/>
                    </a:lnTo>
                    <a:lnTo>
                      <a:pt x="113" y="61"/>
                    </a:lnTo>
                    <a:lnTo>
                      <a:pt x="113" y="61"/>
                    </a:lnTo>
                    <a:lnTo>
                      <a:pt x="110" y="59"/>
                    </a:lnTo>
                    <a:lnTo>
                      <a:pt x="110" y="59"/>
                    </a:lnTo>
                    <a:lnTo>
                      <a:pt x="107" y="61"/>
                    </a:lnTo>
                    <a:lnTo>
                      <a:pt x="105" y="61"/>
                    </a:lnTo>
                    <a:lnTo>
                      <a:pt x="104" y="62"/>
                    </a:lnTo>
                    <a:lnTo>
                      <a:pt x="101" y="61"/>
                    </a:lnTo>
                    <a:lnTo>
                      <a:pt x="96" y="62"/>
                    </a:lnTo>
                    <a:lnTo>
                      <a:pt x="96" y="62"/>
                    </a:lnTo>
                    <a:lnTo>
                      <a:pt x="94" y="62"/>
                    </a:lnTo>
                    <a:lnTo>
                      <a:pt x="93" y="62"/>
                    </a:lnTo>
                    <a:lnTo>
                      <a:pt x="93" y="64"/>
                    </a:lnTo>
                    <a:lnTo>
                      <a:pt x="91" y="65"/>
                    </a:lnTo>
                    <a:lnTo>
                      <a:pt x="91" y="65"/>
                    </a:lnTo>
                    <a:lnTo>
                      <a:pt x="90" y="67"/>
                    </a:lnTo>
                    <a:lnTo>
                      <a:pt x="88" y="67"/>
                    </a:lnTo>
                    <a:lnTo>
                      <a:pt x="88" y="67"/>
                    </a:lnTo>
                    <a:lnTo>
                      <a:pt x="88" y="67"/>
                    </a:lnTo>
                    <a:lnTo>
                      <a:pt x="86" y="67"/>
                    </a:lnTo>
                    <a:lnTo>
                      <a:pt x="86" y="67"/>
                    </a:lnTo>
                    <a:lnTo>
                      <a:pt x="83" y="67"/>
                    </a:lnTo>
                    <a:lnTo>
                      <a:pt x="80" y="65"/>
                    </a:lnTo>
                    <a:lnTo>
                      <a:pt x="79" y="65"/>
                    </a:lnTo>
                    <a:lnTo>
                      <a:pt x="77" y="65"/>
                    </a:lnTo>
                    <a:lnTo>
                      <a:pt x="76" y="65"/>
                    </a:lnTo>
                    <a:lnTo>
                      <a:pt x="74" y="65"/>
                    </a:lnTo>
                    <a:lnTo>
                      <a:pt x="74" y="64"/>
                    </a:lnTo>
                    <a:lnTo>
                      <a:pt x="69" y="64"/>
                    </a:lnTo>
                    <a:lnTo>
                      <a:pt x="68" y="64"/>
                    </a:lnTo>
                    <a:lnTo>
                      <a:pt x="65" y="64"/>
                    </a:lnTo>
                    <a:lnTo>
                      <a:pt x="58" y="62"/>
                    </a:lnTo>
                    <a:lnTo>
                      <a:pt x="55" y="61"/>
                    </a:lnTo>
                    <a:lnTo>
                      <a:pt x="54" y="61"/>
                    </a:lnTo>
                    <a:lnTo>
                      <a:pt x="52" y="61"/>
                    </a:lnTo>
                    <a:lnTo>
                      <a:pt x="51" y="59"/>
                    </a:lnTo>
                    <a:lnTo>
                      <a:pt x="49" y="59"/>
                    </a:lnTo>
                    <a:lnTo>
                      <a:pt x="49" y="56"/>
                    </a:lnTo>
                    <a:lnTo>
                      <a:pt x="46" y="54"/>
                    </a:lnTo>
                    <a:lnTo>
                      <a:pt x="46" y="53"/>
                    </a:lnTo>
                    <a:lnTo>
                      <a:pt x="46" y="51"/>
                    </a:lnTo>
                    <a:lnTo>
                      <a:pt x="47" y="51"/>
                    </a:lnTo>
                    <a:lnTo>
                      <a:pt x="47" y="50"/>
                    </a:lnTo>
                    <a:lnTo>
                      <a:pt x="46" y="50"/>
                    </a:lnTo>
                    <a:lnTo>
                      <a:pt x="43" y="51"/>
                    </a:lnTo>
                    <a:lnTo>
                      <a:pt x="40" y="53"/>
                    </a:lnTo>
                    <a:lnTo>
                      <a:pt x="38" y="53"/>
                    </a:lnTo>
                    <a:lnTo>
                      <a:pt x="36" y="53"/>
                    </a:lnTo>
                    <a:lnTo>
                      <a:pt x="35" y="53"/>
                    </a:lnTo>
                    <a:lnTo>
                      <a:pt x="33" y="53"/>
                    </a:lnTo>
                    <a:lnTo>
                      <a:pt x="30" y="53"/>
                    </a:lnTo>
                    <a:lnTo>
                      <a:pt x="29" y="54"/>
                    </a:lnTo>
                    <a:lnTo>
                      <a:pt x="27" y="56"/>
                    </a:lnTo>
                    <a:lnTo>
                      <a:pt x="27" y="58"/>
                    </a:lnTo>
                    <a:lnTo>
                      <a:pt x="25" y="58"/>
                    </a:lnTo>
                    <a:lnTo>
                      <a:pt x="24" y="58"/>
                    </a:lnTo>
                    <a:lnTo>
                      <a:pt x="22" y="58"/>
                    </a:lnTo>
                    <a:lnTo>
                      <a:pt x="22" y="58"/>
                    </a:lnTo>
                    <a:lnTo>
                      <a:pt x="21" y="56"/>
                    </a:lnTo>
                    <a:lnTo>
                      <a:pt x="19" y="56"/>
                    </a:lnTo>
                    <a:lnTo>
                      <a:pt x="16" y="56"/>
                    </a:lnTo>
                    <a:lnTo>
                      <a:pt x="16" y="56"/>
                    </a:lnTo>
                    <a:lnTo>
                      <a:pt x="16" y="54"/>
                    </a:lnTo>
                    <a:lnTo>
                      <a:pt x="16" y="53"/>
                    </a:lnTo>
                    <a:lnTo>
                      <a:pt x="15" y="53"/>
                    </a:lnTo>
                    <a:lnTo>
                      <a:pt x="11" y="56"/>
                    </a:lnTo>
                    <a:lnTo>
                      <a:pt x="11" y="56"/>
                    </a:lnTo>
                    <a:lnTo>
                      <a:pt x="8" y="54"/>
                    </a:lnTo>
                    <a:lnTo>
                      <a:pt x="7" y="54"/>
                    </a:lnTo>
                    <a:lnTo>
                      <a:pt x="7" y="53"/>
                    </a:lnTo>
                    <a:lnTo>
                      <a:pt x="5" y="51"/>
                    </a:lnTo>
                    <a:lnTo>
                      <a:pt x="4" y="51"/>
                    </a:lnTo>
                    <a:lnTo>
                      <a:pt x="2" y="51"/>
                    </a:lnTo>
                    <a:lnTo>
                      <a:pt x="0" y="51"/>
                    </a:lnTo>
                    <a:lnTo>
                      <a:pt x="2" y="50"/>
                    </a:lnTo>
                    <a:lnTo>
                      <a:pt x="2" y="50"/>
                    </a:lnTo>
                    <a:lnTo>
                      <a:pt x="2" y="48"/>
                    </a:lnTo>
                    <a:lnTo>
                      <a:pt x="0" y="48"/>
                    </a:lnTo>
                    <a:lnTo>
                      <a:pt x="0" y="48"/>
                    </a:lnTo>
                    <a:lnTo>
                      <a:pt x="0" y="47"/>
                    </a:lnTo>
                    <a:lnTo>
                      <a:pt x="0" y="47"/>
                    </a:lnTo>
                    <a:lnTo>
                      <a:pt x="0" y="45"/>
                    </a:lnTo>
                    <a:lnTo>
                      <a:pt x="0" y="45"/>
                    </a:lnTo>
                    <a:lnTo>
                      <a:pt x="2" y="42"/>
                    </a:lnTo>
                    <a:lnTo>
                      <a:pt x="2" y="40"/>
                    </a:lnTo>
                    <a:lnTo>
                      <a:pt x="0" y="39"/>
                    </a:lnTo>
                    <a:lnTo>
                      <a:pt x="0" y="39"/>
                    </a:lnTo>
                    <a:lnTo>
                      <a:pt x="0" y="39"/>
                    </a:lnTo>
                    <a:lnTo>
                      <a:pt x="2" y="39"/>
                    </a:lnTo>
                    <a:lnTo>
                      <a:pt x="4" y="39"/>
                    </a:lnTo>
                    <a:lnTo>
                      <a:pt x="4" y="37"/>
                    </a:lnTo>
                    <a:lnTo>
                      <a:pt x="5" y="37"/>
                    </a:lnTo>
                    <a:lnTo>
                      <a:pt x="8" y="39"/>
                    </a:lnTo>
                    <a:lnTo>
                      <a:pt x="8" y="40"/>
                    </a:lnTo>
                    <a:lnTo>
                      <a:pt x="10" y="40"/>
                    </a:lnTo>
                    <a:lnTo>
                      <a:pt x="10" y="42"/>
                    </a:lnTo>
                    <a:lnTo>
                      <a:pt x="10" y="42"/>
                    </a:lnTo>
                    <a:lnTo>
                      <a:pt x="10" y="42"/>
                    </a:lnTo>
                    <a:lnTo>
                      <a:pt x="11" y="42"/>
                    </a:lnTo>
                    <a:lnTo>
                      <a:pt x="11" y="43"/>
                    </a:lnTo>
                    <a:lnTo>
                      <a:pt x="11" y="43"/>
                    </a:lnTo>
                    <a:lnTo>
                      <a:pt x="11" y="45"/>
                    </a:lnTo>
                    <a:lnTo>
                      <a:pt x="13" y="45"/>
                    </a:lnTo>
                    <a:lnTo>
                      <a:pt x="15" y="43"/>
                    </a:lnTo>
                    <a:lnTo>
                      <a:pt x="15" y="43"/>
                    </a:lnTo>
                    <a:lnTo>
                      <a:pt x="16" y="42"/>
                    </a:lnTo>
                    <a:lnTo>
                      <a:pt x="16" y="39"/>
                    </a:lnTo>
                    <a:lnTo>
                      <a:pt x="16" y="39"/>
                    </a:lnTo>
                    <a:lnTo>
                      <a:pt x="16" y="39"/>
                    </a:lnTo>
                    <a:lnTo>
                      <a:pt x="19" y="39"/>
                    </a:lnTo>
                    <a:lnTo>
                      <a:pt x="21" y="39"/>
                    </a:lnTo>
                    <a:lnTo>
                      <a:pt x="24" y="39"/>
                    </a:lnTo>
                    <a:lnTo>
                      <a:pt x="24" y="39"/>
                    </a:lnTo>
                    <a:lnTo>
                      <a:pt x="24" y="40"/>
                    </a:lnTo>
                    <a:lnTo>
                      <a:pt x="25" y="42"/>
                    </a:lnTo>
                    <a:lnTo>
                      <a:pt x="25" y="42"/>
                    </a:lnTo>
                    <a:lnTo>
                      <a:pt x="27" y="42"/>
                    </a:lnTo>
                    <a:lnTo>
                      <a:pt x="29" y="42"/>
                    </a:lnTo>
                    <a:lnTo>
                      <a:pt x="29" y="42"/>
                    </a:lnTo>
                    <a:lnTo>
                      <a:pt x="30" y="42"/>
                    </a:lnTo>
                    <a:lnTo>
                      <a:pt x="32" y="42"/>
                    </a:lnTo>
                    <a:lnTo>
                      <a:pt x="32" y="40"/>
                    </a:lnTo>
                    <a:lnTo>
                      <a:pt x="33" y="40"/>
                    </a:lnTo>
                    <a:lnTo>
                      <a:pt x="35" y="39"/>
                    </a:lnTo>
                    <a:lnTo>
                      <a:pt x="36" y="39"/>
                    </a:lnTo>
                    <a:lnTo>
                      <a:pt x="38" y="37"/>
                    </a:lnTo>
                    <a:lnTo>
                      <a:pt x="47" y="36"/>
                    </a:lnTo>
                    <a:lnTo>
                      <a:pt x="47" y="36"/>
                    </a:lnTo>
                    <a:lnTo>
                      <a:pt x="47" y="34"/>
                    </a:lnTo>
                    <a:lnTo>
                      <a:pt x="47" y="34"/>
                    </a:lnTo>
                    <a:lnTo>
                      <a:pt x="49" y="34"/>
                    </a:lnTo>
                    <a:lnTo>
                      <a:pt x="51" y="34"/>
                    </a:lnTo>
                    <a:lnTo>
                      <a:pt x="51" y="36"/>
                    </a:lnTo>
                    <a:lnTo>
                      <a:pt x="52" y="36"/>
                    </a:lnTo>
                    <a:lnTo>
                      <a:pt x="52" y="36"/>
                    </a:lnTo>
                    <a:lnTo>
                      <a:pt x="54" y="36"/>
                    </a:lnTo>
                    <a:lnTo>
                      <a:pt x="55" y="36"/>
                    </a:lnTo>
                    <a:lnTo>
                      <a:pt x="57" y="36"/>
                    </a:lnTo>
                    <a:lnTo>
                      <a:pt x="57" y="37"/>
                    </a:lnTo>
                    <a:lnTo>
                      <a:pt x="57" y="37"/>
                    </a:lnTo>
                    <a:lnTo>
                      <a:pt x="57" y="37"/>
                    </a:lnTo>
                    <a:lnTo>
                      <a:pt x="58" y="39"/>
                    </a:lnTo>
                    <a:lnTo>
                      <a:pt x="58" y="39"/>
                    </a:lnTo>
                    <a:lnTo>
                      <a:pt x="60" y="40"/>
                    </a:lnTo>
                    <a:lnTo>
                      <a:pt x="61" y="40"/>
                    </a:lnTo>
                    <a:lnTo>
                      <a:pt x="61" y="39"/>
                    </a:lnTo>
                    <a:lnTo>
                      <a:pt x="61" y="37"/>
                    </a:lnTo>
                    <a:lnTo>
                      <a:pt x="61" y="36"/>
                    </a:lnTo>
                    <a:lnTo>
                      <a:pt x="61" y="34"/>
                    </a:lnTo>
                    <a:lnTo>
                      <a:pt x="61" y="34"/>
                    </a:lnTo>
                    <a:lnTo>
                      <a:pt x="60" y="34"/>
                    </a:lnTo>
                    <a:lnTo>
                      <a:pt x="60" y="34"/>
                    </a:lnTo>
                    <a:lnTo>
                      <a:pt x="60" y="32"/>
                    </a:lnTo>
                    <a:lnTo>
                      <a:pt x="60" y="31"/>
                    </a:lnTo>
                    <a:lnTo>
                      <a:pt x="60" y="29"/>
                    </a:lnTo>
                    <a:lnTo>
                      <a:pt x="58" y="26"/>
                    </a:lnTo>
                    <a:lnTo>
                      <a:pt x="57" y="25"/>
                    </a:lnTo>
                    <a:lnTo>
                      <a:pt x="57" y="23"/>
                    </a:lnTo>
                    <a:lnTo>
                      <a:pt x="58" y="22"/>
                    </a:lnTo>
                    <a:lnTo>
                      <a:pt x="60" y="22"/>
                    </a:lnTo>
                    <a:lnTo>
                      <a:pt x="63" y="18"/>
                    </a:lnTo>
                    <a:lnTo>
                      <a:pt x="63" y="18"/>
                    </a:lnTo>
                    <a:lnTo>
                      <a:pt x="65" y="18"/>
                    </a:lnTo>
                    <a:lnTo>
                      <a:pt x="66" y="17"/>
                    </a:lnTo>
                    <a:lnTo>
                      <a:pt x="68" y="17"/>
                    </a:lnTo>
                    <a:lnTo>
                      <a:pt x="68" y="15"/>
                    </a:lnTo>
                    <a:lnTo>
                      <a:pt x="69" y="12"/>
                    </a:lnTo>
                    <a:lnTo>
                      <a:pt x="69" y="11"/>
                    </a:lnTo>
                    <a:lnTo>
                      <a:pt x="69" y="11"/>
                    </a:lnTo>
                    <a:lnTo>
                      <a:pt x="72" y="12"/>
                    </a:lnTo>
                    <a:lnTo>
                      <a:pt x="74" y="12"/>
                    </a:lnTo>
                    <a:lnTo>
                      <a:pt x="74" y="12"/>
                    </a:lnTo>
                    <a:lnTo>
                      <a:pt x="76" y="11"/>
                    </a:lnTo>
                    <a:lnTo>
                      <a:pt x="76" y="11"/>
                    </a:lnTo>
                    <a:lnTo>
                      <a:pt x="76" y="7"/>
                    </a:lnTo>
                    <a:lnTo>
                      <a:pt x="76" y="6"/>
                    </a:lnTo>
                    <a:lnTo>
                      <a:pt x="76" y="6"/>
                    </a:lnTo>
                    <a:lnTo>
                      <a:pt x="76" y="6"/>
                    </a:lnTo>
                    <a:lnTo>
                      <a:pt x="77" y="7"/>
                    </a:lnTo>
                    <a:lnTo>
                      <a:pt x="79" y="7"/>
                    </a:lnTo>
                    <a:lnTo>
                      <a:pt x="80" y="11"/>
                    </a:lnTo>
                    <a:lnTo>
                      <a:pt x="82" y="11"/>
                    </a:lnTo>
                    <a:lnTo>
                      <a:pt x="85" y="11"/>
                    </a:lnTo>
                    <a:lnTo>
                      <a:pt x="86" y="11"/>
                    </a:lnTo>
                    <a:lnTo>
                      <a:pt x="86" y="11"/>
                    </a:lnTo>
                    <a:lnTo>
                      <a:pt x="88" y="11"/>
                    </a:lnTo>
                    <a:lnTo>
                      <a:pt x="91" y="11"/>
                    </a:lnTo>
                    <a:lnTo>
                      <a:pt x="91" y="9"/>
                    </a:lnTo>
                    <a:lnTo>
                      <a:pt x="93" y="6"/>
                    </a:lnTo>
                    <a:lnTo>
                      <a:pt x="93" y="6"/>
                    </a:lnTo>
                    <a:lnTo>
                      <a:pt x="94" y="6"/>
                    </a:lnTo>
                    <a:lnTo>
                      <a:pt x="96" y="4"/>
                    </a:lnTo>
                    <a:lnTo>
                      <a:pt x="96" y="0"/>
                    </a:lnTo>
                    <a:lnTo>
                      <a:pt x="96" y="0"/>
                    </a:lnTo>
                    <a:lnTo>
                      <a:pt x="97" y="0"/>
                    </a:lnTo>
                    <a:lnTo>
                      <a:pt x="99" y="1"/>
                    </a:lnTo>
                    <a:lnTo>
                      <a:pt x="99" y="1"/>
                    </a:lnTo>
                    <a:lnTo>
                      <a:pt x="99" y="1"/>
                    </a:lnTo>
                    <a:lnTo>
                      <a:pt x="101" y="1"/>
                    </a:lnTo>
                    <a:lnTo>
                      <a:pt x="102" y="1"/>
                    </a:lnTo>
                    <a:lnTo>
                      <a:pt x="104" y="1"/>
                    </a:lnTo>
                    <a:lnTo>
                      <a:pt x="107" y="3"/>
                    </a:lnTo>
                    <a:lnTo>
                      <a:pt x="108" y="4"/>
                    </a:lnTo>
                    <a:lnTo>
                      <a:pt x="110" y="3"/>
                    </a:lnTo>
                    <a:lnTo>
                      <a:pt x="110" y="3"/>
                    </a:lnTo>
                    <a:lnTo>
                      <a:pt x="115" y="6"/>
                    </a:lnTo>
                    <a:lnTo>
                      <a:pt x="118" y="7"/>
                    </a:lnTo>
                    <a:lnTo>
                      <a:pt x="121" y="7"/>
                    </a:lnTo>
                    <a:lnTo>
                      <a:pt x="121" y="6"/>
                    </a:lnTo>
                    <a:lnTo>
                      <a:pt x="122" y="6"/>
                    </a:lnTo>
                    <a:lnTo>
                      <a:pt x="124" y="6"/>
                    </a:lnTo>
                    <a:lnTo>
                      <a:pt x="124" y="6"/>
                    </a:lnTo>
                    <a:lnTo>
                      <a:pt x="126" y="7"/>
                    </a:lnTo>
                    <a:lnTo>
                      <a:pt x="127" y="7"/>
                    </a:lnTo>
                    <a:lnTo>
                      <a:pt x="129" y="7"/>
                    </a:lnTo>
                    <a:lnTo>
                      <a:pt x="129" y="7"/>
                    </a:lnTo>
                    <a:lnTo>
                      <a:pt x="130" y="11"/>
                    </a:lnTo>
                    <a:lnTo>
                      <a:pt x="130"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8" name="Freeform 15">
                <a:extLst>
                  <a:ext uri="{FF2B5EF4-FFF2-40B4-BE49-F238E27FC236}">
                    <a16:creationId xmlns:a16="http://schemas.microsoft.com/office/drawing/2014/main" id="{312EBABA-5F89-8518-8EC0-EE0EBF1D3A3D}"/>
                  </a:ext>
                </a:extLst>
              </p:cNvPr>
              <p:cNvSpPr>
                <a:spLocks noEditPoints="1"/>
              </p:cNvSpPr>
              <p:nvPr/>
            </p:nvSpPr>
            <p:spPr bwMode="gray">
              <a:xfrm>
                <a:off x="4656" y="1753"/>
                <a:ext cx="715" cy="673"/>
              </a:xfrm>
              <a:custGeom>
                <a:avLst/>
                <a:gdLst>
                  <a:gd name="T0" fmla="*/ 435 w 715"/>
                  <a:gd name="T1" fmla="*/ 491 h 673"/>
                  <a:gd name="T2" fmla="*/ 618 w 715"/>
                  <a:gd name="T3" fmla="*/ 651 h 673"/>
                  <a:gd name="T4" fmla="*/ 605 w 715"/>
                  <a:gd name="T5" fmla="*/ 660 h 673"/>
                  <a:gd name="T6" fmla="*/ 5 w 715"/>
                  <a:gd name="T7" fmla="*/ 294 h 673"/>
                  <a:gd name="T8" fmla="*/ 310 w 715"/>
                  <a:gd name="T9" fmla="*/ 33 h 673"/>
                  <a:gd name="T10" fmla="*/ 683 w 715"/>
                  <a:gd name="T11" fmla="*/ 258 h 673"/>
                  <a:gd name="T12" fmla="*/ 649 w 715"/>
                  <a:gd name="T13" fmla="*/ 225 h 673"/>
                  <a:gd name="T14" fmla="*/ 612 w 715"/>
                  <a:gd name="T15" fmla="*/ 177 h 673"/>
                  <a:gd name="T16" fmla="*/ 574 w 715"/>
                  <a:gd name="T17" fmla="*/ 119 h 673"/>
                  <a:gd name="T18" fmla="*/ 538 w 715"/>
                  <a:gd name="T19" fmla="*/ 65 h 673"/>
                  <a:gd name="T20" fmla="*/ 519 w 715"/>
                  <a:gd name="T21" fmla="*/ 12 h 673"/>
                  <a:gd name="T22" fmla="*/ 502 w 715"/>
                  <a:gd name="T23" fmla="*/ 70 h 673"/>
                  <a:gd name="T24" fmla="*/ 458 w 715"/>
                  <a:gd name="T25" fmla="*/ 123 h 673"/>
                  <a:gd name="T26" fmla="*/ 397 w 715"/>
                  <a:gd name="T27" fmla="*/ 89 h 673"/>
                  <a:gd name="T28" fmla="*/ 414 w 715"/>
                  <a:gd name="T29" fmla="*/ 34 h 673"/>
                  <a:gd name="T30" fmla="*/ 386 w 715"/>
                  <a:gd name="T31" fmla="*/ 37 h 673"/>
                  <a:gd name="T32" fmla="*/ 333 w 715"/>
                  <a:gd name="T33" fmla="*/ 22 h 673"/>
                  <a:gd name="T34" fmla="*/ 322 w 715"/>
                  <a:gd name="T35" fmla="*/ 37 h 673"/>
                  <a:gd name="T36" fmla="*/ 297 w 715"/>
                  <a:gd name="T37" fmla="*/ 62 h 673"/>
                  <a:gd name="T38" fmla="*/ 288 w 715"/>
                  <a:gd name="T39" fmla="*/ 87 h 673"/>
                  <a:gd name="T40" fmla="*/ 261 w 715"/>
                  <a:gd name="T41" fmla="*/ 76 h 673"/>
                  <a:gd name="T42" fmla="*/ 230 w 715"/>
                  <a:gd name="T43" fmla="*/ 80 h 673"/>
                  <a:gd name="T44" fmla="*/ 216 w 715"/>
                  <a:gd name="T45" fmla="*/ 89 h 673"/>
                  <a:gd name="T46" fmla="*/ 207 w 715"/>
                  <a:gd name="T47" fmla="*/ 103 h 673"/>
                  <a:gd name="T48" fmla="*/ 189 w 715"/>
                  <a:gd name="T49" fmla="*/ 112 h 673"/>
                  <a:gd name="T50" fmla="*/ 178 w 715"/>
                  <a:gd name="T51" fmla="*/ 120 h 673"/>
                  <a:gd name="T52" fmla="*/ 142 w 715"/>
                  <a:gd name="T53" fmla="*/ 173 h 673"/>
                  <a:gd name="T54" fmla="*/ 30 w 715"/>
                  <a:gd name="T55" fmla="*/ 217 h 673"/>
                  <a:gd name="T56" fmla="*/ 19 w 715"/>
                  <a:gd name="T57" fmla="*/ 286 h 673"/>
                  <a:gd name="T58" fmla="*/ 16 w 715"/>
                  <a:gd name="T59" fmla="*/ 305 h 673"/>
                  <a:gd name="T60" fmla="*/ 36 w 715"/>
                  <a:gd name="T61" fmla="*/ 367 h 673"/>
                  <a:gd name="T62" fmla="*/ 50 w 715"/>
                  <a:gd name="T63" fmla="*/ 468 h 673"/>
                  <a:gd name="T64" fmla="*/ 177 w 715"/>
                  <a:gd name="T65" fmla="*/ 454 h 673"/>
                  <a:gd name="T66" fmla="*/ 318 w 715"/>
                  <a:gd name="T67" fmla="*/ 405 h 673"/>
                  <a:gd name="T68" fmla="*/ 391 w 715"/>
                  <a:gd name="T69" fmla="*/ 454 h 673"/>
                  <a:gd name="T70" fmla="*/ 408 w 715"/>
                  <a:gd name="T71" fmla="*/ 464 h 673"/>
                  <a:gd name="T72" fmla="*/ 432 w 715"/>
                  <a:gd name="T73" fmla="*/ 466 h 673"/>
                  <a:gd name="T74" fmla="*/ 444 w 715"/>
                  <a:gd name="T75" fmla="*/ 491 h 673"/>
                  <a:gd name="T76" fmla="*/ 472 w 715"/>
                  <a:gd name="T77" fmla="*/ 522 h 673"/>
                  <a:gd name="T78" fmla="*/ 558 w 715"/>
                  <a:gd name="T79" fmla="*/ 547 h 673"/>
                  <a:gd name="T80" fmla="*/ 576 w 715"/>
                  <a:gd name="T81" fmla="*/ 557 h 673"/>
                  <a:gd name="T82" fmla="*/ 633 w 715"/>
                  <a:gd name="T83" fmla="*/ 538 h 673"/>
                  <a:gd name="T84" fmla="*/ 665 w 715"/>
                  <a:gd name="T85" fmla="*/ 477 h 673"/>
                  <a:gd name="T86" fmla="*/ 690 w 715"/>
                  <a:gd name="T87" fmla="*/ 428 h 673"/>
                  <a:gd name="T88" fmla="*/ 622 w 715"/>
                  <a:gd name="T89" fmla="*/ 633 h 673"/>
                  <a:gd name="T90" fmla="*/ 596 w 715"/>
                  <a:gd name="T91" fmla="*/ 615 h 673"/>
                  <a:gd name="T92" fmla="*/ 563 w 715"/>
                  <a:gd name="T93" fmla="*/ 626 h 673"/>
                  <a:gd name="T94" fmla="*/ 583 w 715"/>
                  <a:gd name="T95" fmla="*/ 666 h 673"/>
                  <a:gd name="T96" fmla="*/ 607 w 715"/>
                  <a:gd name="T97" fmla="*/ 658 h 673"/>
                  <a:gd name="T98" fmla="*/ 619 w 715"/>
                  <a:gd name="T99" fmla="*/ 633 h 673"/>
                  <a:gd name="T100" fmla="*/ 408 w 715"/>
                  <a:gd name="T101" fmla="*/ 65 h 673"/>
                  <a:gd name="T102" fmla="*/ 621 w 715"/>
                  <a:gd name="T103" fmla="*/ 599 h 673"/>
                  <a:gd name="T104" fmla="*/ 571 w 715"/>
                  <a:gd name="T105" fmla="*/ 549 h 673"/>
                  <a:gd name="T106" fmla="*/ 516 w 715"/>
                  <a:gd name="T107" fmla="*/ 4 h 673"/>
                  <a:gd name="T108" fmla="*/ 662 w 715"/>
                  <a:gd name="T109" fmla="*/ 223 h 673"/>
                  <a:gd name="T110" fmla="*/ 705 w 715"/>
                  <a:gd name="T111" fmla="*/ 278 h 673"/>
                  <a:gd name="T112" fmla="*/ 419 w 715"/>
                  <a:gd name="T113" fmla="*/ 73 h 673"/>
                  <a:gd name="T114" fmla="*/ 422 w 715"/>
                  <a:gd name="T115" fmla="*/ 73 h 673"/>
                  <a:gd name="T116" fmla="*/ 414 w 715"/>
                  <a:gd name="T117" fmla="*/ 26 h 673"/>
                  <a:gd name="T118" fmla="*/ 515 w 715"/>
                  <a:gd name="T119" fmla="*/ 0 h 673"/>
                  <a:gd name="T120" fmla="*/ 327 w 715"/>
                  <a:gd name="T121" fmla="*/ 2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5" h="673">
                    <a:moveTo>
                      <a:pt x="188" y="42"/>
                    </a:moveTo>
                    <a:lnTo>
                      <a:pt x="188" y="42"/>
                    </a:lnTo>
                    <a:lnTo>
                      <a:pt x="188" y="42"/>
                    </a:lnTo>
                    <a:lnTo>
                      <a:pt x="188" y="42"/>
                    </a:lnTo>
                    <a:lnTo>
                      <a:pt x="188" y="42"/>
                    </a:lnTo>
                    <a:close/>
                    <a:moveTo>
                      <a:pt x="549" y="585"/>
                    </a:moveTo>
                    <a:lnTo>
                      <a:pt x="549" y="582"/>
                    </a:lnTo>
                    <a:lnTo>
                      <a:pt x="547" y="579"/>
                    </a:lnTo>
                    <a:lnTo>
                      <a:pt x="546" y="579"/>
                    </a:lnTo>
                    <a:lnTo>
                      <a:pt x="546" y="579"/>
                    </a:lnTo>
                    <a:lnTo>
                      <a:pt x="546" y="580"/>
                    </a:lnTo>
                    <a:lnTo>
                      <a:pt x="544" y="580"/>
                    </a:lnTo>
                    <a:lnTo>
                      <a:pt x="544" y="582"/>
                    </a:lnTo>
                    <a:lnTo>
                      <a:pt x="544" y="583"/>
                    </a:lnTo>
                    <a:lnTo>
                      <a:pt x="544" y="585"/>
                    </a:lnTo>
                    <a:lnTo>
                      <a:pt x="544" y="587"/>
                    </a:lnTo>
                    <a:lnTo>
                      <a:pt x="544" y="590"/>
                    </a:lnTo>
                    <a:lnTo>
                      <a:pt x="544" y="590"/>
                    </a:lnTo>
                    <a:lnTo>
                      <a:pt x="546" y="590"/>
                    </a:lnTo>
                    <a:lnTo>
                      <a:pt x="547" y="590"/>
                    </a:lnTo>
                    <a:lnTo>
                      <a:pt x="549" y="588"/>
                    </a:lnTo>
                    <a:lnTo>
                      <a:pt x="549" y="587"/>
                    </a:lnTo>
                    <a:lnTo>
                      <a:pt x="549" y="585"/>
                    </a:lnTo>
                    <a:close/>
                    <a:moveTo>
                      <a:pt x="441" y="493"/>
                    </a:moveTo>
                    <a:lnTo>
                      <a:pt x="440" y="493"/>
                    </a:lnTo>
                    <a:lnTo>
                      <a:pt x="438" y="494"/>
                    </a:lnTo>
                    <a:lnTo>
                      <a:pt x="433" y="493"/>
                    </a:lnTo>
                    <a:lnTo>
                      <a:pt x="433" y="493"/>
                    </a:lnTo>
                    <a:lnTo>
                      <a:pt x="435" y="491"/>
                    </a:lnTo>
                    <a:lnTo>
                      <a:pt x="433" y="491"/>
                    </a:lnTo>
                    <a:lnTo>
                      <a:pt x="433" y="489"/>
                    </a:lnTo>
                    <a:lnTo>
                      <a:pt x="429" y="489"/>
                    </a:lnTo>
                    <a:lnTo>
                      <a:pt x="425" y="491"/>
                    </a:lnTo>
                    <a:lnTo>
                      <a:pt x="418" y="493"/>
                    </a:lnTo>
                    <a:lnTo>
                      <a:pt x="416" y="494"/>
                    </a:lnTo>
                    <a:lnTo>
                      <a:pt x="416" y="496"/>
                    </a:lnTo>
                    <a:lnTo>
                      <a:pt x="416" y="497"/>
                    </a:lnTo>
                    <a:lnTo>
                      <a:pt x="419" y="499"/>
                    </a:lnTo>
                    <a:lnTo>
                      <a:pt x="422" y="499"/>
                    </a:lnTo>
                    <a:lnTo>
                      <a:pt x="424" y="499"/>
                    </a:lnTo>
                    <a:lnTo>
                      <a:pt x="425" y="499"/>
                    </a:lnTo>
                    <a:lnTo>
                      <a:pt x="427" y="499"/>
                    </a:lnTo>
                    <a:lnTo>
                      <a:pt x="430" y="499"/>
                    </a:lnTo>
                    <a:lnTo>
                      <a:pt x="432" y="500"/>
                    </a:lnTo>
                    <a:lnTo>
                      <a:pt x="433" y="499"/>
                    </a:lnTo>
                    <a:lnTo>
                      <a:pt x="435" y="497"/>
                    </a:lnTo>
                    <a:lnTo>
                      <a:pt x="435" y="496"/>
                    </a:lnTo>
                    <a:lnTo>
                      <a:pt x="438" y="496"/>
                    </a:lnTo>
                    <a:lnTo>
                      <a:pt x="441" y="497"/>
                    </a:lnTo>
                    <a:lnTo>
                      <a:pt x="443" y="496"/>
                    </a:lnTo>
                    <a:lnTo>
                      <a:pt x="443" y="496"/>
                    </a:lnTo>
                    <a:lnTo>
                      <a:pt x="441" y="493"/>
                    </a:lnTo>
                    <a:close/>
                    <a:moveTo>
                      <a:pt x="619" y="649"/>
                    </a:moveTo>
                    <a:lnTo>
                      <a:pt x="619" y="649"/>
                    </a:lnTo>
                    <a:lnTo>
                      <a:pt x="618" y="648"/>
                    </a:lnTo>
                    <a:lnTo>
                      <a:pt x="616" y="649"/>
                    </a:lnTo>
                    <a:lnTo>
                      <a:pt x="618" y="649"/>
                    </a:lnTo>
                    <a:lnTo>
                      <a:pt x="618" y="651"/>
                    </a:lnTo>
                    <a:lnTo>
                      <a:pt x="618" y="651"/>
                    </a:lnTo>
                    <a:lnTo>
                      <a:pt x="618" y="651"/>
                    </a:lnTo>
                    <a:lnTo>
                      <a:pt x="618" y="651"/>
                    </a:lnTo>
                    <a:lnTo>
                      <a:pt x="619" y="649"/>
                    </a:lnTo>
                    <a:close/>
                    <a:moveTo>
                      <a:pt x="605" y="666"/>
                    </a:moveTo>
                    <a:lnTo>
                      <a:pt x="605" y="665"/>
                    </a:lnTo>
                    <a:lnTo>
                      <a:pt x="604" y="665"/>
                    </a:lnTo>
                    <a:lnTo>
                      <a:pt x="604" y="665"/>
                    </a:lnTo>
                    <a:lnTo>
                      <a:pt x="602" y="666"/>
                    </a:lnTo>
                    <a:lnTo>
                      <a:pt x="602" y="666"/>
                    </a:lnTo>
                    <a:lnTo>
                      <a:pt x="602" y="668"/>
                    </a:lnTo>
                    <a:lnTo>
                      <a:pt x="602" y="668"/>
                    </a:lnTo>
                    <a:lnTo>
                      <a:pt x="601" y="668"/>
                    </a:lnTo>
                    <a:lnTo>
                      <a:pt x="601" y="668"/>
                    </a:lnTo>
                    <a:lnTo>
                      <a:pt x="602" y="669"/>
                    </a:lnTo>
                    <a:lnTo>
                      <a:pt x="604" y="669"/>
                    </a:lnTo>
                    <a:lnTo>
                      <a:pt x="604" y="669"/>
                    </a:lnTo>
                    <a:lnTo>
                      <a:pt x="605" y="668"/>
                    </a:lnTo>
                    <a:lnTo>
                      <a:pt x="605" y="666"/>
                    </a:lnTo>
                    <a:close/>
                    <a:moveTo>
                      <a:pt x="605" y="660"/>
                    </a:moveTo>
                    <a:lnTo>
                      <a:pt x="605" y="660"/>
                    </a:lnTo>
                    <a:lnTo>
                      <a:pt x="605" y="660"/>
                    </a:lnTo>
                    <a:lnTo>
                      <a:pt x="605" y="662"/>
                    </a:lnTo>
                    <a:lnTo>
                      <a:pt x="604" y="662"/>
                    </a:lnTo>
                    <a:lnTo>
                      <a:pt x="605" y="662"/>
                    </a:lnTo>
                    <a:lnTo>
                      <a:pt x="605" y="663"/>
                    </a:lnTo>
                    <a:lnTo>
                      <a:pt x="605" y="663"/>
                    </a:lnTo>
                    <a:lnTo>
                      <a:pt x="607" y="663"/>
                    </a:lnTo>
                    <a:lnTo>
                      <a:pt x="605" y="660"/>
                    </a:lnTo>
                    <a:close/>
                    <a:moveTo>
                      <a:pt x="216" y="80"/>
                    </a:moveTo>
                    <a:lnTo>
                      <a:pt x="216" y="80"/>
                    </a:lnTo>
                    <a:lnTo>
                      <a:pt x="214" y="80"/>
                    </a:lnTo>
                    <a:lnTo>
                      <a:pt x="214" y="81"/>
                    </a:lnTo>
                    <a:lnTo>
                      <a:pt x="216" y="83"/>
                    </a:lnTo>
                    <a:lnTo>
                      <a:pt x="216" y="81"/>
                    </a:lnTo>
                    <a:lnTo>
                      <a:pt x="216" y="81"/>
                    </a:lnTo>
                    <a:lnTo>
                      <a:pt x="216" y="80"/>
                    </a:lnTo>
                    <a:close/>
                    <a:moveTo>
                      <a:pt x="205" y="95"/>
                    </a:moveTo>
                    <a:lnTo>
                      <a:pt x="205" y="94"/>
                    </a:lnTo>
                    <a:lnTo>
                      <a:pt x="205" y="94"/>
                    </a:lnTo>
                    <a:lnTo>
                      <a:pt x="203" y="94"/>
                    </a:lnTo>
                    <a:lnTo>
                      <a:pt x="203" y="95"/>
                    </a:lnTo>
                    <a:lnTo>
                      <a:pt x="205" y="95"/>
                    </a:lnTo>
                    <a:lnTo>
                      <a:pt x="205" y="97"/>
                    </a:lnTo>
                    <a:lnTo>
                      <a:pt x="205" y="97"/>
                    </a:lnTo>
                    <a:lnTo>
                      <a:pt x="207" y="97"/>
                    </a:lnTo>
                    <a:lnTo>
                      <a:pt x="207" y="95"/>
                    </a:lnTo>
                    <a:lnTo>
                      <a:pt x="205" y="95"/>
                    </a:lnTo>
                    <a:close/>
                    <a:moveTo>
                      <a:pt x="46" y="192"/>
                    </a:moveTo>
                    <a:lnTo>
                      <a:pt x="44" y="194"/>
                    </a:lnTo>
                    <a:lnTo>
                      <a:pt x="42" y="195"/>
                    </a:lnTo>
                    <a:lnTo>
                      <a:pt x="42" y="197"/>
                    </a:lnTo>
                    <a:lnTo>
                      <a:pt x="44" y="197"/>
                    </a:lnTo>
                    <a:lnTo>
                      <a:pt x="46" y="195"/>
                    </a:lnTo>
                    <a:lnTo>
                      <a:pt x="46" y="194"/>
                    </a:lnTo>
                    <a:lnTo>
                      <a:pt x="46" y="192"/>
                    </a:lnTo>
                    <a:close/>
                    <a:moveTo>
                      <a:pt x="5" y="294"/>
                    </a:moveTo>
                    <a:lnTo>
                      <a:pt x="5" y="294"/>
                    </a:lnTo>
                    <a:lnTo>
                      <a:pt x="5" y="292"/>
                    </a:lnTo>
                    <a:lnTo>
                      <a:pt x="3" y="291"/>
                    </a:lnTo>
                    <a:lnTo>
                      <a:pt x="2" y="285"/>
                    </a:lnTo>
                    <a:lnTo>
                      <a:pt x="2" y="285"/>
                    </a:lnTo>
                    <a:lnTo>
                      <a:pt x="0" y="286"/>
                    </a:lnTo>
                    <a:lnTo>
                      <a:pt x="2" y="291"/>
                    </a:lnTo>
                    <a:lnTo>
                      <a:pt x="5" y="295"/>
                    </a:lnTo>
                    <a:lnTo>
                      <a:pt x="5" y="295"/>
                    </a:lnTo>
                    <a:lnTo>
                      <a:pt x="5" y="294"/>
                    </a:lnTo>
                    <a:close/>
                    <a:moveTo>
                      <a:pt x="311" y="31"/>
                    </a:moveTo>
                    <a:lnTo>
                      <a:pt x="311" y="31"/>
                    </a:lnTo>
                    <a:lnTo>
                      <a:pt x="310" y="29"/>
                    </a:lnTo>
                    <a:lnTo>
                      <a:pt x="308" y="29"/>
                    </a:lnTo>
                    <a:lnTo>
                      <a:pt x="308" y="28"/>
                    </a:lnTo>
                    <a:lnTo>
                      <a:pt x="308" y="26"/>
                    </a:lnTo>
                    <a:lnTo>
                      <a:pt x="307" y="25"/>
                    </a:lnTo>
                    <a:lnTo>
                      <a:pt x="307" y="23"/>
                    </a:lnTo>
                    <a:lnTo>
                      <a:pt x="305" y="23"/>
                    </a:lnTo>
                    <a:lnTo>
                      <a:pt x="305" y="23"/>
                    </a:lnTo>
                    <a:lnTo>
                      <a:pt x="303" y="26"/>
                    </a:lnTo>
                    <a:lnTo>
                      <a:pt x="303" y="26"/>
                    </a:lnTo>
                    <a:lnTo>
                      <a:pt x="303" y="29"/>
                    </a:lnTo>
                    <a:lnTo>
                      <a:pt x="303" y="29"/>
                    </a:lnTo>
                    <a:lnTo>
                      <a:pt x="302" y="29"/>
                    </a:lnTo>
                    <a:lnTo>
                      <a:pt x="302" y="31"/>
                    </a:lnTo>
                    <a:lnTo>
                      <a:pt x="302" y="33"/>
                    </a:lnTo>
                    <a:lnTo>
                      <a:pt x="303" y="31"/>
                    </a:lnTo>
                    <a:lnTo>
                      <a:pt x="307" y="31"/>
                    </a:lnTo>
                    <a:lnTo>
                      <a:pt x="310" y="33"/>
                    </a:lnTo>
                    <a:lnTo>
                      <a:pt x="311" y="31"/>
                    </a:lnTo>
                    <a:lnTo>
                      <a:pt x="311" y="31"/>
                    </a:lnTo>
                    <a:close/>
                    <a:moveTo>
                      <a:pt x="715" y="344"/>
                    </a:moveTo>
                    <a:lnTo>
                      <a:pt x="715" y="338"/>
                    </a:lnTo>
                    <a:lnTo>
                      <a:pt x="712" y="335"/>
                    </a:lnTo>
                    <a:lnTo>
                      <a:pt x="712" y="331"/>
                    </a:lnTo>
                    <a:lnTo>
                      <a:pt x="712" y="328"/>
                    </a:lnTo>
                    <a:lnTo>
                      <a:pt x="708" y="322"/>
                    </a:lnTo>
                    <a:lnTo>
                      <a:pt x="707" y="317"/>
                    </a:lnTo>
                    <a:lnTo>
                      <a:pt x="707" y="313"/>
                    </a:lnTo>
                    <a:lnTo>
                      <a:pt x="705" y="300"/>
                    </a:lnTo>
                    <a:lnTo>
                      <a:pt x="707" y="294"/>
                    </a:lnTo>
                    <a:lnTo>
                      <a:pt x="707" y="292"/>
                    </a:lnTo>
                    <a:lnTo>
                      <a:pt x="705" y="292"/>
                    </a:lnTo>
                    <a:lnTo>
                      <a:pt x="704" y="291"/>
                    </a:lnTo>
                    <a:lnTo>
                      <a:pt x="702" y="288"/>
                    </a:lnTo>
                    <a:lnTo>
                      <a:pt x="702" y="283"/>
                    </a:lnTo>
                    <a:lnTo>
                      <a:pt x="701" y="280"/>
                    </a:lnTo>
                    <a:lnTo>
                      <a:pt x="697" y="278"/>
                    </a:lnTo>
                    <a:lnTo>
                      <a:pt x="696" y="277"/>
                    </a:lnTo>
                    <a:lnTo>
                      <a:pt x="696" y="274"/>
                    </a:lnTo>
                    <a:lnTo>
                      <a:pt x="696" y="274"/>
                    </a:lnTo>
                    <a:lnTo>
                      <a:pt x="694" y="270"/>
                    </a:lnTo>
                    <a:lnTo>
                      <a:pt x="693" y="270"/>
                    </a:lnTo>
                    <a:lnTo>
                      <a:pt x="691" y="269"/>
                    </a:lnTo>
                    <a:lnTo>
                      <a:pt x="690" y="267"/>
                    </a:lnTo>
                    <a:lnTo>
                      <a:pt x="688" y="266"/>
                    </a:lnTo>
                    <a:lnTo>
                      <a:pt x="685" y="259"/>
                    </a:lnTo>
                    <a:lnTo>
                      <a:pt x="683" y="258"/>
                    </a:lnTo>
                    <a:lnTo>
                      <a:pt x="682" y="256"/>
                    </a:lnTo>
                    <a:lnTo>
                      <a:pt x="679" y="256"/>
                    </a:lnTo>
                    <a:lnTo>
                      <a:pt x="679" y="256"/>
                    </a:lnTo>
                    <a:lnTo>
                      <a:pt x="674" y="252"/>
                    </a:lnTo>
                    <a:lnTo>
                      <a:pt x="672" y="252"/>
                    </a:lnTo>
                    <a:lnTo>
                      <a:pt x="671" y="250"/>
                    </a:lnTo>
                    <a:lnTo>
                      <a:pt x="669" y="249"/>
                    </a:lnTo>
                    <a:lnTo>
                      <a:pt x="668" y="247"/>
                    </a:lnTo>
                    <a:lnTo>
                      <a:pt x="666" y="245"/>
                    </a:lnTo>
                    <a:lnTo>
                      <a:pt x="665" y="241"/>
                    </a:lnTo>
                    <a:lnTo>
                      <a:pt x="665" y="234"/>
                    </a:lnTo>
                    <a:lnTo>
                      <a:pt x="665" y="228"/>
                    </a:lnTo>
                    <a:lnTo>
                      <a:pt x="663" y="225"/>
                    </a:lnTo>
                    <a:lnTo>
                      <a:pt x="663" y="225"/>
                    </a:lnTo>
                    <a:lnTo>
                      <a:pt x="662" y="225"/>
                    </a:lnTo>
                    <a:lnTo>
                      <a:pt x="662" y="227"/>
                    </a:lnTo>
                    <a:lnTo>
                      <a:pt x="662" y="228"/>
                    </a:lnTo>
                    <a:lnTo>
                      <a:pt x="662" y="228"/>
                    </a:lnTo>
                    <a:lnTo>
                      <a:pt x="658" y="227"/>
                    </a:lnTo>
                    <a:lnTo>
                      <a:pt x="655" y="225"/>
                    </a:lnTo>
                    <a:lnTo>
                      <a:pt x="654" y="223"/>
                    </a:lnTo>
                    <a:lnTo>
                      <a:pt x="654" y="220"/>
                    </a:lnTo>
                    <a:lnTo>
                      <a:pt x="652" y="220"/>
                    </a:lnTo>
                    <a:lnTo>
                      <a:pt x="651" y="222"/>
                    </a:lnTo>
                    <a:lnTo>
                      <a:pt x="651" y="223"/>
                    </a:lnTo>
                    <a:lnTo>
                      <a:pt x="652" y="228"/>
                    </a:lnTo>
                    <a:lnTo>
                      <a:pt x="651" y="228"/>
                    </a:lnTo>
                    <a:lnTo>
                      <a:pt x="651" y="227"/>
                    </a:lnTo>
                    <a:lnTo>
                      <a:pt x="649" y="225"/>
                    </a:lnTo>
                    <a:lnTo>
                      <a:pt x="647" y="225"/>
                    </a:lnTo>
                    <a:lnTo>
                      <a:pt x="646" y="227"/>
                    </a:lnTo>
                    <a:lnTo>
                      <a:pt x="646" y="223"/>
                    </a:lnTo>
                    <a:lnTo>
                      <a:pt x="644" y="222"/>
                    </a:lnTo>
                    <a:lnTo>
                      <a:pt x="643" y="219"/>
                    </a:lnTo>
                    <a:lnTo>
                      <a:pt x="643" y="214"/>
                    </a:lnTo>
                    <a:lnTo>
                      <a:pt x="643" y="209"/>
                    </a:lnTo>
                    <a:lnTo>
                      <a:pt x="640" y="208"/>
                    </a:lnTo>
                    <a:lnTo>
                      <a:pt x="640" y="205"/>
                    </a:lnTo>
                    <a:lnTo>
                      <a:pt x="638" y="203"/>
                    </a:lnTo>
                    <a:lnTo>
                      <a:pt x="638" y="202"/>
                    </a:lnTo>
                    <a:lnTo>
                      <a:pt x="635" y="198"/>
                    </a:lnTo>
                    <a:lnTo>
                      <a:pt x="632" y="195"/>
                    </a:lnTo>
                    <a:lnTo>
                      <a:pt x="630" y="194"/>
                    </a:lnTo>
                    <a:lnTo>
                      <a:pt x="629" y="191"/>
                    </a:lnTo>
                    <a:lnTo>
                      <a:pt x="629" y="189"/>
                    </a:lnTo>
                    <a:lnTo>
                      <a:pt x="630" y="189"/>
                    </a:lnTo>
                    <a:lnTo>
                      <a:pt x="632" y="189"/>
                    </a:lnTo>
                    <a:lnTo>
                      <a:pt x="630" y="187"/>
                    </a:lnTo>
                    <a:lnTo>
                      <a:pt x="630" y="186"/>
                    </a:lnTo>
                    <a:lnTo>
                      <a:pt x="627" y="183"/>
                    </a:lnTo>
                    <a:lnTo>
                      <a:pt x="626" y="183"/>
                    </a:lnTo>
                    <a:lnTo>
                      <a:pt x="622" y="181"/>
                    </a:lnTo>
                    <a:lnTo>
                      <a:pt x="619" y="180"/>
                    </a:lnTo>
                    <a:lnTo>
                      <a:pt x="618" y="178"/>
                    </a:lnTo>
                    <a:lnTo>
                      <a:pt x="616" y="178"/>
                    </a:lnTo>
                    <a:lnTo>
                      <a:pt x="615" y="178"/>
                    </a:lnTo>
                    <a:lnTo>
                      <a:pt x="615" y="177"/>
                    </a:lnTo>
                    <a:lnTo>
                      <a:pt x="612" y="177"/>
                    </a:lnTo>
                    <a:lnTo>
                      <a:pt x="610" y="173"/>
                    </a:lnTo>
                    <a:lnTo>
                      <a:pt x="608" y="170"/>
                    </a:lnTo>
                    <a:lnTo>
                      <a:pt x="607" y="170"/>
                    </a:lnTo>
                    <a:lnTo>
                      <a:pt x="607" y="169"/>
                    </a:lnTo>
                    <a:lnTo>
                      <a:pt x="605" y="169"/>
                    </a:lnTo>
                    <a:lnTo>
                      <a:pt x="604" y="169"/>
                    </a:lnTo>
                    <a:lnTo>
                      <a:pt x="602" y="169"/>
                    </a:lnTo>
                    <a:lnTo>
                      <a:pt x="601" y="169"/>
                    </a:lnTo>
                    <a:lnTo>
                      <a:pt x="599" y="167"/>
                    </a:lnTo>
                    <a:lnTo>
                      <a:pt x="596" y="166"/>
                    </a:lnTo>
                    <a:lnTo>
                      <a:pt x="594" y="166"/>
                    </a:lnTo>
                    <a:lnTo>
                      <a:pt x="591" y="164"/>
                    </a:lnTo>
                    <a:lnTo>
                      <a:pt x="590" y="164"/>
                    </a:lnTo>
                    <a:lnTo>
                      <a:pt x="588" y="161"/>
                    </a:lnTo>
                    <a:lnTo>
                      <a:pt x="586" y="159"/>
                    </a:lnTo>
                    <a:lnTo>
                      <a:pt x="586" y="156"/>
                    </a:lnTo>
                    <a:lnTo>
                      <a:pt x="588" y="153"/>
                    </a:lnTo>
                    <a:lnTo>
                      <a:pt x="585" y="153"/>
                    </a:lnTo>
                    <a:lnTo>
                      <a:pt x="582" y="148"/>
                    </a:lnTo>
                    <a:lnTo>
                      <a:pt x="582" y="147"/>
                    </a:lnTo>
                    <a:lnTo>
                      <a:pt x="583" y="144"/>
                    </a:lnTo>
                    <a:lnTo>
                      <a:pt x="583" y="137"/>
                    </a:lnTo>
                    <a:lnTo>
                      <a:pt x="582" y="133"/>
                    </a:lnTo>
                    <a:lnTo>
                      <a:pt x="580" y="126"/>
                    </a:lnTo>
                    <a:lnTo>
                      <a:pt x="580" y="123"/>
                    </a:lnTo>
                    <a:lnTo>
                      <a:pt x="579" y="123"/>
                    </a:lnTo>
                    <a:lnTo>
                      <a:pt x="577" y="123"/>
                    </a:lnTo>
                    <a:lnTo>
                      <a:pt x="576" y="120"/>
                    </a:lnTo>
                    <a:lnTo>
                      <a:pt x="574" y="119"/>
                    </a:lnTo>
                    <a:lnTo>
                      <a:pt x="572" y="117"/>
                    </a:lnTo>
                    <a:lnTo>
                      <a:pt x="571" y="114"/>
                    </a:lnTo>
                    <a:lnTo>
                      <a:pt x="571" y="112"/>
                    </a:lnTo>
                    <a:lnTo>
                      <a:pt x="572" y="111"/>
                    </a:lnTo>
                    <a:lnTo>
                      <a:pt x="572" y="108"/>
                    </a:lnTo>
                    <a:lnTo>
                      <a:pt x="571" y="105"/>
                    </a:lnTo>
                    <a:lnTo>
                      <a:pt x="569" y="101"/>
                    </a:lnTo>
                    <a:lnTo>
                      <a:pt x="569" y="97"/>
                    </a:lnTo>
                    <a:lnTo>
                      <a:pt x="569" y="95"/>
                    </a:lnTo>
                    <a:lnTo>
                      <a:pt x="569" y="92"/>
                    </a:lnTo>
                    <a:lnTo>
                      <a:pt x="568" y="90"/>
                    </a:lnTo>
                    <a:lnTo>
                      <a:pt x="569" y="89"/>
                    </a:lnTo>
                    <a:lnTo>
                      <a:pt x="569" y="87"/>
                    </a:lnTo>
                    <a:lnTo>
                      <a:pt x="568" y="86"/>
                    </a:lnTo>
                    <a:lnTo>
                      <a:pt x="565" y="84"/>
                    </a:lnTo>
                    <a:lnTo>
                      <a:pt x="563" y="83"/>
                    </a:lnTo>
                    <a:lnTo>
                      <a:pt x="558" y="80"/>
                    </a:lnTo>
                    <a:lnTo>
                      <a:pt x="557" y="76"/>
                    </a:lnTo>
                    <a:lnTo>
                      <a:pt x="555" y="75"/>
                    </a:lnTo>
                    <a:lnTo>
                      <a:pt x="552" y="76"/>
                    </a:lnTo>
                    <a:lnTo>
                      <a:pt x="551" y="76"/>
                    </a:lnTo>
                    <a:lnTo>
                      <a:pt x="549" y="78"/>
                    </a:lnTo>
                    <a:lnTo>
                      <a:pt x="546" y="80"/>
                    </a:lnTo>
                    <a:lnTo>
                      <a:pt x="543" y="78"/>
                    </a:lnTo>
                    <a:lnTo>
                      <a:pt x="543" y="76"/>
                    </a:lnTo>
                    <a:lnTo>
                      <a:pt x="541" y="73"/>
                    </a:lnTo>
                    <a:lnTo>
                      <a:pt x="540" y="70"/>
                    </a:lnTo>
                    <a:lnTo>
                      <a:pt x="540" y="69"/>
                    </a:lnTo>
                    <a:lnTo>
                      <a:pt x="538" y="65"/>
                    </a:lnTo>
                    <a:lnTo>
                      <a:pt x="540" y="61"/>
                    </a:lnTo>
                    <a:lnTo>
                      <a:pt x="538" y="58"/>
                    </a:lnTo>
                    <a:lnTo>
                      <a:pt x="538" y="54"/>
                    </a:lnTo>
                    <a:lnTo>
                      <a:pt x="536" y="50"/>
                    </a:lnTo>
                    <a:lnTo>
                      <a:pt x="536" y="48"/>
                    </a:lnTo>
                    <a:lnTo>
                      <a:pt x="536" y="47"/>
                    </a:lnTo>
                    <a:lnTo>
                      <a:pt x="533" y="44"/>
                    </a:lnTo>
                    <a:lnTo>
                      <a:pt x="533" y="42"/>
                    </a:lnTo>
                    <a:lnTo>
                      <a:pt x="532" y="42"/>
                    </a:lnTo>
                    <a:lnTo>
                      <a:pt x="530" y="40"/>
                    </a:lnTo>
                    <a:lnTo>
                      <a:pt x="530" y="39"/>
                    </a:lnTo>
                    <a:lnTo>
                      <a:pt x="530" y="37"/>
                    </a:lnTo>
                    <a:lnTo>
                      <a:pt x="532" y="36"/>
                    </a:lnTo>
                    <a:lnTo>
                      <a:pt x="532" y="34"/>
                    </a:lnTo>
                    <a:lnTo>
                      <a:pt x="530" y="34"/>
                    </a:lnTo>
                    <a:lnTo>
                      <a:pt x="529" y="34"/>
                    </a:lnTo>
                    <a:lnTo>
                      <a:pt x="527" y="33"/>
                    </a:lnTo>
                    <a:lnTo>
                      <a:pt x="527" y="31"/>
                    </a:lnTo>
                    <a:lnTo>
                      <a:pt x="526" y="28"/>
                    </a:lnTo>
                    <a:lnTo>
                      <a:pt x="526" y="25"/>
                    </a:lnTo>
                    <a:lnTo>
                      <a:pt x="526" y="23"/>
                    </a:lnTo>
                    <a:lnTo>
                      <a:pt x="526" y="22"/>
                    </a:lnTo>
                    <a:lnTo>
                      <a:pt x="526" y="18"/>
                    </a:lnTo>
                    <a:lnTo>
                      <a:pt x="524" y="17"/>
                    </a:lnTo>
                    <a:lnTo>
                      <a:pt x="521" y="15"/>
                    </a:lnTo>
                    <a:lnTo>
                      <a:pt x="521" y="14"/>
                    </a:lnTo>
                    <a:lnTo>
                      <a:pt x="522" y="12"/>
                    </a:lnTo>
                    <a:lnTo>
                      <a:pt x="521" y="12"/>
                    </a:lnTo>
                    <a:lnTo>
                      <a:pt x="519" y="12"/>
                    </a:lnTo>
                    <a:lnTo>
                      <a:pt x="518" y="14"/>
                    </a:lnTo>
                    <a:lnTo>
                      <a:pt x="518" y="15"/>
                    </a:lnTo>
                    <a:lnTo>
                      <a:pt x="515" y="17"/>
                    </a:lnTo>
                    <a:lnTo>
                      <a:pt x="513" y="22"/>
                    </a:lnTo>
                    <a:lnTo>
                      <a:pt x="511" y="28"/>
                    </a:lnTo>
                    <a:lnTo>
                      <a:pt x="510" y="33"/>
                    </a:lnTo>
                    <a:lnTo>
                      <a:pt x="511" y="34"/>
                    </a:lnTo>
                    <a:lnTo>
                      <a:pt x="510" y="36"/>
                    </a:lnTo>
                    <a:lnTo>
                      <a:pt x="510" y="36"/>
                    </a:lnTo>
                    <a:lnTo>
                      <a:pt x="508" y="34"/>
                    </a:lnTo>
                    <a:lnTo>
                      <a:pt x="508" y="36"/>
                    </a:lnTo>
                    <a:lnTo>
                      <a:pt x="505" y="40"/>
                    </a:lnTo>
                    <a:lnTo>
                      <a:pt x="505" y="44"/>
                    </a:lnTo>
                    <a:lnTo>
                      <a:pt x="507" y="45"/>
                    </a:lnTo>
                    <a:lnTo>
                      <a:pt x="508" y="45"/>
                    </a:lnTo>
                    <a:lnTo>
                      <a:pt x="508" y="45"/>
                    </a:lnTo>
                    <a:lnTo>
                      <a:pt x="510" y="45"/>
                    </a:lnTo>
                    <a:lnTo>
                      <a:pt x="510" y="47"/>
                    </a:lnTo>
                    <a:lnTo>
                      <a:pt x="510" y="48"/>
                    </a:lnTo>
                    <a:lnTo>
                      <a:pt x="510" y="50"/>
                    </a:lnTo>
                    <a:lnTo>
                      <a:pt x="508" y="48"/>
                    </a:lnTo>
                    <a:lnTo>
                      <a:pt x="507" y="48"/>
                    </a:lnTo>
                    <a:lnTo>
                      <a:pt x="507" y="50"/>
                    </a:lnTo>
                    <a:lnTo>
                      <a:pt x="505" y="51"/>
                    </a:lnTo>
                    <a:lnTo>
                      <a:pt x="505" y="58"/>
                    </a:lnTo>
                    <a:lnTo>
                      <a:pt x="504" y="61"/>
                    </a:lnTo>
                    <a:lnTo>
                      <a:pt x="504" y="62"/>
                    </a:lnTo>
                    <a:lnTo>
                      <a:pt x="502" y="67"/>
                    </a:lnTo>
                    <a:lnTo>
                      <a:pt x="502" y="70"/>
                    </a:lnTo>
                    <a:lnTo>
                      <a:pt x="504" y="72"/>
                    </a:lnTo>
                    <a:lnTo>
                      <a:pt x="504" y="73"/>
                    </a:lnTo>
                    <a:lnTo>
                      <a:pt x="504" y="76"/>
                    </a:lnTo>
                    <a:lnTo>
                      <a:pt x="504" y="80"/>
                    </a:lnTo>
                    <a:lnTo>
                      <a:pt x="504" y="86"/>
                    </a:lnTo>
                    <a:lnTo>
                      <a:pt x="505" y="90"/>
                    </a:lnTo>
                    <a:lnTo>
                      <a:pt x="504" y="92"/>
                    </a:lnTo>
                    <a:lnTo>
                      <a:pt x="502" y="100"/>
                    </a:lnTo>
                    <a:lnTo>
                      <a:pt x="500" y="105"/>
                    </a:lnTo>
                    <a:lnTo>
                      <a:pt x="500" y="108"/>
                    </a:lnTo>
                    <a:lnTo>
                      <a:pt x="500" y="111"/>
                    </a:lnTo>
                    <a:lnTo>
                      <a:pt x="499" y="116"/>
                    </a:lnTo>
                    <a:lnTo>
                      <a:pt x="497" y="119"/>
                    </a:lnTo>
                    <a:lnTo>
                      <a:pt x="493" y="125"/>
                    </a:lnTo>
                    <a:lnTo>
                      <a:pt x="493" y="128"/>
                    </a:lnTo>
                    <a:lnTo>
                      <a:pt x="491" y="133"/>
                    </a:lnTo>
                    <a:lnTo>
                      <a:pt x="488" y="134"/>
                    </a:lnTo>
                    <a:lnTo>
                      <a:pt x="485" y="136"/>
                    </a:lnTo>
                    <a:lnTo>
                      <a:pt x="480" y="137"/>
                    </a:lnTo>
                    <a:lnTo>
                      <a:pt x="477" y="137"/>
                    </a:lnTo>
                    <a:lnTo>
                      <a:pt x="475" y="137"/>
                    </a:lnTo>
                    <a:lnTo>
                      <a:pt x="474" y="136"/>
                    </a:lnTo>
                    <a:lnTo>
                      <a:pt x="471" y="134"/>
                    </a:lnTo>
                    <a:lnTo>
                      <a:pt x="466" y="133"/>
                    </a:lnTo>
                    <a:lnTo>
                      <a:pt x="463" y="131"/>
                    </a:lnTo>
                    <a:lnTo>
                      <a:pt x="461" y="128"/>
                    </a:lnTo>
                    <a:lnTo>
                      <a:pt x="461" y="126"/>
                    </a:lnTo>
                    <a:lnTo>
                      <a:pt x="460" y="125"/>
                    </a:lnTo>
                    <a:lnTo>
                      <a:pt x="458" y="123"/>
                    </a:lnTo>
                    <a:lnTo>
                      <a:pt x="455" y="123"/>
                    </a:lnTo>
                    <a:lnTo>
                      <a:pt x="452" y="122"/>
                    </a:lnTo>
                    <a:lnTo>
                      <a:pt x="450" y="122"/>
                    </a:lnTo>
                    <a:lnTo>
                      <a:pt x="446" y="120"/>
                    </a:lnTo>
                    <a:lnTo>
                      <a:pt x="443" y="119"/>
                    </a:lnTo>
                    <a:lnTo>
                      <a:pt x="440" y="116"/>
                    </a:lnTo>
                    <a:lnTo>
                      <a:pt x="436" y="111"/>
                    </a:lnTo>
                    <a:lnTo>
                      <a:pt x="433" y="109"/>
                    </a:lnTo>
                    <a:lnTo>
                      <a:pt x="429" y="108"/>
                    </a:lnTo>
                    <a:lnTo>
                      <a:pt x="427" y="106"/>
                    </a:lnTo>
                    <a:lnTo>
                      <a:pt x="425" y="106"/>
                    </a:lnTo>
                    <a:lnTo>
                      <a:pt x="424" y="105"/>
                    </a:lnTo>
                    <a:lnTo>
                      <a:pt x="422" y="105"/>
                    </a:lnTo>
                    <a:lnTo>
                      <a:pt x="419" y="105"/>
                    </a:lnTo>
                    <a:lnTo>
                      <a:pt x="418" y="105"/>
                    </a:lnTo>
                    <a:lnTo>
                      <a:pt x="418" y="103"/>
                    </a:lnTo>
                    <a:lnTo>
                      <a:pt x="418" y="103"/>
                    </a:lnTo>
                    <a:lnTo>
                      <a:pt x="418" y="101"/>
                    </a:lnTo>
                    <a:lnTo>
                      <a:pt x="418" y="101"/>
                    </a:lnTo>
                    <a:lnTo>
                      <a:pt x="418" y="101"/>
                    </a:lnTo>
                    <a:lnTo>
                      <a:pt x="416" y="101"/>
                    </a:lnTo>
                    <a:lnTo>
                      <a:pt x="416" y="101"/>
                    </a:lnTo>
                    <a:lnTo>
                      <a:pt x="414" y="100"/>
                    </a:lnTo>
                    <a:lnTo>
                      <a:pt x="411" y="100"/>
                    </a:lnTo>
                    <a:lnTo>
                      <a:pt x="410" y="98"/>
                    </a:lnTo>
                    <a:lnTo>
                      <a:pt x="410" y="97"/>
                    </a:lnTo>
                    <a:lnTo>
                      <a:pt x="405" y="94"/>
                    </a:lnTo>
                    <a:lnTo>
                      <a:pt x="404" y="92"/>
                    </a:lnTo>
                    <a:lnTo>
                      <a:pt x="397" y="89"/>
                    </a:lnTo>
                    <a:lnTo>
                      <a:pt x="396" y="87"/>
                    </a:lnTo>
                    <a:lnTo>
                      <a:pt x="396" y="86"/>
                    </a:lnTo>
                    <a:lnTo>
                      <a:pt x="396" y="84"/>
                    </a:lnTo>
                    <a:lnTo>
                      <a:pt x="397" y="83"/>
                    </a:lnTo>
                    <a:lnTo>
                      <a:pt x="397" y="81"/>
                    </a:lnTo>
                    <a:lnTo>
                      <a:pt x="402" y="76"/>
                    </a:lnTo>
                    <a:lnTo>
                      <a:pt x="402" y="75"/>
                    </a:lnTo>
                    <a:lnTo>
                      <a:pt x="404" y="73"/>
                    </a:lnTo>
                    <a:lnTo>
                      <a:pt x="405" y="70"/>
                    </a:lnTo>
                    <a:lnTo>
                      <a:pt x="405" y="67"/>
                    </a:lnTo>
                    <a:lnTo>
                      <a:pt x="405" y="64"/>
                    </a:lnTo>
                    <a:lnTo>
                      <a:pt x="405" y="58"/>
                    </a:lnTo>
                    <a:lnTo>
                      <a:pt x="408" y="56"/>
                    </a:lnTo>
                    <a:lnTo>
                      <a:pt x="410" y="56"/>
                    </a:lnTo>
                    <a:lnTo>
                      <a:pt x="411" y="56"/>
                    </a:lnTo>
                    <a:lnTo>
                      <a:pt x="413" y="56"/>
                    </a:lnTo>
                    <a:lnTo>
                      <a:pt x="413" y="58"/>
                    </a:lnTo>
                    <a:lnTo>
                      <a:pt x="414" y="58"/>
                    </a:lnTo>
                    <a:lnTo>
                      <a:pt x="416" y="53"/>
                    </a:lnTo>
                    <a:lnTo>
                      <a:pt x="416" y="51"/>
                    </a:lnTo>
                    <a:lnTo>
                      <a:pt x="414" y="50"/>
                    </a:lnTo>
                    <a:lnTo>
                      <a:pt x="416" y="48"/>
                    </a:lnTo>
                    <a:lnTo>
                      <a:pt x="422" y="40"/>
                    </a:lnTo>
                    <a:lnTo>
                      <a:pt x="422" y="39"/>
                    </a:lnTo>
                    <a:lnTo>
                      <a:pt x="421" y="39"/>
                    </a:lnTo>
                    <a:lnTo>
                      <a:pt x="419" y="39"/>
                    </a:lnTo>
                    <a:lnTo>
                      <a:pt x="416" y="37"/>
                    </a:lnTo>
                    <a:lnTo>
                      <a:pt x="416" y="34"/>
                    </a:lnTo>
                    <a:lnTo>
                      <a:pt x="414" y="34"/>
                    </a:lnTo>
                    <a:lnTo>
                      <a:pt x="411" y="37"/>
                    </a:lnTo>
                    <a:lnTo>
                      <a:pt x="410" y="37"/>
                    </a:lnTo>
                    <a:lnTo>
                      <a:pt x="411" y="39"/>
                    </a:lnTo>
                    <a:lnTo>
                      <a:pt x="411" y="40"/>
                    </a:lnTo>
                    <a:lnTo>
                      <a:pt x="410" y="42"/>
                    </a:lnTo>
                    <a:lnTo>
                      <a:pt x="410" y="42"/>
                    </a:lnTo>
                    <a:lnTo>
                      <a:pt x="407" y="42"/>
                    </a:lnTo>
                    <a:lnTo>
                      <a:pt x="407" y="40"/>
                    </a:lnTo>
                    <a:lnTo>
                      <a:pt x="407" y="39"/>
                    </a:lnTo>
                    <a:lnTo>
                      <a:pt x="405" y="37"/>
                    </a:lnTo>
                    <a:lnTo>
                      <a:pt x="404" y="39"/>
                    </a:lnTo>
                    <a:lnTo>
                      <a:pt x="402" y="39"/>
                    </a:lnTo>
                    <a:lnTo>
                      <a:pt x="402" y="39"/>
                    </a:lnTo>
                    <a:lnTo>
                      <a:pt x="400" y="39"/>
                    </a:lnTo>
                    <a:lnTo>
                      <a:pt x="400" y="37"/>
                    </a:lnTo>
                    <a:lnTo>
                      <a:pt x="402" y="36"/>
                    </a:lnTo>
                    <a:lnTo>
                      <a:pt x="404" y="34"/>
                    </a:lnTo>
                    <a:lnTo>
                      <a:pt x="404" y="34"/>
                    </a:lnTo>
                    <a:lnTo>
                      <a:pt x="404" y="34"/>
                    </a:lnTo>
                    <a:lnTo>
                      <a:pt x="404" y="33"/>
                    </a:lnTo>
                    <a:lnTo>
                      <a:pt x="405" y="33"/>
                    </a:lnTo>
                    <a:lnTo>
                      <a:pt x="404" y="31"/>
                    </a:lnTo>
                    <a:lnTo>
                      <a:pt x="402" y="33"/>
                    </a:lnTo>
                    <a:lnTo>
                      <a:pt x="400" y="34"/>
                    </a:lnTo>
                    <a:lnTo>
                      <a:pt x="397" y="36"/>
                    </a:lnTo>
                    <a:lnTo>
                      <a:pt x="394" y="37"/>
                    </a:lnTo>
                    <a:lnTo>
                      <a:pt x="393" y="39"/>
                    </a:lnTo>
                    <a:lnTo>
                      <a:pt x="389" y="39"/>
                    </a:lnTo>
                    <a:lnTo>
                      <a:pt x="386" y="37"/>
                    </a:lnTo>
                    <a:lnTo>
                      <a:pt x="385" y="36"/>
                    </a:lnTo>
                    <a:lnTo>
                      <a:pt x="383" y="34"/>
                    </a:lnTo>
                    <a:lnTo>
                      <a:pt x="380" y="36"/>
                    </a:lnTo>
                    <a:lnTo>
                      <a:pt x="379" y="36"/>
                    </a:lnTo>
                    <a:lnTo>
                      <a:pt x="377" y="36"/>
                    </a:lnTo>
                    <a:lnTo>
                      <a:pt x="375" y="36"/>
                    </a:lnTo>
                    <a:lnTo>
                      <a:pt x="374" y="34"/>
                    </a:lnTo>
                    <a:lnTo>
                      <a:pt x="369" y="33"/>
                    </a:lnTo>
                    <a:lnTo>
                      <a:pt x="364" y="31"/>
                    </a:lnTo>
                    <a:lnTo>
                      <a:pt x="363" y="31"/>
                    </a:lnTo>
                    <a:lnTo>
                      <a:pt x="361" y="31"/>
                    </a:lnTo>
                    <a:lnTo>
                      <a:pt x="360" y="29"/>
                    </a:lnTo>
                    <a:lnTo>
                      <a:pt x="357" y="29"/>
                    </a:lnTo>
                    <a:lnTo>
                      <a:pt x="355" y="28"/>
                    </a:lnTo>
                    <a:lnTo>
                      <a:pt x="354" y="25"/>
                    </a:lnTo>
                    <a:lnTo>
                      <a:pt x="352" y="25"/>
                    </a:lnTo>
                    <a:lnTo>
                      <a:pt x="350" y="25"/>
                    </a:lnTo>
                    <a:lnTo>
                      <a:pt x="349" y="25"/>
                    </a:lnTo>
                    <a:lnTo>
                      <a:pt x="347" y="26"/>
                    </a:lnTo>
                    <a:lnTo>
                      <a:pt x="346" y="23"/>
                    </a:lnTo>
                    <a:lnTo>
                      <a:pt x="341" y="22"/>
                    </a:lnTo>
                    <a:lnTo>
                      <a:pt x="341" y="20"/>
                    </a:lnTo>
                    <a:lnTo>
                      <a:pt x="339" y="22"/>
                    </a:lnTo>
                    <a:lnTo>
                      <a:pt x="339" y="23"/>
                    </a:lnTo>
                    <a:lnTo>
                      <a:pt x="338" y="23"/>
                    </a:lnTo>
                    <a:lnTo>
                      <a:pt x="338" y="22"/>
                    </a:lnTo>
                    <a:lnTo>
                      <a:pt x="336" y="20"/>
                    </a:lnTo>
                    <a:lnTo>
                      <a:pt x="335" y="20"/>
                    </a:lnTo>
                    <a:lnTo>
                      <a:pt x="333" y="22"/>
                    </a:lnTo>
                    <a:lnTo>
                      <a:pt x="333" y="23"/>
                    </a:lnTo>
                    <a:lnTo>
                      <a:pt x="335" y="23"/>
                    </a:lnTo>
                    <a:lnTo>
                      <a:pt x="336" y="26"/>
                    </a:lnTo>
                    <a:lnTo>
                      <a:pt x="338" y="26"/>
                    </a:lnTo>
                    <a:lnTo>
                      <a:pt x="341" y="25"/>
                    </a:lnTo>
                    <a:lnTo>
                      <a:pt x="344" y="26"/>
                    </a:lnTo>
                    <a:lnTo>
                      <a:pt x="347" y="28"/>
                    </a:lnTo>
                    <a:lnTo>
                      <a:pt x="347" y="29"/>
                    </a:lnTo>
                    <a:lnTo>
                      <a:pt x="347" y="33"/>
                    </a:lnTo>
                    <a:lnTo>
                      <a:pt x="347" y="34"/>
                    </a:lnTo>
                    <a:lnTo>
                      <a:pt x="347" y="36"/>
                    </a:lnTo>
                    <a:lnTo>
                      <a:pt x="349" y="37"/>
                    </a:lnTo>
                    <a:lnTo>
                      <a:pt x="347" y="37"/>
                    </a:lnTo>
                    <a:lnTo>
                      <a:pt x="346" y="37"/>
                    </a:lnTo>
                    <a:lnTo>
                      <a:pt x="344" y="37"/>
                    </a:lnTo>
                    <a:lnTo>
                      <a:pt x="344" y="39"/>
                    </a:lnTo>
                    <a:lnTo>
                      <a:pt x="343" y="40"/>
                    </a:lnTo>
                    <a:lnTo>
                      <a:pt x="343" y="39"/>
                    </a:lnTo>
                    <a:lnTo>
                      <a:pt x="339" y="39"/>
                    </a:lnTo>
                    <a:lnTo>
                      <a:pt x="339" y="39"/>
                    </a:lnTo>
                    <a:lnTo>
                      <a:pt x="336" y="40"/>
                    </a:lnTo>
                    <a:lnTo>
                      <a:pt x="335" y="39"/>
                    </a:lnTo>
                    <a:lnTo>
                      <a:pt x="333" y="39"/>
                    </a:lnTo>
                    <a:lnTo>
                      <a:pt x="332" y="40"/>
                    </a:lnTo>
                    <a:lnTo>
                      <a:pt x="325" y="40"/>
                    </a:lnTo>
                    <a:lnTo>
                      <a:pt x="324" y="39"/>
                    </a:lnTo>
                    <a:lnTo>
                      <a:pt x="324" y="37"/>
                    </a:lnTo>
                    <a:lnTo>
                      <a:pt x="324" y="36"/>
                    </a:lnTo>
                    <a:lnTo>
                      <a:pt x="322" y="37"/>
                    </a:lnTo>
                    <a:lnTo>
                      <a:pt x="322" y="39"/>
                    </a:lnTo>
                    <a:lnTo>
                      <a:pt x="319" y="39"/>
                    </a:lnTo>
                    <a:lnTo>
                      <a:pt x="319" y="39"/>
                    </a:lnTo>
                    <a:lnTo>
                      <a:pt x="319" y="40"/>
                    </a:lnTo>
                    <a:lnTo>
                      <a:pt x="319" y="40"/>
                    </a:lnTo>
                    <a:lnTo>
                      <a:pt x="318" y="40"/>
                    </a:lnTo>
                    <a:lnTo>
                      <a:pt x="316" y="42"/>
                    </a:lnTo>
                    <a:lnTo>
                      <a:pt x="316" y="44"/>
                    </a:lnTo>
                    <a:lnTo>
                      <a:pt x="316" y="44"/>
                    </a:lnTo>
                    <a:lnTo>
                      <a:pt x="316" y="45"/>
                    </a:lnTo>
                    <a:lnTo>
                      <a:pt x="314" y="44"/>
                    </a:lnTo>
                    <a:lnTo>
                      <a:pt x="313" y="42"/>
                    </a:lnTo>
                    <a:lnTo>
                      <a:pt x="313" y="42"/>
                    </a:lnTo>
                    <a:lnTo>
                      <a:pt x="311" y="42"/>
                    </a:lnTo>
                    <a:lnTo>
                      <a:pt x="311" y="44"/>
                    </a:lnTo>
                    <a:lnTo>
                      <a:pt x="311" y="47"/>
                    </a:lnTo>
                    <a:lnTo>
                      <a:pt x="311" y="47"/>
                    </a:lnTo>
                    <a:lnTo>
                      <a:pt x="308" y="47"/>
                    </a:lnTo>
                    <a:lnTo>
                      <a:pt x="308" y="47"/>
                    </a:lnTo>
                    <a:lnTo>
                      <a:pt x="307" y="51"/>
                    </a:lnTo>
                    <a:lnTo>
                      <a:pt x="303" y="51"/>
                    </a:lnTo>
                    <a:lnTo>
                      <a:pt x="303" y="54"/>
                    </a:lnTo>
                    <a:lnTo>
                      <a:pt x="303" y="56"/>
                    </a:lnTo>
                    <a:lnTo>
                      <a:pt x="305" y="58"/>
                    </a:lnTo>
                    <a:lnTo>
                      <a:pt x="303" y="59"/>
                    </a:lnTo>
                    <a:lnTo>
                      <a:pt x="303" y="61"/>
                    </a:lnTo>
                    <a:lnTo>
                      <a:pt x="302" y="61"/>
                    </a:lnTo>
                    <a:lnTo>
                      <a:pt x="299" y="62"/>
                    </a:lnTo>
                    <a:lnTo>
                      <a:pt x="297" y="62"/>
                    </a:lnTo>
                    <a:lnTo>
                      <a:pt x="297" y="64"/>
                    </a:lnTo>
                    <a:lnTo>
                      <a:pt x="297" y="65"/>
                    </a:lnTo>
                    <a:lnTo>
                      <a:pt x="297" y="67"/>
                    </a:lnTo>
                    <a:lnTo>
                      <a:pt x="296" y="69"/>
                    </a:lnTo>
                    <a:lnTo>
                      <a:pt x="296" y="70"/>
                    </a:lnTo>
                    <a:lnTo>
                      <a:pt x="294" y="72"/>
                    </a:lnTo>
                    <a:lnTo>
                      <a:pt x="291" y="75"/>
                    </a:lnTo>
                    <a:lnTo>
                      <a:pt x="289" y="78"/>
                    </a:lnTo>
                    <a:lnTo>
                      <a:pt x="291" y="80"/>
                    </a:lnTo>
                    <a:lnTo>
                      <a:pt x="294" y="81"/>
                    </a:lnTo>
                    <a:lnTo>
                      <a:pt x="296" y="81"/>
                    </a:lnTo>
                    <a:lnTo>
                      <a:pt x="296" y="81"/>
                    </a:lnTo>
                    <a:lnTo>
                      <a:pt x="294" y="83"/>
                    </a:lnTo>
                    <a:lnTo>
                      <a:pt x="294" y="84"/>
                    </a:lnTo>
                    <a:lnTo>
                      <a:pt x="296" y="84"/>
                    </a:lnTo>
                    <a:lnTo>
                      <a:pt x="297" y="86"/>
                    </a:lnTo>
                    <a:lnTo>
                      <a:pt x="297" y="86"/>
                    </a:lnTo>
                    <a:lnTo>
                      <a:pt x="297" y="86"/>
                    </a:lnTo>
                    <a:lnTo>
                      <a:pt x="294" y="86"/>
                    </a:lnTo>
                    <a:lnTo>
                      <a:pt x="294" y="87"/>
                    </a:lnTo>
                    <a:lnTo>
                      <a:pt x="294" y="89"/>
                    </a:lnTo>
                    <a:lnTo>
                      <a:pt x="294" y="90"/>
                    </a:lnTo>
                    <a:lnTo>
                      <a:pt x="294" y="92"/>
                    </a:lnTo>
                    <a:lnTo>
                      <a:pt x="294" y="90"/>
                    </a:lnTo>
                    <a:lnTo>
                      <a:pt x="293" y="89"/>
                    </a:lnTo>
                    <a:lnTo>
                      <a:pt x="291" y="87"/>
                    </a:lnTo>
                    <a:lnTo>
                      <a:pt x="289" y="87"/>
                    </a:lnTo>
                    <a:lnTo>
                      <a:pt x="288" y="86"/>
                    </a:lnTo>
                    <a:lnTo>
                      <a:pt x="288" y="87"/>
                    </a:lnTo>
                    <a:lnTo>
                      <a:pt x="288" y="90"/>
                    </a:lnTo>
                    <a:lnTo>
                      <a:pt x="286" y="92"/>
                    </a:lnTo>
                    <a:lnTo>
                      <a:pt x="286" y="90"/>
                    </a:lnTo>
                    <a:lnTo>
                      <a:pt x="286" y="89"/>
                    </a:lnTo>
                    <a:lnTo>
                      <a:pt x="285" y="87"/>
                    </a:lnTo>
                    <a:lnTo>
                      <a:pt x="277" y="84"/>
                    </a:lnTo>
                    <a:lnTo>
                      <a:pt x="275" y="84"/>
                    </a:lnTo>
                    <a:lnTo>
                      <a:pt x="274" y="84"/>
                    </a:lnTo>
                    <a:lnTo>
                      <a:pt x="272" y="86"/>
                    </a:lnTo>
                    <a:lnTo>
                      <a:pt x="272" y="86"/>
                    </a:lnTo>
                    <a:lnTo>
                      <a:pt x="272" y="87"/>
                    </a:lnTo>
                    <a:lnTo>
                      <a:pt x="271" y="87"/>
                    </a:lnTo>
                    <a:lnTo>
                      <a:pt x="269" y="89"/>
                    </a:lnTo>
                    <a:lnTo>
                      <a:pt x="269" y="89"/>
                    </a:lnTo>
                    <a:lnTo>
                      <a:pt x="269" y="90"/>
                    </a:lnTo>
                    <a:lnTo>
                      <a:pt x="269" y="92"/>
                    </a:lnTo>
                    <a:lnTo>
                      <a:pt x="271" y="94"/>
                    </a:lnTo>
                    <a:lnTo>
                      <a:pt x="271" y="94"/>
                    </a:lnTo>
                    <a:lnTo>
                      <a:pt x="269" y="94"/>
                    </a:lnTo>
                    <a:lnTo>
                      <a:pt x="268" y="92"/>
                    </a:lnTo>
                    <a:lnTo>
                      <a:pt x="268" y="94"/>
                    </a:lnTo>
                    <a:lnTo>
                      <a:pt x="268" y="95"/>
                    </a:lnTo>
                    <a:lnTo>
                      <a:pt x="268" y="90"/>
                    </a:lnTo>
                    <a:lnTo>
                      <a:pt x="268" y="87"/>
                    </a:lnTo>
                    <a:lnTo>
                      <a:pt x="269" y="86"/>
                    </a:lnTo>
                    <a:lnTo>
                      <a:pt x="269" y="84"/>
                    </a:lnTo>
                    <a:lnTo>
                      <a:pt x="269" y="84"/>
                    </a:lnTo>
                    <a:lnTo>
                      <a:pt x="263" y="80"/>
                    </a:lnTo>
                    <a:lnTo>
                      <a:pt x="261" y="76"/>
                    </a:lnTo>
                    <a:lnTo>
                      <a:pt x="260" y="75"/>
                    </a:lnTo>
                    <a:lnTo>
                      <a:pt x="257" y="72"/>
                    </a:lnTo>
                    <a:lnTo>
                      <a:pt x="257" y="72"/>
                    </a:lnTo>
                    <a:lnTo>
                      <a:pt x="253" y="70"/>
                    </a:lnTo>
                    <a:lnTo>
                      <a:pt x="250" y="69"/>
                    </a:lnTo>
                    <a:lnTo>
                      <a:pt x="249" y="67"/>
                    </a:lnTo>
                    <a:lnTo>
                      <a:pt x="246" y="65"/>
                    </a:lnTo>
                    <a:lnTo>
                      <a:pt x="244" y="67"/>
                    </a:lnTo>
                    <a:lnTo>
                      <a:pt x="244" y="69"/>
                    </a:lnTo>
                    <a:lnTo>
                      <a:pt x="244" y="70"/>
                    </a:lnTo>
                    <a:lnTo>
                      <a:pt x="243" y="72"/>
                    </a:lnTo>
                    <a:lnTo>
                      <a:pt x="241" y="73"/>
                    </a:lnTo>
                    <a:lnTo>
                      <a:pt x="239" y="72"/>
                    </a:lnTo>
                    <a:lnTo>
                      <a:pt x="238" y="72"/>
                    </a:lnTo>
                    <a:lnTo>
                      <a:pt x="236" y="72"/>
                    </a:lnTo>
                    <a:lnTo>
                      <a:pt x="236" y="73"/>
                    </a:lnTo>
                    <a:lnTo>
                      <a:pt x="235" y="73"/>
                    </a:lnTo>
                    <a:lnTo>
                      <a:pt x="235" y="73"/>
                    </a:lnTo>
                    <a:lnTo>
                      <a:pt x="233" y="70"/>
                    </a:lnTo>
                    <a:lnTo>
                      <a:pt x="233" y="70"/>
                    </a:lnTo>
                    <a:lnTo>
                      <a:pt x="232" y="70"/>
                    </a:lnTo>
                    <a:lnTo>
                      <a:pt x="232" y="72"/>
                    </a:lnTo>
                    <a:lnTo>
                      <a:pt x="233" y="73"/>
                    </a:lnTo>
                    <a:lnTo>
                      <a:pt x="232" y="73"/>
                    </a:lnTo>
                    <a:lnTo>
                      <a:pt x="232" y="75"/>
                    </a:lnTo>
                    <a:lnTo>
                      <a:pt x="232" y="76"/>
                    </a:lnTo>
                    <a:lnTo>
                      <a:pt x="230" y="78"/>
                    </a:lnTo>
                    <a:lnTo>
                      <a:pt x="232" y="80"/>
                    </a:lnTo>
                    <a:lnTo>
                      <a:pt x="230" y="80"/>
                    </a:lnTo>
                    <a:lnTo>
                      <a:pt x="228" y="81"/>
                    </a:lnTo>
                    <a:lnTo>
                      <a:pt x="228" y="81"/>
                    </a:lnTo>
                    <a:lnTo>
                      <a:pt x="227" y="81"/>
                    </a:lnTo>
                    <a:lnTo>
                      <a:pt x="227" y="80"/>
                    </a:lnTo>
                    <a:lnTo>
                      <a:pt x="225" y="78"/>
                    </a:lnTo>
                    <a:lnTo>
                      <a:pt x="225" y="80"/>
                    </a:lnTo>
                    <a:lnTo>
                      <a:pt x="225" y="80"/>
                    </a:lnTo>
                    <a:lnTo>
                      <a:pt x="224" y="80"/>
                    </a:lnTo>
                    <a:lnTo>
                      <a:pt x="225" y="80"/>
                    </a:lnTo>
                    <a:lnTo>
                      <a:pt x="225" y="78"/>
                    </a:lnTo>
                    <a:lnTo>
                      <a:pt x="225" y="76"/>
                    </a:lnTo>
                    <a:lnTo>
                      <a:pt x="224" y="75"/>
                    </a:lnTo>
                    <a:lnTo>
                      <a:pt x="224" y="76"/>
                    </a:lnTo>
                    <a:lnTo>
                      <a:pt x="224" y="78"/>
                    </a:lnTo>
                    <a:lnTo>
                      <a:pt x="224" y="80"/>
                    </a:lnTo>
                    <a:lnTo>
                      <a:pt x="222" y="80"/>
                    </a:lnTo>
                    <a:lnTo>
                      <a:pt x="221" y="81"/>
                    </a:lnTo>
                    <a:lnTo>
                      <a:pt x="219" y="81"/>
                    </a:lnTo>
                    <a:lnTo>
                      <a:pt x="217" y="81"/>
                    </a:lnTo>
                    <a:lnTo>
                      <a:pt x="217" y="83"/>
                    </a:lnTo>
                    <a:lnTo>
                      <a:pt x="216" y="84"/>
                    </a:lnTo>
                    <a:lnTo>
                      <a:pt x="216" y="86"/>
                    </a:lnTo>
                    <a:lnTo>
                      <a:pt x="217" y="86"/>
                    </a:lnTo>
                    <a:lnTo>
                      <a:pt x="217" y="87"/>
                    </a:lnTo>
                    <a:lnTo>
                      <a:pt x="219" y="89"/>
                    </a:lnTo>
                    <a:lnTo>
                      <a:pt x="219" y="90"/>
                    </a:lnTo>
                    <a:lnTo>
                      <a:pt x="219" y="90"/>
                    </a:lnTo>
                    <a:lnTo>
                      <a:pt x="217" y="90"/>
                    </a:lnTo>
                    <a:lnTo>
                      <a:pt x="216" y="89"/>
                    </a:lnTo>
                    <a:lnTo>
                      <a:pt x="214" y="89"/>
                    </a:lnTo>
                    <a:lnTo>
                      <a:pt x="213" y="89"/>
                    </a:lnTo>
                    <a:lnTo>
                      <a:pt x="213" y="89"/>
                    </a:lnTo>
                    <a:lnTo>
                      <a:pt x="213" y="90"/>
                    </a:lnTo>
                    <a:lnTo>
                      <a:pt x="213" y="90"/>
                    </a:lnTo>
                    <a:lnTo>
                      <a:pt x="211" y="90"/>
                    </a:lnTo>
                    <a:lnTo>
                      <a:pt x="210" y="92"/>
                    </a:lnTo>
                    <a:lnTo>
                      <a:pt x="211" y="94"/>
                    </a:lnTo>
                    <a:lnTo>
                      <a:pt x="211" y="94"/>
                    </a:lnTo>
                    <a:lnTo>
                      <a:pt x="211" y="94"/>
                    </a:lnTo>
                    <a:lnTo>
                      <a:pt x="213" y="95"/>
                    </a:lnTo>
                    <a:lnTo>
                      <a:pt x="214" y="94"/>
                    </a:lnTo>
                    <a:lnTo>
                      <a:pt x="214" y="95"/>
                    </a:lnTo>
                    <a:lnTo>
                      <a:pt x="214" y="97"/>
                    </a:lnTo>
                    <a:lnTo>
                      <a:pt x="213" y="97"/>
                    </a:lnTo>
                    <a:lnTo>
                      <a:pt x="213" y="97"/>
                    </a:lnTo>
                    <a:lnTo>
                      <a:pt x="208" y="94"/>
                    </a:lnTo>
                    <a:lnTo>
                      <a:pt x="208" y="94"/>
                    </a:lnTo>
                    <a:lnTo>
                      <a:pt x="207" y="94"/>
                    </a:lnTo>
                    <a:lnTo>
                      <a:pt x="208" y="95"/>
                    </a:lnTo>
                    <a:lnTo>
                      <a:pt x="207" y="97"/>
                    </a:lnTo>
                    <a:lnTo>
                      <a:pt x="205" y="98"/>
                    </a:lnTo>
                    <a:lnTo>
                      <a:pt x="205" y="97"/>
                    </a:lnTo>
                    <a:lnTo>
                      <a:pt x="203" y="98"/>
                    </a:lnTo>
                    <a:lnTo>
                      <a:pt x="202" y="100"/>
                    </a:lnTo>
                    <a:lnTo>
                      <a:pt x="202" y="103"/>
                    </a:lnTo>
                    <a:lnTo>
                      <a:pt x="203" y="105"/>
                    </a:lnTo>
                    <a:lnTo>
                      <a:pt x="203" y="106"/>
                    </a:lnTo>
                    <a:lnTo>
                      <a:pt x="207" y="103"/>
                    </a:lnTo>
                    <a:lnTo>
                      <a:pt x="207" y="103"/>
                    </a:lnTo>
                    <a:lnTo>
                      <a:pt x="207" y="105"/>
                    </a:lnTo>
                    <a:lnTo>
                      <a:pt x="207" y="106"/>
                    </a:lnTo>
                    <a:lnTo>
                      <a:pt x="205" y="108"/>
                    </a:lnTo>
                    <a:lnTo>
                      <a:pt x="205" y="109"/>
                    </a:lnTo>
                    <a:lnTo>
                      <a:pt x="205" y="109"/>
                    </a:lnTo>
                    <a:lnTo>
                      <a:pt x="203" y="109"/>
                    </a:lnTo>
                    <a:lnTo>
                      <a:pt x="203" y="109"/>
                    </a:lnTo>
                    <a:lnTo>
                      <a:pt x="202" y="111"/>
                    </a:lnTo>
                    <a:lnTo>
                      <a:pt x="202" y="112"/>
                    </a:lnTo>
                    <a:lnTo>
                      <a:pt x="203" y="112"/>
                    </a:lnTo>
                    <a:lnTo>
                      <a:pt x="205" y="112"/>
                    </a:lnTo>
                    <a:lnTo>
                      <a:pt x="207" y="112"/>
                    </a:lnTo>
                    <a:lnTo>
                      <a:pt x="208" y="114"/>
                    </a:lnTo>
                    <a:lnTo>
                      <a:pt x="208" y="114"/>
                    </a:lnTo>
                    <a:lnTo>
                      <a:pt x="208" y="114"/>
                    </a:lnTo>
                    <a:lnTo>
                      <a:pt x="205" y="114"/>
                    </a:lnTo>
                    <a:lnTo>
                      <a:pt x="203" y="114"/>
                    </a:lnTo>
                    <a:lnTo>
                      <a:pt x="200" y="114"/>
                    </a:lnTo>
                    <a:lnTo>
                      <a:pt x="199" y="112"/>
                    </a:lnTo>
                    <a:lnTo>
                      <a:pt x="197" y="112"/>
                    </a:lnTo>
                    <a:lnTo>
                      <a:pt x="196" y="112"/>
                    </a:lnTo>
                    <a:lnTo>
                      <a:pt x="194" y="112"/>
                    </a:lnTo>
                    <a:lnTo>
                      <a:pt x="194" y="114"/>
                    </a:lnTo>
                    <a:lnTo>
                      <a:pt x="192" y="114"/>
                    </a:lnTo>
                    <a:lnTo>
                      <a:pt x="191" y="111"/>
                    </a:lnTo>
                    <a:lnTo>
                      <a:pt x="189" y="111"/>
                    </a:lnTo>
                    <a:lnTo>
                      <a:pt x="188" y="111"/>
                    </a:lnTo>
                    <a:lnTo>
                      <a:pt x="189" y="112"/>
                    </a:lnTo>
                    <a:lnTo>
                      <a:pt x="189" y="114"/>
                    </a:lnTo>
                    <a:lnTo>
                      <a:pt x="188" y="116"/>
                    </a:lnTo>
                    <a:lnTo>
                      <a:pt x="186" y="116"/>
                    </a:lnTo>
                    <a:lnTo>
                      <a:pt x="186" y="116"/>
                    </a:lnTo>
                    <a:lnTo>
                      <a:pt x="186" y="117"/>
                    </a:lnTo>
                    <a:lnTo>
                      <a:pt x="188" y="119"/>
                    </a:lnTo>
                    <a:lnTo>
                      <a:pt x="189" y="120"/>
                    </a:lnTo>
                    <a:lnTo>
                      <a:pt x="191" y="122"/>
                    </a:lnTo>
                    <a:lnTo>
                      <a:pt x="191" y="123"/>
                    </a:lnTo>
                    <a:lnTo>
                      <a:pt x="192" y="123"/>
                    </a:lnTo>
                    <a:lnTo>
                      <a:pt x="192" y="123"/>
                    </a:lnTo>
                    <a:lnTo>
                      <a:pt x="192" y="125"/>
                    </a:lnTo>
                    <a:lnTo>
                      <a:pt x="192" y="128"/>
                    </a:lnTo>
                    <a:lnTo>
                      <a:pt x="192" y="128"/>
                    </a:lnTo>
                    <a:lnTo>
                      <a:pt x="191" y="126"/>
                    </a:lnTo>
                    <a:lnTo>
                      <a:pt x="189" y="125"/>
                    </a:lnTo>
                    <a:lnTo>
                      <a:pt x="189" y="125"/>
                    </a:lnTo>
                    <a:lnTo>
                      <a:pt x="188" y="125"/>
                    </a:lnTo>
                    <a:lnTo>
                      <a:pt x="188" y="126"/>
                    </a:lnTo>
                    <a:lnTo>
                      <a:pt x="188" y="130"/>
                    </a:lnTo>
                    <a:lnTo>
                      <a:pt x="188" y="133"/>
                    </a:lnTo>
                    <a:lnTo>
                      <a:pt x="188" y="134"/>
                    </a:lnTo>
                    <a:lnTo>
                      <a:pt x="188" y="134"/>
                    </a:lnTo>
                    <a:lnTo>
                      <a:pt x="186" y="134"/>
                    </a:lnTo>
                    <a:lnTo>
                      <a:pt x="186" y="133"/>
                    </a:lnTo>
                    <a:lnTo>
                      <a:pt x="185" y="131"/>
                    </a:lnTo>
                    <a:lnTo>
                      <a:pt x="183" y="126"/>
                    </a:lnTo>
                    <a:lnTo>
                      <a:pt x="180" y="123"/>
                    </a:lnTo>
                    <a:lnTo>
                      <a:pt x="178" y="120"/>
                    </a:lnTo>
                    <a:lnTo>
                      <a:pt x="177" y="116"/>
                    </a:lnTo>
                    <a:lnTo>
                      <a:pt x="177" y="116"/>
                    </a:lnTo>
                    <a:lnTo>
                      <a:pt x="175" y="117"/>
                    </a:lnTo>
                    <a:lnTo>
                      <a:pt x="174" y="120"/>
                    </a:lnTo>
                    <a:lnTo>
                      <a:pt x="172" y="122"/>
                    </a:lnTo>
                    <a:lnTo>
                      <a:pt x="171" y="123"/>
                    </a:lnTo>
                    <a:lnTo>
                      <a:pt x="169" y="123"/>
                    </a:lnTo>
                    <a:lnTo>
                      <a:pt x="167" y="125"/>
                    </a:lnTo>
                    <a:lnTo>
                      <a:pt x="166" y="126"/>
                    </a:lnTo>
                    <a:lnTo>
                      <a:pt x="164" y="128"/>
                    </a:lnTo>
                    <a:lnTo>
                      <a:pt x="163" y="131"/>
                    </a:lnTo>
                    <a:lnTo>
                      <a:pt x="163" y="133"/>
                    </a:lnTo>
                    <a:lnTo>
                      <a:pt x="163" y="136"/>
                    </a:lnTo>
                    <a:lnTo>
                      <a:pt x="164" y="139"/>
                    </a:lnTo>
                    <a:lnTo>
                      <a:pt x="164" y="142"/>
                    </a:lnTo>
                    <a:lnTo>
                      <a:pt x="166" y="144"/>
                    </a:lnTo>
                    <a:lnTo>
                      <a:pt x="166" y="144"/>
                    </a:lnTo>
                    <a:lnTo>
                      <a:pt x="166" y="145"/>
                    </a:lnTo>
                    <a:lnTo>
                      <a:pt x="164" y="147"/>
                    </a:lnTo>
                    <a:lnTo>
                      <a:pt x="160" y="150"/>
                    </a:lnTo>
                    <a:lnTo>
                      <a:pt x="158" y="151"/>
                    </a:lnTo>
                    <a:lnTo>
                      <a:pt x="157" y="153"/>
                    </a:lnTo>
                    <a:lnTo>
                      <a:pt x="155" y="156"/>
                    </a:lnTo>
                    <a:lnTo>
                      <a:pt x="153" y="158"/>
                    </a:lnTo>
                    <a:lnTo>
                      <a:pt x="153" y="161"/>
                    </a:lnTo>
                    <a:lnTo>
                      <a:pt x="152" y="164"/>
                    </a:lnTo>
                    <a:lnTo>
                      <a:pt x="149" y="167"/>
                    </a:lnTo>
                    <a:lnTo>
                      <a:pt x="146" y="170"/>
                    </a:lnTo>
                    <a:lnTo>
                      <a:pt x="142" y="173"/>
                    </a:lnTo>
                    <a:lnTo>
                      <a:pt x="141" y="173"/>
                    </a:lnTo>
                    <a:lnTo>
                      <a:pt x="133" y="178"/>
                    </a:lnTo>
                    <a:lnTo>
                      <a:pt x="128" y="178"/>
                    </a:lnTo>
                    <a:lnTo>
                      <a:pt x="121" y="180"/>
                    </a:lnTo>
                    <a:lnTo>
                      <a:pt x="117" y="181"/>
                    </a:lnTo>
                    <a:lnTo>
                      <a:pt x="114" y="181"/>
                    </a:lnTo>
                    <a:lnTo>
                      <a:pt x="110" y="180"/>
                    </a:lnTo>
                    <a:lnTo>
                      <a:pt x="103" y="186"/>
                    </a:lnTo>
                    <a:lnTo>
                      <a:pt x="99" y="186"/>
                    </a:lnTo>
                    <a:lnTo>
                      <a:pt x="94" y="187"/>
                    </a:lnTo>
                    <a:lnTo>
                      <a:pt x="91" y="187"/>
                    </a:lnTo>
                    <a:lnTo>
                      <a:pt x="88" y="191"/>
                    </a:lnTo>
                    <a:lnTo>
                      <a:pt x="85" y="192"/>
                    </a:lnTo>
                    <a:lnTo>
                      <a:pt x="80" y="194"/>
                    </a:lnTo>
                    <a:lnTo>
                      <a:pt x="78" y="194"/>
                    </a:lnTo>
                    <a:lnTo>
                      <a:pt x="75" y="192"/>
                    </a:lnTo>
                    <a:lnTo>
                      <a:pt x="72" y="192"/>
                    </a:lnTo>
                    <a:lnTo>
                      <a:pt x="69" y="192"/>
                    </a:lnTo>
                    <a:lnTo>
                      <a:pt x="67" y="192"/>
                    </a:lnTo>
                    <a:lnTo>
                      <a:pt x="66" y="194"/>
                    </a:lnTo>
                    <a:lnTo>
                      <a:pt x="55" y="200"/>
                    </a:lnTo>
                    <a:lnTo>
                      <a:pt x="53" y="202"/>
                    </a:lnTo>
                    <a:lnTo>
                      <a:pt x="50" y="203"/>
                    </a:lnTo>
                    <a:lnTo>
                      <a:pt x="47" y="206"/>
                    </a:lnTo>
                    <a:lnTo>
                      <a:pt x="46" y="208"/>
                    </a:lnTo>
                    <a:lnTo>
                      <a:pt x="41" y="211"/>
                    </a:lnTo>
                    <a:lnTo>
                      <a:pt x="35" y="213"/>
                    </a:lnTo>
                    <a:lnTo>
                      <a:pt x="33" y="214"/>
                    </a:lnTo>
                    <a:lnTo>
                      <a:pt x="30" y="217"/>
                    </a:lnTo>
                    <a:lnTo>
                      <a:pt x="27" y="222"/>
                    </a:lnTo>
                    <a:lnTo>
                      <a:pt x="27" y="223"/>
                    </a:lnTo>
                    <a:lnTo>
                      <a:pt x="25" y="225"/>
                    </a:lnTo>
                    <a:lnTo>
                      <a:pt x="24" y="227"/>
                    </a:lnTo>
                    <a:lnTo>
                      <a:pt x="22" y="227"/>
                    </a:lnTo>
                    <a:lnTo>
                      <a:pt x="22" y="223"/>
                    </a:lnTo>
                    <a:lnTo>
                      <a:pt x="22" y="222"/>
                    </a:lnTo>
                    <a:lnTo>
                      <a:pt x="22" y="216"/>
                    </a:lnTo>
                    <a:lnTo>
                      <a:pt x="22" y="214"/>
                    </a:lnTo>
                    <a:lnTo>
                      <a:pt x="20" y="216"/>
                    </a:lnTo>
                    <a:lnTo>
                      <a:pt x="19" y="217"/>
                    </a:lnTo>
                    <a:lnTo>
                      <a:pt x="16" y="223"/>
                    </a:lnTo>
                    <a:lnTo>
                      <a:pt x="14" y="230"/>
                    </a:lnTo>
                    <a:lnTo>
                      <a:pt x="16" y="233"/>
                    </a:lnTo>
                    <a:lnTo>
                      <a:pt x="16" y="234"/>
                    </a:lnTo>
                    <a:lnTo>
                      <a:pt x="16" y="238"/>
                    </a:lnTo>
                    <a:lnTo>
                      <a:pt x="16" y="241"/>
                    </a:lnTo>
                    <a:lnTo>
                      <a:pt x="16" y="242"/>
                    </a:lnTo>
                    <a:lnTo>
                      <a:pt x="16" y="245"/>
                    </a:lnTo>
                    <a:lnTo>
                      <a:pt x="13" y="250"/>
                    </a:lnTo>
                    <a:lnTo>
                      <a:pt x="11" y="253"/>
                    </a:lnTo>
                    <a:lnTo>
                      <a:pt x="10" y="258"/>
                    </a:lnTo>
                    <a:lnTo>
                      <a:pt x="10" y="261"/>
                    </a:lnTo>
                    <a:lnTo>
                      <a:pt x="10" y="264"/>
                    </a:lnTo>
                    <a:lnTo>
                      <a:pt x="11" y="267"/>
                    </a:lnTo>
                    <a:lnTo>
                      <a:pt x="13" y="269"/>
                    </a:lnTo>
                    <a:lnTo>
                      <a:pt x="14" y="275"/>
                    </a:lnTo>
                    <a:lnTo>
                      <a:pt x="16" y="278"/>
                    </a:lnTo>
                    <a:lnTo>
                      <a:pt x="19" y="286"/>
                    </a:lnTo>
                    <a:lnTo>
                      <a:pt x="24" y="291"/>
                    </a:lnTo>
                    <a:lnTo>
                      <a:pt x="24" y="294"/>
                    </a:lnTo>
                    <a:lnTo>
                      <a:pt x="24" y="297"/>
                    </a:lnTo>
                    <a:lnTo>
                      <a:pt x="24" y="300"/>
                    </a:lnTo>
                    <a:lnTo>
                      <a:pt x="24" y="300"/>
                    </a:lnTo>
                    <a:lnTo>
                      <a:pt x="22" y="302"/>
                    </a:lnTo>
                    <a:lnTo>
                      <a:pt x="19" y="300"/>
                    </a:lnTo>
                    <a:lnTo>
                      <a:pt x="19" y="299"/>
                    </a:lnTo>
                    <a:lnTo>
                      <a:pt x="17" y="295"/>
                    </a:lnTo>
                    <a:lnTo>
                      <a:pt x="17" y="294"/>
                    </a:lnTo>
                    <a:lnTo>
                      <a:pt x="16" y="297"/>
                    </a:lnTo>
                    <a:lnTo>
                      <a:pt x="16" y="297"/>
                    </a:lnTo>
                    <a:lnTo>
                      <a:pt x="14" y="297"/>
                    </a:lnTo>
                    <a:lnTo>
                      <a:pt x="14" y="295"/>
                    </a:lnTo>
                    <a:lnTo>
                      <a:pt x="14" y="295"/>
                    </a:lnTo>
                    <a:lnTo>
                      <a:pt x="14" y="294"/>
                    </a:lnTo>
                    <a:lnTo>
                      <a:pt x="14" y="291"/>
                    </a:lnTo>
                    <a:lnTo>
                      <a:pt x="13" y="289"/>
                    </a:lnTo>
                    <a:lnTo>
                      <a:pt x="11" y="288"/>
                    </a:lnTo>
                    <a:lnTo>
                      <a:pt x="10" y="286"/>
                    </a:lnTo>
                    <a:lnTo>
                      <a:pt x="10" y="288"/>
                    </a:lnTo>
                    <a:lnTo>
                      <a:pt x="10" y="289"/>
                    </a:lnTo>
                    <a:lnTo>
                      <a:pt x="11" y="292"/>
                    </a:lnTo>
                    <a:lnTo>
                      <a:pt x="13" y="295"/>
                    </a:lnTo>
                    <a:lnTo>
                      <a:pt x="14" y="299"/>
                    </a:lnTo>
                    <a:lnTo>
                      <a:pt x="16" y="299"/>
                    </a:lnTo>
                    <a:lnTo>
                      <a:pt x="17" y="300"/>
                    </a:lnTo>
                    <a:lnTo>
                      <a:pt x="17" y="303"/>
                    </a:lnTo>
                    <a:lnTo>
                      <a:pt x="16" y="305"/>
                    </a:lnTo>
                    <a:lnTo>
                      <a:pt x="16" y="306"/>
                    </a:lnTo>
                    <a:lnTo>
                      <a:pt x="13" y="305"/>
                    </a:lnTo>
                    <a:lnTo>
                      <a:pt x="11" y="303"/>
                    </a:lnTo>
                    <a:lnTo>
                      <a:pt x="10" y="299"/>
                    </a:lnTo>
                    <a:lnTo>
                      <a:pt x="10" y="297"/>
                    </a:lnTo>
                    <a:lnTo>
                      <a:pt x="8" y="295"/>
                    </a:lnTo>
                    <a:lnTo>
                      <a:pt x="8" y="297"/>
                    </a:lnTo>
                    <a:lnTo>
                      <a:pt x="8" y="299"/>
                    </a:lnTo>
                    <a:lnTo>
                      <a:pt x="8" y="299"/>
                    </a:lnTo>
                    <a:lnTo>
                      <a:pt x="8" y="299"/>
                    </a:lnTo>
                    <a:lnTo>
                      <a:pt x="6" y="299"/>
                    </a:lnTo>
                    <a:lnTo>
                      <a:pt x="6" y="297"/>
                    </a:lnTo>
                    <a:lnTo>
                      <a:pt x="5" y="299"/>
                    </a:lnTo>
                    <a:lnTo>
                      <a:pt x="6" y="299"/>
                    </a:lnTo>
                    <a:lnTo>
                      <a:pt x="8" y="302"/>
                    </a:lnTo>
                    <a:lnTo>
                      <a:pt x="14" y="311"/>
                    </a:lnTo>
                    <a:lnTo>
                      <a:pt x="20" y="320"/>
                    </a:lnTo>
                    <a:lnTo>
                      <a:pt x="22" y="325"/>
                    </a:lnTo>
                    <a:lnTo>
                      <a:pt x="22" y="333"/>
                    </a:lnTo>
                    <a:lnTo>
                      <a:pt x="22" y="335"/>
                    </a:lnTo>
                    <a:lnTo>
                      <a:pt x="27" y="339"/>
                    </a:lnTo>
                    <a:lnTo>
                      <a:pt x="30" y="344"/>
                    </a:lnTo>
                    <a:lnTo>
                      <a:pt x="30" y="347"/>
                    </a:lnTo>
                    <a:lnTo>
                      <a:pt x="30" y="349"/>
                    </a:lnTo>
                    <a:lnTo>
                      <a:pt x="31" y="350"/>
                    </a:lnTo>
                    <a:lnTo>
                      <a:pt x="35" y="356"/>
                    </a:lnTo>
                    <a:lnTo>
                      <a:pt x="36" y="363"/>
                    </a:lnTo>
                    <a:lnTo>
                      <a:pt x="36" y="364"/>
                    </a:lnTo>
                    <a:lnTo>
                      <a:pt x="36" y="367"/>
                    </a:lnTo>
                    <a:lnTo>
                      <a:pt x="36" y="374"/>
                    </a:lnTo>
                    <a:lnTo>
                      <a:pt x="38" y="378"/>
                    </a:lnTo>
                    <a:lnTo>
                      <a:pt x="39" y="385"/>
                    </a:lnTo>
                    <a:lnTo>
                      <a:pt x="41" y="389"/>
                    </a:lnTo>
                    <a:lnTo>
                      <a:pt x="42" y="392"/>
                    </a:lnTo>
                    <a:lnTo>
                      <a:pt x="46" y="400"/>
                    </a:lnTo>
                    <a:lnTo>
                      <a:pt x="50" y="408"/>
                    </a:lnTo>
                    <a:lnTo>
                      <a:pt x="50" y="411"/>
                    </a:lnTo>
                    <a:lnTo>
                      <a:pt x="50" y="422"/>
                    </a:lnTo>
                    <a:lnTo>
                      <a:pt x="50" y="425"/>
                    </a:lnTo>
                    <a:lnTo>
                      <a:pt x="49" y="427"/>
                    </a:lnTo>
                    <a:lnTo>
                      <a:pt x="49" y="428"/>
                    </a:lnTo>
                    <a:lnTo>
                      <a:pt x="49" y="435"/>
                    </a:lnTo>
                    <a:lnTo>
                      <a:pt x="49" y="439"/>
                    </a:lnTo>
                    <a:lnTo>
                      <a:pt x="49" y="443"/>
                    </a:lnTo>
                    <a:lnTo>
                      <a:pt x="47" y="446"/>
                    </a:lnTo>
                    <a:lnTo>
                      <a:pt x="44" y="449"/>
                    </a:lnTo>
                    <a:lnTo>
                      <a:pt x="41" y="449"/>
                    </a:lnTo>
                    <a:lnTo>
                      <a:pt x="39" y="447"/>
                    </a:lnTo>
                    <a:lnTo>
                      <a:pt x="38" y="446"/>
                    </a:lnTo>
                    <a:lnTo>
                      <a:pt x="38" y="452"/>
                    </a:lnTo>
                    <a:lnTo>
                      <a:pt x="38" y="457"/>
                    </a:lnTo>
                    <a:lnTo>
                      <a:pt x="38" y="460"/>
                    </a:lnTo>
                    <a:lnTo>
                      <a:pt x="38" y="461"/>
                    </a:lnTo>
                    <a:lnTo>
                      <a:pt x="39" y="463"/>
                    </a:lnTo>
                    <a:lnTo>
                      <a:pt x="41" y="463"/>
                    </a:lnTo>
                    <a:lnTo>
                      <a:pt x="42" y="463"/>
                    </a:lnTo>
                    <a:lnTo>
                      <a:pt x="47" y="464"/>
                    </a:lnTo>
                    <a:lnTo>
                      <a:pt x="50" y="468"/>
                    </a:lnTo>
                    <a:lnTo>
                      <a:pt x="55" y="472"/>
                    </a:lnTo>
                    <a:lnTo>
                      <a:pt x="58" y="474"/>
                    </a:lnTo>
                    <a:lnTo>
                      <a:pt x="64" y="477"/>
                    </a:lnTo>
                    <a:lnTo>
                      <a:pt x="71" y="477"/>
                    </a:lnTo>
                    <a:lnTo>
                      <a:pt x="75" y="479"/>
                    </a:lnTo>
                    <a:lnTo>
                      <a:pt x="83" y="479"/>
                    </a:lnTo>
                    <a:lnTo>
                      <a:pt x="85" y="479"/>
                    </a:lnTo>
                    <a:lnTo>
                      <a:pt x="88" y="479"/>
                    </a:lnTo>
                    <a:lnTo>
                      <a:pt x="91" y="477"/>
                    </a:lnTo>
                    <a:lnTo>
                      <a:pt x="92" y="477"/>
                    </a:lnTo>
                    <a:lnTo>
                      <a:pt x="99" y="472"/>
                    </a:lnTo>
                    <a:lnTo>
                      <a:pt x="106" y="466"/>
                    </a:lnTo>
                    <a:lnTo>
                      <a:pt x="110" y="466"/>
                    </a:lnTo>
                    <a:lnTo>
                      <a:pt x="111" y="466"/>
                    </a:lnTo>
                    <a:lnTo>
                      <a:pt x="116" y="464"/>
                    </a:lnTo>
                    <a:lnTo>
                      <a:pt x="119" y="458"/>
                    </a:lnTo>
                    <a:lnTo>
                      <a:pt x="121" y="457"/>
                    </a:lnTo>
                    <a:lnTo>
                      <a:pt x="122" y="455"/>
                    </a:lnTo>
                    <a:lnTo>
                      <a:pt x="128" y="455"/>
                    </a:lnTo>
                    <a:lnTo>
                      <a:pt x="133" y="455"/>
                    </a:lnTo>
                    <a:lnTo>
                      <a:pt x="135" y="455"/>
                    </a:lnTo>
                    <a:lnTo>
                      <a:pt x="139" y="454"/>
                    </a:lnTo>
                    <a:lnTo>
                      <a:pt x="150" y="452"/>
                    </a:lnTo>
                    <a:lnTo>
                      <a:pt x="155" y="454"/>
                    </a:lnTo>
                    <a:lnTo>
                      <a:pt x="160" y="454"/>
                    </a:lnTo>
                    <a:lnTo>
                      <a:pt x="161" y="454"/>
                    </a:lnTo>
                    <a:lnTo>
                      <a:pt x="163" y="455"/>
                    </a:lnTo>
                    <a:lnTo>
                      <a:pt x="174" y="454"/>
                    </a:lnTo>
                    <a:lnTo>
                      <a:pt x="177" y="454"/>
                    </a:lnTo>
                    <a:lnTo>
                      <a:pt x="178" y="454"/>
                    </a:lnTo>
                    <a:lnTo>
                      <a:pt x="182" y="455"/>
                    </a:lnTo>
                    <a:lnTo>
                      <a:pt x="185" y="454"/>
                    </a:lnTo>
                    <a:lnTo>
                      <a:pt x="186" y="454"/>
                    </a:lnTo>
                    <a:lnTo>
                      <a:pt x="189" y="452"/>
                    </a:lnTo>
                    <a:lnTo>
                      <a:pt x="192" y="447"/>
                    </a:lnTo>
                    <a:lnTo>
                      <a:pt x="194" y="444"/>
                    </a:lnTo>
                    <a:lnTo>
                      <a:pt x="197" y="438"/>
                    </a:lnTo>
                    <a:lnTo>
                      <a:pt x="200" y="435"/>
                    </a:lnTo>
                    <a:lnTo>
                      <a:pt x="202" y="435"/>
                    </a:lnTo>
                    <a:lnTo>
                      <a:pt x="205" y="433"/>
                    </a:lnTo>
                    <a:lnTo>
                      <a:pt x="208" y="433"/>
                    </a:lnTo>
                    <a:lnTo>
                      <a:pt x="217" y="427"/>
                    </a:lnTo>
                    <a:lnTo>
                      <a:pt x="221" y="425"/>
                    </a:lnTo>
                    <a:lnTo>
                      <a:pt x="222" y="425"/>
                    </a:lnTo>
                    <a:lnTo>
                      <a:pt x="228" y="421"/>
                    </a:lnTo>
                    <a:lnTo>
                      <a:pt x="233" y="419"/>
                    </a:lnTo>
                    <a:lnTo>
                      <a:pt x="244" y="421"/>
                    </a:lnTo>
                    <a:lnTo>
                      <a:pt x="249" y="421"/>
                    </a:lnTo>
                    <a:lnTo>
                      <a:pt x="253" y="419"/>
                    </a:lnTo>
                    <a:lnTo>
                      <a:pt x="260" y="418"/>
                    </a:lnTo>
                    <a:lnTo>
                      <a:pt x="266" y="416"/>
                    </a:lnTo>
                    <a:lnTo>
                      <a:pt x="275" y="411"/>
                    </a:lnTo>
                    <a:lnTo>
                      <a:pt x="282" y="408"/>
                    </a:lnTo>
                    <a:lnTo>
                      <a:pt x="286" y="407"/>
                    </a:lnTo>
                    <a:lnTo>
                      <a:pt x="293" y="407"/>
                    </a:lnTo>
                    <a:lnTo>
                      <a:pt x="303" y="405"/>
                    </a:lnTo>
                    <a:lnTo>
                      <a:pt x="314" y="407"/>
                    </a:lnTo>
                    <a:lnTo>
                      <a:pt x="318" y="405"/>
                    </a:lnTo>
                    <a:lnTo>
                      <a:pt x="319" y="405"/>
                    </a:lnTo>
                    <a:lnTo>
                      <a:pt x="321" y="403"/>
                    </a:lnTo>
                    <a:lnTo>
                      <a:pt x="324" y="405"/>
                    </a:lnTo>
                    <a:lnTo>
                      <a:pt x="325" y="405"/>
                    </a:lnTo>
                    <a:lnTo>
                      <a:pt x="330" y="408"/>
                    </a:lnTo>
                    <a:lnTo>
                      <a:pt x="339" y="414"/>
                    </a:lnTo>
                    <a:lnTo>
                      <a:pt x="341" y="414"/>
                    </a:lnTo>
                    <a:lnTo>
                      <a:pt x="347" y="413"/>
                    </a:lnTo>
                    <a:lnTo>
                      <a:pt x="349" y="413"/>
                    </a:lnTo>
                    <a:lnTo>
                      <a:pt x="357" y="418"/>
                    </a:lnTo>
                    <a:lnTo>
                      <a:pt x="360" y="418"/>
                    </a:lnTo>
                    <a:lnTo>
                      <a:pt x="363" y="418"/>
                    </a:lnTo>
                    <a:lnTo>
                      <a:pt x="364" y="419"/>
                    </a:lnTo>
                    <a:lnTo>
                      <a:pt x="368" y="419"/>
                    </a:lnTo>
                    <a:lnTo>
                      <a:pt x="369" y="422"/>
                    </a:lnTo>
                    <a:lnTo>
                      <a:pt x="375" y="425"/>
                    </a:lnTo>
                    <a:lnTo>
                      <a:pt x="375" y="428"/>
                    </a:lnTo>
                    <a:lnTo>
                      <a:pt x="375" y="430"/>
                    </a:lnTo>
                    <a:lnTo>
                      <a:pt x="374" y="430"/>
                    </a:lnTo>
                    <a:lnTo>
                      <a:pt x="372" y="430"/>
                    </a:lnTo>
                    <a:lnTo>
                      <a:pt x="374" y="435"/>
                    </a:lnTo>
                    <a:lnTo>
                      <a:pt x="375" y="438"/>
                    </a:lnTo>
                    <a:lnTo>
                      <a:pt x="382" y="439"/>
                    </a:lnTo>
                    <a:lnTo>
                      <a:pt x="383" y="441"/>
                    </a:lnTo>
                    <a:lnTo>
                      <a:pt x="385" y="443"/>
                    </a:lnTo>
                    <a:lnTo>
                      <a:pt x="386" y="444"/>
                    </a:lnTo>
                    <a:lnTo>
                      <a:pt x="386" y="449"/>
                    </a:lnTo>
                    <a:lnTo>
                      <a:pt x="389" y="452"/>
                    </a:lnTo>
                    <a:lnTo>
                      <a:pt x="391" y="454"/>
                    </a:lnTo>
                    <a:lnTo>
                      <a:pt x="393" y="455"/>
                    </a:lnTo>
                    <a:lnTo>
                      <a:pt x="394" y="460"/>
                    </a:lnTo>
                    <a:lnTo>
                      <a:pt x="394" y="460"/>
                    </a:lnTo>
                    <a:lnTo>
                      <a:pt x="394" y="464"/>
                    </a:lnTo>
                    <a:lnTo>
                      <a:pt x="396" y="468"/>
                    </a:lnTo>
                    <a:lnTo>
                      <a:pt x="396" y="469"/>
                    </a:lnTo>
                    <a:lnTo>
                      <a:pt x="396" y="469"/>
                    </a:lnTo>
                    <a:lnTo>
                      <a:pt x="394" y="468"/>
                    </a:lnTo>
                    <a:lnTo>
                      <a:pt x="393" y="466"/>
                    </a:lnTo>
                    <a:lnTo>
                      <a:pt x="391" y="466"/>
                    </a:lnTo>
                    <a:lnTo>
                      <a:pt x="391" y="468"/>
                    </a:lnTo>
                    <a:lnTo>
                      <a:pt x="391" y="469"/>
                    </a:lnTo>
                    <a:lnTo>
                      <a:pt x="391" y="468"/>
                    </a:lnTo>
                    <a:lnTo>
                      <a:pt x="393" y="468"/>
                    </a:lnTo>
                    <a:lnTo>
                      <a:pt x="394" y="469"/>
                    </a:lnTo>
                    <a:lnTo>
                      <a:pt x="396" y="471"/>
                    </a:lnTo>
                    <a:lnTo>
                      <a:pt x="397" y="472"/>
                    </a:lnTo>
                    <a:lnTo>
                      <a:pt x="400" y="475"/>
                    </a:lnTo>
                    <a:lnTo>
                      <a:pt x="400" y="475"/>
                    </a:lnTo>
                    <a:lnTo>
                      <a:pt x="402" y="474"/>
                    </a:lnTo>
                    <a:lnTo>
                      <a:pt x="405" y="477"/>
                    </a:lnTo>
                    <a:lnTo>
                      <a:pt x="405" y="477"/>
                    </a:lnTo>
                    <a:lnTo>
                      <a:pt x="407" y="475"/>
                    </a:lnTo>
                    <a:lnTo>
                      <a:pt x="405" y="472"/>
                    </a:lnTo>
                    <a:lnTo>
                      <a:pt x="404" y="471"/>
                    </a:lnTo>
                    <a:lnTo>
                      <a:pt x="404" y="471"/>
                    </a:lnTo>
                    <a:lnTo>
                      <a:pt x="405" y="469"/>
                    </a:lnTo>
                    <a:lnTo>
                      <a:pt x="405" y="468"/>
                    </a:lnTo>
                    <a:lnTo>
                      <a:pt x="408" y="464"/>
                    </a:lnTo>
                    <a:lnTo>
                      <a:pt x="413" y="457"/>
                    </a:lnTo>
                    <a:lnTo>
                      <a:pt x="414" y="455"/>
                    </a:lnTo>
                    <a:lnTo>
                      <a:pt x="418" y="454"/>
                    </a:lnTo>
                    <a:lnTo>
                      <a:pt x="419" y="452"/>
                    </a:lnTo>
                    <a:lnTo>
                      <a:pt x="422" y="450"/>
                    </a:lnTo>
                    <a:lnTo>
                      <a:pt x="424" y="450"/>
                    </a:lnTo>
                    <a:lnTo>
                      <a:pt x="425" y="450"/>
                    </a:lnTo>
                    <a:lnTo>
                      <a:pt x="427" y="449"/>
                    </a:lnTo>
                    <a:lnTo>
                      <a:pt x="430" y="444"/>
                    </a:lnTo>
                    <a:lnTo>
                      <a:pt x="432" y="439"/>
                    </a:lnTo>
                    <a:lnTo>
                      <a:pt x="433" y="436"/>
                    </a:lnTo>
                    <a:lnTo>
                      <a:pt x="435" y="435"/>
                    </a:lnTo>
                    <a:lnTo>
                      <a:pt x="438" y="432"/>
                    </a:lnTo>
                    <a:lnTo>
                      <a:pt x="438" y="428"/>
                    </a:lnTo>
                    <a:lnTo>
                      <a:pt x="438" y="427"/>
                    </a:lnTo>
                    <a:lnTo>
                      <a:pt x="438" y="428"/>
                    </a:lnTo>
                    <a:lnTo>
                      <a:pt x="440" y="430"/>
                    </a:lnTo>
                    <a:lnTo>
                      <a:pt x="441" y="436"/>
                    </a:lnTo>
                    <a:lnTo>
                      <a:pt x="440" y="438"/>
                    </a:lnTo>
                    <a:lnTo>
                      <a:pt x="438" y="439"/>
                    </a:lnTo>
                    <a:lnTo>
                      <a:pt x="438" y="441"/>
                    </a:lnTo>
                    <a:lnTo>
                      <a:pt x="440" y="444"/>
                    </a:lnTo>
                    <a:lnTo>
                      <a:pt x="440" y="447"/>
                    </a:lnTo>
                    <a:lnTo>
                      <a:pt x="438" y="450"/>
                    </a:lnTo>
                    <a:lnTo>
                      <a:pt x="435" y="454"/>
                    </a:lnTo>
                    <a:lnTo>
                      <a:pt x="432" y="460"/>
                    </a:lnTo>
                    <a:lnTo>
                      <a:pt x="432" y="461"/>
                    </a:lnTo>
                    <a:lnTo>
                      <a:pt x="432" y="464"/>
                    </a:lnTo>
                    <a:lnTo>
                      <a:pt x="432" y="466"/>
                    </a:lnTo>
                    <a:lnTo>
                      <a:pt x="432" y="469"/>
                    </a:lnTo>
                    <a:lnTo>
                      <a:pt x="432" y="472"/>
                    </a:lnTo>
                    <a:lnTo>
                      <a:pt x="430" y="475"/>
                    </a:lnTo>
                    <a:lnTo>
                      <a:pt x="429" y="475"/>
                    </a:lnTo>
                    <a:lnTo>
                      <a:pt x="429" y="475"/>
                    </a:lnTo>
                    <a:lnTo>
                      <a:pt x="425" y="475"/>
                    </a:lnTo>
                    <a:lnTo>
                      <a:pt x="424" y="475"/>
                    </a:lnTo>
                    <a:lnTo>
                      <a:pt x="421" y="482"/>
                    </a:lnTo>
                    <a:lnTo>
                      <a:pt x="422" y="483"/>
                    </a:lnTo>
                    <a:lnTo>
                      <a:pt x="424" y="482"/>
                    </a:lnTo>
                    <a:lnTo>
                      <a:pt x="425" y="482"/>
                    </a:lnTo>
                    <a:lnTo>
                      <a:pt x="429" y="482"/>
                    </a:lnTo>
                    <a:lnTo>
                      <a:pt x="432" y="480"/>
                    </a:lnTo>
                    <a:lnTo>
                      <a:pt x="433" y="480"/>
                    </a:lnTo>
                    <a:lnTo>
                      <a:pt x="436" y="480"/>
                    </a:lnTo>
                    <a:lnTo>
                      <a:pt x="440" y="471"/>
                    </a:lnTo>
                    <a:lnTo>
                      <a:pt x="440" y="466"/>
                    </a:lnTo>
                    <a:lnTo>
                      <a:pt x="441" y="463"/>
                    </a:lnTo>
                    <a:lnTo>
                      <a:pt x="441" y="461"/>
                    </a:lnTo>
                    <a:lnTo>
                      <a:pt x="443" y="460"/>
                    </a:lnTo>
                    <a:lnTo>
                      <a:pt x="444" y="463"/>
                    </a:lnTo>
                    <a:lnTo>
                      <a:pt x="446" y="466"/>
                    </a:lnTo>
                    <a:lnTo>
                      <a:pt x="449" y="469"/>
                    </a:lnTo>
                    <a:lnTo>
                      <a:pt x="449" y="472"/>
                    </a:lnTo>
                    <a:lnTo>
                      <a:pt x="450" y="477"/>
                    </a:lnTo>
                    <a:lnTo>
                      <a:pt x="447" y="485"/>
                    </a:lnTo>
                    <a:lnTo>
                      <a:pt x="447" y="486"/>
                    </a:lnTo>
                    <a:lnTo>
                      <a:pt x="446" y="488"/>
                    </a:lnTo>
                    <a:lnTo>
                      <a:pt x="444" y="491"/>
                    </a:lnTo>
                    <a:lnTo>
                      <a:pt x="447" y="491"/>
                    </a:lnTo>
                    <a:lnTo>
                      <a:pt x="450" y="491"/>
                    </a:lnTo>
                    <a:lnTo>
                      <a:pt x="454" y="489"/>
                    </a:lnTo>
                    <a:lnTo>
                      <a:pt x="455" y="489"/>
                    </a:lnTo>
                    <a:lnTo>
                      <a:pt x="457" y="489"/>
                    </a:lnTo>
                    <a:lnTo>
                      <a:pt x="457" y="488"/>
                    </a:lnTo>
                    <a:lnTo>
                      <a:pt x="458" y="486"/>
                    </a:lnTo>
                    <a:lnTo>
                      <a:pt x="460" y="485"/>
                    </a:lnTo>
                    <a:lnTo>
                      <a:pt x="461" y="485"/>
                    </a:lnTo>
                    <a:lnTo>
                      <a:pt x="463" y="485"/>
                    </a:lnTo>
                    <a:lnTo>
                      <a:pt x="465" y="486"/>
                    </a:lnTo>
                    <a:lnTo>
                      <a:pt x="465" y="486"/>
                    </a:lnTo>
                    <a:lnTo>
                      <a:pt x="463" y="488"/>
                    </a:lnTo>
                    <a:lnTo>
                      <a:pt x="463" y="491"/>
                    </a:lnTo>
                    <a:lnTo>
                      <a:pt x="463" y="489"/>
                    </a:lnTo>
                    <a:lnTo>
                      <a:pt x="461" y="488"/>
                    </a:lnTo>
                    <a:lnTo>
                      <a:pt x="460" y="489"/>
                    </a:lnTo>
                    <a:lnTo>
                      <a:pt x="460" y="489"/>
                    </a:lnTo>
                    <a:lnTo>
                      <a:pt x="458" y="489"/>
                    </a:lnTo>
                    <a:lnTo>
                      <a:pt x="458" y="491"/>
                    </a:lnTo>
                    <a:lnTo>
                      <a:pt x="460" y="493"/>
                    </a:lnTo>
                    <a:lnTo>
                      <a:pt x="463" y="496"/>
                    </a:lnTo>
                    <a:lnTo>
                      <a:pt x="466" y="499"/>
                    </a:lnTo>
                    <a:lnTo>
                      <a:pt x="468" y="500"/>
                    </a:lnTo>
                    <a:lnTo>
                      <a:pt x="471" y="507"/>
                    </a:lnTo>
                    <a:lnTo>
                      <a:pt x="474" y="513"/>
                    </a:lnTo>
                    <a:lnTo>
                      <a:pt x="474" y="515"/>
                    </a:lnTo>
                    <a:lnTo>
                      <a:pt x="472" y="518"/>
                    </a:lnTo>
                    <a:lnTo>
                      <a:pt x="472" y="522"/>
                    </a:lnTo>
                    <a:lnTo>
                      <a:pt x="472" y="524"/>
                    </a:lnTo>
                    <a:lnTo>
                      <a:pt x="472" y="525"/>
                    </a:lnTo>
                    <a:lnTo>
                      <a:pt x="474" y="529"/>
                    </a:lnTo>
                    <a:lnTo>
                      <a:pt x="480" y="535"/>
                    </a:lnTo>
                    <a:lnTo>
                      <a:pt x="483" y="540"/>
                    </a:lnTo>
                    <a:lnTo>
                      <a:pt x="486" y="543"/>
                    </a:lnTo>
                    <a:lnTo>
                      <a:pt x="494" y="544"/>
                    </a:lnTo>
                    <a:lnTo>
                      <a:pt x="497" y="546"/>
                    </a:lnTo>
                    <a:lnTo>
                      <a:pt x="500" y="551"/>
                    </a:lnTo>
                    <a:lnTo>
                      <a:pt x="502" y="551"/>
                    </a:lnTo>
                    <a:lnTo>
                      <a:pt x="504" y="551"/>
                    </a:lnTo>
                    <a:lnTo>
                      <a:pt x="507" y="549"/>
                    </a:lnTo>
                    <a:lnTo>
                      <a:pt x="510" y="549"/>
                    </a:lnTo>
                    <a:lnTo>
                      <a:pt x="515" y="552"/>
                    </a:lnTo>
                    <a:lnTo>
                      <a:pt x="518" y="551"/>
                    </a:lnTo>
                    <a:lnTo>
                      <a:pt x="519" y="551"/>
                    </a:lnTo>
                    <a:lnTo>
                      <a:pt x="522" y="552"/>
                    </a:lnTo>
                    <a:lnTo>
                      <a:pt x="526" y="555"/>
                    </a:lnTo>
                    <a:lnTo>
                      <a:pt x="530" y="557"/>
                    </a:lnTo>
                    <a:lnTo>
                      <a:pt x="533" y="558"/>
                    </a:lnTo>
                    <a:lnTo>
                      <a:pt x="535" y="560"/>
                    </a:lnTo>
                    <a:lnTo>
                      <a:pt x="538" y="561"/>
                    </a:lnTo>
                    <a:lnTo>
                      <a:pt x="541" y="560"/>
                    </a:lnTo>
                    <a:lnTo>
                      <a:pt x="543" y="558"/>
                    </a:lnTo>
                    <a:lnTo>
                      <a:pt x="547" y="552"/>
                    </a:lnTo>
                    <a:lnTo>
                      <a:pt x="552" y="551"/>
                    </a:lnTo>
                    <a:lnTo>
                      <a:pt x="554" y="549"/>
                    </a:lnTo>
                    <a:lnTo>
                      <a:pt x="555" y="549"/>
                    </a:lnTo>
                    <a:lnTo>
                      <a:pt x="558" y="547"/>
                    </a:lnTo>
                    <a:lnTo>
                      <a:pt x="557" y="546"/>
                    </a:lnTo>
                    <a:lnTo>
                      <a:pt x="555" y="546"/>
                    </a:lnTo>
                    <a:lnTo>
                      <a:pt x="554" y="546"/>
                    </a:lnTo>
                    <a:lnTo>
                      <a:pt x="555" y="544"/>
                    </a:lnTo>
                    <a:lnTo>
                      <a:pt x="555" y="544"/>
                    </a:lnTo>
                    <a:lnTo>
                      <a:pt x="561" y="540"/>
                    </a:lnTo>
                    <a:lnTo>
                      <a:pt x="563" y="541"/>
                    </a:lnTo>
                    <a:lnTo>
                      <a:pt x="565" y="543"/>
                    </a:lnTo>
                    <a:lnTo>
                      <a:pt x="566" y="544"/>
                    </a:lnTo>
                    <a:lnTo>
                      <a:pt x="565" y="547"/>
                    </a:lnTo>
                    <a:lnTo>
                      <a:pt x="565" y="549"/>
                    </a:lnTo>
                    <a:lnTo>
                      <a:pt x="563" y="551"/>
                    </a:lnTo>
                    <a:lnTo>
                      <a:pt x="560" y="551"/>
                    </a:lnTo>
                    <a:lnTo>
                      <a:pt x="558" y="551"/>
                    </a:lnTo>
                    <a:lnTo>
                      <a:pt x="561" y="552"/>
                    </a:lnTo>
                    <a:lnTo>
                      <a:pt x="563" y="554"/>
                    </a:lnTo>
                    <a:lnTo>
                      <a:pt x="568" y="551"/>
                    </a:lnTo>
                    <a:lnTo>
                      <a:pt x="568" y="549"/>
                    </a:lnTo>
                    <a:lnTo>
                      <a:pt x="569" y="547"/>
                    </a:lnTo>
                    <a:lnTo>
                      <a:pt x="571" y="547"/>
                    </a:lnTo>
                    <a:lnTo>
                      <a:pt x="572" y="547"/>
                    </a:lnTo>
                    <a:lnTo>
                      <a:pt x="572" y="549"/>
                    </a:lnTo>
                    <a:lnTo>
                      <a:pt x="574" y="551"/>
                    </a:lnTo>
                    <a:lnTo>
                      <a:pt x="572" y="552"/>
                    </a:lnTo>
                    <a:lnTo>
                      <a:pt x="571" y="554"/>
                    </a:lnTo>
                    <a:lnTo>
                      <a:pt x="571" y="554"/>
                    </a:lnTo>
                    <a:lnTo>
                      <a:pt x="574" y="557"/>
                    </a:lnTo>
                    <a:lnTo>
                      <a:pt x="574" y="557"/>
                    </a:lnTo>
                    <a:lnTo>
                      <a:pt x="576" y="557"/>
                    </a:lnTo>
                    <a:lnTo>
                      <a:pt x="577" y="557"/>
                    </a:lnTo>
                    <a:lnTo>
                      <a:pt x="579" y="560"/>
                    </a:lnTo>
                    <a:lnTo>
                      <a:pt x="580" y="563"/>
                    </a:lnTo>
                    <a:lnTo>
                      <a:pt x="582" y="561"/>
                    </a:lnTo>
                    <a:lnTo>
                      <a:pt x="583" y="561"/>
                    </a:lnTo>
                    <a:lnTo>
                      <a:pt x="585" y="561"/>
                    </a:lnTo>
                    <a:lnTo>
                      <a:pt x="586" y="565"/>
                    </a:lnTo>
                    <a:lnTo>
                      <a:pt x="588" y="566"/>
                    </a:lnTo>
                    <a:lnTo>
                      <a:pt x="588" y="568"/>
                    </a:lnTo>
                    <a:lnTo>
                      <a:pt x="588" y="568"/>
                    </a:lnTo>
                    <a:lnTo>
                      <a:pt x="590" y="568"/>
                    </a:lnTo>
                    <a:lnTo>
                      <a:pt x="590" y="566"/>
                    </a:lnTo>
                    <a:lnTo>
                      <a:pt x="590" y="565"/>
                    </a:lnTo>
                    <a:lnTo>
                      <a:pt x="590" y="561"/>
                    </a:lnTo>
                    <a:lnTo>
                      <a:pt x="590" y="561"/>
                    </a:lnTo>
                    <a:lnTo>
                      <a:pt x="588" y="563"/>
                    </a:lnTo>
                    <a:lnTo>
                      <a:pt x="586" y="561"/>
                    </a:lnTo>
                    <a:lnTo>
                      <a:pt x="585" y="560"/>
                    </a:lnTo>
                    <a:lnTo>
                      <a:pt x="585" y="558"/>
                    </a:lnTo>
                    <a:lnTo>
                      <a:pt x="586" y="558"/>
                    </a:lnTo>
                    <a:lnTo>
                      <a:pt x="588" y="558"/>
                    </a:lnTo>
                    <a:lnTo>
                      <a:pt x="590" y="558"/>
                    </a:lnTo>
                    <a:lnTo>
                      <a:pt x="596" y="557"/>
                    </a:lnTo>
                    <a:lnTo>
                      <a:pt x="605" y="547"/>
                    </a:lnTo>
                    <a:lnTo>
                      <a:pt x="610" y="544"/>
                    </a:lnTo>
                    <a:lnTo>
                      <a:pt x="615" y="541"/>
                    </a:lnTo>
                    <a:lnTo>
                      <a:pt x="619" y="540"/>
                    </a:lnTo>
                    <a:lnTo>
                      <a:pt x="621" y="538"/>
                    </a:lnTo>
                    <a:lnTo>
                      <a:pt x="633" y="538"/>
                    </a:lnTo>
                    <a:lnTo>
                      <a:pt x="640" y="538"/>
                    </a:lnTo>
                    <a:lnTo>
                      <a:pt x="643" y="538"/>
                    </a:lnTo>
                    <a:lnTo>
                      <a:pt x="644" y="536"/>
                    </a:lnTo>
                    <a:lnTo>
                      <a:pt x="646" y="533"/>
                    </a:lnTo>
                    <a:lnTo>
                      <a:pt x="649" y="532"/>
                    </a:lnTo>
                    <a:lnTo>
                      <a:pt x="651" y="532"/>
                    </a:lnTo>
                    <a:lnTo>
                      <a:pt x="651" y="530"/>
                    </a:lnTo>
                    <a:lnTo>
                      <a:pt x="651" y="529"/>
                    </a:lnTo>
                    <a:lnTo>
                      <a:pt x="652" y="525"/>
                    </a:lnTo>
                    <a:lnTo>
                      <a:pt x="651" y="522"/>
                    </a:lnTo>
                    <a:lnTo>
                      <a:pt x="651" y="518"/>
                    </a:lnTo>
                    <a:lnTo>
                      <a:pt x="652" y="515"/>
                    </a:lnTo>
                    <a:lnTo>
                      <a:pt x="652" y="511"/>
                    </a:lnTo>
                    <a:lnTo>
                      <a:pt x="654" y="507"/>
                    </a:lnTo>
                    <a:lnTo>
                      <a:pt x="654" y="502"/>
                    </a:lnTo>
                    <a:lnTo>
                      <a:pt x="654" y="497"/>
                    </a:lnTo>
                    <a:lnTo>
                      <a:pt x="655" y="496"/>
                    </a:lnTo>
                    <a:lnTo>
                      <a:pt x="657" y="491"/>
                    </a:lnTo>
                    <a:lnTo>
                      <a:pt x="658" y="489"/>
                    </a:lnTo>
                    <a:lnTo>
                      <a:pt x="662" y="482"/>
                    </a:lnTo>
                    <a:lnTo>
                      <a:pt x="663" y="482"/>
                    </a:lnTo>
                    <a:lnTo>
                      <a:pt x="663" y="482"/>
                    </a:lnTo>
                    <a:lnTo>
                      <a:pt x="665" y="480"/>
                    </a:lnTo>
                    <a:lnTo>
                      <a:pt x="665" y="480"/>
                    </a:lnTo>
                    <a:lnTo>
                      <a:pt x="665" y="480"/>
                    </a:lnTo>
                    <a:lnTo>
                      <a:pt x="663" y="479"/>
                    </a:lnTo>
                    <a:lnTo>
                      <a:pt x="665" y="479"/>
                    </a:lnTo>
                    <a:lnTo>
                      <a:pt x="665" y="477"/>
                    </a:lnTo>
                    <a:lnTo>
                      <a:pt x="665" y="477"/>
                    </a:lnTo>
                    <a:lnTo>
                      <a:pt x="666" y="477"/>
                    </a:lnTo>
                    <a:lnTo>
                      <a:pt x="666" y="477"/>
                    </a:lnTo>
                    <a:lnTo>
                      <a:pt x="665" y="475"/>
                    </a:lnTo>
                    <a:lnTo>
                      <a:pt x="666" y="472"/>
                    </a:lnTo>
                    <a:lnTo>
                      <a:pt x="666" y="466"/>
                    </a:lnTo>
                    <a:lnTo>
                      <a:pt x="668" y="464"/>
                    </a:lnTo>
                    <a:lnTo>
                      <a:pt x="668" y="463"/>
                    </a:lnTo>
                    <a:lnTo>
                      <a:pt x="671" y="460"/>
                    </a:lnTo>
                    <a:lnTo>
                      <a:pt x="674" y="457"/>
                    </a:lnTo>
                    <a:lnTo>
                      <a:pt x="672" y="457"/>
                    </a:lnTo>
                    <a:lnTo>
                      <a:pt x="671" y="457"/>
                    </a:lnTo>
                    <a:lnTo>
                      <a:pt x="672" y="455"/>
                    </a:lnTo>
                    <a:lnTo>
                      <a:pt x="672" y="455"/>
                    </a:lnTo>
                    <a:lnTo>
                      <a:pt x="674" y="455"/>
                    </a:lnTo>
                    <a:lnTo>
                      <a:pt x="674" y="455"/>
                    </a:lnTo>
                    <a:lnTo>
                      <a:pt x="674" y="452"/>
                    </a:lnTo>
                    <a:lnTo>
                      <a:pt x="676" y="450"/>
                    </a:lnTo>
                    <a:lnTo>
                      <a:pt x="674" y="447"/>
                    </a:lnTo>
                    <a:lnTo>
                      <a:pt x="676" y="446"/>
                    </a:lnTo>
                    <a:lnTo>
                      <a:pt x="677" y="446"/>
                    </a:lnTo>
                    <a:lnTo>
                      <a:pt x="677" y="443"/>
                    </a:lnTo>
                    <a:lnTo>
                      <a:pt x="677" y="443"/>
                    </a:lnTo>
                    <a:lnTo>
                      <a:pt x="679" y="441"/>
                    </a:lnTo>
                    <a:lnTo>
                      <a:pt x="680" y="439"/>
                    </a:lnTo>
                    <a:lnTo>
                      <a:pt x="680" y="436"/>
                    </a:lnTo>
                    <a:lnTo>
                      <a:pt x="683" y="433"/>
                    </a:lnTo>
                    <a:lnTo>
                      <a:pt x="687" y="432"/>
                    </a:lnTo>
                    <a:lnTo>
                      <a:pt x="690" y="430"/>
                    </a:lnTo>
                    <a:lnTo>
                      <a:pt x="690" y="428"/>
                    </a:lnTo>
                    <a:lnTo>
                      <a:pt x="690" y="428"/>
                    </a:lnTo>
                    <a:lnTo>
                      <a:pt x="690" y="428"/>
                    </a:lnTo>
                    <a:lnTo>
                      <a:pt x="691" y="428"/>
                    </a:lnTo>
                    <a:lnTo>
                      <a:pt x="691" y="427"/>
                    </a:lnTo>
                    <a:lnTo>
                      <a:pt x="693" y="425"/>
                    </a:lnTo>
                    <a:lnTo>
                      <a:pt x="694" y="424"/>
                    </a:lnTo>
                    <a:lnTo>
                      <a:pt x="696" y="421"/>
                    </a:lnTo>
                    <a:lnTo>
                      <a:pt x="696" y="419"/>
                    </a:lnTo>
                    <a:lnTo>
                      <a:pt x="696" y="416"/>
                    </a:lnTo>
                    <a:lnTo>
                      <a:pt x="701" y="410"/>
                    </a:lnTo>
                    <a:lnTo>
                      <a:pt x="704" y="403"/>
                    </a:lnTo>
                    <a:lnTo>
                      <a:pt x="704" y="399"/>
                    </a:lnTo>
                    <a:lnTo>
                      <a:pt x="705" y="396"/>
                    </a:lnTo>
                    <a:lnTo>
                      <a:pt x="705" y="392"/>
                    </a:lnTo>
                    <a:lnTo>
                      <a:pt x="705" y="388"/>
                    </a:lnTo>
                    <a:lnTo>
                      <a:pt x="705" y="385"/>
                    </a:lnTo>
                    <a:lnTo>
                      <a:pt x="707" y="377"/>
                    </a:lnTo>
                    <a:lnTo>
                      <a:pt x="708" y="374"/>
                    </a:lnTo>
                    <a:lnTo>
                      <a:pt x="708" y="371"/>
                    </a:lnTo>
                    <a:lnTo>
                      <a:pt x="710" y="363"/>
                    </a:lnTo>
                    <a:lnTo>
                      <a:pt x="710" y="360"/>
                    </a:lnTo>
                    <a:lnTo>
                      <a:pt x="713" y="355"/>
                    </a:lnTo>
                    <a:lnTo>
                      <a:pt x="715" y="350"/>
                    </a:lnTo>
                    <a:lnTo>
                      <a:pt x="715" y="347"/>
                    </a:lnTo>
                    <a:lnTo>
                      <a:pt x="715" y="344"/>
                    </a:lnTo>
                    <a:close/>
                    <a:moveTo>
                      <a:pt x="622" y="637"/>
                    </a:moveTo>
                    <a:lnTo>
                      <a:pt x="622" y="635"/>
                    </a:lnTo>
                    <a:lnTo>
                      <a:pt x="622" y="635"/>
                    </a:lnTo>
                    <a:lnTo>
                      <a:pt x="622" y="633"/>
                    </a:lnTo>
                    <a:lnTo>
                      <a:pt x="622" y="632"/>
                    </a:lnTo>
                    <a:lnTo>
                      <a:pt x="621" y="629"/>
                    </a:lnTo>
                    <a:lnTo>
                      <a:pt x="622" y="626"/>
                    </a:lnTo>
                    <a:lnTo>
                      <a:pt x="621" y="624"/>
                    </a:lnTo>
                    <a:lnTo>
                      <a:pt x="621" y="621"/>
                    </a:lnTo>
                    <a:lnTo>
                      <a:pt x="622" y="619"/>
                    </a:lnTo>
                    <a:lnTo>
                      <a:pt x="622" y="616"/>
                    </a:lnTo>
                    <a:lnTo>
                      <a:pt x="622" y="615"/>
                    </a:lnTo>
                    <a:lnTo>
                      <a:pt x="621" y="613"/>
                    </a:lnTo>
                    <a:lnTo>
                      <a:pt x="622" y="610"/>
                    </a:lnTo>
                    <a:lnTo>
                      <a:pt x="621" y="607"/>
                    </a:lnTo>
                    <a:lnTo>
                      <a:pt x="618" y="605"/>
                    </a:lnTo>
                    <a:lnTo>
                      <a:pt x="616" y="605"/>
                    </a:lnTo>
                    <a:lnTo>
                      <a:pt x="615" y="607"/>
                    </a:lnTo>
                    <a:lnTo>
                      <a:pt x="613" y="607"/>
                    </a:lnTo>
                    <a:lnTo>
                      <a:pt x="610" y="607"/>
                    </a:lnTo>
                    <a:lnTo>
                      <a:pt x="610" y="607"/>
                    </a:lnTo>
                    <a:lnTo>
                      <a:pt x="608" y="610"/>
                    </a:lnTo>
                    <a:lnTo>
                      <a:pt x="607" y="610"/>
                    </a:lnTo>
                    <a:lnTo>
                      <a:pt x="605" y="610"/>
                    </a:lnTo>
                    <a:lnTo>
                      <a:pt x="605" y="610"/>
                    </a:lnTo>
                    <a:lnTo>
                      <a:pt x="604" y="610"/>
                    </a:lnTo>
                    <a:lnTo>
                      <a:pt x="602" y="610"/>
                    </a:lnTo>
                    <a:lnTo>
                      <a:pt x="601" y="610"/>
                    </a:lnTo>
                    <a:lnTo>
                      <a:pt x="599" y="610"/>
                    </a:lnTo>
                    <a:lnTo>
                      <a:pt x="597" y="612"/>
                    </a:lnTo>
                    <a:lnTo>
                      <a:pt x="596" y="612"/>
                    </a:lnTo>
                    <a:lnTo>
                      <a:pt x="596" y="613"/>
                    </a:lnTo>
                    <a:lnTo>
                      <a:pt x="596" y="615"/>
                    </a:lnTo>
                    <a:lnTo>
                      <a:pt x="596" y="613"/>
                    </a:lnTo>
                    <a:lnTo>
                      <a:pt x="594" y="612"/>
                    </a:lnTo>
                    <a:lnTo>
                      <a:pt x="593" y="613"/>
                    </a:lnTo>
                    <a:lnTo>
                      <a:pt x="591" y="613"/>
                    </a:lnTo>
                    <a:lnTo>
                      <a:pt x="586" y="615"/>
                    </a:lnTo>
                    <a:lnTo>
                      <a:pt x="583" y="613"/>
                    </a:lnTo>
                    <a:lnTo>
                      <a:pt x="579" y="612"/>
                    </a:lnTo>
                    <a:lnTo>
                      <a:pt x="577" y="610"/>
                    </a:lnTo>
                    <a:lnTo>
                      <a:pt x="577" y="610"/>
                    </a:lnTo>
                    <a:lnTo>
                      <a:pt x="576" y="608"/>
                    </a:lnTo>
                    <a:lnTo>
                      <a:pt x="574" y="608"/>
                    </a:lnTo>
                    <a:lnTo>
                      <a:pt x="574" y="607"/>
                    </a:lnTo>
                    <a:lnTo>
                      <a:pt x="572" y="607"/>
                    </a:lnTo>
                    <a:lnTo>
                      <a:pt x="571" y="607"/>
                    </a:lnTo>
                    <a:lnTo>
                      <a:pt x="569" y="607"/>
                    </a:lnTo>
                    <a:lnTo>
                      <a:pt x="569" y="605"/>
                    </a:lnTo>
                    <a:lnTo>
                      <a:pt x="568" y="605"/>
                    </a:lnTo>
                    <a:lnTo>
                      <a:pt x="566" y="605"/>
                    </a:lnTo>
                    <a:lnTo>
                      <a:pt x="565" y="605"/>
                    </a:lnTo>
                    <a:lnTo>
                      <a:pt x="561" y="604"/>
                    </a:lnTo>
                    <a:lnTo>
                      <a:pt x="558" y="602"/>
                    </a:lnTo>
                    <a:lnTo>
                      <a:pt x="558" y="605"/>
                    </a:lnTo>
                    <a:lnTo>
                      <a:pt x="558" y="610"/>
                    </a:lnTo>
                    <a:lnTo>
                      <a:pt x="558" y="612"/>
                    </a:lnTo>
                    <a:lnTo>
                      <a:pt x="558" y="615"/>
                    </a:lnTo>
                    <a:lnTo>
                      <a:pt x="560" y="618"/>
                    </a:lnTo>
                    <a:lnTo>
                      <a:pt x="560" y="619"/>
                    </a:lnTo>
                    <a:lnTo>
                      <a:pt x="560" y="621"/>
                    </a:lnTo>
                    <a:lnTo>
                      <a:pt x="563" y="626"/>
                    </a:lnTo>
                    <a:lnTo>
                      <a:pt x="565" y="630"/>
                    </a:lnTo>
                    <a:lnTo>
                      <a:pt x="568" y="635"/>
                    </a:lnTo>
                    <a:lnTo>
                      <a:pt x="568" y="637"/>
                    </a:lnTo>
                    <a:lnTo>
                      <a:pt x="568" y="638"/>
                    </a:lnTo>
                    <a:lnTo>
                      <a:pt x="569" y="638"/>
                    </a:lnTo>
                    <a:lnTo>
                      <a:pt x="569" y="637"/>
                    </a:lnTo>
                    <a:lnTo>
                      <a:pt x="569" y="638"/>
                    </a:lnTo>
                    <a:lnTo>
                      <a:pt x="571" y="640"/>
                    </a:lnTo>
                    <a:lnTo>
                      <a:pt x="572" y="643"/>
                    </a:lnTo>
                    <a:lnTo>
                      <a:pt x="572" y="643"/>
                    </a:lnTo>
                    <a:lnTo>
                      <a:pt x="572" y="646"/>
                    </a:lnTo>
                    <a:lnTo>
                      <a:pt x="571" y="643"/>
                    </a:lnTo>
                    <a:lnTo>
                      <a:pt x="571" y="641"/>
                    </a:lnTo>
                    <a:lnTo>
                      <a:pt x="568" y="640"/>
                    </a:lnTo>
                    <a:lnTo>
                      <a:pt x="568" y="644"/>
                    </a:lnTo>
                    <a:lnTo>
                      <a:pt x="569" y="646"/>
                    </a:lnTo>
                    <a:lnTo>
                      <a:pt x="572" y="655"/>
                    </a:lnTo>
                    <a:lnTo>
                      <a:pt x="572" y="657"/>
                    </a:lnTo>
                    <a:lnTo>
                      <a:pt x="574" y="657"/>
                    </a:lnTo>
                    <a:lnTo>
                      <a:pt x="574" y="657"/>
                    </a:lnTo>
                    <a:lnTo>
                      <a:pt x="576" y="660"/>
                    </a:lnTo>
                    <a:lnTo>
                      <a:pt x="579" y="663"/>
                    </a:lnTo>
                    <a:lnTo>
                      <a:pt x="579" y="665"/>
                    </a:lnTo>
                    <a:lnTo>
                      <a:pt x="580" y="665"/>
                    </a:lnTo>
                    <a:lnTo>
                      <a:pt x="583" y="665"/>
                    </a:lnTo>
                    <a:lnTo>
                      <a:pt x="585" y="665"/>
                    </a:lnTo>
                    <a:lnTo>
                      <a:pt x="585" y="665"/>
                    </a:lnTo>
                    <a:lnTo>
                      <a:pt x="585" y="666"/>
                    </a:lnTo>
                    <a:lnTo>
                      <a:pt x="583" y="666"/>
                    </a:lnTo>
                    <a:lnTo>
                      <a:pt x="582" y="666"/>
                    </a:lnTo>
                    <a:lnTo>
                      <a:pt x="582" y="668"/>
                    </a:lnTo>
                    <a:lnTo>
                      <a:pt x="582" y="668"/>
                    </a:lnTo>
                    <a:lnTo>
                      <a:pt x="582" y="671"/>
                    </a:lnTo>
                    <a:lnTo>
                      <a:pt x="585" y="669"/>
                    </a:lnTo>
                    <a:lnTo>
                      <a:pt x="588" y="669"/>
                    </a:lnTo>
                    <a:lnTo>
                      <a:pt x="591" y="669"/>
                    </a:lnTo>
                    <a:lnTo>
                      <a:pt x="594" y="673"/>
                    </a:lnTo>
                    <a:lnTo>
                      <a:pt x="596" y="673"/>
                    </a:lnTo>
                    <a:lnTo>
                      <a:pt x="597" y="673"/>
                    </a:lnTo>
                    <a:lnTo>
                      <a:pt x="599" y="669"/>
                    </a:lnTo>
                    <a:lnTo>
                      <a:pt x="599" y="666"/>
                    </a:lnTo>
                    <a:lnTo>
                      <a:pt x="599" y="665"/>
                    </a:lnTo>
                    <a:lnTo>
                      <a:pt x="601" y="665"/>
                    </a:lnTo>
                    <a:lnTo>
                      <a:pt x="599" y="663"/>
                    </a:lnTo>
                    <a:lnTo>
                      <a:pt x="599" y="662"/>
                    </a:lnTo>
                    <a:lnTo>
                      <a:pt x="599" y="662"/>
                    </a:lnTo>
                    <a:lnTo>
                      <a:pt x="602" y="663"/>
                    </a:lnTo>
                    <a:lnTo>
                      <a:pt x="604" y="663"/>
                    </a:lnTo>
                    <a:lnTo>
                      <a:pt x="604" y="660"/>
                    </a:lnTo>
                    <a:lnTo>
                      <a:pt x="604" y="660"/>
                    </a:lnTo>
                    <a:lnTo>
                      <a:pt x="604" y="658"/>
                    </a:lnTo>
                    <a:lnTo>
                      <a:pt x="605" y="658"/>
                    </a:lnTo>
                    <a:lnTo>
                      <a:pt x="605" y="657"/>
                    </a:lnTo>
                    <a:lnTo>
                      <a:pt x="605" y="655"/>
                    </a:lnTo>
                    <a:lnTo>
                      <a:pt x="604" y="654"/>
                    </a:lnTo>
                    <a:lnTo>
                      <a:pt x="604" y="652"/>
                    </a:lnTo>
                    <a:lnTo>
                      <a:pt x="607" y="655"/>
                    </a:lnTo>
                    <a:lnTo>
                      <a:pt x="607" y="658"/>
                    </a:lnTo>
                    <a:lnTo>
                      <a:pt x="608" y="657"/>
                    </a:lnTo>
                    <a:lnTo>
                      <a:pt x="608" y="657"/>
                    </a:lnTo>
                    <a:lnTo>
                      <a:pt x="608" y="655"/>
                    </a:lnTo>
                    <a:lnTo>
                      <a:pt x="608" y="654"/>
                    </a:lnTo>
                    <a:lnTo>
                      <a:pt x="612" y="654"/>
                    </a:lnTo>
                    <a:lnTo>
                      <a:pt x="613" y="655"/>
                    </a:lnTo>
                    <a:lnTo>
                      <a:pt x="613" y="657"/>
                    </a:lnTo>
                    <a:lnTo>
                      <a:pt x="613" y="657"/>
                    </a:lnTo>
                    <a:lnTo>
                      <a:pt x="613" y="657"/>
                    </a:lnTo>
                    <a:lnTo>
                      <a:pt x="612" y="657"/>
                    </a:lnTo>
                    <a:lnTo>
                      <a:pt x="610" y="658"/>
                    </a:lnTo>
                    <a:lnTo>
                      <a:pt x="612" y="660"/>
                    </a:lnTo>
                    <a:lnTo>
                      <a:pt x="613" y="663"/>
                    </a:lnTo>
                    <a:lnTo>
                      <a:pt x="613" y="662"/>
                    </a:lnTo>
                    <a:lnTo>
                      <a:pt x="616" y="662"/>
                    </a:lnTo>
                    <a:lnTo>
                      <a:pt x="616" y="662"/>
                    </a:lnTo>
                    <a:lnTo>
                      <a:pt x="616" y="657"/>
                    </a:lnTo>
                    <a:lnTo>
                      <a:pt x="615" y="654"/>
                    </a:lnTo>
                    <a:lnTo>
                      <a:pt x="615" y="649"/>
                    </a:lnTo>
                    <a:lnTo>
                      <a:pt x="615" y="648"/>
                    </a:lnTo>
                    <a:lnTo>
                      <a:pt x="616" y="646"/>
                    </a:lnTo>
                    <a:lnTo>
                      <a:pt x="616" y="644"/>
                    </a:lnTo>
                    <a:lnTo>
                      <a:pt x="616" y="641"/>
                    </a:lnTo>
                    <a:lnTo>
                      <a:pt x="616" y="640"/>
                    </a:lnTo>
                    <a:lnTo>
                      <a:pt x="618" y="638"/>
                    </a:lnTo>
                    <a:lnTo>
                      <a:pt x="619" y="637"/>
                    </a:lnTo>
                    <a:lnTo>
                      <a:pt x="619" y="637"/>
                    </a:lnTo>
                    <a:lnTo>
                      <a:pt x="619" y="635"/>
                    </a:lnTo>
                    <a:lnTo>
                      <a:pt x="619" y="633"/>
                    </a:lnTo>
                    <a:lnTo>
                      <a:pt x="621" y="633"/>
                    </a:lnTo>
                    <a:lnTo>
                      <a:pt x="621" y="635"/>
                    </a:lnTo>
                    <a:lnTo>
                      <a:pt x="621" y="635"/>
                    </a:lnTo>
                    <a:lnTo>
                      <a:pt x="619" y="635"/>
                    </a:lnTo>
                    <a:lnTo>
                      <a:pt x="621" y="637"/>
                    </a:lnTo>
                    <a:lnTo>
                      <a:pt x="621" y="637"/>
                    </a:lnTo>
                    <a:lnTo>
                      <a:pt x="621" y="638"/>
                    </a:lnTo>
                    <a:lnTo>
                      <a:pt x="621" y="640"/>
                    </a:lnTo>
                    <a:lnTo>
                      <a:pt x="622" y="640"/>
                    </a:lnTo>
                    <a:lnTo>
                      <a:pt x="622" y="640"/>
                    </a:lnTo>
                    <a:lnTo>
                      <a:pt x="622" y="638"/>
                    </a:lnTo>
                    <a:lnTo>
                      <a:pt x="622" y="638"/>
                    </a:lnTo>
                    <a:lnTo>
                      <a:pt x="622" y="637"/>
                    </a:lnTo>
                    <a:close/>
                    <a:moveTo>
                      <a:pt x="624" y="596"/>
                    </a:moveTo>
                    <a:lnTo>
                      <a:pt x="622" y="594"/>
                    </a:lnTo>
                    <a:lnTo>
                      <a:pt x="619" y="596"/>
                    </a:lnTo>
                    <a:lnTo>
                      <a:pt x="618" y="596"/>
                    </a:lnTo>
                    <a:lnTo>
                      <a:pt x="616" y="596"/>
                    </a:lnTo>
                    <a:lnTo>
                      <a:pt x="616" y="597"/>
                    </a:lnTo>
                    <a:lnTo>
                      <a:pt x="618" y="597"/>
                    </a:lnTo>
                    <a:lnTo>
                      <a:pt x="621" y="597"/>
                    </a:lnTo>
                    <a:lnTo>
                      <a:pt x="622" y="597"/>
                    </a:lnTo>
                    <a:lnTo>
                      <a:pt x="622" y="599"/>
                    </a:lnTo>
                    <a:lnTo>
                      <a:pt x="624" y="599"/>
                    </a:lnTo>
                    <a:lnTo>
                      <a:pt x="626" y="597"/>
                    </a:lnTo>
                    <a:lnTo>
                      <a:pt x="624" y="596"/>
                    </a:lnTo>
                    <a:close/>
                    <a:moveTo>
                      <a:pt x="410" y="65"/>
                    </a:moveTo>
                    <a:lnTo>
                      <a:pt x="410" y="65"/>
                    </a:lnTo>
                    <a:lnTo>
                      <a:pt x="408" y="65"/>
                    </a:lnTo>
                    <a:lnTo>
                      <a:pt x="408" y="67"/>
                    </a:lnTo>
                    <a:lnTo>
                      <a:pt x="408" y="67"/>
                    </a:lnTo>
                    <a:lnTo>
                      <a:pt x="408" y="67"/>
                    </a:lnTo>
                    <a:lnTo>
                      <a:pt x="410" y="69"/>
                    </a:lnTo>
                    <a:lnTo>
                      <a:pt x="410" y="67"/>
                    </a:lnTo>
                    <a:lnTo>
                      <a:pt x="411" y="67"/>
                    </a:lnTo>
                    <a:lnTo>
                      <a:pt x="410" y="65"/>
                    </a:lnTo>
                    <a:close/>
                    <a:moveTo>
                      <a:pt x="560" y="597"/>
                    </a:moveTo>
                    <a:lnTo>
                      <a:pt x="560" y="599"/>
                    </a:lnTo>
                    <a:lnTo>
                      <a:pt x="558" y="599"/>
                    </a:lnTo>
                    <a:lnTo>
                      <a:pt x="560" y="601"/>
                    </a:lnTo>
                    <a:lnTo>
                      <a:pt x="560" y="599"/>
                    </a:lnTo>
                    <a:lnTo>
                      <a:pt x="560" y="597"/>
                    </a:lnTo>
                    <a:lnTo>
                      <a:pt x="560" y="597"/>
                    </a:lnTo>
                    <a:close/>
                    <a:moveTo>
                      <a:pt x="569" y="555"/>
                    </a:moveTo>
                    <a:lnTo>
                      <a:pt x="569" y="554"/>
                    </a:lnTo>
                    <a:lnTo>
                      <a:pt x="569" y="554"/>
                    </a:lnTo>
                    <a:lnTo>
                      <a:pt x="568" y="552"/>
                    </a:lnTo>
                    <a:lnTo>
                      <a:pt x="566" y="554"/>
                    </a:lnTo>
                    <a:lnTo>
                      <a:pt x="569" y="554"/>
                    </a:lnTo>
                    <a:lnTo>
                      <a:pt x="571" y="555"/>
                    </a:lnTo>
                    <a:lnTo>
                      <a:pt x="569" y="555"/>
                    </a:lnTo>
                    <a:close/>
                    <a:moveTo>
                      <a:pt x="621" y="599"/>
                    </a:moveTo>
                    <a:lnTo>
                      <a:pt x="619" y="599"/>
                    </a:lnTo>
                    <a:lnTo>
                      <a:pt x="619" y="599"/>
                    </a:lnTo>
                    <a:lnTo>
                      <a:pt x="619" y="601"/>
                    </a:lnTo>
                    <a:lnTo>
                      <a:pt x="619" y="601"/>
                    </a:lnTo>
                    <a:lnTo>
                      <a:pt x="621" y="599"/>
                    </a:lnTo>
                    <a:lnTo>
                      <a:pt x="621" y="599"/>
                    </a:lnTo>
                    <a:close/>
                    <a:moveTo>
                      <a:pt x="621" y="590"/>
                    </a:moveTo>
                    <a:lnTo>
                      <a:pt x="621" y="590"/>
                    </a:lnTo>
                    <a:lnTo>
                      <a:pt x="622" y="587"/>
                    </a:lnTo>
                    <a:lnTo>
                      <a:pt x="621" y="587"/>
                    </a:lnTo>
                    <a:lnTo>
                      <a:pt x="619" y="587"/>
                    </a:lnTo>
                    <a:lnTo>
                      <a:pt x="616" y="582"/>
                    </a:lnTo>
                    <a:lnTo>
                      <a:pt x="615" y="582"/>
                    </a:lnTo>
                    <a:lnTo>
                      <a:pt x="613" y="583"/>
                    </a:lnTo>
                    <a:lnTo>
                      <a:pt x="613" y="585"/>
                    </a:lnTo>
                    <a:lnTo>
                      <a:pt x="613" y="585"/>
                    </a:lnTo>
                    <a:lnTo>
                      <a:pt x="615" y="585"/>
                    </a:lnTo>
                    <a:lnTo>
                      <a:pt x="615" y="587"/>
                    </a:lnTo>
                    <a:lnTo>
                      <a:pt x="615" y="588"/>
                    </a:lnTo>
                    <a:lnTo>
                      <a:pt x="618" y="591"/>
                    </a:lnTo>
                    <a:lnTo>
                      <a:pt x="618" y="593"/>
                    </a:lnTo>
                    <a:lnTo>
                      <a:pt x="618" y="593"/>
                    </a:lnTo>
                    <a:lnTo>
                      <a:pt x="618" y="593"/>
                    </a:lnTo>
                    <a:lnTo>
                      <a:pt x="621" y="593"/>
                    </a:lnTo>
                    <a:lnTo>
                      <a:pt x="622" y="591"/>
                    </a:lnTo>
                    <a:lnTo>
                      <a:pt x="622" y="591"/>
                    </a:lnTo>
                    <a:lnTo>
                      <a:pt x="622" y="591"/>
                    </a:lnTo>
                    <a:lnTo>
                      <a:pt x="621" y="590"/>
                    </a:lnTo>
                    <a:close/>
                    <a:moveTo>
                      <a:pt x="571" y="549"/>
                    </a:moveTo>
                    <a:lnTo>
                      <a:pt x="569" y="549"/>
                    </a:lnTo>
                    <a:lnTo>
                      <a:pt x="569" y="551"/>
                    </a:lnTo>
                    <a:lnTo>
                      <a:pt x="569" y="551"/>
                    </a:lnTo>
                    <a:lnTo>
                      <a:pt x="569" y="552"/>
                    </a:lnTo>
                    <a:lnTo>
                      <a:pt x="572" y="551"/>
                    </a:lnTo>
                    <a:lnTo>
                      <a:pt x="571" y="549"/>
                    </a:lnTo>
                    <a:close/>
                    <a:moveTo>
                      <a:pt x="468" y="126"/>
                    </a:moveTo>
                    <a:lnTo>
                      <a:pt x="468" y="125"/>
                    </a:lnTo>
                    <a:lnTo>
                      <a:pt x="466" y="126"/>
                    </a:lnTo>
                    <a:lnTo>
                      <a:pt x="466" y="126"/>
                    </a:lnTo>
                    <a:lnTo>
                      <a:pt x="466" y="128"/>
                    </a:lnTo>
                    <a:lnTo>
                      <a:pt x="466" y="126"/>
                    </a:lnTo>
                    <a:lnTo>
                      <a:pt x="469" y="126"/>
                    </a:lnTo>
                    <a:lnTo>
                      <a:pt x="468" y="126"/>
                    </a:lnTo>
                    <a:close/>
                    <a:moveTo>
                      <a:pt x="635" y="184"/>
                    </a:moveTo>
                    <a:lnTo>
                      <a:pt x="633" y="183"/>
                    </a:lnTo>
                    <a:lnTo>
                      <a:pt x="633" y="186"/>
                    </a:lnTo>
                    <a:lnTo>
                      <a:pt x="633" y="186"/>
                    </a:lnTo>
                    <a:lnTo>
                      <a:pt x="635" y="186"/>
                    </a:lnTo>
                    <a:lnTo>
                      <a:pt x="635" y="186"/>
                    </a:lnTo>
                    <a:lnTo>
                      <a:pt x="635" y="186"/>
                    </a:lnTo>
                    <a:lnTo>
                      <a:pt x="635" y="184"/>
                    </a:lnTo>
                    <a:close/>
                    <a:moveTo>
                      <a:pt x="633" y="181"/>
                    </a:moveTo>
                    <a:lnTo>
                      <a:pt x="632" y="183"/>
                    </a:lnTo>
                    <a:lnTo>
                      <a:pt x="632" y="183"/>
                    </a:lnTo>
                    <a:lnTo>
                      <a:pt x="632" y="183"/>
                    </a:lnTo>
                    <a:lnTo>
                      <a:pt x="633" y="183"/>
                    </a:lnTo>
                    <a:lnTo>
                      <a:pt x="633" y="183"/>
                    </a:lnTo>
                    <a:lnTo>
                      <a:pt x="633" y="181"/>
                    </a:lnTo>
                    <a:lnTo>
                      <a:pt x="633" y="181"/>
                    </a:lnTo>
                    <a:close/>
                    <a:moveTo>
                      <a:pt x="516" y="1"/>
                    </a:moveTo>
                    <a:lnTo>
                      <a:pt x="515" y="1"/>
                    </a:lnTo>
                    <a:lnTo>
                      <a:pt x="515" y="3"/>
                    </a:lnTo>
                    <a:lnTo>
                      <a:pt x="515" y="3"/>
                    </a:lnTo>
                    <a:lnTo>
                      <a:pt x="516" y="4"/>
                    </a:lnTo>
                    <a:lnTo>
                      <a:pt x="518" y="3"/>
                    </a:lnTo>
                    <a:lnTo>
                      <a:pt x="516" y="1"/>
                    </a:lnTo>
                    <a:close/>
                    <a:moveTo>
                      <a:pt x="586" y="150"/>
                    </a:moveTo>
                    <a:lnTo>
                      <a:pt x="586" y="148"/>
                    </a:lnTo>
                    <a:lnTo>
                      <a:pt x="586" y="147"/>
                    </a:lnTo>
                    <a:lnTo>
                      <a:pt x="585" y="148"/>
                    </a:lnTo>
                    <a:lnTo>
                      <a:pt x="585" y="148"/>
                    </a:lnTo>
                    <a:lnTo>
                      <a:pt x="583" y="148"/>
                    </a:lnTo>
                    <a:lnTo>
                      <a:pt x="583" y="148"/>
                    </a:lnTo>
                    <a:lnTo>
                      <a:pt x="585" y="150"/>
                    </a:lnTo>
                    <a:lnTo>
                      <a:pt x="585" y="151"/>
                    </a:lnTo>
                    <a:lnTo>
                      <a:pt x="586" y="153"/>
                    </a:lnTo>
                    <a:lnTo>
                      <a:pt x="586" y="151"/>
                    </a:lnTo>
                    <a:lnTo>
                      <a:pt x="588" y="151"/>
                    </a:lnTo>
                    <a:lnTo>
                      <a:pt x="586" y="150"/>
                    </a:lnTo>
                    <a:close/>
                    <a:moveTo>
                      <a:pt x="651" y="219"/>
                    </a:moveTo>
                    <a:lnTo>
                      <a:pt x="649" y="219"/>
                    </a:lnTo>
                    <a:lnTo>
                      <a:pt x="649" y="220"/>
                    </a:lnTo>
                    <a:lnTo>
                      <a:pt x="649" y="222"/>
                    </a:lnTo>
                    <a:lnTo>
                      <a:pt x="651" y="222"/>
                    </a:lnTo>
                    <a:lnTo>
                      <a:pt x="651" y="220"/>
                    </a:lnTo>
                    <a:lnTo>
                      <a:pt x="651" y="219"/>
                    </a:lnTo>
                    <a:close/>
                    <a:moveTo>
                      <a:pt x="662" y="222"/>
                    </a:moveTo>
                    <a:lnTo>
                      <a:pt x="660" y="222"/>
                    </a:lnTo>
                    <a:lnTo>
                      <a:pt x="660" y="223"/>
                    </a:lnTo>
                    <a:lnTo>
                      <a:pt x="660" y="223"/>
                    </a:lnTo>
                    <a:lnTo>
                      <a:pt x="660" y="223"/>
                    </a:lnTo>
                    <a:lnTo>
                      <a:pt x="660" y="223"/>
                    </a:lnTo>
                    <a:lnTo>
                      <a:pt x="662" y="223"/>
                    </a:lnTo>
                    <a:lnTo>
                      <a:pt x="662" y="222"/>
                    </a:lnTo>
                    <a:close/>
                    <a:moveTo>
                      <a:pt x="713" y="322"/>
                    </a:moveTo>
                    <a:lnTo>
                      <a:pt x="712" y="322"/>
                    </a:lnTo>
                    <a:lnTo>
                      <a:pt x="712" y="324"/>
                    </a:lnTo>
                    <a:lnTo>
                      <a:pt x="712" y="327"/>
                    </a:lnTo>
                    <a:lnTo>
                      <a:pt x="712" y="328"/>
                    </a:lnTo>
                    <a:lnTo>
                      <a:pt x="712" y="328"/>
                    </a:lnTo>
                    <a:lnTo>
                      <a:pt x="713" y="322"/>
                    </a:lnTo>
                    <a:lnTo>
                      <a:pt x="713" y="322"/>
                    </a:lnTo>
                    <a:close/>
                    <a:moveTo>
                      <a:pt x="713" y="314"/>
                    </a:moveTo>
                    <a:lnTo>
                      <a:pt x="712" y="314"/>
                    </a:lnTo>
                    <a:lnTo>
                      <a:pt x="712" y="314"/>
                    </a:lnTo>
                    <a:lnTo>
                      <a:pt x="710" y="316"/>
                    </a:lnTo>
                    <a:lnTo>
                      <a:pt x="712" y="319"/>
                    </a:lnTo>
                    <a:lnTo>
                      <a:pt x="712" y="320"/>
                    </a:lnTo>
                    <a:lnTo>
                      <a:pt x="712" y="320"/>
                    </a:lnTo>
                    <a:lnTo>
                      <a:pt x="712" y="317"/>
                    </a:lnTo>
                    <a:lnTo>
                      <a:pt x="713" y="314"/>
                    </a:lnTo>
                    <a:close/>
                    <a:moveTo>
                      <a:pt x="710" y="274"/>
                    </a:moveTo>
                    <a:lnTo>
                      <a:pt x="710" y="270"/>
                    </a:lnTo>
                    <a:lnTo>
                      <a:pt x="708" y="270"/>
                    </a:lnTo>
                    <a:lnTo>
                      <a:pt x="708" y="270"/>
                    </a:lnTo>
                    <a:lnTo>
                      <a:pt x="707" y="270"/>
                    </a:lnTo>
                    <a:lnTo>
                      <a:pt x="707" y="272"/>
                    </a:lnTo>
                    <a:lnTo>
                      <a:pt x="707" y="272"/>
                    </a:lnTo>
                    <a:lnTo>
                      <a:pt x="708" y="274"/>
                    </a:lnTo>
                    <a:lnTo>
                      <a:pt x="708" y="275"/>
                    </a:lnTo>
                    <a:lnTo>
                      <a:pt x="707" y="277"/>
                    </a:lnTo>
                    <a:lnTo>
                      <a:pt x="705" y="278"/>
                    </a:lnTo>
                    <a:lnTo>
                      <a:pt x="705" y="281"/>
                    </a:lnTo>
                    <a:lnTo>
                      <a:pt x="705" y="281"/>
                    </a:lnTo>
                    <a:lnTo>
                      <a:pt x="704" y="283"/>
                    </a:lnTo>
                    <a:lnTo>
                      <a:pt x="704" y="286"/>
                    </a:lnTo>
                    <a:lnTo>
                      <a:pt x="704" y="289"/>
                    </a:lnTo>
                    <a:lnTo>
                      <a:pt x="705" y="289"/>
                    </a:lnTo>
                    <a:lnTo>
                      <a:pt x="705" y="289"/>
                    </a:lnTo>
                    <a:lnTo>
                      <a:pt x="705" y="288"/>
                    </a:lnTo>
                    <a:lnTo>
                      <a:pt x="707" y="285"/>
                    </a:lnTo>
                    <a:lnTo>
                      <a:pt x="710" y="277"/>
                    </a:lnTo>
                    <a:lnTo>
                      <a:pt x="710" y="275"/>
                    </a:lnTo>
                    <a:lnTo>
                      <a:pt x="710" y="274"/>
                    </a:lnTo>
                    <a:close/>
                    <a:moveTo>
                      <a:pt x="674" y="250"/>
                    </a:moveTo>
                    <a:lnTo>
                      <a:pt x="672" y="249"/>
                    </a:lnTo>
                    <a:lnTo>
                      <a:pt x="674" y="247"/>
                    </a:lnTo>
                    <a:lnTo>
                      <a:pt x="672" y="247"/>
                    </a:lnTo>
                    <a:lnTo>
                      <a:pt x="672" y="247"/>
                    </a:lnTo>
                    <a:lnTo>
                      <a:pt x="672" y="245"/>
                    </a:lnTo>
                    <a:lnTo>
                      <a:pt x="671" y="245"/>
                    </a:lnTo>
                    <a:lnTo>
                      <a:pt x="669" y="247"/>
                    </a:lnTo>
                    <a:lnTo>
                      <a:pt x="672" y="250"/>
                    </a:lnTo>
                    <a:lnTo>
                      <a:pt x="674" y="252"/>
                    </a:lnTo>
                    <a:lnTo>
                      <a:pt x="674" y="252"/>
                    </a:lnTo>
                    <a:lnTo>
                      <a:pt x="674" y="250"/>
                    </a:lnTo>
                    <a:lnTo>
                      <a:pt x="674" y="250"/>
                    </a:lnTo>
                    <a:close/>
                    <a:moveTo>
                      <a:pt x="422" y="73"/>
                    </a:moveTo>
                    <a:lnTo>
                      <a:pt x="421" y="75"/>
                    </a:lnTo>
                    <a:lnTo>
                      <a:pt x="419" y="73"/>
                    </a:lnTo>
                    <a:lnTo>
                      <a:pt x="419" y="73"/>
                    </a:lnTo>
                    <a:lnTo>
                      <a:pt x="419" y="72"/>
                    </a:lnTo>
                    <a:lnTo>
                      <a:pt x="419" y="70"/>
                    </a:lnTo>
                    <a:lnTo>
                      <a:pt x="421" y="69"/>
                    </a:lnTo>
                    <a:lnTo>
                      <a:pt x="421" y="69"/>
                    </a:lnTo>
                    <a:lnTo>
                      <a:pt x="422" y="67"/>
                    </a:lnTo>
                    <a:lnTo>
                      <a:pt x="422" y="67"/>
                    </a:lnTo>
                    <a:lnTo>
                      <a:pt x="421" y="67"/>
                    </a:lnTo>
                    <a:lnTo>
                      <a:pt x="421" y="67"/>
                    </a:lnTo>
                    <a:lnTo>
                      <a:pt x="421" y="69"/>
                    </a:lnTo>
                    <a:lnTo>
                      <a:pt x="419" y="69"/>
                    </a:lnTo>
                    <a:lnTo>
                      <a:pt x="419" y="67"/>
                    </a:lnTo>
                    <a:lnTo>
                      <a:pt x="418" y="65"/>
                    </a:lnTo>
                    <a:lnTo>
                      <a:pt x="418" y="65"/>
                    </a:lnTo>
                    <a:lnTo>
                      <a:pt x="418" y="65"/>
                    </a:lnTo>
                    <a:lnTo>
                      <a:pt x="416" y="65"/>
                    </a:lnTo>
                    <a:lnTo>
                      <a:pt x="416" y="67"/>
                    </a:lnTo>
                    <a:lnTo>
                      <a:pt x="413" y="69"/>
                    </a:lnTo>
                    <a:lnTo>
                      <a:pt x="413" y="72"/>
                    </a:lnTo>
                    <a:lnTo>
                      <a:pt x="413" y="73"/>
                    </a:lnTo>
                    <a:lnTo>
                      <a:pt x="413" y="73"/>
                    </a:lnTo>
                    <a:lnTo>
                      <a:pt x="411" y="75"/>
                    </a:lnTo>
                    <a:lnTo>
                      <a:pt x="413" y="75"/>
                    </a:lnTo>
                    <a:lnTo>
                      <a:pt x="414" y="75"/>
                    </a:lnTo>
                    <a:lnTo>
                      <a:pt x="418" y="76"/>
                    </a:lnTo>
                    <a:lnTo>
                      <a:pt x="419" y="76"/>
                    </a:lnTo>
                    <a:lnTo>
                      <a:pt x="422" y="76"/>
                    </a:lnTo>
                    <a:lnTo>
                      <a:pt x="422" y="75"/>
                    </a:lnTo>
                    <a:lnTo>
                      <a:pt x="422" y="75"/>
                    </a:lnTo>
                    <a:lnTo>
                      <a:pt x="422" y="73"/>
                    </a:lnTo>
                    <a:close/>
                    <a:moveTo>
                      <a:pt x="416" y="98"/>
                    </a:moveTo>
                    <a:lnTo>
                      <a:pt x="414" y="98"/>
                    </a:lnTo>
                    <a:lnTo>
                      <a:pt x="414" y="100"/>
                    </a:lnTo>
                    <a:lnTo>
                      <a:pt x="414" y="100"/>
                    </a:lnTo>
                    <a:lnTo>
                      <a:pt x="414" y="100"/>
                    </a:lnTo>
                    <a:lnTo>
                      <a:pt x="416" y="100"/>
                    </a:lnTo>
                    <a:lnTo>
                      <a:pt x="416" y="98"/>
                    </a:lnTo>
                    <a:lnTo>
                      <a:pt x="416" y="98"/>
                    </a:lnTo>
                    <a:close/>
                    <a:moveTo>
                      <a:pt x="515" y="9"/>
                    </a:moveTo>
                    <a:lnTo>
                      <a:pt x="513" y="11"/>
                    </a:lnTo>
                    <a:lnTo>
                      <a:pt x="513" y="11"/>
                    </a:lnTo>
                    <a:lnTo>
                      <a:pt x="513" y="12"/>
                    </a:lnTo>
                    <a:lnTo>
                      <a:pt x="515" y="12"/>
                    </a:lnTo>
                    <a:lnTo>
                      <a:pt x="516" y="12"/>
                    </a:lnTo>
                    <a:lnTo>
                      <a:pt x="515" y="9"/>
                    </a:lnTo>
                    <a:close/>
                    <a:moveTo>
                      <a:pt x="421" y="98"/>
                    </a:moveTo>
                    <a:lnTo>
                      <a:pt x="421" y="98"/>
                    </a:lnTo>
                    <a:lnTo>
                      <a:pt x="421" y="100"/>
                    </a:lnTo>
                    <a:lnTo>
                      <a:pt x="421" y="100"/>
                    </a:lnTo>
                    <a:lnTo>
                      <a:pt x="422" y="100"/>
                    </a:lnTo>
                    <a:lnTo>
                      <a:pt x="421" y="98"/>
                    </a:lnTo>
                    <a:close/>
                    <a:moveTo>
                      <a:pt x="414" y="26"/>
                    </a:moveTo>
                    <a:lnTo>
                      <a:pt x="411" y="28"/>
                    </a:lnTo>
                    <a:lnTo>
                      <a:pt x="410" y="29"/>
                    </a:lnTo>
                    <a:lnTo>
                      <a:pt x="411" y="28"/>
                    </a:lnTo>
                    <a:lnTo>
                      <a:pt x="413" y="28"/>
                    </a:lnTo>
                    <a:lnTo>
                      <a:pt x="414" y="26"/>
                    </a:lnTo>
                    <a:lnTo>
                      <a:pt x="414" y="25"/>
                    </a:lnTo>
                    <a:lnTo>
                      <a:pt x="414" y="26"/>
                    </a:lnTo>
                    <a:close/>
                    <a:moveTo>
                      <a:pt x="346" y="18"/>
                    </a:moveTo>
                    <a:lnTo>
                      <a:pt x="346" y="17"/>
                    </a:lnTo>
                    <a:lnTo>
                      <a:pt x="346" y="17"/>
                    </a:lnTo>
                    <a:lnTo>
                      <a:pt x="346" y="17"/>
                    </a:lnTo>
                    <a:lnTo>
                      <a:pt x="344" y="18"/>
                    </a:lnTo>
                    <a:lnTo>
                      <a:pt x="344" y="18"/>
                    </a:lnTo>
                    <a:lnTo>
                      <a:pt x="344" y="20"/>
                    </a:lnTo>
                    <a:lnTo>
                      <a:pt x="346" y="23"/>
                    </a:lnTo>
                    <a:lnTo>
                      <a:pt x="346" y="23"/>
                    </a:lnTo>
                    <a:lnTo>
                      <a:pt x="347" y="20"/>
                    </a:lnTo>
                    <a:lnTo>
                      <a:pt x="346" y="18"/>
                    </a:lnTo>
                    <a:close/>
                    <a:moveTo>
                      <a:pt x="419" y="17"/>
                    </a:moveTo>
                    <a:lnTo>
                      <a:pt x="419" y="18"/>
                    </a:lnTo>
                    <a:lnTo>
                      <a:pt x="419" y="20"/>
                    </a:lnTo>
                    <a:lnTo>
                      <a:pt x="418" y="20"/>
                    </a:lnTo>
                    <a:lnTo>
                      <a:pt x="418" y="22"/>
                    </a:lnTo>
                    <a:lnTo>
                      <a:pt x="416" y="23"/>
                    </a:lnTo>
                    <a:lnTo>
                      <a:pt x="414" y="25"/>
                    </a:lnTo>
                    <a:lnTo>
                      <a:pt x="414" y="25"/>
                    </a:lnTo>
                    <a:lnTo>
                      <a:pt x="416" y="23"/>
                    </a:lnTo>
                    <a:lnTo>
                      <a:pt x="419" y="20"/>
                    </a:lnTo>
                    <a:lnTo>
                      <a:pt x="419" y="17"/>
                    </a:lnTo>
                    <a:lnTo>
                      <a:pt x="419" y="17"/>
                    </a:lnTo>
                    <a:close/>
                    <a:moveTo>
                      <a:pt x="515" y="0"/>
                    </a:moveTo>
                    <a:lnTo>
                      <a:pt x="513" y="1"/>
                    </a:lnTo>
                    <a:lnTo>
                      <a:pt x="513" y="3"/>
                    </a:lnTo>
                    <a:lnTo>
                      <a:pt x="515" y="3"/>
                    </a:lnTo>
                    <a:lnTo>
                      <a:pt x="515" y="1"/>
                    </a:lnTo>
                    <a:lnTo>
                      <a:pt x="515" y="0"/>
                    </a:lnTo>
                    <a:close/>
                    <a:moveTo>
                      <a:pt x="469" y="114"/>
                    </a:moveTo>
                    <a:lnTo>
                      <a:pt x="469" y="114"/>
                    </a:lnTo>
                    <a:lnTo>
                      <a:pt x="466" y="116"/>
                    </a:lnTo>
                    <a:lnTo>
                      <a:pt x="463" y="116"/>
                    </a:lnTo>
                    <a:lnTo>
                      <a:pt x="463" y="117"/>
                    </a:lnTo>
                    <a:lnTo>
                      <a:pt x="461" y="119"/>
                    </a:lnTo>
                    <a:lnTo>
                      <a:pt x="461" y="120"/>
                    </a:lnTo>
                    <a:lnTo>
                      <a:pt x="461" y="120"/>
                    </a:lnTo>
                    <a:lnTo>
                      <a:pt x="463" y="120"/>
                    </a:lnTo>
                    <a:lnTo>
                      <a:pt x="463" y="120"/>
                    </a:lnTo>
                    <a:lnTo>
                      <a:pt x="465" y="120"/>
                    </a:lnTo>
                    <a:lnTo>
                      <a:pt x="466" y="119"/>
                    </a:lnTo>
                    <a:lnTo>
                      <a:pt x="466" y="119"/>
                    </a:lnTo>
                    <a:lnTo>
                      <a:pt x="468" y="117"/>
                    </a:lnTo>
                    <a:lnTo>
                      <a:pt x="468" y="117"/>
                    </a:lnTo>
                    <a:lnTo>
                      <a:pt x="471" y="116"/>
                    </a:lnTo>
                    <a:lnTo>
                      <a:pt x="469" y="114"/>
                    </a:lnTo>
                    <a:close/>
                    <a:moveTo>
                      <a:pt x="425" y="101"/>
                    </a:moveTo>
                    <a:lnTo>
                      <a:pt x="424" y="101"/>
                    </a:lnTo>
                    <a:lnTo>
                      <a:pt x="424" y="100"/>
                    </a:lnTo>
                    <a:lnTo>
                      <a:pt x="424" y="100"/>
                    </a:lnTo>
                    <a:lnTo>
                      <a:pt x="422" y="101"/>
                    </a:lnTo>
                    <a:lnTo>
                      <a:pt x="422" y="101"/>
                    </a:lnTo>
                    <a:lnTo>
                      <a:pt x="424" y="101"/>
                    </a:lnTo>
                    <a:lnTo>
                      <a:pt x="424" y="103"/>
                    </a:lnTo>
                    <a:lnTo>
                      <a:pt x="424" y="103"/>
                    </a:lnTo>
                    <a:lnTo>
                      <a:pt x="425" y="103"/>
                    </a:lnTo>
                    <a:lnTo>
                      <a:pt x="425" y="101"/>
                    </a:lnTo>
                    <a:close/>
                    <a:moveTo>
                      <a:pt x="327" y="25"/>
                    </a:moveTo>
                    <a:lnTo>
                      <a:pt x="327" y="23"/>
                    </a:lnTo>
                    <a:lnTo>
                      <a:pt x="325" y="23"/>
                    </a:lnTo>
                    <a:lnTo>
                      <a:pt x="324" y="22"/>
                    </a:lnTo>
                    <a:lnTo>
                      <a:pt x="322" y="20"/>
                    </a:lnTo>
                    <a:lnTo>
                      <a:pt x="322" y="22"/>
                    </a:lnTo>
                    <a:lnTo>
                      <a:pt x="321" y="22"/>
                    </a:lnTo>
                    <a:lnTo>
                      <a:pt x="319" y="23"/>
                    </a:lnTo>
                    <a:lnTo>
                      <a:pt x="318" y="23"/>
                    </a:lnTo>
                    <a:lnTo>
                      <a:pt x="316" y="23"/>
                    </a:lnTo>
                    <a:lnTo>
                      <a:pt x="314" y="23"/>
                    </a:lnTo>
                    <a:lnTo>
                      <a:pt x="311" y="23"/>
                    </a:lnTo>
                    <a:lnTo>
                      <a:pt x="310" y="23"/>
                    </a:lnTo>
                    <a:lnTo>
                      <a:pt x="310" y="22"/>
                    </a:lnTo>
                    <a:lnTo>
                      <a:pt x="308" y="20"/>
                    </a:lnTo>
                    <a:lnTo>
                      <a:pt x="308" y="20"/>
                    </a:lnTo>
                    <a:lnTo>
                      <a:pt x="307" y="20"/>
                    </a:lnTo>
                    <a:lnTo>
                      <a:pt x="307" y="22"/>
                    </a:lnTo>
                    <a:lnTo>
                      <a:pt x="308" y="23"/>
                    </a:lnTo>
                    <a:lnTo>
                      <a:pt x="308" y="25"/>
                    </a:lnTo>
                    <a:lnTo>
                      <a:pt x="310" y="28"/>
                    </a:lnTo>
                    <a:lnTo>
                      <a:pt x="311" y="31"/>
                    </a:lnTo>
                    <a:lnTo>
                      <a:pt x="318" y="34"/>
                    </a:lnTo>
                    <a:lnTo>
                      <a:pt x="324" y="29"/>
                    </a:lnTo>
                    <a:lnTo>
                      <a:pt x="325" y="28"/>
                    </a:lnTo>
                    <a:lnTo>
                      <a:pt x="327" y="28"/>
                    </a:lnTo>
                    <a:lnTo>
                      <a:pt x="327" y="26"/>
                    </a:lnTo>
                    <a:lnTo>
                      <a:pt x="327" y="25"/>
                    </a:lnTo>
                    <a:lnTo>
                      <a:pt x="327" y="2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89" name="Freeform 16">
                <a:extLst>
                  <a:ext uri="{FF2B5EF4-FFF2-40B4-BE49-F238E27FC236}">
                    <a16:creationId xmlns:a16="http://schemas.microsoft.com/office/drawing/2014/main" id="{9086C4C1-00F0-0A7F-16C2-B8D7E2FB526B}"/>
                  </a:ext>
                </a:extLst>
              </p:cNvPr>
              <p:cNvSpPr>
                <a:spLocks/>
              </p:cNvSpPr>
              <p:nvPr/>
            </p:nvSpPr>
            <p:spPr bwMode="gray">
              <a:xfrm>
                <a:off x="1445" y="1355"/>
                <a:ext cx="3" cy="3"/>
              </a:xfrm>
              <a:custGeom>
                <a:avLst/>
                <a:gdLst>
                  <a:gd name="T0" fmla="*/ 3 w 3"/>
                  <a:gd name="T1" fmla="*/ 3 h 3"/>
                  <a:gd name="T2" fmla="*/ 3 w 3"/>
                  <a:gd name="T3" fmla="*/ 3 h 3"/>
                  <a:gd name="T4" fmla="*/ 3 w 3"/>
                  <a:gd name="T5" fmla="*/ 3 h 3"/>
                  <a:gd name="T6" fmla="*/ 1 w 3"/>
                  <a:gd name="T7" fmla="*/ 2 h 3"/>
                  <a:gd name="T8" fmla="*/ 0 w 3"/>
                  <a:gd name="T9" fmla="*/ 2 h 3"/>
                  <a:gd name="T10" fmla="*/ 0 w 3"/>
                  <a:gd name="T11" fmla="*/ 0 h 3"/>
                  <a:gd name="T12" fmla="*/ 1 w 3"/>
                  <a:gd name="T13" fmla="*/ 0 h 3"/>
                  <a:gd name="T14" fmla="*/ 1 w 3"/>
                  <a:gd name="T15" fmla="*/ 0 h 3"/>
                  <a:gd name="T16" fmla="*/ 3 w 3"/>
                  <a:gd name="T17" fmla="*/ 2 h 3"/>
                  <a:gd name="T18" fmla="*/ 3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3" y="3"/>
                    </a:moveTo>
                    <a:lnTo>
                      <a:pt x="3" y="3"/>
                    </a:lnTo>
                    <a:lnTo>
                      <a:pt x="3" y="3"/>
                    </a:lnTo>
                    <a:lnTo>
                      <a:pt x="1" y="2"/>
                    </a:lnTo>
                    <a:lnTo>
                      <a:pt x="0" y="2"/>
                    </a:lnTo>
                    <a:lnTo>
                      <a:pt x="0" y="0"/>
                    </a:lnTo>
                    <a:lnTo>
                      <a:pt x="1" y="0"/>
                    </a:lnTo>
                    <a:lnTo>
                      <a:pt x="1" y="0"/>
                    </a:lnTo>
                    <a:lnTo>
                      <a:pt x="3" y="2"/>
                    </a:lnTo>
                    <a:lnTo>
                      <a:pt x="3"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0" name="Freeform 17">
                <a:extLst>
                  <a:ext uri="{FF2B5EF4-FFF2-40B4-BE49-F238E27FC236}">
                    <a16:creationId xmlns:a16="http://schemas.microsoft.com/office/drawing/2014/main" id="{EA3BE634-2F99-C781-9FE1-6B8268DC6987}"/>
                  </a:ext>
                </a:extLst>
              </p:cNvPr>
              <p:cNvSpPr>
                <a:spLocks noEditPoints="1"/>
              </p:cNvSpPr>
              <p:nvPr/>
            </p:nvSpPr>
            <p:spPr bwMode="gray">
              <a:xfrm>
                <a:off x="3018" y="243"/>
                <a:ext cx="18" cy="14"/>
              </a:xfrm>
              <a:custGeom>
                <a:avLst/>
                <a:gdLst>
                  <a:gd name="T0" fmla="*/ 18 w 18"/>
                  <a:gd name="T1" fmla="*/ 12 h 14"/>
                  <a:gd name="T2" fmla="*/ 17 w 18"/>
                  <a:gd name="T3" fmla="*/ 12 h 14"/>
                  <a:gd name="T4" fmla="*/ 15 w 18"/>
                  <a:gd name="T5" fmla="*/ 12 h 14"/>
                  <a:gd name="T6" fmla="*/ 15 w 18"/>
                  <a:gd name="T7" fmla="*/ 12 h 14"/>
                  <a:gd name="T8" fmla="*/ 15 w 18"/>
                  <a:gd name="T9" fmla="*/ 14 h 14"/>
                  <a:gd name="T10" fmla="*/ 17 w 18"/>
                  <a:gd name="T11" fmla="*/ 14 h 14"/>
                  <a:gd name="T12" fmla="*/ 17 w 18"/>
                  <a:gd name="T13" fmla="*/ 14 h 14"/>
                  <a:gd name="T14" fmla="*/ 18 w 18"/>
                  <a:gd name="T15" fmla="*/ 14 h 14"/>
                  <a:gd name="T16" fmla="*/ 18 w 18"/>
                  <a:gd name="T17" fmla="*/ 12 h 14"/>
                  <a:gd name="T18" fmla="*/ 18 w 18"/>
                  <a:gd name="T19" fmla="*/ 12 h 14"/>
                  <a:gd name="T20" fmla="*/ 3 w 18"/>
                  <a:gd name="T21" fmla="*/ 7 h 14"/>
                  <a:gd name="T22" fmla="*/ 1 w 18"/>
                  <a:gd name="T23" fmla="*/ 6 h 14"/>
                  <a:gd name="T24" fmla="*/ 0 w 18"/>
                  <a:gd name="T25" fmla="*/ 6 h 14"/>
                  <a:gd name="T26" fmla="*/ 0 w 18"/>
                  <a:gd name="T27" fmla="*/ 7 h 14"/>
                  <a:gd name="T28" fmla="*/ 0 w 18"/>
                  <a:gd name="T29" fmla="*/ 9 h 14"/>
                  <a:gd name="T30" fmla="*/ 1 w 18"/>
                  <a:gd name="T31" fmla="*/ 9 h 14"/>
                  <a:gd name="T32" fmla="*/ 1 w 18"/>
                  <a:gd name="T33" fmla="*/ 9 h 14"/>
                  <a:gd name="T34" fmla="*/ 1 w 18"/>
                  <a:gd name="T35" fmla="*/ 9 h 14"/>
                  <a:gd name="T36" fmla="*/ 3 w 18"/>
                  <a:gd name="T37" fmla="*/ 9 h 14"/>
                  <a:gd name="T38" fmla="*/ 3 w 18"/>
                  <a:gd name="T39" fmla="*/ 7 h 14"/>
                  <a:gd name="T40" fmla="*/ 12 w 18"/>
                  <a:gd name="T41" fmla="*/ 4 h 14"/>
                  <a:gd name="T42" fmla="*/ 11 w 18"/>
                  <a:gd name="T43" fmla="*/ 4 h 14"/>
                  <a:gd name="T44" fmla="*/ 11 w 18"/>
                  <a:gd name="T45" fmla="*/ 3 h 14"/>
                  <a:gd name="T46" fmla="*/ 9 w 18"/>
                  <a:gd name="T47" fmla="*/ 1 h 14"/>
                  <a:gd name="T48" fmla="*/ 9 w 18"/>
                  <a:gd name="T49" fmla="*/ 1 h 14"/>
                  <a:gd name="T50" fmla="*/ 9 w 18"/>
                  <a:gd name="T51" fmla="*/ 1 h 14"/>
                  <a:gd name="T52" fmla="*/ 7 w 18"/>
                  <a:gd name="T53" fmla="*/ 1 h 14"/>
                  <a:gd name="T54" fmla="*/ 7 w 18"/>
                  <a:gd name="T55" fmla="*/ 1 h 14"/>
                  <a:gd name="T56" fmla="*/ 6 w 18"/>
                  <a:gd name="T57" fmla="*/ 0 h 14"/>
                  <a:gd name="T58" fmla="*/ 4 w 18"/>
                  <a:gd name="T59" fmla="*/ 1 h 14"/>
                  <a:gd name="T60" fmla="*/ 4 w 18"/>
                  <a:gd name="T61" fmla="*/ 1 h 14"/>
                  <a:gd name="T62" fmla="*/ 4 w 18"/>
                  <a:gd name="T63" fmla="*/ 3 h 14"/>
                  <a:gd name="T64" fmla="*/ 6 w 18"/>
                  <a:gd name="T65" fmla="*/ 3 h 14"/>
                  <a:gd name="T66" fmla="*/ 6 w 18"/>
                  <a:gd name="T67" fmla="*/ 4 h 14"/>
                  <a:gd name="T68" fmla="*/ 6 w 18"/>
                  <a:gd name="T69" fmla="*/ 4 h 14"/>
                  <a:gd name="T70" fmla="*/ 6 w 18"/>
                  <a:gd name="T71" fmla="*/ 6 h 14"/>
                  <a:gd name="T72" fmla="*/ 4 w 18"/>
                  <a:gd name="T73" fmla="*/ 7 h 14"/>
                  <a:gd name="T74" fmla="*/ 4 w 18"/>
                  <a:gd name="T75" fmla="*/ 4 h 14"/>
                  <a:gd name="T76" fmla="*/ 3 w 18"/>
                  <a:gd name="T77" fmla="*/ 4 h 14"/>
                  <a:gd name="T78" fmla="*/ 3 w 18"/>
                  <a:gd name="T79" fmla="*/ 4 h 14"/>
                  <a:gd name="T80" fmla="*/ 3 w 18"/>
                  <a:gd name="T81" fmla="*/ 6 h 14"/>
                  <a:gd name="T82" fmla="*/ 3 w 18"/>
                  <a:gd name="T83" fmla="*/ 11 h 14"/>
                  <a:gd name="T84" fmla="*/ 4 w 18"/>
                  <a:gd name="T85" fmla="*/ 12 h 14"/>
                  <a:gd name="T86" fmla="*/ 9 w 18"/>
                  <a:gd name="T87" fmla="*/ 11 h 14"/>
                  <a:gd name="T88" fmla="*/ 9 w 18"/>
                  <a:gd name="T89" fmla="*/ 9 h 14"/>
                  <a:gd name="T90" fmla="*/ 9 w 18"/>
                  <a:gd name="T91" fmla="*/ 7 h 14"/>
                  <a:gd name="T92" fmla="*/ 9 w 18"/>
                  <a:gd name="T93" fmla="*/ 7 h 14"/>
                  <a:gd name="T94" fmla="*/ 11 w 18"/>
                  <a:gd name="T95" fmla="*/ 7 h 14"/>
                  <a:gd name="T96" fmla="*/ 11 w 18"/>
                  <a:gd name="T97" fmla="*/ 7 h 14"/>
                  <a:gd name="T98" fmla="*/ 12 w 18"/>
                  <a:gd name="T99" fmla="*/ 7 h 14"/>
                  <a:gd name="T100" fmla="*/ 12 w 18"/>
                  <a:gd name="T101" fmla="*/ 4 h 14"/>
                  <a:gd name="T102" fmla="*/ 12 w 18"/>
                  <a:gd name="T103"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 h="14">
                    <a:moveTo>
                      <a:pt x="18" y="12"/>
                    </a:moveTo>
                    <a:lnTo>
                      <a:pt x="17" y="12"/>
                    </a:lnTo>
                    <a:lnTo>
                      <a:pt x="15" y="12"/>
                    </a:lnTo>
                    <a:lnTo>
                      <a:pt x="15" y="12"/>
                    </a:lnTo>
                    <a:lnTo>
                      <a:pt x="15" y="14"/>
                    </a:lnTo>
                    <a:lnTo>
                      <a:pt x="17" y="14"/>
                    </a:lnTo>
                    <a:lnTo>
                      <a:pt x="17" y="14"/>
                    </a:lnTo>
                    <a:lnTo>
                      <a:pt x="18" y="14"/>
                    </a:lnTo>
                    <a:lnTo>
                      <a:pt x="18" y="12"/>
                    </a:lnTo>
                    <a:lnTo>
                      <a:pt x="18" y="12"/>
                    </a:lnTo>
                    <a:close/>
                    <a:moveTo>
                      <a:pt x="3" y="7"/>
                    </a:moveTo>
                    <a:lnTo>
                      <a:pt x="1" y="6"/>
                    </a:lnTo>
                    <a:lnTo>
                      <a:pt x="0" y="6"/>
                    </a:lnTo>
                    <a:lnTo>
                      <a:pt x="0" y="7"/>
                    </a:lnTo>
                    <a:lnTo>
                      <a:pt x="0" y="9"/>
                    </a:lnTo>
                    <a:lnTo>
                      <a:pt x="1" y="9"/>
                    </a:lnTo>
                    <a:lnTo>
                      <a:pt x="1" y="9"/>
                    </a:lnTo>
                    <a:lnTo>
                      <a:pt x="1" y="9"/>
                    </a:lnTo>
                    <a:lnTo>
                      <a:pt x="3" y="9"/>
                    </a:lnTo>
                    <a:lnTo>
                      <a:pt x="3" y="7"/>
                    </a:lnTo>
                    <a:close/>
                    <a:moveTo>
                      <a:pt x="12" y="4"/>
                    </a:moveTo>
                    <a:lnTo>
                      <a:pt x="11" y="4"/>
                    </a:lnTo>
                    <a:lnTo>
                      <a:pt x="11" y="3"/>
                    </a:lnTo>
                    <a:lnTo>
                      <a:pt x="9" y="1"/>
                    </a:lnTo>
                    <a:lnTo>
                      <a:pt x="9" y="1"/>
                    </a:lnTo>
                    <a:lnTo>
                      <a:pt x="9" y="1"/>
                    </a:lnTo>
                    <a:lnTo>
                      <a:pt x="7" y="1"/>
                    </a:lnTo>
                    <a:lnTo>
                      <a:pt x="7" y="1"/>
                    </a:lnTo>
                    <a:lnTo>
                      <a:pt x="6" y="0"/>
                    </a:lnTo>
                    <a:lnTo>
                      <a:pt x="4" y="1"/>
                    </a:lnTo>
                    <a:lnTo>
                      <a:pt x="4" y="1"/>
                    </a:lnTo>
                    <a:lnTo>
                      <a:pt x="4" y="3"/>
                    </a:lnTo>
                    <a:lnTo>
                      <a:pt x="6" y="3"/>
                    </a:lnTo>
                    <a:lnTo>
                      <a:pt x="6" y="4"/>
                    </a:lnTo>
                    <a:lnTo>
                      <a:pt x="6" y="4"/>
                    </a:lnTo>
                    <a:lnTo>
                      <a:pt x="6" y="6"/>
                    </a:lnTo>
                    <a:lnTo>
                      <a:pt x="4" y="7"/>
                    </a:lnTo>
                    <a:lnTo>
                      <a:pt x="4" y="4"/>
                    </a:lnTo>
                    <a:lnTo>
                      <a:pt x="3" y="4"/>
                    </a:lnTo>
                    <a:lnTo>
                      <a:pt x="3" y="4"/>
                    </a:lnTo>
                    <a:lnTo>
                      <a:pt x="3" y="6"/>
                    </a:lnTo>
                    <a:lnTo>
                      <a:pt x="3" y="11"/>
                    </a:lnTo>
                    <a:lnTo>
                      <a:pt x="4" y="12"/>
                    </a:lnTo>
                    <a:lnTo>
                      <a:pt x="9" y="11"/>
                    </a:lnTo>
                    <a:lnTo>
                      <a:pt x="9" y="9"/>
                    </a:lnTo>
                    <a:lnTo>
                      <a:pt x="9" y="7"/>
                    </a:lnTo>
                    <a:lnTo>
                      <a:pt x="9" y="7"/>
                    </a:lnTo>
                    <a:lnTo>
                      <a:pt x="11" y="7"/>
                    </a:lnTo>
                    <a:lnTo>
                      <a:pt x="11" y="7"/>
                    </a:lnTo>
                    <a:lnTo>
                      <a:pt x="12" y="7"/>
                    </a:lnTo>
                    <a:lnTo>
                      <a:pt x="12" y="4"/>
                    </a:lnTo>
                    <a:lnTo>
                      <a:pt x="12"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1" name="Freeform 18">
                <a:extLst>
                  <a:ext uri="{FF2B5EF4-FFF2-40B4-BE49-F238E27FC236}">
                    <a16:creationId xmlns:a16="http://schemas.microsoft.com/office/drawing/2014/main" id="{C4A39FCD-CEBD-0D35-D65E-327FFEECFEFD}"/>
                  </a:ext>
                </a:extLst>
              </p:cNvPr>
              <p:cNvSpPr>
                <a:spLocks noEditPoints="1"/>
              </p:cNvSpPr>
              <p:nvPr/>
            </p:nvSpPr>
            <p:spPr bwMode="gray">
              <a:xfrm>
                <a:off x="3460" y="770"/>
                <a:ext cx="99" cy="80"/>
              </a:xfrm>
              <a:custGeom>
                <a:avLst/>
                <a:gdLst>
                  <a:gd name="T0" fmla="*/ 20 w 99"/>
                  <a:gd name="T1" fmla="*/ 59 h 80"/>
                  <a:gd name="T2" fmla="*/ 19 w 99"/>
                  <a:gd name="T3" fmla="*/ 53 h 80"/>
                  <a:gd name="T4" fmla="*/ 11 w 99"/>
                  <a:gd name="T5" fmla="*/ 55 h 80"/>
                  <a:gd name="T6" fmla="*/ 8 w 99"/>
                  <a:gd name="T7" fmla="*/ 52 h 80"/>
                  <a:gd name="T8" fmla="*/ 2 w 99"/>
                  <a:gd name="T9" fmla="*/ 50 h 80"/>
                  <a:gd name="T10" fmla="*/ 2 w 99"/>
                  <a:gd name="T11" fmla="*/ 50 h 80"/>
                  <a:gd name="T12" fmla="*/ 6 w 99"/>
                  <a:gd name="T13" fmla="*/ 59 h 80"/>
                  <a:gd name="T14" fmla="*/ 11 w 99"/>
                  <a:gd name="T15" fmla="*/ 64 h 80"/>
                  <a:gd name="T16" fmla="*/ 24 w 99"/>
                  <a:gd name="T17" fmla="*/ 69 h 80"/>
                  <a:gd name="T18" fmla="*/ 5 w 99"/>
                  <a:gd name="T19" fmla="*/ 19 h 80"/>
                  <a:gd name="T20" fmla="*/ 5 w 99"/>
                  <a:gd name="T21" fmla="*/ 19 h 80"/>
                  <a:gd name="T22" fmla="*/ 92 w 99"/>
                  <a:gd name="T23" fmla="*/ 30 h 80"/>
                  <a:gd name="T24" fmla="*/ 83 w 99"/>
                  <a:gd name="T25" fmla="*/ 25 h 80"/>
                  <a:gd name="T26" fmla="*/ 75 w 99"/>
                  <a:gd name="T27" fmla="*/ 11 h 80"/>
                  <a:gd name="T28" fmla="*/ 66 w 99"/>
                  <a:gd name="T29" fmla="*/ 2 h 80"/>
                  <a:gd name="T30" fmla="*/ 58 w 99"/>
                  <a:gd name="T31" fmla="*/ 9 h 80"/>
                  <a:gd name="T32" fmla="*/ 50 w 99"/>
                  <a:gd name="T33" fmla="*/ 16 h 80"/>
                  <a:gd name="T34" fmla="*/ 42 w 99"/>
                  <a:gd name="T35" fmla="*/ 8 h 80"/>
                  <a:gd name="T36" fmla="*/ 39 w 99"/>
                  <a:gd name="T37" fmla="*/ 5 h 80"/>
                  <a:gd name="T38" fmla="*/ 36 w 99"/>
                  <a:gd name="T39" fmla="*/ 2 h 80"/>
                  <a:gd name="T40" fmla="*/ 33 w 99"/>
                  <a:gd name="T41" fmla="*/ 2 h 80"/>
                  <a:gd name="T42" fmla="*/ 30 w 99"/>
                  <a:gd name="T43" fmla="*/ 0 h 80"/>
                  <a:gd name="T44" fmla="*/ 28 w 99"/>
                  <a:gd name="T45" fmla="*/ 3 h 80"/>
                  <a:gd name="T46" fmla="*/ 25 w 99"/>
                  <a:gd name="T47" fmla="*/ 5 h 80"/>
                  <a:gd name="T48" fmla="*/ 30 w 99"/>
                  <a:gd name="T49" fmla="*/ 9 h 80"/>
                  <a:gd name="T50" fmla="*/ 34 w 99"/>
                  <a:gd name="T51" fmla="*/ 14 h 80"/>
                  <a:gd name="T52" fmla="*/ 30 w 99"/>
                  <a:gd name="T53" fmla="*/ 19 h 80"/>
                  <a:gd name="T54" fmla="*/ 24 w 99"/>
                  <a:gd name="T55" fmla="*/ 17 h 80"/>
                  <a:gd name="T56" fmla="*/ 17 w 99"/>
                  <a:gd name="T57" fmla="*/ 13 h 80"/>
                  <a:gd name="T58" fmla="*/ 5 w 99"/>
                  <a:gd name="T59" fmla="*/ 14 h 80"/>
                  <a:gd name="T60" fmla="*/ 8 w 99"/>
                  <a:gd name="T61" fmla="*/ 17 h 80"/>
                  <a:gd name="T62" fmla="*/ 6 w 99"/>
                  <a:gd name="T63" fmla="*/ 19 h 80"/>
                  <a:gd name="T64" fmla="*/ 13 w 99"/>
                  <a:gd name="T65" fmla="*/ 20 h 80"/>
                  <a:gd name="T66" fmla="*/ 14 w 99"/>
                  <a:gd name="T67" fmla="*/ 25 h 80"/>
                  <a:gd name="T68" fmla="*/ 13 w 99"/>
                  <a:gd name="T69" fmla="*/ 31 h 80"/>
                  <a:gd name="T70" fmla="*/ 22 w 99"/>
                  <a:gd name="T71" fmla="*/ 39 h 80"/>
                  <a:gd name="T72" fmla="*/ 16 w 99"/>
                  <a:gd name="T73" fmla="*/ 44 h 80"/>
                  <a:gd name="T74" fmla="*/ 19 w 99"/>
                  <a:gd name="T75" fmla="*/ 45 h 80"/>
                  <a:gd name="T76" fmla="*/ 24 w 99"/>
                  <a:gd name="T77" fmla="*/ 52 h 80"/>
                  <a:gd name="T78" fmla="*/ 31 w 99"/>
                  <a:gd name="T79" fmla="*/ 55 h 80"/>
                  <a:gd name="T80" fmla="*/ 30 w 99"/>
                  <a:gd name="T81" fmla="*/ 58 h 80"/>
                  <a:gd name="T82" fmla="*/ 30 w 99"/>
                  <a:gd name="T83" fmla="*/ 61 h 80"/>
                  <a:gd name="T84" fmla="*/ 31 w 99"/>
                  <a:gd name="T85" fmla="*/ 66 h 80"/>
                  <a:gd name="T86" fmla="*/ 38 w 99"/>
                  <a:gd name="T87" fmla="*/ 63 h 80"/>
                  <a:gd name="T88" fmla="*/ 45 w 99"/>
                  <a:gd name="T89" fmla="*/ 56 h 80"/>
                  <a:gd name="T90" fmla="*/ 58 w 99"/>
                  <a:gd name="T91" fmla="*/ 50 h 80"/>
                  <a:gd name="T92" fmla="*/ 63 w 99"/>
                  <a:gd name="T93" fmla="*/ 58 h 80"/>
                  <a:gd name="T94" fmla="*/ 59 w 99"/>
                  <a:gd name="T95" fmla="*/ 61 h 80"/>
                  <a:gd name="T96" fmla="*/ 63 w 99"/>
                  <a:gd name="T97" fmla="*/ 64 h 80"/>
                  <a:gd name="T98" fmla="*/ 59 w 99"/>
                  <a:gd name="T99" fmla="*/ 67 h 80"/>
                  <a:gd name="T100" fmla="*/ 58 w 99"/>
                  <a:gd name="T101" fmla="*/ 69 h 80"/>
                  <a:gd name="T102" fmla="*/ 63 w 99"/>
                  <a:gd name="T103" fmla="*/ 74 h 80"/>
                  <a:gd name="T104" fmla="*/ 64 w 99"/>
                  <a:gd name="T105" fmla="*/ 75 h 80"/>
                  <a:gd name="T106" fmla="*/ 72 w 99"/>
                  <a:gd name="T107" fmla="*/ 78 h 80"/>
                  <a:gd name="T108" fmla="*/ 75 w 99"/>
                  <a:gd name="T109" fmla="*/ 63 h 80"/>
                  <a:gd name="T110" fmla="*/ 78 w 99"/>
                  <a:gd name="T111" fmla="*/ 64 h 80"/>
                  <a:gd name="T112" fmla="*/ 81 w 99"/>
                  <a:gd name="T113" fmla="*/ 55 h 80"/>
                  <a:gd name="T114" fmla="*/ 86 w 99"/>
                  <a:gd name="T115" fmla="*/ 38 h 80"/>
                  <a:gd name="T116" fmla="*/ 99 w 99"/>
                  <a:gd name="T117" fmla="*/ 34 h 80"/>
                  <a:gd name="T118" fmla="*/ 14 w 99"/>
                  <a:gd name="T11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80">
                    <a:moveTo>
                      <a:pt x="24" y="67"/>
                    </a:moveTo>
                    <a:lnTo>
                      <a:pt x="24" y="66"/>
                    </a:lnTo>
                    <a:lnTo>
                      <a:pt x="22" y="63"/>
                    </a:lnTo>
                    <a:lnTo>
                      <a:pt x="22" y="61"/>
                    </a:lnTo>
                    <a:lnTo>
                      <a:pt x="20" y="59"/>
                    </a:lnTo>
                    <a:lnTo>
                      <a:pt x="19" y="58"/>
                    </a:lnTo>
                    <a:lnTo>
                      <a:pt x="19" y="58"/>
                    </a:lnTo>
                    <a:lnTo>
                      <a:pt x="19" y="56"/>
                    </a:lnTo>
                    <a:lnTo>
                      <a:pt x="19" y="55"/>
                    </a:lnTo>
                    <a:lnTo>
                      <a:pt x="19" y="53"/>
                    </a:lnTo>
                    <a:lnTo>
                      <a:pt x="17" y="53"/>
                    </a:lnTo>
                    <a:lnTo>
                      <a:pt x="17" y="53"/>
                    </a:lnTo>
                    <a:lnTo>
                      <a:pt x="16" y="53"/>
                    </a:lnTo>
                    <a:lnTo>
                      <a:pt x="13" y="55"/>
                    </a:lnTo>
                    <a:lnTo>
                      <a:pt x="11" y="55"/>
                    </a:lnTo>
                    <a:lnTo>
                      <a:pt x="9" y="53"/>
                    </a:lnTo>
                    <a:lnTo>
                      <a:pt x="9" y="53"/>
                    </a:lnTo>
                    <a:lnTo>
                      <a:pt x="8" y="53"/>
                    </a:lnTo>
                    <a:lnTo>
                      <a:pt x="8" y="53"/>
                    </a:lnTo>
                    <a:lnTo>
                      <a:pt x="8" y="52"/>
                    </a:lnTo>
                    <a:lnTo>
                      <a:pt x="6" y="50"/>
                    </a:lnTo>
                    <a:lnTo>
                      <a:pt x="6" y="50"/>
                    </a:lnTo>
                    <a:lnTo>
                      <a:pt x="6" y="49"/>
                    </a:lnTo>
                    <a:lnTo>
                      <a:pt x="5" y="49"/>
                    </a:lnTo>
                    <a:lnTo>
                      <a:pt x="2" y="50"/>
                    </a:lnTo>
                    <a:lnTo>
                      <a:pt x="0" y="50"/>
                    </a:lnTo>
                    <a:lnTo>
                      <a:pt x="0" y="50"/>
                    </a:lnTo>
                    <a:lnTo>
                      <a:pt x="0" y="50"/>
                    </a:lnTo>
                    <a:lnTo>
                      <a:pt x="0" y="50"/>
                    </a:lnTo>
                    <a:lnTo>
                      <a:pt x="2" y="50"/>
                    </a:lnTo>
                    <a:lnTo>
                      <a:pt x="2" y="52"/>
                    </a:lnTo>
                    <a:lnTo>
                      <a:pt x="2" y="52"/>
                    </a:lnTo>
                    <a:lnTo>
                      <a:pt x="5" y="56"/>
                    </a:lnTo>
                    <a:lnTo>
                      <a:pt x="6" y="58"/>
                    </a:lnTo>
                    <a:lnTo>
                      <a:pt x="6" y="59"/>
                    </a:lnTo>
                    <a:lnTo>
                      <a:pt x="8" y="61"/>
                    </a:lnTo>
                    <a:lnTo>
                      <a:pt x="8" y="61"/>
                    </a:lnTo>
                    <a:lnTo>
                      <a:pt x="9" y="61"/>
                    </a:lnTo>
                    <a:lnTo>
                      <a:pt x="11" y="63"/>
                    </a:lnTo>
                    <a:lnTo>
                      <a:pt x="11" y="64"/>
                    </a:lnTo>
                    <a:lnTo>
                      <a:pt x="11" y="64"/>
                    </a:lnTo>
                    <a:lnTo>
                      <a:pt x="13" y="66"/>
                    </a:lnTo>
                    <a:lnTo>
                      <a:pt x="14" y="67"/>
                    </a:lnTo>
                    <a:lnTo>
                      <a:pt x="20" y="69"/>
                    </a:lnTo>
                    <a:lnTo>
                      <a:pt x="24" y="69"/>
                    </a:lnTo>
                    <a:lnTo>
                      <a:pt x="24" y="67"/>
                    </a:lnTo>
                    <a:close/>
                    <a:moveTo>
                      <a:pt x="5" y="19"/>
                    </a:moveTo>
                    <a:lnTo>
                      <a:pt x="5" y="19"/>
                    </a:lnTo>
                    <a:lnTo>
                      <a:pt x="5" y="19"/>
                    </a:lnTo>
                    <a:lnTo>
                      <a:pt x="5" y="19"/>
                    </a:lnTo>
                    <a:lnTo>
                      <a:pt x="5" y="20"/>
                    </a:lnTo>
                    <a:lnTo>
                      <a:pt x="5" y="20"/>
                    </a:lnTo>
                    <a:lnTo>
                      <a:pt x="5" y="20"/>
                    </a:lnTo>
                    <a:lnTo>
                      <a:pt x="5" y="19"/>
                    </a:lnTo>
                    <a:lnTo>
                      <a:pt x="5" y="19"/>
                    </a:lnTo>
                    <a:close/>
                    <a:moveTo>
                      <a:pt x="99" y="34"/>
                    </a:moveTo>
                    <a:lnTo>
                      <a:pt x="97" y="33"/>
                    </a:lnTo>
                    <a:lnTo>
                      <a:pt x="95" y="31"/>
                    </a:lnTo>
                    <a:lnTo>
                      <a:pt x="94" y="31"/>
                    </a:lnTo>
                    <a:lnTo>
                      <a:pt x="92" y="30"/>
                    </a:lnTo>
                    <a:lnTo>
                      <a:pt x="89" y="30"/>
                    </a:lnTo>
                    <a:lnTo>
                      <a:pt x="89" y="30"/>
                    </a:lnTo>
                    <a:lnTo>
                      <a:pt x="88" y="30"/>
                    </a:lnTo>
                    <a:lnTo>
                      <a:pt x="85" y="27"/>
                    </a:lnTo>
                    <a:lnTo>
                      <a:pt x="83" y="25"/>
                    </a:lnTo>
                    <a:lnTo>
                      <a:pt x="78" y="20"/>
                    </a:lnTo>
                    <a:lnTo>
                      <a:pt x="78" y="17"/>
                    </a:lnTo>
                    <a:lnTo>
                      <a:pt x="77" y="16"/>
                    </a:lnTo>
                    <a:lnTo>
                      <a:pt x="77" y="14"/>
                    </a:lnTo>
                    <a:lnTo>
                      <a:pt x="75" y="11"/>
                    </a:lnTo>
                    <a:lnTo>
                      <a:pt x="72" y="6"/>
                    </a:lnTo>
                    <a:lnTo>
                      <a:pt x="69" y="2"/>
                    </a:lnTo>
                    <a:lnTo>
                      <a:pt x="67" y="0"/>
                    </a:lnTo>
                    <a:lnTo>
                      <a:pt x="67" y="0"/>
                    </a:lnTo>
                    <a:lnTo>
                      <a:pt x="66" y="2"/>
                    </a:lnTo>
                    <a:lnTo>
                      <a:pt x="64" y="5"/>
                    </a:lnTo>
                    <a:lnTo>
                      <a:pt x="64" y="6"/>
                    </a:lnTo>
                    <a:lnTo>
                      <a:pt x="63" y="8"/>
                    </a:lnTo>
                    <a:lnTo>
                      <a:pt x="59" y="9"/>
                    </a:lnTo>
                    <a:lnTo>
                      <a:pt x="58" y="9"/>
                    </a:lnTo>
                    <a:lnTo>
                      <a:pt x="58" y="9"/>
                    </a:lnTo>
                    <a:lnTo>
                      <a:pt x="56" y="13"/>
                    </a:lnTo>
                    <a:lnTo>
                      <a:pt x="55" y="16"/>
                    </a:lnTo>
                    <a:lnTo>
                      <a:pt x="53" y="16"/>
                    </a:lnTo>
                    <a:lnTo>
                      <a:pt x="50" y="16"/>
                    </a:lnTo>
                    <a:lnTo>
                      <a:pt x="49" y="16"/>
                    </a:lnTo>
                    <a:lnTo>
                      <a:pt x="45" y="14"/>
                    </a:lnTo>
                    <a:lnTo>
                      <a:pt x="44" y="13"/>
                    </a:lnTo>
                    <a:lnTo>
                      <a:pt x="44" y="9"/>
                    </a:lnTo>
                    <a:lnTo>
                      <a:pt x="42" y="8"/>
                    </a:lnTo>
                    <a:lnTo>
                      <a:pt x="42" y="8"/>
                    </a:lnTo>
                    <a:lnTo>
                      <a:pt x="41" y="8"/>
                    </a:lnTo>
                    <a:lnTo>
                      <a:pt x="41" y="6"/>
                    </a:lnTo>
                    <a:lnTo>
                      <a:pt x="39" y="6"/>
                    </a:lnTo>
                    <a:lnTo>
                      <a:pt x="39" y="5"/>
                    </a:lnTo>
                    <a:lnTo>
                      <a:pt x="39" y="5"/>
                    </a:lnTo>
                    <a:lnTo>
                      <a:pt x="38" y="3"/>
                    </a:lnTo>
                    <a:lnTo>
                      <a:pt x="36" y="3"/>
                    </a:lnTo>
                    <a:lnTo>
                      <a:pt x="36" y="3"/>
                    </a:lnTo>
                    <a:lnTo>
                      <a:pt x="36" y="2"/>
                    </a:lnTo>
                    <a:lnTo>
                      <a:pt x="36" y="2"/>
                    </a:lnTo>
                    <a:lnTo>
                      <a:pt x="36" y="2"/>
                    </a:lnTo>
                    <a:lnTo>
                      <a:pt x="34" y="2"/>
                    </a:lnTo>
                    <a:lnTo>
                      <a:pt x="34" y="2"/>
                    </a:lnTo>
                    <a:lnTo>
                      <a:pt x="33" y="2"/>
                    </a:lnTo>
                    <a:lnTo>
                      <a:pt x="33" y="2"/>
                    </a:lnTo>
                    <a:lnTo>
                      <a:pt x="31" y="2"/>
                    </a:lnTo>
                    <a:lnTo>
                      <a:pt x="31" y="0"/>
                    </a:lnTo>
                    <a:lnTo>
                      <a:pt x="31" y="0"/>
                    </a:lnTo>
                    <a:lnTo>
                      <a:pt x="30" y="0"/>
                    </a:lnTo>
                    <a:lnTo>
                      <a:pt x="30" y="0"/>
                    </a:lnTo>
                    <a:lnTo>
                      <a:pt x="30" y="0"/>
                    </a:lnTo>
                    <a:lnTo>
                      <a:pt x="30" y="0"/>
                    </a:lnTo>
                    <a:lnTo>
                      <a:pt x="28" y="2"/>
                    </a:lnTo>
                    <a:lnTo>
                      <a:pt x="28" y="3"/>
                    </a:lnTo>
                    <a:lnTo>
                      <a:pt x="27" y="3"/>
                    </a:lnTo>
                    <a:lnTo>
                      <a:pt x="25" y="3"/>
                    </a:lnTo>
                    <a:lnTo>
                      <a:pt x="25" y="3"/>
                    </a:lnTo>
                    <a:lnTo>
                      <a:pt x="25" y="5"/>
                    </a:lnTo>
                    <a:lnTo>
                      <a:pt x="25" y="5"/>
                    </a:lnTo>
                    <a:lnTo>
                      <a:pt x="25" y="6"/>
                    </a:lnTo>
                    <a:lnTo>
                      <a:pt x="25" y="6"/>
                    </a:lnTo>
                    <a:lnTo>
                      <a:pt x="27" y="6"/>
                    </a:lnTo>
                    <a:lnTo>
                      <a:pt x="28" y="8"/>
                    </a:lnTo>
                    <a:lnTo>
                      <a:pt x="30" y="9"/>
                    </a:lnTo>
                    <a:lnTo>
                      <a:pt x="31" y="11"/>
                    </a:lnTo>
                    <a:lnTo>
                      <a:pt x="33" y="13"/>
                    </a:lnTo>
                    <a:lnTo>
                      <a:pt x="33" y="13"/>
                    </a:lnTo>
                    <a:lnTo>
                      <a:pt x="34" y="14"/>
                    </a:lnTo>
                    <a:lnTo>
                      <a:pt x="34" y="14"/>
                    </a:lnTo>
                    <a:lnTo>
                      <a:pt x="34" y="14"/>
                    </a:lnTo>
                    <a:lnTo>
                      <a:pt x="33" y="17"/>
                    </a:lnTo>
                    <a:lnTo>
                      <a:pt x="31" y="19"/>
                    </a:lnTo>
                    <a:lnTo>
                      <a:pt x="30" y="19"/>
                    </a:lnTo>
                    <a:lnTo>
                      <a:pt x="30" y="19"/>
                    </a:lnTo>
                    <a:lnTo>
                      <a:pt x="28" y="19"/>
                    </a:lnTo>
                    <a:lnTo>
                      <a:pt x="27" y="17"/>
                    </a:lnTo>
                    <a:lnTo>
                      <a:pt x="25" y="16"/>
                    </a:lnTo>
                    <a:lnTo>
                      <a:pt x="24" y="16"/>
                    </a:lnTo>
                    <a:lnTo>
                      <a:pt x="24" y="17"/>
                    </a:lnTo>
                    <a:lnTo>
                      <a:pt x="20" y="16"/>
                    </a:lnTo>
                    <a:lnTo>
                      <a:pt x="19" y="16"/>
                    </a:lnTo>
                    <a:lnTo>
                      <a:pt x="17" y="14"/>
                    </a:lnTo>
                    <a:lnTo>
                      <a:pt x="17" y="14"/>
                    </a:lnTo>
                    <a:lnTo>
                      <a:pt x="17" y="13"/>
                    </a:lnTo>
                    <a:lnTo>
                      <a:pt x="17" y="13"/>
                    </a:lnTo>
                    <a:lnTo>
                      <a:pt x="13" y="11"/>
                    </a:lnTo>
                    <a:lnTo>
                      <a:pt x="9" y="9"/>
                    </a:lnTo>
                    <a:lnTo>
                      <a:pt x="8" y="11"/>
                    </a:lnTo>
                    <a:lnTo>
                      <a:pt x="5" y="14"/>
                    </a:lnTo>
                    <a:lnTo>
                      <a:pt x="5" y="14"/>
                    </a:lnTo>
                    <a:lnTo>
                      <a:pt x="6" y="16"/>
                    </a:lnTo>
                    <a:lnTo>
                      <a:pt x="8" y="16"/>
                    </a:lnTo>
                    <a:lnTo>
                      <a:pt x="8" y="17"/>
                    </a:lnTo>
                    <a:lnTo>
                      <a:pt x="8" y="17"/>
                    </a:lnTo>
                    <a:lnTo>
                      <a:pt x="8" y="17"/>
                    </a:lnTo>
                    <a:lnTo>
                      <a:pt x="8" y="17"/>
                    </a:lnTo>
                    <a:lnTo>
                      <a:pt x="6" y="19"/>
                    </a:lnTo>
                    <a:lnTo>
                      <a:pt x="6" y="19"/>
                    </a:lnTo>
                    <a:lnTo>
                      <a:pt x="6" y="19"/>
                    </a:lnTo>
                    <a:lnTo>
                      <a:pt x="6" y="19"/>
                    </a:lnTo>
                    <a:lnTo>
                      <a:pt x="6" y="19"/>
                    </a:lnTo>
                    <a:lnTo>
                      <a:pt x="9" y="20"/>
                    </a:lnTo>
                    <a:lnTo>
                      <a:pt x="11" y="20"/>
                    </a:lnTo>
                    <a:lnTo>
                      <a:pt x="13" y="20"/>
                    </a:lnTo>
                    <a:lnTo>
                      <a:pt x="13" y="22"/>
                    </a:lnTo>
                    <a:lnTo>
                      <a:pt x="14" y="23"/>
                    </a:lnTo>
                    <a:lnTo>
                      <a:pt x="16" y="23"/>
                    </a:lnTo>
                    <a:lnTo>
                      <a:pt x="16" y="25"/>
                    </a:lnTo>
                    <a:lnTo>
                      <a:pt x="14" y="25"/>
                    </a:lnTo>
                    <a:lnTo>
                      <a:pt x="11" y="27"/>
                    </a:lnTo>
                    <a:lnTo>
                      <a:pt x="11" y="28"/>
                    </a:lnTo>
                    <a:lnTo>
                      <a:pt x="11" y="28"/>
                    </a:lnTo>
                    <a:lnTo>
                      <a:pt x="11" y="28"/>
                    </a:lnTo>
                    <a:lnTo>
                      <a:pt x="13" y="31"/>
                    </a:lnTo>
                    <a:lnTo>
                      <a:pt x="14" y="34"/>
                    </a:lnTo>
                    <a:lnTo>
                      <a:pt x="17" y="36"/>
                    </a:lnTo>
                    <a:lnTo>
                      <a:pt x="22" y="38"/>
                    </a:lnTo>
                    <a:lnTo>
                      <a:pt x="22" y="39"/>
                    </a:lnTo>
                    <a:lnTo>
                      <a:pt x="22" y="39"/>
                    </a:lnTo>
                    <a:lnTo>
                      <a:pt x="20" y="41"/>
                    </a:lnTo>
                    <a:lnTo>
                      <a:pt x="20" y="42"/>
                    </a:lnTo>
                    <a:lnTo>
                      <a:pt x="20" y="42"/>
                    </a:lnTo>
                    <a:lnTo>
                      <a:pt x="20" y="44"/>
                    </a:lnTo>
                    <a:lnTo>
                      <a:pt x="16" y="44"/>
                    </a:lnTo>
                    <a:lnTo>
                      <a:pt x="16" y="44"/>
                    </a:lnTo>
                    <a:lnTo>
                      <a:pt x="14" y="44"/>
                    </a:lnTo>
                    <a:lnTo>
                      <a:pt x="14" y="44"/>
                    </a:lnTo>
                    <a:lnTo>
                      <a:pt x="16" y="44"/>
                    </a:lnTo>
                    <a:lnTo>
                      <a:pt x="19" y="45"/>
                    </a:lnTo>
                    <a:lnTo>
                      <a:pt x="19" y="45"/>
                    </a:lnTo>
                    <a:lnTo>
                      <a:pt x="20" y="49"/>
                    </a:lnTo>
                    <a:lnTo>
                      <a:pt x="22" y="49"/>
                    </a:lnTo>
                    <a:lnTo>
                      <a:pt x="22" y="50"/>
                    </a:lnTo>
                    <a:lnTo>
                      <a:pt x="24" y="52"/>
                    </a:lnTo>
                    <a:lnTo>
                      <a:pt x="25" y="53"/>
                    </a:lnTo>
                    <a:lnTo>
                      <a:pt x="28" y="52"/>
                    </a:lnTo>
                    <a:lnTo>
                      <a:pt x="31" y="53"/>
                    </a:lnTo>
                    <a:lnTo>
                      <a:pt x="31" y="55"/>
                    </a:lnTo>
                    <a:lnTo>
                      <a:pt x="31" y="55"/>
                    </a:lnTo>
                    <a:lnTo>
                      <a:pt x="28" y="56"/>
                    </a:lnTo>
                    <a:lnTo>
                      <a:pt x="28" y="56"/>
                    </a:lnTo>
                    <a:lnTo>
                      <a:pt x="28" y="56"/>
                    </a:lnTo>
                    <a:lnTo>
                      <a:pt x="28" y="58"/>
                    </a:lnTo>
                    <a:lnTo>
                      <a:pt x="30" y="58"/>
                    </a:lnTo>
                    <a:lnTo>
                      <a:pt x="31" y="59"/>
                    </a:lnTo>
                    <a:lnTo>
                      <a:pt x="33" y="61"/>
                    </a:lnTo>
                    <a:lnTo>
                      <a:pt x="31" y="61"/>
                    </a:lnTo>
                    <a:lnTo>
                      <a:pt x="31" y="61"/>
                    </a:lnTo>
                    <a:lnTo>
                      <a:pt x="30" y="61"/>
                    </a:lnTo>
                    <a:lnTo>
                      <a:pt x="30" y="61"/>
                    </a:lnTo>
                    <a:lnTo>
                      <a:pt x="30" y="63"/>
                    </a:lnTo>
                    <a:lnTo>
                      <a:pt x="31" y="64"/>
                    </a:lnTo>
                    <a:lnTo>
                      <a:pt x="31" y="64"/>
                    </a:lnTo>
                    <a:lnTo>
                      <a:pt x="31" y="66"/>
                    </a:lnTo>
                    <a:lnTo>
                      <a:pt x="31" y="69"/>
                    </a:lnTo>
                    <a:lnTo>
                      <a:pt x="31" y="69"/>
                    </a:lnTo>
                    <a:lnTo>
                      <a:pt x="36" y="64"/>
                    </a:lnTo>
                    <a:lnTo>
                      <a:pt x="38" y="63"/>
                    </a:lnTo>
                    <a:lnTo>
                      <a:pt x="38" y="63"/>
                    </a:lnTo>
                    <a:lnTo>
                      <a:pt x="39" y="63"/>
                    </a:lnTo>
                    <a:lnTo>
                      <a:pt x="41" y="61"/>
                    </a:lnTo>
                    <a:lnTo>
                      <a:pt x="41" y="61"/>
                    </a:lnTo>
                    <a:lnTo>
                      <a:pt x="44" y="58"/>
                    </a:lnTo>
                    <a:lnTo>
                      <a:pt x="45" y="56"/>
                    </a:lnTo>
                    <a:lnTo>
                      <a:pt x="49" y="55"/>
                    </a:lnTo>
                    <a:lnTo>
                      <a:pt x="50" y="53"/>
                    </a:lnTo>
                    <a:lnTo>
                      <a:pt x="53" y="52"/>
                    </a:lnTo>
                    <a:lnTo>
                      <a:pt x="55" y="50"/>
                    </a:lnTo>
                    <a:lnTo>
                      <a:pt x="58" y="50"/>
                    </a:lnTo>
                    <a:lnTo>
                      <a:pt x="58" y="50"/>
                    </a:lnTo>
                    <a:lnTo>
                      <a:pt x="59" y="53"/>
                    </a:lnTo>
                    <a:lnTo>
                      <a:pt x="63" y="56"/>
                    </a:lnTo>
                    <a:lnTo>
                      <a:pt x="63" y="56"/>
                    </a:lnTo>
                    <a:lnTo>
                      <a:pt x="63" y="58"/>
                    </a:lnTo>
                    <a:lnTo>
                      <a:pt x="59" y="59"/>
                    </a:lnTo>
                    <a:lnTo>
                      <a:pt x="59" y="59"/>
                    </a:lnTo>
                    <a:lnTo>
                      <a:pt x="59" y="59"/>
                    </a:lnTo>
                    <a:lnTo>
                      <a:pt x="59" y="61"/>
                    </a:lnTo>
                    <a:lnTo>
                      <a:pt x="59" y="61"/>
                    </a:lnTo>
                    <a:lnTo>
                      <a:pt x="59" y="63"/>
                    </a:lnTo>
                    <a:lnTo>
                      <a:pt x="59" y="63"/>
                    </a:lnTo>
                    <a:lnTo>
                      <a:pt x="61" y="63"/>
                    </a:lnTo>
                    <a:lnTo>
                      <a:pt x="63" y="64"/>
                    </a:lnTo>
                    <a:lnTo>
                      <a:pt x="63" y="64"/>
                    </a:lnTo>
                    <a:lnTo>
                      <a:pt x="63" y="64"/>
                    </a:lnTo>
                    <a:lnTo>
                      <a:pt x="63" y="66"/>
                    </a:lnTo>
                    <a:lnTo>
                      <a:pt x="63" y="66"/>
                    </a:lnTo>
                    <a:lnTo>
                      <a:pt x="61" y="67"/>
                    </a:lnTo>
                    <a:lnTo>
                      <a:pt x="59" y="67"/>
                    </a:lnTo>
                    <a:lnTo>
                      <a:pt x="58" y="67"/>
                    </a:lnTo>
                    <a:lnTo>
                      <a:pt x="58" y="67"/>
                    </a:lnTo>
                    <a:lnTo>
                      <a:pt x="58" y="69"/>
                    </a:lnTo>
                    <a:lnTo>
                      <a:pt x="58" y="69"/>
                    </a:lnTo>
                    <a:lnTo>
                      <a:pt x="58" y="69"/>
                    </a:lnTo>
                    <a:lnTo>
                      <a:pt x="58" y="69"/>
                    </a:lnTo>
                    <a:lnTo>
                      <a:pt x="58" y="70"/>
                    </a:lnTo>
                    <a:lnTo>
                      <a:pt x="61" y="72"/>
                    </a:lnTo>
                    <a:lnTo>
                      <a:pt x="61" y="74"/>
                    </a:lnTo>
                    <a:lnTo>
                      <a:pt x="63" y="74"/>
                    </a:lnTo>
                    <a:lnTo>
                      <a:pt x="63" y="74"/>
                    </a:lnTo>
                    <a:lnTo>
                      <a:pt x="63" y="75"/>
                    </a:lnTo>
                    <a:lnTo>
                      <a:pt x="64" y="75"/>
                    </a:lnTo>
                    <a:lnTo>
                      <a:pt x="64" y="75"/>
                    </a:lnTo>
                    <a:lnTo>
                      <a:pt x="64" y="75"/>
                    </a:lnTo>
                    <a:lnTo>
                      <a:pt x="67" y="80"/>
                    </a:lnTo>
                    <a:lnTo>
                      <a:pt x="67" y="80"/>
                    </a:lnTo>
                    <a:lnTo>
                      <a:pt x="69" y="80"/>
                    </a:lnTo>
                    <a:lnTo>
                      <a:pt x="72" y="78"/>
                    </a:lnTo>
                    <a:lnTo>
                      <a:pt x="72" y="78"/>
                    </a:lnTo>
                    <a:lnTo>
                      <a:pt x="72" y="70"/>
                    </a:lnTo>
                    <a:lnTo>
                      <a:pt x="72" y="70"/>
                    </a:lnTo>
                    <a:lnTo>
                      <a:pt x="74" y="67"/>
                    </a:lnTo>
                    <a:lnTo>
                      <a:pt x="74" y="64"/>
                    </a:lnTo>
                    <a:lnTo>
                      <a:pt x="75" y="63"/>
                    </a:lnTo>
                    <a:lnTo>
                      <a:pt x="77" y="64"/>
                    </a:lnTo>
                    <a:lnTo>
                      <a:pt x="77" y="66"/>
                    </a:lnTo>
                    <a:lnTo>
                      <a:pt x="77" y="66"/>
                    </a:lnTo>
                    <a:lnTo>
                      <a:pt x="78" y="66"/>
                    </a:lnTo>
                    <a:lnTo>
                      <a:pt x="78" y="64"/>
                    </a:lnTo>
                    <a:lnTo>
                      <a:pt x="80" y="59"/>
                    </a:lnTo>
                    <a:lnTo>
                      <a:pt x="80" y="58"/>
                    </a:lnTo>
                    <a:lnTo>
                      <a:pt x="81" y="58"/>
                    </a:lnTo>
                    <a:lnTo>
                      <a:pt x="81" y="56"/>
                    </a:lnTo>
                    <a:lnTo>
                      <a:pt x="81" y="55"/>
                    </a:lnTo>
                    <a:lnTo>
                      <a:pt x="81" y="52"/>
                    </a:lnTo>
                    <a:lnTo>
                      <a:pt x="83" y="47"/>
                    </a:lnTo>
                    <a:lnTo>
                      <a:pt x="83" y="41"/>
                    </a:lnTo>
                    <a:lnTo>
                      <a:pt x="85" y="39"/>
                    </a:lnTo>
                    <a:lnTo>
                      <a:pt x="86" y="38"/>
                    </a:lnTo>
                    <a:lnTo>
                      <a:pt x="89" y="38"/>
                    </a:lnTo>
                    <a:lnTo>
                      <a:pt x="91" y="36"/>
                    </a:lnTo>
                    <a:lnTo>
                      <a:pt x="95" y="36"/>
                    </a:lnTo>
                    <a:lnTo>
                      <a:pt x="99" y="38"/>
                    </a:lnTo>
                    <a:lnTo>
                      <a:pt x="99" y="34"/>
                    </a:lnTo>
                    <a:close/>
                    <a:moveTo>
                      <a:pt x="14" y="30"/>
                    </a:moveTo>
                    <a:lnTo>
                      <a:pt x="14" y="30"/>
                    </a:lnTo>
                    <a:lnTo>
                      <a:pt x="13" y="30"/>
                    </a:lnTo>
                    <a:lnTo>
                      <a:pt x="13" y="28"/>
                    </a:lnTo>
                    <a:lnTo>
                      <a:pt x="14" y="28"/>
                    </a:lnTo>
                    <a:lnTo>
                      <a:pt x="14" y="28"/>
                    </a:lnTo>
                    <a:lnTo>
                      <a:pt x="14" y="28"/>
                    </a:lnTo>
                    <a:lnTo>
                      <a:pt x="14" y="3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2" name="Freeform 19">
                <a:extLst>
                  <a:ext uri="{FF2B5EF4-FFF2-40B4-BE49-F238E27FC236}">
                    <a16:creationId xmlns:a16="http://schemas.microsoft.com/office/drawing/2014/main" id="{D412C6C5-4BFA-C707-A350-3117F65DE53C}"/>
                  </a:ext>
                </a:extLst>
              </p:cNvPr>
              <p:cNvSpPr>
                <a:spLocks/>
              </p:cNvSpPr>
              <p:nvPr/>
            </p:nvSpPr>
            <p:spPr bwMode="gray">
              <a:xfrm>
                <a:off x="2950" y="687"/>
                <a:ext cx="69" cy="67"/>
              </a:xfrm>
              <a:custGeom>
                <a:avLst/>
                <a:gdLst>
                  <a:gd name="T0" fmla="*/ 27 w 69"/>
                  <a:gd name="T1" fmla="*/ 3 h 67"/>
                  <a:gd name="T2" fmla="*/ 32 w 69"/>
                  <a:gd name="T3" fmla="*/ 5 h 67"/>
                  <a:gd name="T4" fmla="*/ 35 w 69"/>
                  <a:gd name="T5" fmla="*/ 3 h 67"/>
                  <a:gd name="T6" fmla="*/ 38 w 69"/>
                  <a:gd name="T7" fmla="*/ 6 h 67"/>
                  <a:gd name="T8" fmla="*/ 43 w 69"/>
                  <a:gd name="T9" fmla="*/ 5 h 67"/>
                  <a:gd name="T10" fmla="*/ 47 w 69"/>
                  <a:gd name="T11" fmla="*/ 5 h 67"/>
                  <a:gd name="T12" fmla="*/ 52 w 69"/>
                  <a:gd name="T13" fmla="*/ 6 h 67"/>
                  <a:gd name="T14" fmla="*/ 55 w 69"/>
                  <a:gd name="T15" fmla="*/ 9 h 67"/>
                  <a:gd name="T16" fmla="*/ 57 w 69"/>
                  <a:gd name="T17" fmla="*/ 11 h 67"/>
                  <a:gd name="T18" fmla="*/ 61 w 69"/>
                  <a:gd name="T19" fmla="*/ 9 h 67"/>
                  <a:gd name="T20" fmla="*/ 64 w 69"/>
                  <a:gd name="T21" fmla="*/ 11 h 67"/>
                  <a:gd name="T22" fmla="*/ 63 w 69"/>
                  <a:gd name="T23" fmla="*/ 16 h 67"/>
                  <a:gd name="T24" fmla="*/ 61 w 69"/>
                  <a:gd name="T25" fmla="*/ 20 h 67"/>
                  <a:gd name="T26" fmla="*/ 61 w 69"/>
                  <a:gd name="T27" fmla="*/ 24 h 67"/>
                  <a:gd name="T28" fmla="*/ 64 w 69"/>
                  <a:gd name="T29" fmla="*/ 27 h 67"/>
                  <a:gd name="T30" fmla="*/ 69 w 69"/>
                  <a:gd name="T31" fmla="*/ 31 h 67"/>
                  <a:gd name="T32" fmla="*/ 66 w 69"/>
                  <a:gd name="T33" fmla="*/ 33 h 67"/>
                  <a:gd name="T34" fmla="*/ 63 w 69"/>
                  <a:gd name="T35" fmla="*/ 33 h 67"/>
                  <a:gd name="T36" fmla="*/ 64 w 69"/>
                  <a:gd name="T37" fmla="*/ 36 h 67"/>
                  <a:gd name="T38" fmla="*/ 66 w 69"/>
                  <a:gd name="T39" fmla="*/ 42 h 67"/>
                  <a:gd name="T40" fmla="*/ 64 w 69"/>
                  <a:gd name="T41" fmla="*/ 42 h 67"/>
                  <a:gd name="T42" fmla="*/ 61 w 69"/>
                  <a:gd name="T43" fmla="*/ 44 h 67"/>
                  <a:gd name="T44" fmla="*/ 60 w 69"/>
                  <a:gd name="T45" fmla="*/ 44 h 67"/>
                  <a:gd name="T46" fmla="*/ 58 w 69"/>
                  <a:gd name="T47" fmla="*/ 44 h 67"/>
                  <a:gd name="T48" fmla="*/ 60 w 69"/>
                  <a:gd name="T49" fmla="*/ 47 h 67"/>
                  <a:gd name="T50" fmla="*/ 57 w 69"/>
                  <a:gd name="T51" fmla="*/ 49 h 67"/>
                  <a:gd name="T52" fmla="*/ 54 w 69"/>
                  <a:gd name="T53" fmla="*/ 50 h 67"/>
                  <a:gd name="T54" fmla="*/ 52 w 69"/>
                  <a:gd name="T55" fmla="*/ 53 h 67"/>
                  <a:gd name="T56" fmla="*/ 49 w 69"/>
                  <a:gd name="T57" fmla="*/ 56 h 67"/>
                  <a:gd name="T58" fmla="*/ 49 w 69"/>
                  <a:gd name="T59" fmla="*/ 60 h 67"/>
                  <a:gd name="T60" fmla="*/ 50 w 69"/>
                  <a:gd name="T61" fmla="*/ 64 h 67"/>
                  <a:gd name="T62" fmla="*/ 49 w 69"/>
                  <a:gd name="T63" fmla="*/ 67 h 67"/>
                  <a:gd name="T64" fmla="*/ 46 w 69"/>
                  <a:gd name="T65" fmla="*/ 66 h 67"/>
                  <a:gd name="T66" fmla="*/ 39 w 69"/>
                  <a:gd name="T67" fmla="*/ 61 h 67"/>
                  <a:gd name="T68" fmla="*/ 36 w 69"/>
                  <a:gd name="T69" fmla="*/ 58 h 67"/>
                  <a:gd name="T70" fmla="*/ 35 w 69"/>
                  <a:gd name="T71" fmla="*/ 58 h 67"/>
                  <a:gd name="T72" fmla="*/ 35 w 69"/>
                  <a:gd name="T73" fmla="*/ 55 h 67"/>
                  <a:gd name="T74" fmla="*/ 29 w 69"/>
                  <a:gd name="T75" fmla="*/ 49 h 67"/>
                  <a:gd name="T76" fmla="*/ 25 w 69"/>
                  <a:gd name="T77" fmla="*/ 44 h 67"/>
                  <a:gd name="T78" fmla="*/ 18 w 69"/>
                  <a:gd name="T79" fmla="*/ 36 h 67"/>
                  <a:gd name="T80" fmla="*/ 13 w 69"/>
                  <a:gd name="T81" fmla="*/ 31 h 67"/>
                  <a:gd name="T82" fmla="*/ 8 w 69"/>
                  <a:gd name="T83" fmla="*/ 24 h 67"/>
                  <a:gd name="T84" fmla="*/ 7 w 69"/>
                  <a:gd name="T85" fmla="*/ 19 h 67"/>
                  <a:gd name="T86" fmla="*/ 0 w 69"/>
                  <a:gd name="T87" fmla="*/ 11 h 67"/>
                  <a:gd name="T88" fmla="*/ 2 w 69"/>
                  <a:gd name="T89" fmla="*/ 3 h 67"/>
                  <a:gd name="T90" fmla="*/ 7 w 69"/>
                  <a:gd name="T91" fmla="*/ 3 h 67"/>
                  <a:gd name="T92" fmla="*/ 11 w 69"/>
                  <a:gd name="T93" fmla="*/ 8 h 67"/>
                  <a:gd name="T94" fmla="*/ 14 w 69"/>
                  <a:gd name="T95"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 h="67">
                    <a:moveTo>
                      <a:pt x="22" y="0"/>
                    </a:moveTo>
                    <a:lnTo>
                      <a:pt x="25" y="3"/>
                    </a:lnTo>
                    <a:lnTo>
                      <a:pt x="27" y="3"/>
                    </a:lnTo>
                    <a:lnTo>
                      <a:pt x="29" y="3"/>
                    </a:lnTo>
                    <a:lnTo>
                      <a:pt x="29" y="3"/>
                    </a:lnTo>
                    <a:lnTo>
                      <a:pt x="32" y="5"/>
                    </a:lnTo>
                    <a:lnTo>
                      <a:pt x="32" y="5"/>
                    </a:lnTo>
                    <a:lnTo>
                      <a:pt x="33" y="5"/>
                    </a:lnTo>
                    <a:lnTo>
                      <a:pt x="35" y="3"/>
                    </a:lnTo>
                    <a:lnTo>
                      <a:pt x="35" y="3"/>
                    </a:lnTo>
                    <a:lnTo>
                      <a:pt x="38" y="6"/>
                    </a:lnTo>
                    <a:lnTo>
                      <a:pt x="38" y="6"/>
                    </a:lnTo>
                    <a:lnTo>
                      <a:pt x="39" y="5"/>
                    </a:lnTo>
                    <a:lnTo>
                      <a:pt x="41" y="5"/>
                    </a:lnTo>
                    <a:lnTo>
                      <a:pt x="43" y="5"/>
                    </a:lnTo>
                    <a:lnTo>
                      <a:pt x="44" y="5"/>
                    </a:lnTo>
                    <a:lnTo>
                      <a:pt x="46" y="5"/>
                    </a:lnTo>
                    <a:lnTo>
                      <a:pt x="47" y="5"/>
                    </a:lnTo>
                    <a:lnTo>
                      <a:pt x="49" y="5"/>
                    </a:lnTo>
                    <a:lnTo>
                      <a:pt x="49" y="5"/>
                    </a:lnTo>
                    <a:lnTo>
                      <a:pt x="52" y="6"/>
                    </a:lnTo>
                    <a:lnTo>
                      <a:pt x="54" y="6"/>
                    </a:lnTo>
                    <a:lnTo>
                      <a:pt x="55" y="8"/>
                    </a:lnTo>
                    <a:lnTo>
                      <a:pt x="55" y="9"/>
                    </a:lnTo>
                    <a:lnTo>
                      <a:pt x="55" y="9"/>
                    </a:lnTo>
                    <a:lnTo>
                      <a:pt x="55" y="11"/>
                    </a:lnTo>
                    <a:lnTo>
                      <a:pt x="57" y="11"/>
                    </a:lnTo>
                    <a:lnTo>
                      <a:pt x="58" y="11"/>
                    </a:lnTo>
                    <a:lnTo>
                      <a:pt x="60" y="11"/>
                    </a:lnTo>
                    <a:lnTo>
                      <a:pt x="61" y="9"/>
                    </a:lnTo>
                    <a:lnTo>
                      <a:pt x="63" y="9"/>
                    </a:lnTo>
                    <a:lnTo>
                      <a:pt x="64" y="9"/>
                    </a:lnTo>
                    <a:lnTo>
                      <a:pt x="64" y="11"/>
                    </a:lnTo>
                    <a:lnTo>
                      <a:pt x="64" y="11"/>
                    </a:lnTo>
                    <a:lnTo>
                      <a:pt x="64" y="13"/>
                    </a:lnTo>
                    <a:lnTo>
                      <a:pt x="63" y="16"/>
                    </a:lnTo>
                    <a:lnTo>
                      <a:pt x="63" y="17"/>
                    </a:lnTo>
                    <a:lnTo>
                      <a:pt x="61" y="19"/>
                    </a:lnTo>
                    <a:lnTo>
                      <a:pt x="61" y="20"/>
                    </a:lnTo>
                    <a:lnTo>
                      <a:pt x="61" y="22"/>
                    </a:lnTo>
                    <a:lnTo>
                      <a:pt x="60" y="24"/>
                    </a:lnTo>
                    <a:lnTo>
                      <a:pt x="61" y="24"/>
                    </a:lnTo>
                    <a:lnTo>
                      <a:pt x="61" y="25"/>
                    </a:lnTo>
                    <a:lnTo>
                      <a:pt x="63" y="25"/>
                    </a:lnTo>
                    <a:lnTo>
                      <a:pt x="64" y="27"/>
                    </a:lnTo>
                    <a:lnTo>
                      <a:pt x="66" y="28"/>
                    </a:lnTo>
                    <a:lnTo>
                      <a:pt x="68" y="30"/>
                    </a:lnTo>
                    <a:lnTo>
                      <a:pt x="69" y="31"/>
                    </a:lnTo>
                    <a:lnTo>
                      <a:pt x="69" y="31"/>
                    </a:lnTo>
                    <a:lnTo>
                      <a:pt x="68" y="33"/>
                    </a:lnTo>
                    <a:lnTo>
                      <a:pt x="66" y="33"/>
                    </a:lnTo>
                    <a:lnTo>
                      <a:pt x="64" y="33"/>
                    </a:lnTo>
                    <a:lnTo>
                      <a:pt x="64" y="33"/>
                    </a:lnTo>
                    <a:lnTo>
                      <a:pt x="63" y="33"/>
                    </a:lnTo>
                    <a:lnTo>
                      <a:pt x="63" y="33"/>
                    </a:lnTo>
                    <a:lnTo>
                      <a:pt x="63" y="33"/>
                    </a:lnTo>
                    <a:lnTo>
                      <a:pt x="64" y="36"/>
                    </a:lnTo>
                    <a:lnTo>
                      <a:pt x="68" y="39"/>
                    </a:lnTo>
                    <a:lnTo>
                      <a:pt x="68" y="41"/>
                    </a:lnTo>
                    <a:lnTo>
                      <a:pt x="66" y="42"/>
                    </a:lnTo>
                    <a:lnTo>
                      <a:pt x="66" y="42"/>
                    </a:lnTo>
                    <a:lnTo>
                      <a:pt x="66" y="42"/>
                    </a:lnTo>
                    <a:lnTo>
                      <a:pt x="64" y="42"/>
                    </a:lnTo>
                    <a:lnTo>
                      <a:pt x="63" y="42"/>
                    </a:lnTo>
                    <a:lnTo>
                      <a:pt x="63" y="42"/>
                    </a:lnTo>
                    <a:lnTo>
                      <a:pt x="61" y="44"/>
                    </a:lnTo>
                    <a:lnTo>
                      <a:pt x="61" y="44"/>
                    </a:lnTo>
                    <a:lnTo>
                      <a:pt x="60" y="44"/>
                    </a:lnTo>
                    <a:lnTo>
                      <a:pt x="60" y="44"/>
                    </a:lnTo>
                    <a:lnTo>
                      <a:pt x="58" y="44"/>
                    </a:lnTo>
                    <a:lnTo>
                      <a:pt x="58" y="44"/>
                    </a:lnTo>
                    <a:lnTo>
                      <a:pt x="58" y="44"/>
                    </a:lnTo>
                    <a:lnTo>
                      <a:pt x="57" y="44"/>
                    </a:lnTo>
                    <a:lnTo>
                      <a:pt x="58" y="45"/>
                    </a:lnTo>
                    <a:lnTo>
                      <a:pt x="60" y="47"/>
                    </a:lnTo>
                    <a:lnTo>
                      <a:pt x="58" y="49"/>
                    </a:lnTo>
                    <a:lnTo>
                      <a:pt x="58" y="50"/>
                    </a:lnTo>
                    <a:lnTo>
                      <a:pt x="57" y="49"/>
                    </a:lnTo>
                    <a:lnTo>
                      <a:pt x="57" y="49"/>
                    </a:lnTo>
                    <a:lnTo>
                      <a:pt x="55" y="49"/>
                    </a:lnTo>
                    <a:lnTo>
                      <a:pt x="54" y="50"/>
                    </a:lnTo>
                    <a:lnTo>
                      <a:pt x="52" y="50"/>
                    </a:lnTo>
                    <a:lnTo>
                      <a:pt x="52" y="52"/>
                    </a:lnTo>
                    <a:lnTo>
                      <a:pt x="52" y="53"/>
                    </a:lnTo>
                    <a:lnTo>
                      <a:pt x="52" y="53"/>
                    </a:lnTo>
                    <a:lnTo>
                      <a:pt x="52" y="56"/>
                    </a:lnTo>
                    <a:lnTo>
                      <a:pt x="49" y="56"/>
                    </a:lnTo>
                    <a:lnTo>
                      <a:pt x="49" y="56"/>
                    </a:lnTo>
                    <a:lnTo>
                      <a:pt x="49" y="56"/>
                    </a:lnTo>
                    <a:lnTo>
                      <a:pt x="49" y="60"/>
                    </a:lnTo>
                    <a:lnTo>
                      <a:pt x="49" y="61"/>
                    </a:lnTo>
                    <a:lnTo>
                      <a:pt x="50" y="64"/>
                    </a:lnTo>
                    <a:lnTo>
                      <a:pt x="50" y="64"/>
                    </a:lnTo>
                    <a:lnTo>
                      <a:pt x="50" y="66"/>
                    </a:lnTo>
                    <a:lnTo>
                      <a:pt x="49" y="66"/>
                    </a:lnTo>
                    <a:lnTo>
                      <a:pt x="49" y="67"/>
                    </a:lnTo>
                    <a:lnTo>
                      <a:pt x="49" y="67"/>
                    </a:lnTo>
                    <a:lnTo>
                      <a:pt x="47" y="66"/>
                    </a:lnTo>
                    <a:lnTo>
                      <a:pt x="46" y="66"/>
                    </a:lnTo>
                    <a:lnTo>
                      <a:pt x="43" y="64"/>
                    </a:lnTo>
                    <a:lnTo>
                      <a:pt x="41" y="63"/>
                    </a:lnTo>
                    <a:lnTo>
                      <a:pt x="39" y="61"/>
                    </a:lnTo>
                    <a:lnTo>
                      <a:pt x="38" y="60"/>
                    </a:lnTo>
                    <a:lnTo>
                      <a:pt x="38" y="58"/>
                    </a:lnTo>
                    <a:lnTo>
                      <a:pt x="36" y="58"/>
                    </a:lnTo>
                    <a:lnTo>
                      <a:pt x="35" y="60"/>
                    </a:lnTo>
                    <a:lnTo>
                      <a:pt x="33" y="58"/>
                    </a:lnTo>
                    <a:lnTo>
                      <a:pt x="35" y="58"/>
                    </a:lnTo>
                    <a:lnTo>
                      <a:pt x="35" y="56"/>
                    </a:lnTo>
                    <a:lnTo>
                      <a:pt x="35" y="56"/>
                    </a:lnTo>
                    <a:lnTo>
                      <a:pt x="35" y="55"/>
                    </a:lnTo>
                    <a:lnTo>
                      <a:pt x="30" y="52"/>
                    </a:lnTo>
                    <a:lnTo>
                      <a:pt x="29" y="49"/>
                    </a:lnTo>
                    <a:lnTo>
                      <a:pt x="29" y="49"/>
                    </a:lnTo>
                    <a:lnTo>
                      <a:pt x="29" y="45"/>
                    </a:lnTo>
                    <a:lnTo>
                      <a:pt x="27" y="45"/>
                    </a:lnTo>
                    <a:lnTo>
                      <a:pt x="25" y="44"/>
                    </a:lnTo>
                    <a:lnTo>
                      <a:pt x="22" y="41"/>
                    </a:lnTo>
                    <a:lnTo>
                      <a:pt x="18" y="38"/>
                    </a:lnTo>
                    <a:lnTo>
                      <a:pt x="18" y="36"/>
                    </a:lnTo>
                    <a:lnTo>
                      <a:pt x="16" y="34"/>
                    </a:lnTo>
                    <a:lnTo>
                      <a:pt x="14" y="31"/>
                    </a:lnTo>
                    <a:lnTo>
                      <a:pt x="13" y="31"/>
                    </a:lnTo>
                    <a:lnTo>
                      <a:pt x="11" y="30"/>
                    </a:lnTo>
                    <a:lnTo>
                      <a:pt x="10" y="27"/>
                    </a:lnTo>
                    <a:lnTo>
                      <a:pt x="8" y="24"/>
                    </a:lnTo>
                    <a:lnTo>
                      <a:pt x="8" y="20"/>
                    </a:lnTo>
                    <a:lnTo>
                      <a:pt x="8" y="19"/>
                    </a:lnTo>
                    <a:lnTo>
                      <a:pt x="7" y="19"/>
                    </a:lnTo>
                    <a:lnTo>
                      <a:pt x="3" y="16"/>
                    </a:lnTo>
                    <a:lnTo>
                      <a:pt x="0" y="14"/>
                    </a:lnTo>
                    <a:lnTo>
                      <a:pt x="0" y="11"/>
                    </a:lnTo>
                    <a:lnTo>
                      <a:pt x="2" y="8"/>
                    </a:lnTo>
                    <a:lnTo>
                      <a:pt x="2" y="3"/>
                    </a:lnTo>
                    <a:lnTo>
                      <a:pt x="2" y="3"/>
                    </a:lnTo>
                    <a:lnTo>
                      <a:pt x="3" y="2"/>
                    </a:lnTo>
                    <a:lnTo>
                      <a:pt x="5" y="2"/>
                    </a:lnTo>
                    <a:lnTo>
                      <a:pt x="7" y="3"/>
                    </a:lnTo>
                    <a:lnTo>
                      <a:pt x="8" y="6"/>
                    </a:lnTo>
                    <a:lnTo>
                      <a:pt x="10" y="6"/>
                    </a:lnTo>
                    <a:lnTo>
                      <a:pt x="11" y="8"/>
                    </a:lnTo>
                    <a:lnTo>
                      <a:pt x="13" y="6"/>
                    </a:lnTo>
                    <a:lnTo>
                      <a:pt x="14" y="3"/>
                    </a:lnTo>
                    <a:lnTo>
                      <a:pt x="14" y="2"/>
                    </a:lnTo>
                    <a:lnTo>
                      <a:pt x="19" y="3"/>
                    </a:lnTo>
                    <a:lnTo>
                      <a:pt x="22"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3" name="Freeform 20">
                <a:extLst>
                  <a:ext uri="{FF2B5EF4-FFF2-40B4-BE49-F238E27FC236}">
                    <a16:creationId xmlns:a16="http://schemas.microsoft.com/office/drawing/2014/main" id="{A852A660-E110-AF89-757A-6D640A36E4A6}"/>
                  </a:ext>
                </a:extLst>
              </p:cNvPr>
              <p:cNvSpPr>
                <a:spLocks/>
              </p:cNvSpPr>
              <p:nvPr/>
            </p:nvSpPr>
            <p:spPr bwMode="gray">
              <a:xfrm>
                <a:off x="1628" y="1343"/>
                <a:ext cx="4" cy="4"/>
              </a:xfrm>
              <a:custGeom>
                <a:avLst/>
                <a:gdLst>
                  <a:gd name="T0" fmla="*/ 3 w 4"/>
                  <a:gd name="T1" fmla="*/ 4 h 4"/>
                  <a:gd name="T2" fmla="*/ 3 w 4"/>
                  <a:gd name="T3" fmla="*/ 4 h 4"/>
                  <a:gd name="T4" fmla="*/ 1 w 4"/>
                  <a:gd name="T5" fmla="*/ 3 h 4"/>
                  <a:gd name="T6" fmla="*/ 0 w 4"/>
                  <a:gd name="T7" fmla="*/ 3 h 4"/>
                  <a:gd name="T8" fmla="*/ 0 w 4"/>
                  <a:gd name="T9" fmla="*/ 0 h 4"/>
                  <a:gd name="T10" fmla="*/ 1 w 4"/>
                  <a:gd name="T11" fmla="*/ 0 h 4"/>
                  <a:gd name="T12" fmla="*/ 3 w 4"/>
                  <a:gd name="T13" fmla="*/ 1 h 4"/>
                  <a:gd name="T14" fmla="*/ 4 w 4"/>
                  <a:gd name="T15" fmla="*/ 3 h 4"/>
                  <a:gd name="T16" fmla="*/ 3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3" y="4"/>
                    </a:moveTo>
                    <a:lnTo>
                      <a:pt x="3" y="4"/>
                    </a:lnTo>
                    <a:lnTo>
                      <a:pt x="1" y="3"/>
                    </a:lnTo>
                    <a:lnTo>
                      <a:pt x="0" y="3"/>
                    </a:lnTo>
                    <a:lnTo>
                      <a:pt x="0" y="0"/>
                    </a:lnTo>
                    <a:lnTo>
                      <a:pt x="1" y="0"/>
                    </a:lnTo>
                    <a:lnTo>
                      <a:pt x="3" y="1"/>
                    </a:lnTo>
                    <a:lnTo>
                      <a:pt x="4" y="3"/>
                    </a:lnTo>
                    <a:lnTo>
                      <a:pt x="3"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4" name="Freeform 21">
                <a:extLst>
                  <a:ext uri="{FF2B5EF4-FFF2-40B4-BE49-F238E27FC236}">
                    <a16:creationId xmlns:a16="http://schemas.microsoft.com/office/drawing/2014/main" id="{B74F0538-948B-CCBA-B16A-C74310511782}"/>
                  </a:ext>
                </a:extLst>
              </p:cNvPr>
              <p:cNvSpPr>
                <a:spLocks noEditPoints="1"/>
              </p:cNvSpPr>
              <p:nvPr/>
            </p:nvSpPr>
            <p:spPr bwMode="gray">
              <a:xfrm>
                <a:off x="4220" y="1095"/>
                <a:ext cx="81" cy="112"/>
              </a:xfrm>
              <a:custGeom>
                <a:avLst/>
                <a:gdLst>
                  <a:gd name="T0" fmla="*/ 67 w 81"/>
                  <a:gd name="T1" fmla="*/ 97 h 112"/>
                  <a:gd name="T2" fmla="*/ 67 w 81"/>
                  <a:gd name="T3" fmla="*/ 91 h 112"/>
                  <a:gd name="T4" fmla="*/ 53 w 81"/>
                  <a:gd name="T5" fmla="*/ 87 h 112"/>
                  <a:gd name="T6" fmla="*/ 59 w 81"/>
                  <a:gd name="T7" fmla="*/ 77 h 112"/>
                  <a:gd name="T8" fmla="*/ 47 w 81"/>
                  <a:gd name="T9" fmla="*/ 76 h 112"/>
                  <a:gd name="T10" fmla="*/ 44 w 81"/>
                  <a:gd name="T11" fmla="*/ 76 h 112"/>
                  <a:gd name="T12" fmla="*/ 48 w 81"/>
                  <a:gd name="T13" fmla="*/ 87 h 112"/>
                  <a:gd name="T14" fmla="*/ 44 w 81"/>
                  <a:gd name="T15" fmla="*/ 69 h 112"/>
                  <a:gd name="T16" fmla="*/ 80 w 81"/>
                  <a:gd name="T17" fmla="*/ 96 h 112"/>
                  <a:gd name="T18" fmla="*/ 78 w 81"/>
                  <a:gd name="T19" fmla="*/ 74 h 112"/>
                  <a:gd name="T20" fmla="*/ 75 w 81"/>
                  <a:gd name="T21" fmla="*/ 60 h 112"/>
                  <a:gd name="T22" fmla="*/ 69 w 81"/>
                  <a:gd name="T23" fmla="*/ 57 h 112"/>
                  <a:gd name="T24" fmla="*/ 66 w 81"/>
                  <a:gd name="T25" fmla="*/ 63 h 112"/>
                  <a:gd name="T26" fmla="*/ 62 w 81"/>
                  <a:gd name="T27" fmla="*/ 69 h 112"/>
                  <a:gd name="T28" fmla="*/ 58 w 81"/>
                  <a:gd name="T29" fmla="*/ 66 h 112"/>
                  <a:gd name="T30" fmla="*/ 55 w 81"/>
                  <a:gd name="T31" fmla="*/ 58 h 112"/>
                  <a:gd name="T32" fmla="*/ 59 w 81"/>
                  <a:gd name="T33" fmla="*/ 49 h 112"/>
                  <a:gd name="T34" fmla="*/ 66 w 81"/>
                  <a:gd name="T35" fmla="*/ 46 h 112"/>
                  <a:gd name="T36" fmla="*/ 70 w 81"/>
                  <a:gd name="T37" fmla="*/ 43 h 112"/>
                  <a:gd name="T38" fmla="*/ 73 w 81"/>
                  <a:gd name="T39" fmla="*/ 35 h 112"/>
                  <a:gd name="T40" fmla="*/ 78 w 81"/>
                  <a:gd name="T41" fmla="*/ 33 h 112"/>
                  <a:gd name="T42" fmla="*/ 61 w 81"/>
                  <a:gd name="T43" fmla="*/ 29 h 112"/>
                  <a:gd name="T44" fmla="*/ 42 w 81"/>
                  <a:gd name="T45" fmla="*/ 29 h 112"/>
                  <a:gd name="T46" fmla="*/ 31 w 81"/>
                  <a:gd name="T47" fmla="*/ 26 h 112"/>
                  <a:gd name="T48" fmla="*/ 28 w 81"/>
                  <a:gd name="T49" fmla="*/ 8 h 112"/>
                  <a:gd name="T50" fmla="*/ 25 w 81"/>
                  <a:gd name="T51" fmla="*/ 11 h 112"/>
                  <a:gd name="T52" fmla="*/ 19 w 81"/>
                  <a:gd name="T53" fmla="*/ 4 h 112"/>
                  <a:gd name="T54" fmla="*/ 17 w 81"/>
                  <a:gd name="T55" fmla="*/ 7 h 112"/>
                  <a:gd name="T56" fmla="*/ 11 w 81"/>
                  <a:gd name="T57" fmla="*/ 7 h 112"/>
                  <a:gd name="T58" fmla="*/ 6 w 81"/>
                  <a:gd name="T59" fmla="*/ 2 h 112"/>
                  <a:gd name="T60" fmla="*/ 6 w 81"/>
                  <a:gd name="T61" fmla="*/ 5 h 112"/>
                  <a:gd name="T62" fmla="*/ 2 w 81"/>
                  <a:gd name="T63" fmla="*/ 15 h 112"/>
                  <a:gd name="T64" fmla="*/ 8 w 81"/>
                  <a:gd name="T65" fmla="*/ 19 h 112"/>
                  <a:gd name="T66" fmla="*/ 16 w 81"/>
                  <a:gd name="T67" fmla="*/ 26 h 112"/>
                  <a:gd name="T68" fmla="*/ 9 w 81"/>
                  <a:gd name="T69" fmla="*/ 27 h 112"/>
                  <a:gd name="T70" fmla="*/ 0 w 81"/>
                  <a:gd name="T71" fmla="*/ 36 h 112"/>
                  <a:gd name="T72" fmla="*/ 5 w 81"/>
                  <a:gd name="T73" fmla="*/ 41 h 112"/>
                  <a:gd name="T74" fmla="*/ 12 w 81"/>
                  <a:gd name="T75" fmla="*/ 46 h 112"/>
                  <a:gd name="T76" fmla="*/ 9 w 81"/>
                  <a:gd name="T77" fmla="*/ 57 h 112"/>
                  <a:gd name="T78" fmla="*/ 12 w 81"/>
                  <a:gd name="T79" fmla="*/ 63 h 112"/>
                  <a:gd name="T80" fmla="*/ 14 w 81"/>
                  <a:gd name="T81" fmla="*/ 68 h 112"/>
                  <a:gd name="T82" fmla="*/ 17 w 81"/>
                  <a:gd name="T83" fmla="*/ 83 h 112"/>
                  <a:gd name="T84" fmla="*/ 22 w 81"/>
                  <a:gd name="T85" fmla="*/ 93 h 112"/>
                  <a:gd name="T86" fmla="*/ 25 w 81"/>
                  <a:gd name="T87" fmla="*/ 83 h 112"/>
                  <a:gd name="T88" fmla="*/ 31 w 81"/>
                  <a:gd name="T89" fmla="*/ 88 h 112"/>
                  <a:gd name="T90" fmla="*/ 33 w 81"/>
                  <a:gd name="T91" fmla="*/ 85 h 112"/>
                  <a:gd name="T92" fmla="*/ 36 w 81"/>
                  <a:gd name="T93" fmla="*/ 90 h 112"/>
                  <a:gd name="T94" fmla="*/ 44 w 81"/>
                  <a:gd name="T95" fmla="*/ 85 h 112"/>
                  <a:gd name="T96" fmla="*/ 44 w 81"/>
                  <a:gd name="T97" fmla="*/ 76 h 112"/>
                  <a:gd name="T98" fmla="*/ 42 w 81"/>
                  <a:gd name="T99" fmla="*/ 68 h 112"/>
                  <a:gd name="T100" fmla="*/ 39 w 81"/>
                  <a:gd name="T101" fmla="*/ 60 h 112"/>
                  <a:gd name="T102" fmla="*/ 45 w 81"/>
                  <a:gd name="T103" fmla="*/ 58 h 112"/>
                  <a:gd name="T104" fmla="*/ 55 w 81"/>
                  <a:gd name="T105" fmla="*/ 77 h 112"/>
                  <a:gd name="T106" fmla="*/ 64 w 81"/>
                  <a:gd name="T107" fmla="*/ 79 h 112"/>
                  <a:gd name="T108" fmla="*/ 67 w 81"/>
                  <a:gd name="T109" fmla="*/ 85 h 112"/>
                  <a:gd name="T110" fmla="*/ 75 w 81"/>
                  <a:gd name="T111" fmla="*/ 112 h 112"/>
                  <a:gd name="T112" fmla="*/ 73 w 81"/>
                  <a:gd name="T113" fmla="*/ 104 h 112"/>
                  <a:gd name="T114" fmla="*/ 80 w 81"/>
                  <a:gd name="T11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 h="112">
                    <a:moveTo>
                      <a:pt x="69" y="94"/>
                    </a:moveTo>
                    <a:lnTo>
                      <a:pt x="69" y="93"/>
                    </a:lnTo>
                    <a:lnTo>
                      <a:pt x="69" y="93"/>
                    </a:lnTo>
                    <a:lnTo>
                      <a:pt x="67" y="94"/>
                    </a:lnTo>
                    <a:lnTo>
                      <a:pt x="67" y="96"/>
                    </a:lnTo>
                    <a:lnTo>
                      <a:pt x="67" y="97"/>
                    </a:lnTo>
                    <a:lnTo>
                      <a:pt x="67" y="97"/>
                    </a:lnTo>
                    <a:lnTo>
                      <a:pt x="69" y="97"/>
                    </a:lnTo>
                    <a:lnTo>
                      <a:pt x="69" y="96"/>
                    </a:lnTo>
                    <a:lnTo>
                      <a:pt x="69" y="94"/>
                    </a:lnTo>
                    <a:close/>
                    <a:moveTo>
                      <a:pt x="67" y="90"/>
                    </a:moveTo>
                    <a:lnTo>
                      <a:pt x="67" y="90"/>
                    </a:lnTo>
                    <a:lnTo>
                      <a:pt x="67" y="90"/>
                    </a:lnTo>
                    <a:lnTo>
                      <a:pt x="67" y="91"/>
                    </a:lnTo>
                    <a:lnTo>
                      <a:pt x="67" y="93"/>
                    </a:lnTo>
                    <a:lnTo>
                      <a:pt x="67" y="91"/>
                    </a:lnTo>
                    <a:lnTo>
                      <a:pt x="67" y="90"/>
                    </a:lnTo>
                    <a:lnTo>
                      <a:pt x="67" y="90"/>
                    </a:lnTo>
                    <a:close/>
                    <a:moveTo>
                      <a:pt x="55" y="82"/>
                    </a:moveTo>
                    <a:lnTo>
                      <a:pt x="53" y="79"/>
                    </a:lnTo>
                    <a:lnTo>
                      <a:pt x="53" y="87"/>
                    </a:lnTo>
                    <a:lnTo>
                      <a:pt x="55" y="85"/>
                    </a:lnTo>
                    <a:lnTo>
                      <a:pt x="55" y="83"/>
                    </a:lnTo>
                    <a:lnTo>
                      <a:pt x="55" y="82"/>
                    </a:lnTo>
                    <a:close/>
                    <a:moveTo>
                      <a:pt x="62" y="80"/>
                    </a:moveTo>
                    <a:lnTo>
                      <a:pt x="61" y="79"/>
                    </a:lnTo>
                    <a:lnTo>
                      <a:pt x="61" y="77"/>
                    </a:lnTo>
                    <a:lnTo>
                      <a:pt x="59" y="77"/>
                    </a:lnTo>
                    <a:lnTo>
                      <a:pt x="59" y="77"/>
                    </a:lnTo>
                    <a:lnTo>
                      <a:pt x="59" y="79"/>
                    </a:lnTo>
                    <a:lnTo>
                      <a:pt x="61" y="80"/>
                    </a:lnTo>
                    <a:lnTo>
                      <a:pt x="61" y="82"/>
                    </a:lnTo>
                    <a:lnTo>
                      <a:pt x="62" y="80"/>
                    </a:lnTo>
                    <a:lnTo>
                      <a:pt x="62" y="80"/>
                    </a:lnTo>
                    <a:close/>
                    <a:moveTo>
                      <a:pt x="47" y="76"/>
                    </a:moveTo>
                    <a:lnTo>
                      <a:pt x="47" y="74"/>
                    </a:lnTo>
                    <a:lnTo>
                      <a:pt x="47" y="74"/>
                    </a:lnTo>
                    <a:lnTo>
                      <a:pt x="47" y="72"/>
                    </a:lnTo>
                    <a:lnTo>
                      <a:pt x="45" y="72"/>
                    </a:lnTo>
                    <a:lnTo>
                      <a:pt x="44" y="72"/>
                    </a:lnTo>
                    <a:lnTo>
                      <a:pt x="44" y="74"/>
                    </a:lnTo>
                    <a:lnTo>
                      <a:pt x="44" y="76"/>
                    </a:lnTo>
                    <a:lnTo>
                      <a:pt x="44" y="77"/>
                    </a:lnTo>
                    <a:lnTo>
                      <a:pt x="45" y="77"/>
                    </a:lnTo>
                    <a:lnTo>
                      <a:pt x="47" y="80"/>
                    </a:lnTo>
                    <a:lnTo>
                      <a:pt x="47" y="82"/>
                    </a:lnTo>
                    <a:lnTo>
                      <a:pt x="44" y="87"/>
                    </a:lnTo>
                    <a:lnTo>
                      <a:pt x="45" y="87"/>
                    </a:lnTo>
                    <a:lnTo>
                      <a:pt x="48" y="87"/>
                    </a:lnTo>
                    <a:lnTo>
                      <a:pt x="48" y="85"/>
                    </a:lnTo>
                    <a:lnTo>
                      <a:pt x="50" y="80"/>
                    </a:lnTo>
                    <a:lnTo>
                      <a:pt x="50" y="79"/>
                    </a:lnTo>
                    <a:lnTo>
                      <a:pt x="47" y="76"/>
                    </a:lnTo>
                    <a:close/>
                    <a:moveTo>
                      <a:pt x="45" y="69"/>
                    </a:moveTo>
                    <a:lnTo>
                      <a:pt x="45" y="69"/>
                    </a:lnTo>
                    <a:lnTo>
                      <a:pt x="44" y="69"/>
                    </a:lnTo>
                    <a:lnTo>
                      <a:pt x="44" y="69"/>
                    </a:lnTo>
                    <a:lnTo>
                      <a:pt x="45" y="71"/>
                    </a:lnTo>
                    <a:lnTo>
                      <a:pt x="47" y="71"/>
                    </a:lnTo>
                    <a:lnTo>
                      <a:pt x="45" y="69"/>
                    </a:lnTo>
                    <a:close/>
                    <a:moveTo>
                      <a:pt x="81" y="101"/>
                    </a:moveTo>
                    <a:lnTo>
                      <a:pt x="80" y="97"/>
                    </a:lnTo>
                    <a:lnTo>
                      <a:pt x="80" y="96"/>
                    </a:lnTo>
                    <a:lnTo>
                      <a:pt x="80" y="90"/>
                    </a:lnTo>
                    <a:lnTo>
                      <a:pt x="80" y="88"/>
                    </a:lnTo>
                    <a:lnTo>
                      <a:pt x="80" y="87"/>
                    </a:lnTo>
                    <a:lnTo>
                      <a:pt x="80" y="80"/>
                    </a:lnTo>
                    <a:lnTo>
                      <a:pt x="78" y="79"/>
                    </a:lnTo>
                    <a:lnTo>
                      <a:pt x="78" y="76"/>
                    </a:lnTo>
                    <a:lnTo>
                      <a:pt x="78" y="74"/>
                    </a:lnTo>
                    <a:lnTo>
                      <a:pt x="77" y="72"/>
                    </a:lnTo>
                    <a:lnTo>
                      <a:pt x="77" y="71"/>
                    </a:lnTo>
                    <a:lnTo>
                      <a:pt x="77" y="71"/>
                    </a:lnTo>
                    <a:lnTo>
                      <a:pt x="75" y="68"/>
                    </a:lnTo>
                    <a:lnTo>
                      <a:pt x="75" y="65"/>
                    </a:lnTo>
                    <a:lnTo>
                      <a:pt x="75" y="63"/>
                    </a:lnTo>
                    <a:lnTo>
                      <a:pt x="75" y="60"/>
                    </a:lnTo>
                    <a:lnTo>
                      <a:pt x="73" y="57"/>
                    </a:lnTo>
                    <a:lnTo>
                      <a:pt x="73" y="57"/>
                    </a:lnTo>
                    <a:lnTo>
                      <a:pt x="73" y="57"/>
                    </a:lnTo>
                    <a:lnTo>
                      <a:pt x="72" y="55"/>
                    </a:lnTo>
                    <a:lnTo>
                      <a:pt x="72" y="55"/>
                    </a:lnTo>
                    <a:lnTo>
                      <a:pt x="70" y="57"/>
                    </a:lnTo>
                    <a:lnTo>
                      <a:pt x="69" y="57"/>
                    </a:lnTo>
                    <a:lnTo>
                      <a:pt x="69" y="57"/>
                    </a:lnTo>
                    <a:lnTo>
                      <a:pt x="69" y="58"/>
                    </a:lnTo>
                    <a:lnTo>
                      <a:pt x="69" y="60"/>
                    </a:lnTo>
                    <a:lnTo>
                      <a:pt x="69" y="60"/>
                    </a:lnTo>
                    <a:lnTo>
                      <a:pt x="66" y="63"/>
                    </a:lnTo>
                    <a:lnTo>
                      <a:pt x="66" y="63"/>
                    </a:lnTo>
                    <a:lnTo>
                      <a:pt x="66" y="63"/>
                    </a:lnTo>
                    <a:lnTo>
                      <a:pt x="66" y="65"/>
                    </a:lnTo>
                    <a:lnTo>
                      <a:pt x="66" y="68"/>
                    </a:lnTo>
                    <a:lnTo>
                      <a:pt x="66" y="68"/>
                    </a:lnTo>
                    <a:lnTo>
                      <a:pt x="66" y="68"/>
                    </a:lnTo>
                    <a:lnTo>
                      <a:pt x="64" y="69"/>
                    </a:lnTo>
                    <a:lnTo>
                      <a:pt x="62" y="69"/>
                    </a:lnTo>
                    <a:lnTo>
                      <a:pt x="62" y="69"/>
                    </a:lnTo>
                    <a:lnTo>
                      <a:pt x="62" y="69"/>
                    </a:lnTo>
                    <a:lnTo>
                      <a:pt x="61" y="69"/>
                    </a:lnTo>
                    <a:lnTo>
                      <a:pt x="61" y="66"/>
                    </a:lnTo>
                    <a:lnTo>
                      <a:pt x="59" y="66"/>
                    </a:lnTo>
                    <a:lnTo>
                      <a:pt x="59" y="65"/>
                    </a:lnTo>
                    <a:lnTo>
                      <a:pt x="59" y="66"/>
                    </a:lnTo>
                    <a:lnTo>
                      <a:pt x="58" y="66"/>
                    </a:lnTo>
                    <a:lnTo>
                      <a:pt x="58" y="68"/>
                    </a:lnTo>
                    <a:lnTo>
                      <a:pt x="58" y="68"/>
                    </a:lnTo>
                    <a:lnTo>
                      <a:pt x="58" y="68"/>
                    </a:lnTo>
                    <a:lnTo>
                      <a:pt x="58" y="68"/>
                    </a:lnTo>
                    <a:lnTo>
                      <a:pt x="58" y="68"/>
                    </a:lnTo>
                    <a:lnTo>
                      <a:pt x="56" y="62"/>
                    </a:lnTo>
                    <a:lnTo>
                      <a:pt x="55" y="58"/>
                    </a:lnTo>
                    <a:lnTo>
                      <a:pt x="55" y="57"/>
                    </a:lnTo>
                    <a:lnTo>
                      <a:pt x="56" y="55"/>
                    </a:lnTo>
                    <a:lnTo>
                      <a:pt x="56" y="52"/>
                    </a:lnTo>
                    <a:lnTo>
                      <a:pt x="58" y="51"/>
                    </a:lnTo>
                    <a:lnTo>
                      <a:pt x="58" y="49"/>
                    </a:lnTo>
                    <a:lnTo>
                      <a:pt x="58" y="49"/>
                    </a:lnTo>
                    <a:lnTo>
                      <a:pt x="59" y="49"/>
                    </a:lnTo>
                    <a:lnTo>
                      <a:pt x="61" y="49"/>
                    </a:lnTo>
                    <a:lnTo>
                      <a:pt x="62" y="49"/>
                    </a:lnTo>
                    <a:lnTo>
                      <a:pt x="62" y="47"/>
                    </a:lnTo>
                    <a:lnTo>
                      <a:pt x="62" y="47"/>
                    </a:lnTo>
                    <a:lnTo>
                      <a:pt x="64" y="46"/>
                    </a:lnTo>
                    <a:lnTo>
                      <a:pt x="66" y="46"/>
                    </a:lnTo>
                    <a:lnTo>
                      <a:pt x="66" y="46"/>
                    </a:lnTo>
                    <a:lnTo>
                      <a:pt x="67" y="47"/>
                    </a:lnTo>
                    <a:lnTo>
                      <a:pt x="67" y="46"/>
                    </a:lnTo>
                    <a:lnTo>
                      <a:pt x="67" y="46"/>
                    </a:lnTo>
                    <a:lnTo>
                      <a:pt x="67" y="46"/>
                    </a:lnTo>
                    <a:lnTo>
                      <a:pt x="69" y="44"/>
                    </a:lnTo>
                    <a:lnTo>
                      <a:pt x="69" y="43"/>
                    </a:lnTo>
                    <a:lnTo>
                      <a:pt x="70" y="43"/>
                    </a:lnTo>
                    <a:lnTo>
                      <a:pt x="70" y="43"/>
                    </a:lnTo>
                    <a:lnTo>
                      <a:pt x="70" y="43"/>
                    </a:lnTo>
                    <a:lnTo>
                      <a:pt x="72" y="43"/>
                    </a:lnTo>
                    <a:lnTo>
                      <a:pt x="72" y="43"/>
                    </a:lnTo>
                    <a:lnTo>
                      <a:pt x="72" y="41"/>
                    </a:lnTo>
                    <a:lnTo>
                      <a:pt x="73" y="36"/>
                    </a:lnTo>
                    <a:lnTo>
                      <a:pt x="73" y="35"/>
                    </a:lnTo>
                    <a:lnTo>
                      <a:pt x="73" y="35"/>
                    </a:lnTo>
                    <a:lnTo>
                      <a:pt x="73" y="33"/>
                    </a:lnTo>
                    <a:lnTo>
                      <a:pt x="73" y="33"/>
                    </a:lnTo>
                    <a:lnTo>
                      <a:pt x="77" y="33"/>
                    </a:lnTo>
                    <a:lnTo>
                      <a:pt x="78" y="33"/>
                    </a:lnTo>
                    <a:lnTo>
                      <a:pt x="78" y="33"/>
                    </a:lnTo>
                    <a:lnTo>
                      <a:pt x="78" y="33"/>
                    </a:lnTo>
                    <a:lnTo>
                      <a:pt x="78" y="33"/>
                    </a:lnTo>
                    <a:lnTo>
                      <a:pt x="78" y="32"/>
                    </a:lnTo>
                    <a:lnTo>
                      <a:pt x="77" y="30"/>
                    </a:lnTo>
                    <a:lnTo>
                      <a:pt x="73" y="29"/>
                    </a:lnTo>
                    <a:lnTo>
                      <a:pt x="70" y="27"/>
                    </a:lnTo>
                    <a:lnTo>
                      <a:pt x="66" y="29"/>
                    </a:lnTo>
                    <a:lnTo>
                      <a:pt x="61" y="29"/>
                    </a:lnTo>
                    <a:lnTo>
                      <a:pt x="59" y="29"/>
                    </a:lnTo>
                    <a:lnTo>
                      <a:pt x="58" y="27"/>
                    </a:lnTo>
                    <a:lnTo>
                      <a:pt x="53" y="27"/>
                    </a:lnTo>
                    <a:lnTo>
                      <a:pt x="47" y="29"/>
                    </a:lnTo>
                    <a:lnTo>
                      <a:pt x="45" y="27"/>
                    </a:lnTo>
                    <a:lnTo>
                      <a:pt x="44" y="27"/>
                    </a:lnTo>
                    <a:lnTo>
                      <a:pt x="42" y="29"/>
                    </a:lnTo>
                    <a:lnTo>
                      <a:pt x="39" y="27"/>
                    </a:lnTo>
                    <a:lnTo>
                      <a:pt x="36" y="27"/>
                    </a:lnTo>
                    <a:lnTo>
                      <a:pt x="34" y="26"/>
                    </a:lnTo>
                    <a:lnTo>
                      <a:pt x="33" y="26"/>
                    </a:lnTo>
                    <a:lnTo>
                      <a:pt x="31" y="26"/>
                    </a:lnTo>
                    <a:lnTo>
                      <a:pt x="31" y="26"/>
                    </a:lnTo>
                    <a:lnTo>
                      <a:pt x="31" y="26"/>
                    </a:lnTo>
                    <a:lnTo>
                      <a:pt x="31" y="24"/>
                    </a:lnTo>
                    <a:lnTo>
                      <a:pt x="31" y="24"/>
                    </a:lnTo>
                    <a:lnTo>
                      <a:pt x="31" y="21"/>
                    </a:lnTo>
                    <a:lnTo>
                      <a:pt x="31" y="15"/>
                    </a:lnTo>
                    <a:lnTo>
                      <a:pt x="31" y="13"/>
                    </a:lnTo>
                    <a:lnTo>
                      <a:pt x="30" y="8"/>
                    </a:lnTo>
                    <a:lnTo>
                      <a:pt x="28" y="8"/>
                    </a:lnTo>
                    <a:lnTo>
                      <a:pt x="28" y="7"/>
                    </a:lnTo>
                    <a:lnTo>
                      <a:pt x="27" y="8"/>
                    </a:lnTo>
                    <a:lnTo>
                      <a:pt x="27" y="8"/>
                    </a:lnTo>
                    <a:lnTo>
                      <a:pt x="27" y="10"/>
                    </a:lnTo>
                    <a:lnTo>
                      <a:pt x="28" y="10"/>
                    </a:lnTo>
                    <a:lnTo>
                      <a:pt x="27" y="11"/>
                    </a:lnTo>
                    <a:lnTo>
                      <a:pt x="25" y="11"/>
                    </a:lnTo>
                    <a:lnTo>
                      <a:pt x="23" y="11"/>
                    </a:lnTo>
                    <a:lnTo>
                      <a:pt x="22" y="11"/>
                    </a:lnTo>
                    <a:lnTo>
                      <a:pt x="20" y="10"/>
                    </a:lnTo>
                    <a:lnTo>
                      <a:pt x="20" y="10"/>
                    </a:lnTo>
                    <a:lnTo>
                      <a:pt x="19" y="8"/>
                    </a:lnTo>
                    <a:lnTo>
                      <a:pt x="19" y="5"/>
                    </a:lnTo>
                    <a:lnTo>
                      <a:pt x="19" y="4"/>
                    </a:lnTo>
                    <a:lnTo>
                      <a:pt x="17" y="4"/>
                    </a:lnTo>
                    <a:lnTo>
                      <a:pt x="17" y="4"/>
                    </a:lnTo>
                    <a:lnTo>
                      <a:pt x="16" y="4"/>
                    </a:lnTo>
                    <a:lnTo>
                      <a:pt x="16" y="4"/>
                    </a:lnTo>
                    <a:lnTo>
                      <a:pt x="16" y="5"/>
                    </a:lnTo>
                    <a:lnTo>
                      <a:pt x="17" y="7"/>
                    </a:lnTo>
                    <a:lnTo>
                      <a:pt x="17" y="7"/>
                    </a:lnTo>
                    <a:lnTo>
                      <a:pt x="17" y="7"/>
                    </a:lnTo>
                    <a:lnTo>
                      <a:pt x="16" y="7"/>
                    </a:lnTo>
                    <a:lnTo>
                      <a:pt x="16" y="7"/>
                    </a:lnTo>
                    <a:lnTo>
                      <a:pt x="14" y="7"/>
                    </a:lnTo>
                    <a:lnTo>
                      <a:pt x="12" y="7"/>
                    </a:lnTo>
                    <a:lnTo>
                      <a:pt x="12" y="7"/>
                    </a:lnTo>
                    <a:lnTo>
                      <a:pt x="11" y="7"/>
                    </a:lnTo>
                    <a:lnTo>
                      <a:pt x="11" y="5"/>
                    </a:lnTo>
                    <a:lnTo>
                      <a:pt x="11" y="4"/>
                    </a:lnTo>
                    <a:lnTo>
                      <a:pt x="8" y="2"/>
                    </a:lnTo>
                    <a:lnTo>
                      <a:pt x="6" y="0"/>
                    </a:lnTo>
                    <a:lnTo>
                      <a:pt x="6" y="0"/>
                    </a:lnTo>
                    <a:lnTo>
                      <a:pt x="6" y="2"/>
                    </a:lnTo>
                    <a:lnTo>
                      <a:pt x="6" y="2"/>
                    </a:lnTo>
                    <a:lnTo>
                      <a:pt x="6" y="2"/>
                    </a:lnTo>
                    <a:lnTo>
                      <a:pt x="6" y="2"/>
                    </a:lnTo>
                    <a:lnTo>
                      <a:pt x="8" y="4"/>
                    </a:lnTo>
                    <a:lnTo>
                      <a:pt x="8" y="4"/>
                    </a:lnTo>
                    <a:lnTo>
                      <a:pt x="8" y="5"/>
                    </a:lnTo>
                    <a:lnTo>
                      <a:pt x="8" y="5"/>
                    </a:lnTo>
                    <a:lnTo>
                      <a:pt x="6" y="5"/>
                    </a:lnTo>
                    <a:lnTo>
                      <a:pt x="5" y="7"/>
                    </a:lnTo>
                    <a:lnTo>
                      <a:pt x="5" y="7"/>
                    </a:lnTo>
                    <a:lnTo>
                      <a:pt x="3" y="8"/>
                    </a:lnTo>
                    <a:lnTo>
                      <a:pt x="2" y="10"/>
                    </a:lnTo>
                    <a:lnTo>
                      <a:pt x="2" y="11"/>
                    </a:lnTo>
                    <a:lnTo>
                      <a:pt x="2" y="13"/>
                    </a:lnTo>
                    <a:lnTo>
                      <a:pt x="2" y="15"/>
                    </a:lnTo>
                    <a:lnTo>
                      <a:pt x="2" y="15"/>
                    </a:lnTo>
                    <a:lnTo>
                      <a:pt x="2" y="15"/>
                    </a:lnTo>
                    <a:lnTo>
                      <a:pt x="2" y="15"/>
                    </a:lnTo>
                    <a:lnTo>
                      <a:pt x="5" y="16"/>
                    </a:lnTo>
                    <a:lnTo>
                      <a:pt x="6" y="18"/>
                    </a:lnTo>
                    <a:lnTo>
                      <a:pt x="8" y="19"/>
                    </a:lnTo>
                    <a:lnTo>
                      <a:pt x="8" y="19"/>
                    </a:lnTo>
                    <a:lnTo>
                      <a:pt x="8" y="21"/>
                    </a:lnTo>
                    <a:lnTo>
                      <a:pt x="9" y="21"/>
                    </a:lnTo>
                    <a:lnTo>
                      <a:pt x="12" y="21"/>
                    </a:lnTo>
                    <a:lnTo>
                      <a:pt x="14" y="22"/>
                    </a:lnTo>
                    <a:lnTo>
                      <a:pt x="14" y="24"/>
                    </a:lnTo>
                    <a:lnTo>
                      <a:pt x="14" y="24"/>
                    </a:lnTo>
                    <a:lnTo>
                      <a:pt x="16" y="26"/>
                    </a:lnTo>
                    <a:lnTo>
                      <a:pt x="16" y="26"/>
                    </a:lnTo>
                    <a:lnTo>
                      <a:pt x="16" y="27"/>
                    </a:lnTo>
                    <a:lnTo>
                      <a:pt x="16" y="27"/>
                    </a:lnTo>
                    <a:lnTo>
                      <a:pt x="14" y="27"/>
                    </a:lnTo>
                    <a:lnTo>
                      <a:pt x="12" y="27"/>
                    </a:lnTo>
                    <a:lnTo>
                      <a:pt x="11" y="27"/>
                    </a:lnTo>
                    <a:lnTo>
                      <a:pt x="9" y="27"/>
                    </a:lnTo>
                    <a:lnTo>
                      <a:pt x="8" y="27"/>
                    </a:lnTo>
                    <a:lnTo>
                      <a:pt x="6" y="32"/>
                    </a:lnTo>
                    <a:lnTo>
                      <a:pt x="5" y="33"/>
                    </a:lnTo>
                    <a:lnTo>
                      <a:pt x="5" y="33"/>
                    </a:lnTo>
                    <a:lnTo>
                      <a:pt x="3" y="32"/>
                    </a:lnTo>
                    <a:lnTo>
                      <a:pt x="2" y="33"/>
                    </a:lnTo>
                    <a:lnTo>
                      <a:pt x="0" y="36"/>
                    </a:lnTo>
                    <a:lnTo>
                      <a:pt x="0" y="38"/>
                    </a:lnTo>
                    <a:lnTo>
                      <a:pt x="0" y="38"/>
                    </a:lnTo>
                    <a:lnTo>
                      <a:pt x="2" y="40"/>
                    </a:lnTo>
                    <a:lnTo>
                      <a:pt x="2" y="41"/>
                    </a:lnTo>
                    <a:lnTo>
                      <a:pt x="2" y="41"/>
                    </a:lnTo>
                    <a:lnTo>
                      <a:pt x="3" y="41"/>
                    </a:lnTo>
                    <a:lnTo>
                      <a:pt x="5" y="41"/>
                    </a:lnTo>
                    <a:lnTo>
                      <a:pt x="5" y="41"/>
                    </a:lnTo>
                    <a:lnTo>
                      <a:pt x="6" y="43"/>
                    </a:lnTo>
                    <a:lnTo>
                      <a:pt x="6" y="43"/>
                    </a:lnTo>
                    <a:lnTo>
                      <a:pt x="8" y="44"/>
                    </a:lnTo>
                    <a:lnTo>
                      <a:pt x="11" y="44"/>
                    </a:lnTo>
                    <a:lnTo>
                      <a:pt x="12" y="44"/>
                    </a:lnTo>
                    <a:lnTo>
                      <a:pt x="12" y="46"/>
                    </a:lnTo>
                    <a:lnTo>
                      <a:pt x="12" y="46"/>
                    </a:lnTo>
                    <a:lnTo>
                      <a:pt x="12" y="47"/>
                    </a:lnTo>
                    <a:lnTo>
                      <a:pt x="12" y="49"/>
                    </a:lnTo>
                    <a:lnTo>
                      <a:pt x="12" y="51"/>
                    </a:lnTo>
                    <a:lnTo>
                      <a:pt x="12" y="51"/>
                    </a:lnTo>
                    <a:lnTo>
                      <a:pt x="11" y="54"/>
                    </a:lnTo>
                    <a:lnTo>
                      <a:pt x="9" y="57"/>
                    </a:lnTo>
                    <a:lnTo>
                      <a:pt x="9" y="58"/>
                    </a:lnTo>
                    <a:lnTo>
                      <a:pt x="11" y="58"/>
                    </a:lnTo>
                    <a:lnTo>
                      <a:pt x="11" y="58"/>
                    </a:lnTo>
                    <a:lnTo>
                      <a:pt x="11" y="58"/>
                    </a:lnTo>
                    <a:lnTo>
                      <a:pt x="12" y="60"/>
                    </a:lnTo>
                    <a:lnTo>
                      <a:pt x="12" y="62"/>
                    </a:lnTo>
                    <a:lnTo>
                      <a:pt x="12" y="63"/>
                    </a:lnTo>
                    <a:lnTo>
                      <a:pt x="12" y="63"/>
                    </a:lnTo>
                    <a:lnTo>
                      <a:pt x="12" y="65"/>
                    </a:lnTo>
                    <a:lnTo>
                      <a:pt x="12" y="65"/>
                    </a:lnTo>
                    <a:lnTo>
                      <a:pt x="14" y="65"/>
                    </a:lnTo>
                    <a:lnTo>
                      <a:pt x="16" y="65"/>
                    </a:lnTo>
                    <a:lnTo>
                      <a:pt x="16" y="66"/>
                    </a:lnTo>
                    <a:lnTo>
                      <a:pt x="14" y="68"/>
                    </a:lnTo>
                    <a:lnTo>
                      <a:pt x="14" y="71"/>
                    </a:lnTo>
                    <a:lnTo>
                      <a:pt x="16" y="72"/>
                    </a:lnTo>
                    <a:lnTo>
                      <a:pt x="16" y="76"/>
                    </a:lnTo>
                    <a:lnTo>
                      <a:pt x="16" y="76"/>
                    </a:lnTo>
                    <a:lnTo>
                      <a:pt x="16" y="76"/>
                    </a:lnTo>
                    <a:lnTo>
                      <a:pt x="17" y="79"/>
                    </a:lnTo>
                    <a:lnTo>
                      <a:pt x="17" y="83"/>
                    </a:lnTo>
                    <a:lnTo>
                      <a:pt x="19" y="85"/>
                    </a:lnTo>
                    <a:lnTo>
                      <a:pt x="17" y="87"/>
                    </a:lnTo>
                    <a:lnTo>
                      <a:pt x="17" y="87"/>
                    </a:lnTo>
                    <a:lnTo>
                      <a:pt x="19" y="88"/>
                    </a:lnTo>
                    <a:lnTo>
                      <a:pt x="19" y="91"/>
                    </a:lnTo>
                    <a:lnTo>
                      <a:pt x="20" y="93"/>
                    </a:lnTo>
                    <a:lnTo>
                      <a:pt x="22" y="93"/>
                    </a:lnTo>
                    <a:lnTo>
                      <a:pt x="22" y="94"/>
                    </a:lnTo>
                    <a:lnTo>
                      <a:pt x="23" y="93"/>
                    </a:lnTo>
                    <a:lnTo>
                      <a:pt x="25" y="91"/>
                    </a:lnTo>
                    <a:lnTo>
                      <a:pt x="27" y="90"/>
                    </a:lnTo>
                    <a:lnTo>
                      <a:pt x="27" y="88"/>
                    </a:lnTo>
                    <a:lnTo>
                      <a:pt x="25" y="83"/>
                    </a:lnTo>
                    <a:lnTo>
                      <a:pt x="25" y="83"/>
                    </a:lnTo>
                    <a:lnTo>
                      <a:pt x="27" y="88"/>
                    </a:lnTo>
                    <a:lnTo>
                      <a:pt x="27" y="91"/>
                    </a:lnTo>
                    <a:lnTo>
                      <a:pt x="27" y="93"/>
                    </a:lnTo>
                    <a:lnTo>
                      <a:pt x="28" y="91"/>
                    </a:lnTo>
                    <a:lnTo>
                      <a:pt x="28" y="91"/>
                    </a:lnTo>
                    <a:lnTo>
                      <a:pt x="30" y="90"/>
                    </a:lnTo>
                    <a:lnTo>
                      <a:pt x="31" y="88"/>
                    </a:lnTo>
                    <a:lnTo>
                      <a:pt x="31" y="87"/>
                    </a:lnTo>
                    <a:lnTo>
                      <a:pt x="33" y="85"/>
                    </a:lnTo>
                    <a:lnTo>
                      <a:pt x="31" y="83"/>
                    </a:lnTo>
                    <a:lnTo>
                      <a:pt x="33" y="80"/>
                    </a:lnTo>
                    <a:lnTo>
                      <a:pt x="34" y="79"/>
                    </a:lnTo>
                    <a:lnTo>
                      <a:pt x="33" y="82"/>
                    </a:lnTo>
                    <a:lnTo>
                      <a:pt x="33" y="85"/>
                    </a:lnTo>
                    <a:lnTo>
                      <a:pt x="33" y="87"/>
                    </a:lnTo>
                    <a:lnTo>
                      <a:pt x="34" y="88"/>
                    </a:lnTo>
                    <a:lnTo>
                      <a:pt x="36" y="87"/>
                    </a:lnTo>
                    <a:lnTo>
                      <a:pt x="37" y="85"/>
                    </a:lnTo>
                    <a:lnTo>
                      <a:pt x="37" y="85"/>
                    </a:lnTo>
                    <a:lnTo>
                      <a:pt x="36" y="88"/>
                    </a:lnTo>
                    <a:lnTo>
                      <a:pt x="36" y="90"/>
                    </a:lnTo>
                    <a:lnTo>
                      <a:pt x="36" y="90"/>
                    </a:lnTo>
                    <a:lnTo>
                      <a:pt x="37" y="91"/>
                    </a:lnTo>
                    <a:lnTo>
                      <a:pt x="37" y="91"/>
                    </a:lnTo>
                    <a:lnTo>
                      <a:pt x="39" y="91"/>
                    </a:lnTo>
                    <a:lnTo>
                      <a:pt x="39" y="90"/>
                    </a:lnTo>
                    <a:lnTo>
                      <a:pt x="41" y="87"/>
                    </a:lnTo>
                    <a:lnTo>
                      <a:pt x="44" y="85"/>
                    </a:lnTo>
                    <a:lnTo>
                      <a:pt x="44" y="83"/>
                    </a:lnTo>
                    <a:lnTo>
                      <a:pt x="45" y="83"/>
                    </a:lnTo>
                    <a:lnTo>
                      <a:pt x="45" y="82"/>
                    </a:lnTo>
                    <a:lnTo>
                      <a:pt x="45" y="80"/>
                    </a:lnTo>
                    <a:lnTo>
                      <a:pt x="44" y="79"/>
                    </a:lnTo>
                    <a:lnTo>
                      <a:pt x="44" y="77"/>
                    </a:lnTo>
                    <a:lnTo>
                      <a:pt x="44" y="76"/>
                    </a:lnTo>
                    <a:lnTo>
                      <a:pt x="44" y="76"/>
                    </a:lnTo>
                    <a:lnTo>
                      <a:pt x="42" y="74"/>
                    </a:lnTo>
                    <a:lnTo>
                      <a:pt x="42" y="72"/>
                    </a:lnTo>
                    <a:lnTo>
                      <a:pt x="42" y="71"/>
                    </a:lnTo>
                    <a:lnTo>
                      <a:pt x="44" y="71"/>
                    </a:lnTo>
                    <a:lnTo>
                      <a:pt x="42" y="69"/>
                    </a:lnTo>
                    <a:lnTo>
                      <a:pt x="42" y="68"/>
                    </a:lnTo>
                    <a:lnTo>
                      <a:pt x="44" y="68"/>
                    </a:lnTo>
                    <a:lnTo>
                      <a:pt x="45" y="66"/>
                    </a:lnTo>
                    <a:lnTo>
                      <a:pt x="45" y="65"/>
                    </a:lnTo>
                    <a:lnTo>
                      <a:pt x="45" y="65"/>
                    </a:lnTo>
                    <a:lnTo>
                      <a:pt x="44" y="63"/>
                    </a:lnTo>
                    <a:lnTo>
                      <a:pt x="42" y="62"/>
                    </a:lnTo>
                    <a:lnTo>
                      <a:pt x="39" y="60"/>
                    </a:lnTo>
                    <a:lnTo>
                      <a:pt x="42" y="62"/>
                    </a:lnTo>
                    <a:lnTo>
                      <a:pt x="44" y="62"/>
                    </a:lnTo>
                    <a:lnTo>
                      <a:pt x="45" y="60"/>
                    </a:lnTo>
                    <a:lnTo>
                      <a:pt x="44" y="58"/>
                    </a:lnTo>
                    <a:lnTo>
                      <a:pt x="45" y="58"/>
                    </a:lnTo>
                    <a:lnTo>
                      <a:pt x="45" y="58"/>
                    </a:lnTo>
                    <a:lnTo>
                      <a:pt x="45" y="58"/>
                    </a:lnTo>
                    <a:lnTo>
                      <a:pt x="45" y="62"/>
                    </a:lnTo>
                    <a:lnTo>
                      <a:pt x="45" y="65"/>
                    </a:lnTo>
                    <a:lnTo>
                      <a:pt x="45" y="68"/>
                    </a:lnTo>
                    <a:lnTo>
                      <a:pt x="45" y="69"/>
                    </a:lnTo>
                    <a:lnTo>
                      <a:pt x="48" y="74"/>
                    </a:lnTo>
                    <a:lnTo>
                      <a:pt x="52" y="77"/>
                    </a:lnTo>
                    <a:lnTo>
                      <a:pt x="55" y="77"/>
                    </a:lnTo>
                    <a:lnTo>
                      <a:pt x="56" y="76"/>
                    </a:lnTo>
                    <a:lnTo>
                      <a:pt x="58" y="74"/>
                    </a:lnTo>
                    <a:lnTo>
                      <a:pt x="59" y="72"/>
                    </a:lnTo>
                    <a:lnTo>
                      <a:pt x="61" y="71"/>
                    </a:lnTo>
                    <a:lnTo>
                      <a:pt x="61" y="72"/>
                    </a:lnTo>
                    <a:lnTo>
                      <a:pt x="61" y="74"/>
                    </a:lnTo>
                    <a:lnTo>
                      <a:pt x="64" y="79"/>
                    </a:lnTo>
                    <a:lnTo>
                      <a:pt x="66" y="80"/>
                    </a:lnTo>
                    <a:lnTo>
                      <a:pt x="66" y="82"/>
                    </a:lnTo>
                    <a:lnTo>
                      <a:pt x="67" y="82"/>
                    </a:lnTo>
                    <a:lnTo>
                      <a:pt x="67" y="82"/>
                    </a:lnTo>
                    <a:lnTo>
                      <a:pt x="67" y="82"/>
                    </a:lnTo>
                    <a:lnTo>
                      <a:pt x="67" y="83"/>
                    </a:lnTo>
                    <a:lnTo>
                      <a:pt x="67" y="85"/>
                    </a:lnTo>
                    <a:lnTo>
                      <a:pt x="69" y="90"/>
                    </a:lnTo>
                    <a:lnTo>
                      <a:pt x="70" y="94"/>
                    </a:lnTo>
                    <a:lnTo>
                      <a:pt x="70" y="97"/>
                    </a:lnTo>
                    <a:lnTo>
                      <a:pt x="70" y="104"/>
                    </a:lnTo>
                    <a:lnTo>
                      <a:pt x="73" y="107"/>
                    </a:lnTo>
                    <a:lnTo>
                      <a:pt x="73" y="108"/>
                    </a:lnTo>
                    <a:lnTo>
                      <a:pt x="75" y="112"/>
                    </a:lnTo>
                    <a:lnTo>
                      <a:pt x="75" y="112"/>
                    </a:lnTo>
                    <a:lnTo>
                      <a:pt x="75" y="110"/>
                    </a:lnTo>
                    <a:lnTo>
                      <a:pt x="75" y="108"/>
                    </a:lnTo>
                    <a:lnTo>
                      <a:pt x="75" y="107"/>
                    </a:lnTo>
                    <a:lnTo>
                      <a:pt x="75" y="105"/>
                    </a:lnTo>
                    <a:lnTo>
                      <a:pt x="73" y="105"/>
                    </a:lnTo>
                    <a:lnTo>
                      <a:pt x="73" y="104"/>
                    </a:lnTo>
                    <a:lnTo>
                      <a:pt x="73" y="102"/>
                    </a:lnTo>
                    <a:lnTo>
                      <a:pt x="73" y="101"/>
                    </a:lnTo>
                    <a:lnTo>
                      <a:pt x="75" y="99"/>
                    </a:lnTo>
                    <a:lnTo>
                      <a:pt x="75" y="99"/>
                    </a:lnTo>
                    <a:lnTo>
                      <a:pt x="77" y="99"/>
                    </a:lnTo>
                    <a:lnTo>
                      <a:pt x="78" y="101"/>
                    </a:lnTo>
                    <a:lnTo>
                      <a:pt x="80" y="101"/>
                    </a:lnTo>
                    <a:lnTo>
                      <a:pt x="80" y="102"/>
                    </a:lnTo>
                    <a:lnTo>
                      <a:pt x="80" y="102"/>
                    </a:lnTo>
                    <a:lnTo>
                      <a:pt x="81" y="101"/>
                    </a:lnTo>
                    <a:lnTo>
                      <a:pt x="81" y="10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5" name="Freeform 22">
                <a:extLst>
                  <a:ext uri="{FF2B5EF4-FFF2-40B4-BE49-F238E27FC236}">
                    <a16:creationId xmlns:a16="http://schemas.microsoft.com/office/drawing/2014/main" id="{826158FD-4880-1690-94C7-A830CB8B3B0A}"/>
                  </a:ext>
                </a:extLst>
              </p:cNvPr>
              <p:cNvSpPr>
                <a:spLocks/>
              </p:cNvSpPr>
              <p:nvPr/>
            </p:nvSpPr>
            <p:spPr bwMode="gray">
              <a:xfrm>
                <a:off x="2719" y="524"/>
                <a:ext cx="67" cy="54"/>
              </a:xfrm>
              <a:custGeom>
                <a:avLst/>
                <a:gdLst>
                  <a:gd name="T0" fmla="*/ 41 w 67"/>
                  <a:gd name="T1" fmla="*/ 2 h 54"/>
                  <a:gd name="T2" fmla="*/ 44 w 67"/>
                  <a:gd name="T3" fmla="*/ 0 h 54"/>
                  <a:gd name="T4" fmla="*/ 45 w 67"/>
                  <a:gd name="T5" fmla="*/ 3 h 54"/>
                  <a:gd name="T6" fmla="*/ 52 w 67"/>
                  <a:gd name="T7" fmla="*/ 5 h 54"/>
                  <a:gd name="T8" fmla="*/ 53 w 67"/>
                  <a:gd name="T9" fmla="*/ 7 h 54"/>
                  <a:gd name="T10" fmla="*/ 58 w 67"/>
                  <a:gd name="T11" fmla="*/ 10 h 54"/>
                  <a:gd name="T12" fmla="*/ 56 w 67"/>
                  <a:gd name="T13" fmla="*/ 14 h 54"/>
                  <a:gd name="T14" fmla="*/ 56 w 67"/>
                  <a:gd name="T15" fmla="*/ 16 h 54"/>
                  <a:gd name="T16" fmla="*/ 55 w 67"/>
                  <a:gd name="T17" fmla="*/ 19 h 54"/>
                  <a:gd name="T18" fmla="*/ 59 w 67"/>
                  <a:gd name="T19" fmla="*/ 21 h 54"/>
                  <a:gd name="T20" fmla="*/ 63 w 67"/>
                  <a:gd name="T21" fmla="*/ 22 h 54"/>
                  <a:gd name="T22" fmla="*/ 64 w 67"/>
                  <a:gd name="T23" fmla="*/ 25 h 54"/>
                  <a:gd name="T24" fmla="*/ 66 w 67"/>
                  <a:gd name="T25" fmla="*/ 27 h 54"/>
                  <a:gd name="T26" fmla="*/ 67 w 67"/>
                  <a:gd name="T27" fmla="*/ 32 h 54"/>
                  <a:gd name="T28" fmla="*/ 63 w 67"/>
                  <a:gd name="T29" fmla="*/ 38 h 54"/>
                  <a:gd name="T30" fmla="*/ 63 w 67"/>
                  <a:gd name="T31" fmla="*/ 36 h 54"/>
                  <a:gd name="T32" fmla="*/ 58 w 67"/>
                  <a:gd name="T33" fmla="*/ 41 h 54"/>
                  <a:gd name="T34" fmla="*/ 56 w 67"/>
                  <a:gd name="T35" fmla="*/ 44 h 54"/>
                  <a:gd name="T36" fmla="*/ 56 w 67"/>
                  <a:gd name="T37" fmla="*/ 46 h 54"/>
                  <a:gd name="T38" fmla="*/ 59 w 67"/>
                  <a:gd name="T39" fmla="*/ 50 h 54"/>
                  <a:gd name="T40" fmla="*/ 58 w 67"/>
                  <a:gd name="T41" fmla="*/ 54 h 54"/>
                  <a:gd name="T42" fmla="*/ 55 w 67"/>
                  <a:gd name="T43" fmla="*/ 54 h 54"/>
                  <a:gd name="T44" fmla="*/ 52 w 67"/>
                  <a:gd name="T45" fmla="*/ 54 h 54"/>
                  <a:gd name="T46" fmla="*/ 48 w 67"/>
                  <a:gd name="T47" fmla="*/ 50 h 54"/>
                  <a:gd name="T48" fmla="*/ 45 w 67"/>
                  <a:gd name="T49" fmla="*/ 47 h 54"/>
                  <a:gd name="T50" fmla="*/ 41 w 67"/>
                  <a:gd name="T51" fmla="*/ 47 h 54"/>
                  <a:gd name="T52" fmla="*/ 41 w 67"/>
                  <a:gd name="T53" fmla="*/ 43 h 54"/>
                  <a:gd name="T54" fmla="*/ 39 w 67"/>
                  <a:gd name="T55" fmla="*/ 36 h 54"/>
                  <a:gd name="T56" fmla="*/ 37 w 67"/>
                  <a:gd name="T57" fmla="*/ 41 h 54"/>
                  <a:gd name="T58" fmla="*/ 30 w 67"/>
                  <a:gd name="T59" fmla="*/ 43 h 54"/>
                  <a:gd name="T60" fmla="*/ 28 w 67"/>
                  <a:gd name="T61" fmla="*/ 41 h 54"/>
                  <a:gd name="T62" fmla="*/ 30 w 67"/>
                  <a:gd name="T63" fmla="*/ 38 h 54"/>
                  <a:gd name="T64" fmla="*/ 28 w 67"/>
                  <a:gd name="T65" fmla="*/ 36 h 54"/>
                  <a:gd name="T66" fmla="*/ 27 w 67"/>
                  <a:gd name="T67" fmla="*/ 32 h 54"/>
                  <a:gd name="T68" fmla="*/ 22 w 67"/>
                  <a:gd name="T69" fmla="*/ 32 h 54"/>
                  <a:gd name="T70" fmla="*/ 20 w 67"/>
                  <a:gd name="T71" fmla="*/ 33 h 54"/>
                  <a:gd name="T72" fmla="*/ 19 w 67"/>
                  <a:gd name="T73" fmla="*/ 28 h 54"/>
                  <a:gd name="T74" fmla="*/ 14 w 67"/>
                  <a:gd name="T75" fmla="*/ 27 h 54"/>
                  <a:gd name="T76" fmla="*/ 12 w 67"/>
                  <a:gd name="T77" fmla="*/ 21 h 54"/>
                  <a:gd name="T78" fmla="*/ 9 w 67"/>
                  <a:gd name="T79" fmla="*/ 19 h 54"/>
                  <a:gd name="T80" fmla="*/ 6 w 67"/>
                  <a:gd name="T81" fmla="*/ 21 h 54"/>
                  <a:gd name="T82" fmla="*/ 2 w 67"/>
                  <a:gd name="T83" fmla="*/ 18 h 54"/>
                  <a:gd name="T84" fmla="*/ 2 w 67"/>
                  <a:gd name="T85" fmla="*/ 14 h 54"/>
                  <a:gd name="T86" fmla="*/ 8 w 67"/>
                  <a:gd name="T87" fmla="*/ 7 h 54"/>
                  <a:gd name="T88" fmla="*/ 16 w 67"/>
                  <a:gd name="T89" fmla="*/ 5 h 54"/>
                  <a:gd name="T90" fmla="*/ 17 w 67"/>
                  <a:gd name="T91" fmla="*/ 7 h 54"/>
                  <a:gd name="T92" fmla="*/ 20 w 67"/>
                  <a:gd name="T93" fmla="*/ 5 h 54"/>
                  <a:gd name="T94" fmla="*/ 23 w 67"/>
                  <a:gd name="T95" fmla="*/ 8 h 54"/>
                  <a:gd name="T96" fmla="*/ 30 w 67"/>
                  <a:gd name="T97" fmla="*/ 5 h 54"/>
                  <a:gd name="T98" fmla="*/ 31 w 67"/>
                  <a:gd name="T99" fmla="*/ 3 h 54"/>
                  <a:gd name="T100" fmla="*/ 33 w 67"/>
                  <a:gd name="T101" fmla="*/ 2 h 54"/>
                  <a:gd name="T102" fmla="*/ 36 w 67"/>
                  <a:gd name="T103" fmla="*/ 0 h 54"/>
                  <a:gd name="T104" fmla="*/ 39 w 67"/>
                  <a:gd name="T105" fmla="*/ 0 h 54"/>
                  <a:gd name="T106" fmla="*/ 41 w 67"/>
                  <a:gd name="T10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54">
                    <a:moveTo>
                      <a:pt x="41" y="2"/>
                    </a:moveTo>
                    <a:lnTo>
                      <a:pt x="41" y="2"/>
                    </a:lnTo>
                    <a:lnTo>
                      <a:pt x="41" y="2"/>
                    </a:lnTo>
                    <a:lnTo>
                      <a:pt x="42" y="2"/>
                    </a:lnTo>
                    <a:lnTo>
                      <a:pt x="44" y="0"/>
                    </a:lnTo>
                    <a:lnTo>
                      <a:pt x="44" y="0"/>
                    </a:lnTo>
                    <a:lnTo>
                      <a:pt x="45" y="0"/>
                    </a:lnTo>
                    <a:lnTo>
                      <a:pt x="45" y="2"/>
                    </a:lnTo>
                    <a:lnTo>
                      <a:pt x="45" y="3"/>
                    </a:lnTo>
                    <a:lnTo>
                      <a:pt x="47" y="5"/>
                    </a:lnTo>
                    <a:lnTo>
                      <a:pt x="48" y="7"/>
                    </a:lnTo>
                    <a:lnTo>
                      <a:pt x="52" y="5"/>
                    </a:lnTo>
                    <a:lnTo>
                      <a:pt x="52" y="5"/>
                    </a:lnTo>
                    <a:lnTo>
                      <a:pt x="53" y="5"/>
                    </a:lnTo>
                    <a:lnTo>
                      <a:pt x="53" y="7"/>
                    </a:lnTo>
                    <a:lnTo>
                      <a:pt x="55" y="8"/>
                    </a:lnTo>
                    <a:lnTo>
                      <a:pt x="56" y="8"/>
                    </a:lnTo>
                    <a:lnTo>
                      <a:pt x="58" y="10"/>
                    </a:lnTo>
                    <a:lnTo>
                      <a:pt x="58" y="10"/>
                    </a:lnTo>
                    <a:lnTo>
                      <a:pt x="58" y="11"/>
                    </a:lnTo>
                    <a:lnTo>
                      <a:pt x="56" y="14"/>
                    </a:lnTo>
                    <a:lnTo>
                      <a:pt x="56" y="14"/>
                    </a:lnTo>
                    <a:lnTo>
                      <a:pt x="56" y="14"/>
                    </a:lnTo>
                    <a:lnTo>
                      <a:pt x="56" y="16"/>
                    </a:lnTo>
                    <a:lnTo>
                      <a:pt x="55" y="18"/>
                    </a:lnTo>
                    <a:lnTo>
                      <a:pt x="55" y="18"/>
                    </a:lnTo>
                    <a:lnTo>
                      <a:pt x="55" y="19"/>
                    </a:lnTo>
                    <a:lnTo>
                      <a:pt x="56" y="19"/>
                    </a:lnTo>
                    <a:lnTo>
                      <a:pt x="58" y="19"/>
                    </a:lnTo>
                    <a:lnTo>
                      <a:pt x="59" y="21"/>
                    </a:lnTo>
                    <a:lnTo>
                      <a:pt x="61" y="21"/>
                    </a:lnTo>
                    <a:lnTo>
                      <a:pt x="61" y="21"/>
                    </a:lnTo>
                    <a:lnTo>
                      <a:pt x="63" y="22"/>
                    </a:lnTo>
                    <a:lnTo>
                      <a:pt x="64" y="24"/>
                    </a:lnTo>
                    <a:lnTo>
                      <a:pt x="66" y="24"/>
                    </a:lnTo>
                    <a:lnTo>
                      <a:pt x="64" y="25"/>
                    </a:lnTo>
                    <a:lnTo>
                      <a:pt x="64" y="27"/>
                    </a:lnTo>
                    <a:lnTo>
                      <a:pt x="64" y="27"/>
                    </a:lnTo>
                    <a:lnTo>
                      <a:pt x="66" y="27"/>
                    </a:lnTo>
                    <a:lnTo>
                      <a:pt x="67" y="28"/>
                    </a:lnTo>
                    <a:lnTo>
                      <a:pt x="67" y="30"/>
                    </a:lnTo>
                    <a:lnTo>
                      <a:pt x="67" y="32"/>
                    </a:lnTo>
                    <a:lnTo>
                      <a:pt x="64" y="35"/>
                    </a:lnTo>
                    <a:lnTo>
                      <a:pt x="64" y="36"/>
                    </a:lnTo>
                    <a:lnTo>
                      <a:pt x="63" y="38"/>
                    </a:lnTo>
                    <a:lnTo>
                      <a:pt x="63" y="38"/>
                    </a:lnTo>
                    <a:lnTo>
                      <a:pt x="63" y="36"/>
                    </a:lnTo>
                    <a:lnTo>
                      <a:pt x="63" y="36"/>
                    </a:lnTo>
                    <a:lnTo>
                      <a:pt x="61" y="36"/>
                    </a:lnTo>
                    <a:lnTo>
                      <a:pt x="59" y="38"/>
                    </a:lnTo>
                    <a:lnTo>
                      <a:pt x="58" y="41"/>
                    </a:lnTo>
                    <a:lnTo>
                      <a:pt x="58" y="43"/>
                    </a:lnTo>
                    <a:lnTo>
                      <a:pt x="56" y="43"/>
                    </a:lnTo>
                    <a:lnTo>
                      <a:pt x="56" y="44"/>
                    </a:lnTo>
                    <a:lnTo>
                      <a:pt x="56" y="44"/>
                    </a:lnTo>
                    <a:lnTo>
                      <a:pt x="56" y="46"/>
                    </a:lnTo>
                    <a:lnTo>
                      <a:pt x="56" y="46"/>
                    </a:lnTo>
                    <a:lnTo>
                      <a:pt x="58" y="47"/>
                    </a:lnTo>
                    <a:lnTo>
                      <a:pt x="58" y="49"/>
                    </a:lnTo>
                    <a:lnTo>
                      <a:pt x="59" y="50"/>
                    </a:lnTo>
                    <a:lnTo>
                      <a:pt x="59" y="52"/>
                    </a:lnTo>
                    <a:lnTo>
                      <a:pt x="58" y="52"/>
                    </a:lnTo>
                    <a:lnTo>
                      <a:pt x="58" y="54"/>
                    </a:lnTo>
                    <a:lnTo>
                      <a:pt x="58" y="54"/>
                    </a:lnTo>
                    <a:lnTo>
                      <a:pt x="56" y="54"/>
                    </a:lnTo>
                    <a:lnTo>
                      <a:pt x="55" y="54"/>
                    </a:lnTo>
                    <a:lnTo>
                      <a:pt x="53" y="54"/>
                    </a:lnTo>
                    <a:lnTo>
                      <a:pt x="53" y="54"/>
                    </a:lnTo>
                    <a:lnTo>
                      <a:pt x="52" y="54"/>
                    </a:lnTo>
                    <a:lnTo>
                      <a:pt x="50" y="52"/>
                    </a:lnTo>
                    <a:lnTo>
                      <a:pt x="48" y="50"/>
                    </a:lnTo>
                    <a:lnTo>
                      <a:pt x="48" y="50"/>
                    </a:lnTo>
                    <a:lnTo>
                      <a:pt x="47" y="49"/>
                    </a:lnTo>
                    <a:lnTo>
                      <a:pt x="45" y="49"/>
                    </a:lnTo>
                    <a:lnTo>
                      <a:pt x="45" y="47"/>
                    </a:lnTo>
                    <a:lnTo>
                      <a:pt x="44" y="47"/>
                    </a:lnTo>
                    <a:lnTo>
                      <a:pt x="42" y="47"/>
                    </a:lnTo>
                    <a:lnTo>
                      <a:pt x="41" y="47"/>
                    </a:lnTo>
                    <a:lnTo>
                      <a:pt x="41" y="46"/>
                    </a:lnTo>
                    <a:lnTo>
                      <a:pt x="41" y="43"/>
                    </a:lnTo>
                    <a:lnTo>
                      <a:pt x="41" y="43"/>
                    </a:lnTo>
                    <a:lnTo>
                      <a:pt x="41" y="38"/>
                    </a:lnTo>
                    <a:lnTo>
                      <a:pt x="41" y="36"/>
                    </a:lnTo>
                    <a:lnTo>
                      <a:pt x="39" y="36"/>
                    </a:lnTo>
                    <a:lnTo>
                      <a:pt x="39" y="38"/>
                    </a:lnTo>
                    <a:lnTo>
                      <a:pt x="37" y="39"/>
                    </a:lnTo>
                    <a:lnTo>
                      <a:pt x="37" y="41"/>
                    </a:lnTo>
                    <a:lnTo>
                      <a:pt x="36" y="43"/>
                    </a:lnTo>
                    <a:lnTo>
                      <a:pt x="33" y="43"/>
                    </a:lnTo>
                    <a:lnTo>
                      <a:pt x="30" y="43"/>
                    </a:lnTo>
                    <a:lnTo>
                      <a:pt x="28" y="41"/>
                    </a:lnTo>
                    <a:lnTo>
                      <a:pt x="28" y="41"/>
                    </a:lnTo>
                    <a:lnTo>
                      <a:pt x="28" y="41"/>
                    </a:lnTo>
                    <a:lnTo>
                      <a:pt x="28" y="39"/>
                    </a:lnTo>
                    <a:lnTo>
                      <a:pt x="30" y="39"/>
                    </a:lnTo>
                    <a:lnTo>
                      <a:pt x="30" y="38"/>
                    </a:lnTo>
                    <a:lnTo>
                      <a:pt x="28" y="38"/>
                    </a:lnTo>
                    <a:lnTo>
                      <a:pt x="28" y="36"/>
                    </a:lnTo>
                    <a:lnTo>
                      <a:pt x="28" y="36"/>
                    </a:lnTo>
                    <a:lnTo>
                      <a:pt x="30" y="35"/>
                    </a:lnTo>
                    <a:lnTo>
                      <a:pt x="30" y="35"/>
                    </a:lnTo>
                    <a:lnTo>
                      <a:pt x="27" y="32"/>
                    </a:lnTo>
                    <a:lnTo>
                      <a:pt x="25" y="32"/>
                    </a:lnTo>
                    <a:lnTo>
                      <a:pt x="23" y="32"/>
                    </a:lnTo>
                    <a:lnTo>
                      <a:pt x="22" y="32"/>
                    </a:lnTo>
                    <a:lnTo>
                      <a:pt x="22" y="32"/>
                    </a:lnTo>
                    <a:lnTo>
                      <a:pt x="22" y="32"/>
                    </a:lnTo>
                    <a:lnTo>
                      <a:pt x="20" y="33"/>
                    </a:lnTo>
                    <a:lnTo>
                      <a:pt x="20" y="32"/>
                    </a:lnTo>
                    <a:lnTo>
                      <a:pt x="20" y="28"/>
                    </a:lnTo>
                    <a:lnTo>
                      <a:pt x="19" y="28"/>
                    </a:lnTo>
                    <a:lnTo>
                      <a:pt x="17" y="27"/>
                    </a:lnTo>
                    <a:lnTo>
                      <a:pt x="14" y="27"/>
                    </a:lnTo>
                    <a:lnTo>
                      <a:pt x="14" y="27"/>
                    </a:lnTo>
                    <a:lnTo>
                      <a:pt x="12" y="25"/>
                    </a:lnTo>
                    <a:lnTo>
                      <a:pt x="12" y="22"/>
                    </a:lnTo>
                    <a:lnTo>
                      <a:pt x="12" y="21"/>
                    </a:lnTo>
                    <a:lnTo>
                      <a:pt x="11" y="21"/>
                    </a:lnTo>
                    <a:lnTo>
                      <a:pt x="11" y="19"/>
                    </a:lnTo>
                    <a:lnTo>
                      <a:pt x="9" y="19"/>
                    </a:lnTo>
                    <a:lnTo>
                      <a:pt x="8" y="21"/>
                    </a:lnTo>
                    <a:lnTo>
                      <a:pt x="6" y="21"/>
                    </a:lnTo>
                    <a:lnTo>
                      <a:pt x="6" y="21"/>
                    </a:lnTo>
                    <a:lnTo>
                      <a:pt x="5" y="21"/>
                    </a:lnTo>
                    <a:lnTo>
                      <a:pt x="3" y="19"/>
                    </a:lnTo>
                    <a:lnTo>
                      <a:pt x="2" y="18"/>
                    </a:lnTo>
                    <a:lnTo>
                      <a:pt x="2" y="16"/>
                    </a:lnTo>
                    <a:lnTo>
                      <a:pt x="2" y="14"/>
                    </a:lnTo>
                    <a:lnTo>
                      <a:pt x="2" y="14"/>
                    </a:lnTo>
                    <a:lnTo>
                      <a:pt x="0" y="11"/>
                    </a:lnTo>
                    <a:lnTo>
                      <a:pt x="0" y="11"/>
                    </a:lnTo>
                    <a:lnTo>
                      <a:pt x="8" y="7"/>
                    </a:lnTo>
                    <a:lnTo>
                      <a:pt x="12" y="3"/>
                    </a:lnTo>
                    <a:lnTo>
                      <a:pt x="14" y="3"/>
                    </a:lnTo>
                    <a:lnTo>
                      <a:pt x="16" y="5"/>
                    </a:lnTo>
                    <a:lnTo>
                      <a:pt x="16" y="7"/>
                    </a:lnTo>
                    <a:lnTo>
                      <a:pt x="16" y="7"/>
                    </a:lnTo>
                    <a:lnTo>
                      <a:pt x="17" y="7"/>
                    </a:lnTo>
                    <a:lnTo>
                      <a:pt x="17" y="7"/>
                    </a:lnTo>
                    <a:lnTo>
                      <a:pt x="19" y="5"/>
                    </a:lnTo>
                    <a:lnTo>
                      <a:pt x="20" y="5"/>
                    </a:lnTo>
                    <a:lnTo>
                      <a:pt x="22" y="7"/>
                    </a:lnTo>
                    <a:lnTo>
                      <a:pt x="22" y="7"/>
                    </a:lnTo>
                    <a:lnTo>
                      <a:pt x="23" y="8"/>
                    </a:lnTo>
                    <a:lnTo>
                      <a:pt x="25" y="8"/>
                    </a:lnTo>
                    <a:lnTo>
                      <a:pt x="27" y="7"/>
                    </a:lnTo>
                    <a:lnTo>
                      <a:pt x="30" y="5"/>
                    </a:lnTo>
                    <a:lnTo>
                      <a:pt x="30" y="3"/>
                    </a:lnTo>
                    <a:lnTo>
                      <a:pt x="30" y="2"/>
                    </a:lnTo>
                    <a:lnTo>
                      <a:pt x="31" y="3"/>
                    </a:lnTo>
                    <a:lnTo>
                      <a:pt x="33" y="3"/>
                    </a:lnTo>
                    <a:lnTo>
                      <a:pt x="33" y="3"/>
                    </a:lnTo>
                    <a:lnTo>
                      <a:pt x="33" y="2"/>
                    </a:lnTo>
                    <a:lnTo>
                      <a:pt x="34" y="0"/>
                    </a:lnTo>
                    <a:lnTo>
                      <a:pt x="34" y="0"/>
                    </a:lnTo>
                    <a:lnTo>
                      <a:pt x="36" y="0"/>
                    </a:lnTo>
                    <a:lnTo>
                      <a:pt x="36" y="2"/>
                    </a:lnTo>
                    <a:lnTo>
                      <a:pt x="37" y="2"/>
                    </a:lnTo>
                    <a:lnTo>
                      <a:pt x="39" y="0"/>
                    </a:lnTo>
                    <a:lnTo>
                      <a:pt x="41" y="0"/>
                    </a:lnTo>
                    <a:lnTo>
                      <a:pt x="41" y="0"/>
                    </a:lnTo>
                    <a:lnTo>
                      <a:pt x="41"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6" name="Freeform 23">
                <a:extLst>
                  <a:ext uri="{FF2B5EF4-FFF2-40B4-BE49-F238E27FC236}">
                    <a16:creationId xmlns:a16="http://schemas.microsoft.com/office/drawing/2014/main" id="{0F9F8C67-7E25-3EE5-2820-931BBD2F09F1}"/>
                  </a:ext>
                </a:extLst>
              </p:cNvPr>
              <p:cNvSpPr>
                <a:spLocks/>
              </p:cNvSpPr>
              <p:nvPr/>
            </p:nvSpPr>
            <p:spPr bwMode="gray">
              <a:xfrm>
                <a:off x="2578" y="1311"/>
                <a:ext cx="139" cy="101"/>
              </a:xfrm>
              <a:custGeom>
                <a:avLst/>
                <a:gdLst>
                  <a:gd name="T0" fmla="*/ 100 w 139"/>
                  <a:gd name="T1" fmla="*/ 7 h 101"/>
                  <a:gd name="T2" fmla="*/ 103 w 139"/>
                  <a:gd name="T3" fmla="*/ 15 h 101"/>
                  <a:gd name="T4" fmla="*/ 107 w 139"/>
                  <a:gd name="T5" fmla="*/ 22 h 101"/>
                  <a:gd name="T6" fmla="*/ 111 w 139"/>
                  <a:gd name="T7" fmla="*/ 25 h 101"/>
                  <a:gd name="T8" fmla="*/ 114 w 139"/>
                  <a:gd name="T9" fmla="*/ 27 h 101"/>
                  <a:gd name="T10" fmla="*/ 118 w 139"/>
                  <a:gd name="T11" fmla="*/ 32 h 101"/>
                  <a:gd name="T12" fmla="*/ 114 w 139"/>
                  <a:gd name="T13" fmla="*/ 33 h 101"/>
                  <a:gd name="T14" fmla="*/ 119 w 139"/>
                  <a:gd name="T15" fmla="*/ 40 h 101"/>
                  <a:gd name="T16" fmla="*/ 128 w 139"/>
                  <a:gd name="T17" fmla="*/ 44 h 101"/>
                  <a:gd name="T18" fmla="*/ 133 w 139"/>
                  <a:gd name="T19" fmla="*/ 43 h 101"/>
                  <a:gd name="T20" fmla="*/ 136 w 139"/>
                  <a:gd name="T21" fmla="*/ 47 h 101"/>
                  <a:gd name="T22" fmla="*/ 133 w 139"/>
                  <a:gd name="T23" fmla="*/ 49 h 101"/>
                  <a:gd name="T24" fmla="*/ 135 w 139"/>
                  <a:gd name="T25" fmla="*/ 52 h 101"/>
                  <a:gd name="T26" fmla="*/ 136 w 139"/>
                  <a:gd name="T27" fmla="*/ 60 h 101"/>
                  <a:gd name="T28" fmla="*/ 125 w 139"/>
                  <a:gd name="T29" fmla="*/ 66 h 101"/>
                  <a:gd name="T30" fmla="*/ 122 w 139"/>
                  <a:gd name="T31" fmla="*/ 65 h 101"/>
                  <a:gd name="T32" fmla="*/ 119 w 139"/>
                  <a:gd name="T33" fmla="*/ 68 h 101"/>
                  <a:gd name="T34" fmla="*/ 118 w 139"/>
                  <a:gd name="T35" fmla="*/ 69 h 101"/>
                  <a:gd name="T36" fmla="*/ 116 w 139"/>
                  <a:gd name="T37" fmla="*/ 71 h 101"/>
                  <a:gd name="T38" fmla="*/ 114 w 139"/>
                  <a:gd name="T39" fmla="*/ 72 h 101"/>
                  <a:gd name="T40" fmla="*/ 107 w 139"/>
                  <a:gd name="T41" fmla="*/ 74 h 101"/>
                  <a:gd name="T42" fmla="*/ 100 w 139"/>
                  <a:gd name="T43" fmla="*/ 71 h 101"/>
                  <a:gd name="T44" fmla="*/ 91 w 139"/>
                  <a:gd name="T45" fmla="*/ 71 h 101"/>
                  <a:gd name="T46" fmla="*/ 88 w 139"/>
                  <a:gd name="T47" fmla="*/ 72 h 101"/>
                  <a:gd name="T48" fmla="*/ 86 w 139"/>
                  <a:gd name="T49" fmla="*/ 74 h 101"/>
                  <a:gd name="T50" fmla="*/ 80 w 139"/>
                  <a:gd name="T51" fmla="*/ 72 h 101"/>
                  <a:gd name="T52" fmla="*/ 69 w 139"/>
                  <a:gd name="T53" fmla="*/ 72 h 101"/>
                  <a:gd name="T54" fmla="*/ 53 w 139"/>
                  <a:gd name="T55" fmla="*/ 72 h 101"/>
                  <a:gd name="T56" fmla="*/ 47 w 139"/>
                  <a:gd name="T57" fmla="*/ 74 h 101"/>
                  <a:gd name="T58" fmla="*/ 47 w 139"/>
                  <a:gd name="T59" fmla="*/ 82 h 101"/>
                  <a:gd name="T60" fmla="*/ 47 w 139"/>
                  <a:gd name="T61" fmla="*/ 85 h 101"/>
                  <a:gd name="T62" fmla="*/ 49 w 139"/>
                  <a:gd name="T63" fmla="*/ 90 h 101"/>
                  <a:gd name="T64" fmla="*/ 49 w 139"/>
                  <a:gd name="T65" fmla="*/ 96 h 101"/>
                  <a:gd name="T66" fmla="*/ 49 w 139"/>
                  <a:gd name="T67" fmla="*/ 101 h 101"/>
                  <a:gd name="T68" fmla="*/ 46 w 139"/>
                  <a:gd name="T69" fmla="*/ 97 h 101"/>
                  <a:gd name="T70" fmla="*/ 41 w 139"/>
                  <a:gd name="T71" fmla="*/ 93 h 101"/>
                  <a:gd name="T72" fmla="*/ 35 w 139"/>
                  <a:gd name="T73" fmla="*/ 91 h 101"/>
                  <a:gd name="T74" fmla="*/ 24 w 139"/>
                  <a:gd name="T75" fmla="*/ 94 h 101"/>
                  <a:gd name="T76" fmla="*/ 19 w 139"/>
                  <a:gd name="T77" fmla="*/ 96 h 101"/>
                  <a:gd name="T78" fmla="*/ 13 w 139"/>
                  <a:gd name="T79" fmla="*/ 93 h 101"/>
                  <a:gd name="T80" fmla="*/ 8 w 139"/>
                  <a:gd name="T81" fmla="*/ 88 h 101"/>
                  <a:gd name="T82" fmla="*/ 2 w 139"/>
                  <a:gd name="T83" fmla="*/ 85 h 101"/>
                  <a:gd name="T84" fmla="*/ 0 w 139"/>
                  <a:gd name="T85" fmla="*/ 80 h 101"/>
                  <a:gd name="T86" fmla="*/ 0 w 139"/>
                  <a:gd name="T87" fmla="*/ 72 h 101"/>
                  <a:gd name="T88" fmla="*/ 5 w 139"/>
                  <a:gd name="T89" fmla="*/ 66 h 101"/>
                  <a:gd name="T90" fmla="*/ 3 w 139"/>
                  <a:gd name="T91" fmla="*/ 60 h 101"/>
                  <a:gd name="T92" fmla="*/ 7 w 139"/>
                  <a:gd name="T93" fmla="*/ 57 h 101"/>
                  <a:gd name="T94" fmla="*/ 14 w 139"/>
                  <a:gd name="T95" fmla="*/ 54 h 101"/>
                  <a:gd name="T96" fmla="*/ 19 w 139"/>
                  <a:gd name="T97" fmla="*/ 50 h 101"/>
                  <a:gd name="T98" fmla="*/ 19 w 139"/>
                  <a:gd name="T99" fmla="*/ 44 h 101"/>
                  <a:gd name="T100" fmla="*/ 22 w 139"/>
                  <a:gd name="T101" fmla="*/ 38 h 101"/>
                  <a:gd name="T102" fmla="*/ 24 w 139"/>
                  <a:gd name="T103" fmla="*/ 33 h 101"/>
                  <a:gd name="T104" fmla="*/ 30 w 139"/>
                  <a:gd name="T105" fmla="*/ 30 h 101"/>
                  <a:gd name="T106" fmla="*/ 38 w 139"/>
                  <a:gd name="T107" fmla="*/ 33 h 101"/>
                  <a:gd name="T108" fmla="*/ 39 w 139"/>
                  <a:gd name="T109" fmla="*/ 25 h 101"/>
                  <a:gd name="T110" fmla="*/ 46 w 139"/>
                  <a:gd name="T111" fmla="*/ 25 h 101"/>
                  <a:gd name="T112" fmla="*/ 47 w 139"/>
                  <a:gd name="T113" fmla="*/ 21 h 101"/>
                  <a:gd name="T114" fmla="*/ 53 w 139"/>
                  <a:gd name="T115" fmla="*/ 15 h 101"/>
                  <a:gd name="T116" fmla="*/ 64 w 139"/>
                  <a:gd name="T117" fmla="*/ 10 h 101"/>
                  <a:gd name="T118" fmla="*/ 71 w 139"/>
                  <a:gd name="T119" fmla="*/ 8 h 101"/>
                  <a:gd name="T120" fmla="*/ 82 w 139"/>
                  <a:gd name="T121" fmla="*/ 2 h 101"/>
                  <a:gd name="T122" fmla="*/ 89 w 139"/>
                  <a:gd name="T123" fmla="*/ 0 h 101"/>
                  <a:gd name="T124" fmla="*/ 97 w 139"/>
                  <a:gd name="T125"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 h="101">
                    <a:moveTo>
                      <a:pt x="100" y="2"/>
                    </a:moveTo>
                    <a:lnTo>
                      <a:pt x="100" y="4"/>
                    </a:lnTo>
                    <a:lnTo>
                      <a:pt x="100" y="5"/>
                    </a:lnTo>
                    <a:lnTo>
                      <a:pt x="100" y="7"/>
                    </a:lnTo>
                    <a:lnTo>
                      <a:pt x="100" y="10"/>
                    </a:lnTo>
                    <a:lnTo>
                      <a:pt x="102" y="11"/>
                    </a:lnTo>
                    <a:lnTo>
                      <a:pt x="103" y="15"/>
                    </a:lnTo>
                    <a:lnTo>
                      <a:pt x="103" y="15"/>
                    </a:lnTo>
                    <a:lnTo>
                      <a:pt x="103" y="16"/>
                    </a:lnTo>
                    <a:lnTo>
                      <a:pt x="103" y="18"/>
                    </a:lnTo>
                    <a:lnTo>
                      <a:pt x="105" y="19"/>
                    </a:lnTo>
                    <a:lnTo>
                      <a:pt x="107" y="22"/>
                    </a:lnTo>
                    <a:lnTo>
                      <a:pt x="108" y="24"/>
                    </a:lnTo>
                    <a:lnTo>
                      <a:pt x="108" y="25"/>
                    </a:lnTo>
                    <a:lnTo>
                      <a:pt x="110" y="25"/>
                    </a:lnTo>
                    <a:lnTo>
                      <a:pt x="111" y="25"/>
                    </a:lnTo>
                    <a:lnTo>
                      <a:pt x="111" y="25"/>
                    </a:lnTo>
                    <a:lnTo>
                      <a:pt x="113" y="25"/>
                    </a:lnTo>
                    <a:lnTo>
                      <a:pt x="113" y="27"/>
                    </a:lnTo>
                    <a:lnTo>
                      <a:pt x="114" y="27"/>
                    </a:lnTo>
                    <a:lnTo>
                      <a:pt x="114" y="29"/>
                    </a:lnTo>
                    <a:lnTo>
                      <a:pt x="116" y="30"/>
                    </a:lnTo>
                    <a:lnTo>
                      <a:pt x="118" y="30"/>
                    </a:lnTo>
                    <a:lnTo>
                      <a:pt x="118" y="32"/>
                    </a:lnTo>
                    <a:lnTo>
                      <a:pt x="116" y="32"/>
                    </a:lnTo>
                    <a:lnTo>
                      <a:pt x="114" y="30"/>
                    </a:lnTo>
                    <a:lnTo>
                      <a:pt x="114" y="32"/>
                    </a:lnTo>
                    <a:lnTo>
                      <a:pt x="114" y="33"/>
                    </a:lnTo>
                    <a:lnTo>
                      <a:pt x="114" y="36"/>
                    </a:lnTo>
                    <a:lnTo>
                      <a:pt x="114" y="36"/>
                    </a:lnTo>
                    <a:lnTo>
                      <a:pt x="116" y="36"/>
                    </a:lnTo>
                    <a:lnTo>
                      <a:pt x="119" y="40"/>
                    </a:lnTo>
                    <a:lnTo>
                      <a:pt x="124" y="43"/>
                    </a:lnTo>
                    <a:lnTo>
                      <a:pt x="124" y="44"/>
                    </a:lnTo>
                    <a:lnTo>
                      <a:pt x="127" y="44"/>
                    </a:lnTo>
                    <a:lnTo>
                      <a:pt x="128" y="44"/>
                    </a:lnTo>
                    <a:lnTo>
                      <a:pt x="128" y="44"/>
                    </a:lnTo>
                    <a:lnTo>
                      <a:pt x="132" y="43"/>
                    </a:lnTo>
                    <a:lnTo>
                      <a:pt x="132" y="43"/>
                    </a:lnTo>
                    <a:lnTo>
                      <a:pt x="133" y="43"/>
                    </a:lnTo>
                    <a:lnTo>
                      <a:pt x="133" y="43"/>
                    </a:lnTo>
                    <a:lnTo>
                      <a:pt x="135" y="44"/>
                    </a:lnTo>
                    <a:lnTo>
                      <a:pt x="136" y="46"/>
                    </a:lnTo>
                    <a:lnTo>
                      <a:pt x="136" y="47"/>
                    </a:lnTo>
                    <a:lnTo>
                      <a:pt x="136" y="47"/>
                    </a:lnTo>
                    <a:lnTo>
                      <a:pt x="136" y="47"/>
                    </a:lnTo>
                    <a:lnTo>
                      <a:pt x="133" y="47"/>
                    </a:lnTo>
                    <a:lnTo>
                      <a:pt x="133" y="49"/>
                    </a:lnTo>
                    <a:lnTo>
                      <a:pt x="133" y="49"/>
                    </a:lnTo>
                    <a:lnTo>
                      <a:pt x="133" y="49"/>
                    </a:lnTo>
                    <a:lnTo>
                      <a:pt x="133" y="50"/>
                    </a:lnTo>
                    <a:lnTo>
                      <a:pt x="135" y="52"/>
                    </a:lnTo>
                    <a:lnTo>
                      <a:pt x="138" y="55"/>
                    </a:lnTo>
                    <a:lnTo>
                      <a:pt x="139" y="57"/>
                    </a:lnTo>
                    <a:lnTo>
                      <a:pt x="138" y="58"/>
                    </a:lnTo>
                    <a:lnTo>
                      <a:pt x="136" y="60"/>
                    </a:lnTo>
                    <a:lnTo>
                      <a:pt x="136" y="61"/>
                    </a:lnTo>
                    <a:lnTo>
                      <a:pt x="132" y="65"/>
                    </a:lnTo>
                    <a:lnTo>
                      <a:pt x="130" y="65"/>
                    </a:lnTo>
                    <a:lnTo>
                      <a:pt x="125" y="66"/>
                    </a:lnTo>
                    <a:lnTo>
                      <a:pt x="124" y="65"/>
                    </a:lnTo>
                    <a:lnTo>
                      <a:pt x="124" y="65"/>
                    </a:lnTo>
                    <a:lnTo>
                      <a:pt x="122" y="65"/>
                    </a:lnTo>
                    <a:lnTo>
                      <a:pt x="122" y="65"/>
                    </a:lnTo>
                    <a:lnTo>
                      <a:pt x="121" y="66"/>
                    </a:lnTo>
                    <a:lnTo>
                      <a:pt x="121" y="66"/>
                    </a:lnTo>
                    <a:lnTo>
                      <a:pt x="121" y="68"/>
                    </a:lnTo>
                    <a:lnTo>
                      <a:pt x="119" y="68"/>
                    </a:lnTo>
                    <a:lnTo>
                      <a:pt x="119" y="68"/>
                    </a:lnTo>
                    <a:lnTo>
                      <a:pt x="118" y="68"/>
                    </a:lnTo>
                    <a:lnTo>
                      <a:pt x="118" y="68"/>
                    </a:lnTo>
                    <a:lnTo>
                      <a:pt x="118" y="69"/>
                    </a:lnTo>
                    <a:lnTo>
                      <a:pt x="118" y="69"/>
                    </a:lnTo>
                    <a:lnTo>
                      <a:pt x="116" y="69"/>
                    </a:lnTo>
                    <a:lnTo>
                      <a:pt x="116" y="71"/>
                    </a:lnTo>
                    <a:lnTo>
                      <a:pt x="116" y="71"/>
                    </a:lnTo>
                    <a:lnTo>
                      <a:pt x="116" y="72"/>
                    </a:lnTo>
                    <a:lnTo>
                      <a:pt x="114" y="71"/>
                    </a:lnTo>
                    <a:lnTo>
                      <a:pt x="114" y="71"/>
                    </a:lnTo>
                    <a:lnTo>
                      <a:pt x="114" y="72"/>
                    </a:lnTo>
                    <a:lnTo>
                      <a:pt x="113" y="72"/>
                    </a:lnTo>
                    <a:lnTo>
                      <a:pt x="113" y="72"/>
                    </a:lnTo>
                    <a:lnTo>
                      <a:pt x="108" y="72"/>
                    </a:lnTo>
                    <a:lnTo>
                      <a:pt x="107" y="74"/>
                    </a:lnTo>
                    <a:lnTo>
                      <a:pt x="105" y="74"/>
                    </a:lnTo>
                    <a:lnTo>
                      <a:pt x="105" y="72"/>
                    </a:lnTo>
                    <a:lnTo>
                      <a:pt x="105" y="72"/>
                    </a:lnTo>
                    <a:lnTo>
                      <a:pt x="100" y="71"/>
                    </a:lnTo>
                    <a:lnTo>
                      <a:pt x="96" y="71"/>
                    </a:lnTo>
                    <a:lnTo>
                      <a:pt x="91" y="69"/>
                    </a:lnTo>
                    <a:lnTo>
                      <a:pt x="91" y="71"/>
                    </a:lnTo>
                    <a:lnTo>
                      <a:pt x="91" y="71"/>
                    </a:lnTo>
                    <a:lnTo>
                      <a:pt x="89" y="71"/>
                    </a:lnTo>
                    <a:lnTo>
                      <a:pt x="89" y="71"/>
                    </a:lnTo>
                    <a:lnTo>
                      <a:pt x="89" y="72"/>
                    </a:lnTo>
                    <a:lnTo>
                      <a:pt x="88" y="72"/>
                    </a:lnTo>
                    <a:lnTo>
                      <a:pt x="88" y="72"/>
                    </a:lnTo>
                    <a:lnTo>
                      <a:pt x="86" y="74"/>
                    </a:lnTo>
                    <a:lnTo>
                      <a:pt x="86" y="74"/>
                    </a:lnTo>
                    <a:lnTo>
                      <a:pt x="86" y="74"/>
                    </a:lnTo>
                    <a:lnTo>
                      <a:pt x="85" y="72"/>
                    </a:lnTo>
                    <a:lnTo>
                      <a:pt x="83" y="72"/>
                    </a:lnTo>
                    <a:lnTo>
                      <a:pt x="82" y="72"/>
                    </a:lnTo>
                    <a:lnTo>
                      <a:pt x="80" y="72"/>
                    </a:lnTo>
                    <a:lnTo>
                      <a:pt x="78" y="72"/>
                    </a:lnTo>
                    <a:lnTo>
                      <a:pt x="75" y="72"/>
                    </a:lnTo>
                    <a:lnTo>
                      <a:pt x="71" y="72"/>
                    </a:lnTo>
                    <a:lnTo>
                      <a:pt x="69" y="72"/>
                    </a:lnTo>
                    <a:lnTo>
                      <a:pt x="69" y="72"/>
                    </a:lnTo>
                    <a:lnTo>
                      <a:pt x="63" y="72"/>
                    </a:lnTo>
                    <a:lnTo>
                      <a:pt x="58" y="72"/>
                    </a:lnTo>
                    <a:lnTo>
                      <a:pt x="53" y="72"/>
                    </a:lnTo>
                    <a:lnTo>
                      <a:pt x="49" y="72"/>
                    </a:lnTo>
                    <a:lnTo>
                      <a:pt x="49" y="72"/>
                    </a:lnTo>
                    <a:lnTo>
                      <a:pt x="47" y="72"/>
                    </a:lnTo>
                    <a:lnTo>
                      <a:pt x="47" y="74"/>
                    </a:lnTo>
                    <a:lnTo>
                      <a:pt x="46" y="77"/>
                    </a:lnTo>
                    <a:lnTo>
                      <a:pt x="46" y="80"/>
                    </a:lnTo>
                    <a:lnTo>
                      <a:pt x="46" y="82"/>
                    </a:lnTo>
                    <a:lnTo>
                      <a:pt x="47" y="82"/>
                    </a:lnTo>
                    <a:lnTo>
                      <a:pt x="47" y="83"/>
                    </a:lnTo>
                    <a:lnTo>
                      <a:pt x="49" y="83"/>
                    </a:lnTo>
                    <a:lnTo>
                      <a:pt x="47" y="83"/>
                    </a:lnTo>
                    <a:lnTo>
                      <a:pt x="47" y="85"/>
                    </a:lnTo>
                    <a:lnTo>
                      <a:pt x="49" y="85"/>
                    </a:lnTo>
                    <a:lnTo>
                      <a:pt x="49" y="86"/>
                    </a:lnTo>
                    <a:lnTo>
                      <a:pt x="47" y="86"/>
                    </a:lnTo>
                    <a:lnTo>
                      <a:pt x="49" y="90"/>
                    </a:lnTo>
                    <a:lnTo>
                      <a:pt x="49" y="93"/>
                    </a:lnTo>
                    <a:lnTo>
                      <a:pt x="49" y="94"/>
                    </a:lnTo>
                    <a:lnTo>
                      <a:pt x="49" y="94"/>
                    </a:lnTo>
                    <a:lnTo>
                      <a:pt x="49" y="96"/>
                    </a:lnTo>
                    <a:lnTo>
                      <a:pt x="49" y="99"/>
                    </a:lnTo>
                    <a:lnTo>
                      <a:pt x="50" y="99"/>
                    </a:lnTo>
                    <a:lnTo>
                      <a:pt x="49" y="101"/>
                    </a:lnTo>
                    <a:lnTo>
                      <a:pt x="49" y="101"/>
                    </a:lnTo>
                    <a:lnTo>
                      <a:pt x="47" y="101"/>
                    </a:lnTo>
                    <a:lnTo>
                      <a:pt x="47" y="99"/>
                    </a:lnTo>
                    <a:lnTo>
                      <a:pt x="46" y="99"/>
                    </a:lnTo>
                    <a:lnTo>
                      <a:pt x="46" y="97"/>
                    </a:lnTo>
                    <a:lnTo>
                      <a:pt x="44" y="96"/>
                    </a:lnTo>
                    <a:lnTo>
                      <a:pt x="44" y="96"/>
                    </a:lnTo>
                    <a:lnTo>
                      <a:pt x="42" y="94"/>
                    </a:lnTo>
                    <a:lnTo>
                      <a:pt x="41" y="93"/>
                    </a:lnTo>
                    <a:lnTo>
                      <a:pt x="41" y="93"/>
                    </a:lnTo>
                    <a:lnTo>
                      <a:pt x="39" y="93"/>
                    </a:lnTo>
                    <a:lnTo>
                      <a:pt x="38" y="93"/>
                    </a:lnTo>
                    <a:lnTo>
                      <a:pt x="35" y="91"/>
                    </a:lnTo>
                    <a:lnTo>
                      <a:pt x="30" y="93"/>
                    </a:lnTo>
                    <a:lnTo>
                      <a:pt x="28" y="93"/>
                    </a:lnTo>
                    <a:lnTo>
                      <a:pt x="27" y="93"/>
                    </a:lnTo>
                    <a:lnTo>
                      <a:pt x="24" y="94"/>
                    </a:lnTo>
                    <a:lnTo>
                      <a:pt x="22" y="94"/>
                    </a:lnTo>
                    <a:lnTo>
                      <a:pt x="21" y="97"/>
                    </a:lnTo>
                    <a:lnTo>
                      <a:pt x="19" y="97"/>
                    </a:lnTo>
                    <a:lnTo>
                      <a:pt x="19" y="96"/>
                    </a:lnTo>
                    <a:lnTo>
                      <a:pt x="17" y="96"/>
                    </a:lnTo>
                    <a:lnTo>
                      <a:pt x="16" y="96"/>
                    </a:lnTo>
                    <a:lnTo>
                      <a:pt x="14" y="94"/>
                    </a:lnTo>
                    <a:lnTo>
                      <a:pt x="13" y="93"/>
                    </a:lnTo>
                    <a:lnTo>
                      <a:pt x="11" y="93"/>
                    </a:lnTo>
                    <a:lnTo>
                      <a:pt x="10" y="91"/>
                    </a:lnTo>
                    <a:lnTo>
                      <a:pt x="10" y="90"/>
                    </a:lnTo>
                    <a:lnTo>
                      <a:pt x="8" y="88"/>
                    </a:lnTo>
                    <a:lnTo>
                      <a:pt x="8" y="86"/>
                    </a:lnTo>
                    <a:lnTo>
                      <a:pt x="7" y="85"/>
                    </a:lnTo>
                    <a:lnTo>
                      <a:pt x="5" y="85"/>
                    </a:lnTo>
                    <a:lnTo>
                      <a:pt x="2" y="85"/>
                    </a:lnTo>
                    <a:lnTo>
                      <a:pt x="0" y="85"/>
                    </a:lnTo>
                    <a:lnTo>
                      <a:pt x="0" y="83"/>
                    </a:lnTo>
                    <a:lnTo>
                      <a:pt x="0" y="82"/>
                    </a:lnTo>
                    <a:lnTo>
                      <a:pt x="0" y="80"/>
                    </a:lnTo>
                    <a:lnTo>
                      <a:pt x="0" y="79"/>
                    </a:lnTo>
                    <a:lnTo>
                      <a:pt x="2" y="77"/>
                    </a:lnTo>
                    <a:lnTo>
                      <a:pt x="0" y="74"/>
                    </a:lnTo>
                    <a:lnTo>
                      <a:pt x="0" y="72"/>
                    </a:lnTo>
                    <a:lnTo>
                      <a:pt x="2" y="71"/>
                    </a:lnTo>
                    <a:lnTo>
                      <a:pt x="3" y="71"/>
                    </a:lnTo>
                    <a:lnTo>
                      <a:pt x="3" y="69"/>
                    </a:lnTo>
                    <a:lnTo>
                      <a:pt x="5" y="66"/>
                    </a:lnTo>
                    <a:lnTo>
                      <a:pt x="5" y="63"/>
                    </a:lnTo>
                    <a:lnTo>
                      <a:pt x="5" y="63"/>
                    </a:lnTo>
                    <a:lnTo>
                      <a:pt x="5" y="61"/>
                    </a:lnTo>
                    <a:lnTo>
                      <a:pt x="3" y="60"/>
                    </a:lnTo>
                    <a:lnTo>
                      <a:pt x="3" y="60"/>
                    </a:lnTo>
                    <a:lnTo>
                      <a:pt x="3" y="58"/>
                    </a:lnTo>
                    <a:lnTo>
                      <a:pt x="5" y="57"/>
                    </a:lnTo>
                    <a:lnTo>
                      <a:pt x="7" y="57"/>
                    </a:lnTo>
                    <a:lnTo>
                      <a:pt x="7" y="55"/>
                    </a:lnTo>
                    <a:lnTo>
                      <a:pt x="10" y="55"/>
                    </a:lnTo>
                    <a:lnTo>
                      <a:pt x="13" y="55"/>
                    </a:lnTo>
                    <a:lnTo>
                      <a:pt x="14" y="54"/>
                    </a:lnTo>
                    <a:lnTo>
                      <a:pt x="16" y="52"/>
                    </a:lnTo>
                    <a:lnTo>
                      <a:pt x="16" y="52"/>
                    </a:lnTo>
                    <a:lnTo>
                      <a:pt x="17" y="50"/>
                    </a:lnTo>
                    <a:lnTo>
                      <a:pt x="19" y="50"/>
                    </a:lnTo>
                    <a:lnTo>
                      <a:pt x="19" y="49"/>
                    </a:lnTo>
                    <a:lnTo>
                      <a:pt x="19" y="46"/>
                    </a:lnTo>
                    <a:lnTo>
                      <a:pt x="19" y="44"/>
                    </a:lnTo>
                    <a:lnTo>
                      <a:pt x="19" y="44"/>
                    </a:lnTo>
                    <a:lnTo>
                      <a:pt x="19" y="43"/>
                    </a:lnTo>
                    <a:lnTo>
                      <a:pt x="22" y="41"/>
                    </a:lnTo>
                    <a:lnTo>
                      <a:pt x="22" y="40"/>
                    </a:lnTo>
                    <a:lnTo>
                      <a:pt x="22" y="38"/>
                    </a:lnTo>
                    <a:lnTo>
                      <a:pt x="21" y="36"/>
                    </a:lnTo>
                    <a:lnTo>
                      <a:pt x="21" y="35"/>
                    </a:lnTo>
                    <a:lnTo>
                      <a:pt x="22" y="33"/>
                    </a:lnTo>
                    <a:lnTo>
                      <a:pt x="24" y="33"/>
                    </a:lnTo>
                    <a:lnTo>
                      <a:pt x="24" y="32"/>
                    </a:lnTo>
                    <a:lnTo>
                      <a:pt x="25" y="30"/>
                    </a:lnTo>
                    <a:lnTo>
                      <a:pt x="27" y="30"/>
                    </a:lnTo>
                    <a:lnTo>
                      <a:pt x="30" y="30"/>
                    </a:lnTo>
                    <a:lnTo>
                      <a:pt x="35" y="33"/>
                    </a:lnTo>
                    <a:lnTo>
                      <a:pt x="35" y="33"/>
                    </a:lnTo>
                    <a:lnTo>
                      <a:pt x="36" y="33"/>
                    </a:lnTo>
                    <a:lnTo>
                      <a:pt x="38" y="33"/>
                    </a:lnTo>
                    <a:lnTo>
                      <a:pt x="39" y="32"/>
                    </a:lnTo>
                    <a:lnTo>
                      <a:pt x="39" y="30"/>
                    </a:lnTo>
                    <a:lnTo>
                      <a:pt x="39" y="27"/>
                    </a:lnTo>
                    <a:lnTo>
                      <a:pt x="39" y="25"/>
                    </a:lnTo>
                    <a:lnTo>
                      <a:pt x="41" y="25"/>
                    </a:lnTo>
                    <a:lnTo>
                      <a:pt x="44" y="25"/>
                    </a:lnTo>
                    <a:lnTo>
                      <a:pt x="44" y="25"/>
                    </a:lnTo>
                    <a:lnTo>
                      <a:pt x="46" y="25"/>
                    </a:lnTo>
                    <a:lnTo>
                      <a:pt x="46" y="25"/>
                    </a:lnTo>
                    <a:lnTo>
                      <a:pt x="46" y="24"/>
                    </a:lnTo>
                    <a:lnTo>
                      <a:pt x="46" y="22"/>
                    </a:lnTo>
                    <a:lnTo>
                      <a:pt x="47" y="21"/>
                    </a:lnTo>
                    <a:lnTo>
                      <a:pt x="49" y="18"/>
                    </a:lnTo>
                    <a:lnTo>
                      <a:pt x="52" y="15"/>
                    </a:lnTo>
                    <a:lnTo>
                      <a:pt x="52" y="15"/>
                    </a:lnTo>
                    <a:lnTo>
                      <a:pt x="53" y="15"/>
                    </a:lnTo>
                    <a:lnTo>
                      <a:pt x="60" y="16"/>
                    </a:lnTo>
                    <a:lnTo>
                      <a:pt x="61" y="16"/>
                    </a:lnTo>
                    <a:lnTo>
                      <a:pt x="63" y="11"/>
                    </a:lnTo>
                    <a:lnTo>
                      <a:pt x="64" y="10"/>
                    </a:lnTo>
                    <a:lnTo>
                      <a:pt x="66" y="10"/>
                    </a:lnTo>
                    <a:lnTo>
                      <a:pt x="67" y="10"/>
                    </a:lnTo>
                    <a:lnTo>
                      <a:pt x="67" y="10"/>
                    </a:lnTo>
                    <a:lnTo>
                      <a:pt x="71" y="8"/>
                    </a:lnTo>
                    <a:lnTo>
                      <a:pt x="75" y="5"/>
                    </a:lnTo>
                    <a:lnTo>
                      <a:pt x="78" y="5"/>
                    </a:lnTo>
                    <a:lnTo>
                      <a:pt x="78" y="4"/>
                    </a:lnTo>
                    <a:lnTo>
                      <a:pt x="82" y="2"/>
                    </a:lnTo>
                    <a:lnTo>
                      <a:pt x="83" y="0"/>
                    </a:lnTo>
                    <a:lnTo>
                      <a:pt x="85" y="0"/>
                    </a:lnTo>
                    <a:lnTo>
                      <a:pt x="88" y="0"/>
                    </a:lnTo>
                    <a:lnTo>
                      <a:pt x="89" y="0"/>
                    </a:lnTo>
                    <a:lnTo>
                      <a:pt x="89" y="0"/>
                    </a:lnTo>
                    <a:lnTo>
                      <a:pt x="89" y="0"/>
                    </a:lnTo>
                    <a:lnTo>
                      <a:pt x="92" y="0"/>
                    </a:lnTo>
                    <a:lnTo>
                      <a:pt x="97" y="2"/>
                    </a:lnTo>
                    <a:lnTo>
                      <a:pt x="100"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7" name="Freeform 24">
                <a:extLst>
                  <a:ext uri="{FF2B5EF4-FFF2-40B4-BE49-F238E27FC236}">
                    <a16:creationId xmlns:a16="http://schemas.microsoft.com/office/drawing/2014/main" id="{861771D9-0163-1F31-DF1E-56005015BC59}"/>
                  </a:ext>
                </a:extLst>
              </p:cNvPr>
              <p:cNvSpPr>
                <a:spLocks/>
              </p:cNvSpPr>
              <p:nvPr/>
            </p:nvSpPr>
            <p:spPr bwMode="gray">
              <a:xfrm>
                <a:off x="3068" y="714"/>
                <a:ext cx="109" cy="70"/>
              </a:xfrm>
              <a:custGeom>
                <a:avLst/>
                <a:gdLst>
                  <a:gd name="T0" fmla="*/ 106 w 109"/>
                  <a:gd name="T1" fmla="*/ 20 h 70"/>
                  <a:gd name="T2" fmla="*/ 100 w 109"/>
                  <a:gd name="T3" fmla="*/ 23 h 70"/>
                  <a:gd name="T4" fmla="*/ 97 w 109"/>
                  <a:gd name="T5" fmla="*/ 29 h 70"/>
                  <a:gd name="T6" fmla="*/ 93 w 109"/>
                  <a:gd name="T7" fmla="*/ 36 h 70"/>
                  <a:gd name="T8" fmla="*/ 93 w 109"/>
                  <a:gd name="T9" fmla="*/ 45 h 70"/>
                  <a:gd name="T10" fmla="*/ 98 w 109"/>
                  <a:gd name="T11" fmla="*/ 54 h 70"/>
                  <a:gd name="T12" fmla="*/ 95 w 109"/>
                  <a:gd name="T13" fmla="*/ 54 h 70"/>
                  <a:gd name="T14" fmla="*/ 90 w 109"/>
                  <a:gd name="T15" fmla="*/ 54 h 70"/>
                  <a:gd name="T16" fmla="*/ 87 w 109"/>
                  <a:gd name="T17" fmla="*/ 53 h 70"/>
                  <a:gd name="T18" fmla="*/ 84 w 109"/>
                  <a:gd name="T19" fmla="*/ 51 h 70"/>
                  <a:gd name="T20" fmla="*/ 79 w 109"/>
                  <a:gd name="T21" fmla="*/ 53 h 70"/>
                  <a:gd name="T22" fmla="*/ 75 w 109"/>
                  <a:gd name="T23" fmla="*/ 54 h 70"/>
                  <a:gd name="T24" fmla="*/ 73 w 109"/>
                  <a:gd name="T25" fmla="*/ 56 h 70"/>
                  <a:gd name="T26" fmla="*/ 68 w 109"/>
                  <a:gd name="T27" fmla="*/ 59 h 70"/>
                  <a:gd name="T28" fmla="*/ 67 w 109"/>
                  <a:gd name="T29" fmla="*/ 59 h 70"/>
                  <a:gd name="T30" fmla="*/ 64 w 109"/>
                  <a:gd name="T31" fmla="*/ 61 h 70"/>
                  <a:gd name="T32" fmla="*/ 65 w 109"/>
                  <a:gd name="T33" fmla="*/ 64 h 70"/>
                  <a:gd name="T34" fmla="*/ 64 w 109"/>
                  <a:gd name="T35" fmla="*/ 69 h 70"/>
                  <a:gd name="T36" fmla="*/ 59 w 109"/>
                  <a:gd name="T37" fmla="*/ 69 h 70"/>
                  <a:gd name="T38" fmla="*/ 53 w 109"/>
                  <a:gd name="T39" fmla="*/ 70 h 70"/>
                  <a:gd name="T40" fmla="*/ 45 w 109"/>
                  <a:gd name="T41" fmla="*/ 69 h 70"/>
                  <a:gd name="T42" fmla="*/ 42 w 109"/>
                  <a:gd name="T43" fmla="*/ 69 h 70"/>
                  <a:gd name="T44" fmla="*/ 39 w 109"/>
                  <a:gd name="T45" fmla="*/ 65 h 70"/>
                  <a:gd name="T46" fmla="*/ 36 w 109"/>
                  <a:gd name="T47" fmla="*/ 64 h 70"/>
                  <a:gd name="T48" fmla="*/ 29 w 109"/>
                  <a:gd name="T49" fmla="*/ 64 h 70"/>
                  <a:gd name="T50" fmla="*/ 28 w 109"/>
                  <a:gd name="T51" fmla="*/ 65 h 70"/>
                  <a:gd name="T52" fmla="*/ 22 w 109"/>
                  <a:gd name="T53" fmla="*/ 67 h 70"/>
                  <a:gd name="T54" fmla="*/ 17 w 109"/>
                  <a:gd name="T55" fmla="*/ 67 h 70"/>
                  <a:gd name="T56" fmla="*/ 11 w 109"/>
                  <a:gd name="T57" fmla="*/ 69 h 70"/>
                  <a:gd name="T58" fmla="*/ 9 w 109"/>
                  <a:gd name="T59" fmla="*/ 62 h 70"/>
                  <a:gd name="T60" fmla="*/ 11 w 109"/>
                  <a:gd name="T61" fmla="*/ 59 h 70"/>
                  <a:gd name="T62" fmla="*/ 7 w 109"/>
                  <a:gd name="T63" fmla="*/ 53 h 70"/>
                  <a:gd name="T64" fmla="*/ 3 w 109"/>
                  <a:gd name="T65" fmla="*/ 51 h 70"/>
                  <a:gd name="T66" fmla="*/ 1 w 109"/>
                  <a:gd name="T67" fmla="*/ 45 h 70"/>
                  <a:gd name="T68" fmla="*/ 3 w 109"/>
                  <a:gd name="T69" fmla="*/ 42 h 70"/>
                  <a:gd name="T70" fmla="*/ 1 w 109"/>
                  <a:gd name="T71" fmla="*/ 39 h 70"/>
                  <a:gd name="T72" fmla="*/ 1 w 109"/>
                  <a:gd name="T73" fmla="*/ 34 h 70"/>
                  <a:gd name="T74" fmla="*/ 3 w 109"/>
                  <a:gd name="T75" fmla="*/ 33 h 70"/>
                  <a:gd name="T76" fmla="*/ 7 w 109"/>
                  <a:gd name="T77" fmla="*/ 29 h 70"/>
                  <a:gd name="T78" fmla="*/ 11 w 109"/>
                  <a:gd name="T79" fmla="*/ 26 h 70"/>
                  <a:gd name="T80" fmla="*/ 7 w 109"/>
                  <a:gd name="T81" fmla="*/ 22 h 70"/>
                  <a:gd name="T82" fmla="*/ 3 w 109"/>
                  <a:gd name="T83" fmla="*/ 18 h 70"/>
                  <a:gd name="T84" fmla="*/ 1 w 109"/>
                  <a:gd name="T85" fmla="*/ 14 h 70"/>
                  <a:gd name="T86" fmla="*/ 0 w 109"/>
                  <a:gd name="T87" fmla="*/ 11 h 70"/>
                  <a:gd name="T88" fmla="*/ 0 w 109"/>
                  <a:gd name="T89" fmla="*/ 4 h 70"/>
                  <a:gd name="T90" fmla="*/ 4 w 109"/>
                  <a:gd name="T91" fmla="*/ 1 h 70"/>
                  <a:gd name="T92" fmla="*/ 6 w 109"/>
                  <a:gd name="T93" fmla="*/ 0 h 70"/>
                  <a:gd name="T94" fmla="*/ 11 w 109"/>
                  <a:gd name="T95" fmla="*/ 3 h 70"/>
                  <a:gd name="T96" fmla="*/ 9 w 109"/>
                  <a:gd name="T97" fmla="*/ 6 h 70"/>
                  <a:gd name="T98" fmla="*/ 9 w 109"/>
                  <a:gd name="T99" fmla="*/ 9 h 70"/>
                  <a:gd name="T100" fmla="*/ 20 w 109"/>
                  <a:gd name="T101" fmla="*/ 9 h 70"/>
                  <a:gd name="T102" fmla="*/ 36 w 109"/>
                  <a:gd name="T103" fmla="*/ 11 h 70"/>
                  <a:gd name="T104" fmla="*/ 54 w 109"/>
                  <a:gd name="T105" fmla="*/ 14 h 70"/>
                  <a:gd name="T106" fmla="*/ 62 w 109"/>
                  <a:gd name="T107" fmla="*/ 9 h 70"/>
                  <a:gd name="T108" fmla="*/ 78 w 109"/>
                  <a:gd name="T109" fmla="*/ 1 h 70"/>
                  <a:gd name="T110" fmla="*/ 89 w 109"/>
                  <a:gd name="T111" fmla="*/ 4 h 70"/>
                  <a:gd name="T112" fmla="*/ 93 w 109"/>
                  <a:gd name="T113" fmla="*/ 6 h 70"/>
                  <a:gd name="T114" fmla="*/ 98 w 109"/>
                  <a:gd name="T115" fmla="*/ 7 h 70"/>
                  <a:gd name="T116" fmla="*/ 104 w 109"/>
                  <a:gd name="T117"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70">
                    <a:moveTo>
                      <a:pt x="109" y="12"/>
                    </a:moveTo>
                    <a:lnTo>
                      <a:pt x="108" y="17"/>
                    </a:lnTo>
                    <a:lnTo>
                      <a:pt x="106" y="20"/>
                    </a:lnTo>
                    <a:lnTo>
                      <a:pt x="104" y="18"/>
                    </a:lnTo>
                    <a:lnTo>
                      <a:pt x="101" y="20"/>
                    </a:lnTo>
                    <a:lnTo>
                      <a:pt x="100" y="23"/>
                    </a:lnTo>
                    <a:lnTo>
                      <a:pt x="98" y="23"/>
                    </a:lnTo>
                    <a:lnTo>
                      <a:pt x="97" y="25"/>
                    </a:lnTo>
                    <a:lnTo>
                      <a:pt x="97" y="29"/>
                    </a:lnTo>
                    <a:lnTo>
                      <a:pt x="97" y="36"/>
                    </a:lnTo>
                    <a:lnTo>
                      <a:pt x="95" y="36"/>
                    </a:lnTo>
                    <a:lnTo>
                      <a:pt x="93" y="36"/>
                    </a:lnTo>
                    <a:lnTo>
                      <a:pt x="89" y="42"/>
                    </a:lnTo>
                    <a:lnTo>
                      <a:pt x="92" y="43"/>
                    </a:lnTo>
                    <a:lnTo>
                      <a:pt x="93" y="45"/>
                    </a:lnTo>
                    <a:lnTo>
                      <a:pt x="95" y="48"/>
                    </a:lnTo>
                    <a:lnTo>
                      <a:pt x="98" y="51"/>
                    </a:lnTo>
                    <a:lnTo>
                      <a:pt x="98" y="54"/>
                    </a:lnTo>
                    <a:lnTo>
                      <a:pt x="97" y="53"/>
                    </a:lnTo>
                    <a:lnTo>
                      <a:pt x="95" y="53"/>
                    </a:lnTo>
                    <a:lnTo>
                      <a:pt x="95" y="54"/>
                    </a:lnTo>
                    <a:lnTo>
                      <a:pt x="93" y="54"/>
                    </a:lnTo>
                    <a:lnTo>
                      <a:pt x="92" y="54"/>
                    </a:lnTo>
                    <a:lnTo>
                      <a:pt x="90" y="54"/>
                    </a:lnTo>
                    <a:lnTo>
                      <a:pt x="90" y="54"/>
                    </a:lnTo>
                    <a:lnTo>
                      <a:pt x="89" y="54"/>
                    </a:lnTo>
                    <a:lnTo>
                      <a:pt x="87" y="53"/>
                    </a:lnTo>
                    <a:lnTo>
                      <a:pt x="86" y="51"/>
                    </a:lnTo>
                    <a:lnTo>
                      <a:pt x="86" y="51"/>
                    </a:lnTo>
                    <a:lnTo>
                      <a:pt x="84" y="51"/>
                    </a:lnTo>
                    <a:lnTo>
                      <a:pt x="81" y="51"/>
                    </a:lnTo>
                    <a:lnTo>
                      <a:pt x="81" y="53"/>
                    </a:lnTo>
                    <a:lnTo>
                      <a:pt x="79" y="53"/>
                    </a:lnTo>
                    <a:lnTo>
                      <a:pt x="78" y="53"/>
                    </a:lnTo>
                    <a:lnTo>
                      <a:pt x="75" y="54"/>
                    </a:lnTo>
                    <a:lnTo>
                      <a:pt x="75" y="54"/>
                    </a:lnTo>
                    <a:lnTo>
                      <a:pt x="73" y="54"/>
                    </a:lnTo>
                    <a:lnTo>
                      <a:pt x="73" y="56"/>
                    </a:lnTo>
                    <a:lnTo>
                      <a:pt x="73" y="56"/>
                    </a:lnTo>
                    <a:lnTo>
                      <a:pt x="72" y="58"/>
                    </a:lnTo>
                    <a:lnTo>
                      <a:pt x="70" y="58"/>
                    </a:lnTo>
                    <a:lnTo>
                      <a:pt x="68" y="59"/>
                    </a:lnTo>
                    <a:lnTo>
                      <a:pt x="68" y="59"/>
                    </a:lnTo>
                    <a:lnTo>
                      <a:pt x="68" y="59"/>
                    </a:lnTo>
                    <a:lnTo>
                      <a:pt x="67" y="59"/>
                    </a:lnTo>
                    <a:lnTo>
                      <a:pt x="65" y="59"/>
                    </a:lnTo>
                    <a:lnTo>
                      <a:pt x="65" y="61"/>
                    </a:lnTo>
                    <a:lnTo>
                      <a:pt x="64" y="61"/>
                    </a:lnTo>
                    <a:lnTo>
                      <a:pt x="65" y="62"/>
                    </a:lnTo>
                    <a:lnTo>
                      <a:pt x="65" y="62"/>
                    </a:lnTo>
                    <a:lnTo>
                      <a:pt x="65" y="64"/>
                    </a:lnTo>
                    <a:lnTo>
                      <a:pt x="65" y="67"/>
                    </a:lnTo>
                    <a:lnTo>
                      <a:pt x="65" y="67"/>
                    </a:lnTo>
                    <a:lnTo>
                      <a:pt x="64" y="69"/>
                    </a:lnTo>
                    <a:lnTo>
                      <a:pt x="62" y="69"/>
                    </a:lnTo>
                    <a:lnTo>
                      <a:pt x="59" y="69"/>
                    </a:lnTo>
                    <a:lnTo>
                      <a:pt x="59" y="69"/>
                    </a:lnTo>
                    <a:lnTo>
                      <a:pt x="56" y="69"/>
                    </a:lnTo>
                    <a:lnTo>
                      <a:pt x="54" y="70"/>
                    </a:lnTo>
                    <a:lnTo>
                      <a:pt x="53" y="70"/>
                    </a:lnTo>
                    <a:lnTo>
                      <a:pt x="50" y="70"/>
                    </a:lnTo>
                    <a:lnTo>
                      <a:pt x="48" y="69"/>
                    </a:lnTo>
                    <a:lnTo>
                      <a:pt x="45" y="69"/>
                    </a:lnTo>
                    <a:lnTo>
                      <a:pt x="43" y="67"/>
                    </a:lnTo>
                    <a:lnTo>
                      <a:pt x="42" y="67"/>
                    </a:lnTo>
                    <a:lnTo>
                      <a:pt x="42" y="69"/>
                    </a:lnTo>
                    <a:lnTo>
                      <a:pt x="40" y="67"/>
                    </a:lnTo>
                    <a:lnTo>
                      <a:pt x="39" y="65"/>
                    </a:lnTo>
                    <a:lnTo>
                      <a:pt x="39" y="65"/>
                    </a:lnTo>
                    <a:lnTo>
                      <a:pt x="37" y="64"/>
                    </a:lnTo>
                    <a:lnTo>
                      <a:pt x="37" y="64"/>
                    </a:lnTo>
                    <a:lnTo>
                      <a:pt x="36" y="64"/>
                    </a:lnTo>
                    <a:lnTo>
                      <a:pt x="32" y="64"/>
                    </a:lnTo>
                    <a:lnTo>
                      <a:pt x="32" y="64"/>
                    </a:lnTo>
                    <a:lnTo>
                      <a:pt x="29" y="64"/>
                    </a:lnTo>
                    <a:lnTo>
                      <a:pt x="29" y="65"/>
                    </a:lnTo>
                    <a:lnTo>
                      <a:pt x="28" y="65"/>
                    </a:lnTo>
                    <a:lnTo>
                      <a:pt x="28" y="65"/>
                    </a:lnTo>
                    <a:lnTo>
                      <a:pt x="26" y="65"/>
                    </a:lnTo>
                    <a:lnTo>
                      <a:pt x="25" y="67"/>
                    </a:lnTo>
                    <a:lnTo>
                      <a:pt x="22" y="67"/>
                    </a:lnTo>
                    <a:lnTo>
                      <a:pt x="20" y="67"/>
                    </a:lnTo>
                    <a:lnTo>
                      <a:pt x="18" y="67"/>
                    </a:lnTo>
                    <a:lnTo>
                      <a:pt x="17" y="67"/>
                    </a:lnTo>
                    <a:lnTo>
                      <a:pt x="15" y="67"/>
                    </a:lnTo>
                    <a:lnTo>
                      <a:pt x="14" y="69"/>
                    </a:lnTo>
                    <a:lnTo>
                      <a:pt x="11" y="69"/>
                    </a:lnTo>
                    <a:lnTo>
                      <a:pt x="9" y="69"/>
                    </a:lnTo>
                    <a:lnTo>
                      <a:pt x="9" y="69"/>
                    </a:lnTo>
                    <a:lnTo>
                      <a:pt x="9" y="62"/>
                    </a:lnTo>
                    <a:lnTo>
                      <a:pt x="11" y="59"/>
                    </a:lnTo>
                    <a:lnTo>
                      <a:pt x="11" y="59"/>
                    </a:lnTo>
                    <a:lnTo>
                      <a:pt x="11" y="59"/>
                    </a:lnTo>
                    <a:lnTo>
                      <a:pt x="9" y="58"/>
                    </a:lnTo>
                    <a:lnTo>
                      <a:pt x="9" y="58"/>
                    </a:lnTo>
                    <a:lnTo>
                      <a:pt x="7" y="53"/>
                    </a:lnTo>
                    <a:lnTo>
                      <a:pt x="7" y="53"/>
                    </a:lnTo>
                    <a:lnTo>
                      <a:pt x="4" y="51"/>
                    </a:lnTo>
                    <a:lnTo>
                      <a:pt x="3" y="51"/>
                    </a:lnTo>
                    <a:lnTo>
                      <a:pt x="1" y="50"/>
                    </a:lnTo>
                    <a:lnTo>
                      <a:pt x="0" y="45"/>
                    </a:lnTo>
                    <a:lnTo>
                      <a:pt x="1" y="45"/>
                    </a:lnTo>
                    <a:lnTo>
                      <a:pt x="1" y="45"/>
                    </a:lnTo>
                    <a:lnTo>
                      <a:pt x="3" y="42"/>
                    </a:lnTo>
                    <a:lnTo>
                      <a:pt x="3" y="42"/>
                    </a:lnTo>
                    <a:lnTo>
                      <a:pt x="3" y="40"/>
                    </a:lnTo>
                    <a:lnTo>
                      <a:pt x="1" y="40"/>
                    </a:lnTo>
                    <a:lnTo>
                      <a:pt x="1" y="39"/>
                    </a:lnTo>
                    <a:lnTo>
                      <a:pt x="1" y="36"/>
                    </a:lnTo>
                    <a:lnTo>
                      <a:pt x="1" y="36"/>
                    </a:lnTo>
                    <a:lnTo>
                      <a:pt x="1" y="34"/>
                    </a:lnTo>
                    <a:lnTo>
                      <a:pt x="1" y="33"/>
                    </a:lnTo>
                    <a:lnTo>
                      <a:pt x="3" y="33"/>
                    </a:lnTo>
                    <a:lnTo>
                      <a:pt x="3" y="33"/>
                    </a:lnTo>
                    <a:lnTo>
                      <a:pt x="6" y="33"/>
                    </a:lnTo>
                    <a:lnTo>
                      <a:pt x="7" y="29"/>
                    </a:lnTo>
                    <a:lnTo>
                      <a:pt x="7" y="29"/>
                    </a:lnTo>
                    <a:lnTo>
                      <a:pt x="9" y="28"/>
                    </a:lnTo>
                    <a:lnTo>
                      <a:pt x="9" y="26"/>
                    </a:lnTo>
                    <a:lnTo>
                      <a:pt x="11" y="26"/>
                    </a:lnTo>
                    <a:lnTo>
                      <a:pt x="11" y="25"/>
                    </a:lnTo>
                    <a:lnTo>
                      <a:pt x="7" y="23"/>
                    </a:lnTo>
                    <a:lnTo>
                      <a:pt x="7" y="22"/>
                    </a:lnTo>
                    <a:lnTo>
                      <a:pt x="6" y="22"/>
                    </a:lnTo>
                    <a:lnTo>
                      <a:pt x="6" y="20"/>
                    </a:lnTo>
                    <a:lnTo>
                      <a:pt x="3" y="18"/>
                    </a:lnTo>
                    <a:lnTo>
                      <a:pt x="1" y="17"/>
                    </a:lnTo>
                    <a:lnTo>
                      <a:pt x="1" y="15"/>
                    </a:lnTo>
                    <a:lnTo>
                      <a:pt x="1" y="14"/>
                    </a:lnTo>
                    <a:lnTo>
                      <a:pt x="0" y="12"/>
                    </a:lnTo>
                    <a:lnTo>
                      <a:pt x="0" y="12"/>
                    </a:lnTo>
                    <a:lnTo>
                      <a:pt x="0" y="11"/>
                    </a:lnTo>
                    <a:lnTo>
                      <a:pt x="0" y="9"/>
                    </a:lnTo>
                    <a:lnTo>
                      <a:pt x="0" y="6"/>
                    </a:lnTo>
                    <a:lnTo>
                      <a:pt x="0" y="4"/>
                    </a:lnTo>
                    <a:lnTo>
                      <a:pt x="1" y="4"/>
                    </a:lnTo>
                    <a:lnTo>
                      <a:pt x="3" y="3"/>
                    </a:lnTo>
                    <a:lnTo>
                      <a:pt x="4" y="1"/>
                    </a:lnTo>
                    <a:lnTo>
                      <a:pt x="4" y="0"/>
                    </a:lnTo>
                    <a:lnTo>
                      <a:pt x="4" y="0"/>
                    </a:lnTo>
                    <a:lnTo>
                      <a:pt x="6" y="0"/>
                    </a:lnTo>
                    <a:lnTo>
                      <a:pt x="6" y="0"/>
                    </a:lnTo>
                    <a:lnTo>
                      <a:pt x="9" y="3"/>
                    </a:lnTo>
                    <a:lnTo>
                      <a:pt x="11" y="3"/>
                    </a:lnTo>
                    <a:lnTo>
                      <a:pt x="11" y="4"/>
                    </a:lnTo>
                    <a:lnTo>
                      <a:pt x="11" y="4"/>
                    </a:lnTo>
                    <a:lnTo>
                      <a:pt x="9" y="6"/>
                    </a:lnTo>
                    <a:lnTo>
                      <a:pt x="9" y="6"/>
                    </a:lnTo>
                    <a:lnTo>
                      <a:pt x="7" y="7"/>
                    </a:lnTo>
                    <a:lnTo>
                      <a:pt x="9" y="9"/>
                    </a:lnTo>
                    <a:lnTo>
                      <a:pt x="9" y="9"/>
                    </a:lnTo>
                    <a:lnTo>
                      <a:pt x="15" y="7"/>
                    </a:lnTo>
                    <a:lnTo>
                      <a:pt x="20" y="9"/>
                    </a:lnTo>
                    <a:lnTo>
                      <a:pt x="28" y="11"/>
                    </a:lnTo>
                    <a:lnTo>
                      <a:pt x="32" y="11"/>
                    </a:lnTo>
                    <a:lnTo>
                      <a:pt x="36" y="11"/>
                    </a:lnTo>
                    <a:lnTo>
                      <a:pt x="42" y="12"/>
                    </a:lnTo>
                    <a:lnTo>
                      <a:pt x="48" y="12"/>
                    </a:lnTo>
                    <a:lnTo>
                      <a:pt x="54" y="14"/>
                    </a:lnTo>
                    <a:lnTo>
                      <a:pt x="57" y="12"/>
                    </a:lnTo>
                    <a:lnTo>
                      <a:pt x="61" y="11"/>
                    </a:lnTo>
                    <a:lnTo>
                      <a:pt x="62" y="9"/>
                    </a:lnTo>
                    <a:lnTo>
                      <a:pt x="67" y="4"/>
                    </a:lnTo>
                    <a:lnTo>
                      <a:pt x="72" y="3"/>
                    </a:lnTo>
                    <a:lnTo>
                      <a:pt x="78" y="1"/>
                    </a:lnTo>
                    <a:lnTo>
                      <a:pt x="82" y="1"/>
                    </a:lnTo>
                    <a:lnTo>
                      <a:pt x="82" y="1"/>
                    </a:lnTo>
                    <a:lnTo>
                      <a:pt x="89" y="4"/>
                    </a:lnTo>
                    <a:lnTo>
                      <a:pt x="90" y="4"/>
                    </a:lnTo>
                    <a:lnTo>
                      <a:pt x="92" y="6"/>
                    </a:lnTo>
                    <a:lnTo>
                      <a:pt x="93" y="6"/>
                    </a:lnTo>
                    <a:lnTo>
                      <a:pt x="93" y="6"/>
                    </a:lnTo>
                    <a:lnTo>
                      <a:pt x="97" y="6"/>
                    </a:lnTo>
                    <a:lnTo>
                      <a:pt x="98" y="7"/>
                    </a:lnTo>
                    <a:lnTo>
                      <a:pt x="100" y="9"/>
                    </a:lnTo>
                    <a:lnTo>
                      <a:pt x="103" y="11"/>
                    </a:lnTo>
                    <a:lnTo>
                      <a:pt x="104" y="11"/>
                    </a:lnTo>
                    <a:lnTo>
                      <a:pt x="106" y="12"/>
                    </a:lnTo>
                    <a:lnTo>
                      <a:pt x="109" y="1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8" name="Freeform 25">
                <a:extLst>
                  <a:ext uri="{FF2B5EF4-FFF2-40B4-BE49-F238E27FC236}">
                    <a16:creationId xmlns:a16="http://schemas.microsoft.com/office/drawing/2014/main" id="{C9DE4F7A-0739-1275-B650-B70B124B8FC6}"/>
                  </a:ext>
                </a:extLst>
              </p:cNvPr>
              <p:cNvSpPr>
                <a:spLocks/>
              </p:cNvSpPr>
              <p:nvPr/>
            </p:nvSpPr>
            <p:spPr bwMode="gray">
              <a:xfrm>
                <a:off x="3560" y="1102"/>
                <a:ext cx="3" cy="9"/>
              </a:xfrm>
              <a:custGeom>
                <a:avLst/>
                <a:gdLst>
                  <a:gd name="T0" fmla="*/ 3 w 3"/>
                  <a:gd name="T1" fmla="*/ 8 h 9"/>
                  <a:gd name="T2" fmla="*/ 3 w 3"/>
                  <a:gd name="T3" fmla="*/ 9 h 9"/>
                  <a:gd name="T4" fmla="*/ 2 w 3"/>
                  <a:gd name="T5" fmla="*/ 8 h 9"/>
                  <a:gd name="T6" fmla="*/ 0 w 3"/>
                  <a:gd name="T7" fmla="*/ 6 h 9"/>
                  <a:gd name="T8" fmla="*/ 2 w 3"/>
                  <a:gd name="T9" fmla="*/ 3 h 9"/>
                  <a:gd name="T10" fmla="*/ 0 w 3"/>
                  <a:gd name="T11" fmla="*/ 1 h 9"/>
                  <a:gd name="T12" fmla="*/ 0 w 3"/>
                  <a:gd name="T13" fmla="*/ 0 h 9"/>
                  <a:gd name="T14" fmla="*/ 2 w 3"/>
                  <a:gd name="T15" fmla="*/ 0 h 9"/>
                  <a:gd name="T16" fmla="*/ 3 w 3"/>
                  <a:gd name="T17" fmla="*/ 0 h 9"/>
                  <a:gd name="T18" fmla="*/ 2 w 3"/>
                  <a:gd name="T19" fmla="*/ 1 h 9"/>
                  <a:gd name="T20" fmla="*/ 3 w 3"/>
                  <a:gd name="T21" fmla="*/ 3 h 9"/>
                  <a:gd name="T22" fmla="*/ 3 w 3"/>
                  <a:gd name="T23" fmla="*/ 4 h 9"/>
                  <a:gd name="T24" fmla="*/ 3 w 3"/>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3" y="8"/>
                    </a:moveTo>
                    <a:lnTo>
                      <a:pt x="3" y="9"/>
                    </a:lnTo>
                    <a:lnTo>
                      <a:pt x="2" y="8"/>
                    </a:lnTo>
                    <a:lnTo>
                      <a:pt x="0" y="6"/>
                    </a:lnTo>
                    <a:lnTo>
                      <a:pt x="2" y="3"/>
                    </a:lnTo>
                    <a:lnTo>
                      <a:pt x="0" y="1"/>
                    </a:lnTo>
                    <a:lnTo>
                      <a:pt x="0" y="0"/>
                    </a:lnTo>
                    <a:lnTo>
                      <a:pt x="2" y="0"/>
                    </a:lnTo>
                    <a:lnTo>
                      <a:pt x="3" y="0"/>
                    </a:lnTo>
                    <a:lnTo>
                      <a:pt x="2" y="1"/>
                    </a:lnTo>
                    <a:lnTo>
                      <a:pt x="3" y="3"/>
                    </a:lnTo>
                    <a:lnTo>
                      <a:pt x="3" y="4"/>
                    </a:lnTo>
                    <a:lnTo>
                      <a:pt x="3" y="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99" name="Freeform 26">
                <a:extLst>
                  <a:ext uri="{FF2B5EF4-FFF2-40B4-BE49-F238E27FC236}">
                    <a16:creationId xmlns:a16="http://schemas.microsoft.com/office/drawing/2014/main" id="{9D02ED42-878B-AA95-979E-F6D62F3D544E}"/>
                  </a:ext>
                </a:extLst>
              </p:cNvPr>
              <p:cNvSpPr>
                <a:spLocks/>
              </p:cNvSpPr>
              <p:nvPr/>
            </p:nvSpPr>
            <p:spPr bwMode="gray">
              <a:xfrm>
                <a:off x="3185" y="1617"/>
                <a:ext cx="31" cy="37"/>
              </a:xfrm>
              <a:custGeom>
                <a:avLst/>
                <a:gdLst>
                  <a:gd name="T0" fmla="*/ 26 w 31"/>
                  <a:gd name="T1" fmla="*/ 3 h 37"/>
                  <a:gd name="T2" fmla="*/ 23 w 31"/>
                  <a:gd name="T3" fmla="*/ 6 h 37"/>
                  <a:gd name="T4" fmla="*/ 25 w 31"/>
                  <a:gd name="T5" fmla="*/ 7 h 37"/>
                  <a:gd name="T6" fmla="*/ 25 w 31"/>
                  <a:gd name="T7" fmla="*/ 9 h 37"/>
                  <a:gd name="T8" fmla="*/ 23 w 31"/>
                  <a:gd name="T9" fmla="*/ 11 h 37"/>
                  <a:gd name="T10" fmla="*/ 25 w 31"/>
                  <a:gd name="T11" fmla="*/ 11 h 37"/>
                  <a:gd name="T12" fmla="*/ 30 w 31"/>
                  <a:gd name="T13" fmla="*/ 12 h 37"/>
                  <a:gd name="T14" fmla="*/ 31 w 31"/>
                  <a:gd name="T15" fmla="*/ 12 h 37"/>
                  <a:gd name="T16" fmla="*/ 31 w 31"/>
                  <a:gd name="T17" fmla="*/ 14 h 37"/>
                  <a:gd name="T18" fmla="*/ 30 w 31"/>
                  <a:gd name="T19" fmla="*/ 17 h 37"/>
                  <a:gd name="T20" fmla="*/ 28 w 31"/>
                  <a:gd name="T21" fmla="*/ 18 h 37"/>
                  <a:gd name="T22" fmla="*/ 28 w 31"/>
                  <a:gd name="T23" fmla="*/ 18 h 37"/>
                  <a:gd name="T24" fmla="*/ 26 w 31"/>
                  <a:gd name="T25" fmla="*/ 21 h 37"/>
                  <a:gd name="T26" fmla="*/ 23 w 31"/>
                  <a:gd name="T27" fmla="*/ 23 h 37"/>
                  <a:gd name="T28" fmla="*/ 22 w 31"/>
                  <a:gd name="T29" fmla="*/ 26 h 37"/>
                  <a:gd name="T30" fmla="*/ 20 w 31"/>
                  <a:gd name="T31" fmla="*/ 29 h 37"/>
                  <a:gd name="T32" fmla="*/ 16 w 31"/>
                  <a:gd name="T33" fmla="*/ 36 h 37"/>
                  <a:gd name="T34" fmla="*/ 11 w 31"/>
                  <a:gd name="T35" fmla="*/ 37 h 37"/>
                  <a:gd name="T36" fmla="*/ 6 w 31"/>
                  <a:gd name="T37" fmla="*/ 36 h 37"/>
                  <a:gd name="T38" fmla="*/ 3 w 31"/>
                  <a:gd name="T39" fmla="*/ 28 h 37"/>
                  <a:gd name="T40" fmla="*/ 3 w 31"/>
                  <a:gd name="T41" fmla="*/ 25 h 37"/>
                  <a:gd name="T42" fmla="*/ 3 w 31"/>
                  <a:gd name="T43" fmla="*/ 18 h 37"/>
                  <a:gd name="T44" fmla="*/ 3 w 31"/>
                  <a:gd name="T45" fmla="*/ 15 h 37"/>
                  <a:gd name="T46" fmla="*/ 1 w 31"/>
                  <a:gd name="T47" fmla="*/ 12 h 37"/>
                  <a:gd name="T48" fmla="*/ 0 w 31"/>
                  <a:gd name="T49" fmla="*/ 9 h 37"/>
                  <a:gd name="T50" fmla="*/ 0 w 31"/>
                  <a:gd name="T51" fmla="*/ 7 h 37"/>
                  <a:gd name="T52" fmla="*/ 0 w 31"/>
                  <a:gd name="T53" fmla="*/ 6 h 37"/>
                  <a:gd name="T54" fmla="*/ 3 w 31"/>
                  <a:gd name="T55" fmla="*/ 6 h 37"/>
                  <a:gd name="T56" fmla="*/ 5 w 31"/>
                  <a:gd name="T57" fmla="*/ 9 h 37"/>
                  <a:gd name="T58" fmla="*/ 8 w 31"/>
                  <a:gd name="T59" fmla="*/ 9 h 37"/>
                  <a:gd name="T60" fmla="*/ 11 w 31"/>
                  <a:gd name="T61" fmla="*/ 9 h 37"/>
                  <a:gd name="T62" fmla="*/ 14 w 31"/>
                  <a:gd name="T63" fmla="*/ 7 h 37"/>
                  <a:gd name="T64" fmla="*/ 16 w 31"/>
                  <a:gd name="T65" fmla="*/ 4 h 37"/>
                  <a:gd name="T66" fmla="*/ 16 w 31"/>
                  <a:gd name="T67" fmla="*/ 1 h 37"/>
                  <a:gd name="T68" fmla="*/ 19 w 31"/>
                  <a:gd name="T69" fmla="*/ 3 h 37"/>
                  <a:gd name="T70" fmla="*/ 20 w 31"/>
                  <a:gd name="T71" fmla="*/ 1 h 37"/>
                  <a:gd name="T72" fmla="*/ 22 w 31"/>
                  <a:gd name="T73" fmla="*/ 1 h 37"/>
                  <a:gd name="T74" fmla="*/ 25 w 31"/>
                  <a:gd name="T75" fmla="*/ 1 h 37"/>
                  <a:gd name="T76" fmla="*/ 26 w 31"/>
                  <a:gd name="T77"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 h="37">
                    <a:moveTo>
                      <a:pt x="26" y="1"/>
                    </a:moveTo>
                    <a:lnTo>
                      <a:pt x="26" y="3"/>
                    </a:lnTo>
                    <a:lnTo>
                      <a:pt x="25" y="6"/>
                    </a:lnTo>
                    <a:lnTo>
                      <a:pt x="23" y="6"/>
                    </a:lnTo>
                    <a:lnTo>
                      <a:pt x="23" y="6"/>
                    </a:lnTo>
                    <a:lnTo>
                      <a:pt x="25" y="7"/>
                    </a:lnTo>
                    <a:lnTo>
                      <a:pt x="25" y="7"/>
                    </a:lnTo>
                    <a:lnTo>
                      <a:pt x="25" y="9"/>
                    </a:lnTo>
                    <a:lnTo>
                      <a:pt x="23" y="9"/>
                    </a:lnTo>
                    <a:lnTo>
                      <a:pt x="23" y="11"/>
                    </a:lnTo>
                    <a:lnTo>
                      <a:pt x="25" y="11"/>
                    </a:lnTo>
                    <a:lnTo>
                      <a:pt x="25" y="11"/>
                    </a:lnTo>
                    <a:lnTo>
                      <a:pt x="26" y="11"/>
                    </a:lnTo>
                    <a:lnTo>
                      <a:pt x="30" y="12"/>
                    </a:lnTo>
                    <a:lnTo>
                      <a:pt x="30" y="12"/>
                    </a:lnTo>
                    <a:lnTo>
                      <a:pt x="31" y="12"/>
                    </a:lnTo>
                    <a:lnTo>
                      <a:pt x="30" y="14"/>
                    </a:lnTo>
                    <a:lnTo>
                      <a:pt x="31" y="14"/>
                    </a:lnTo>
                    <a:lnTo>
                      <a:pt x="31" y="15"/>
                    </a:lnTo>
                    <a:lnTo>
                      <a:pt x="30" y="17"/>
                    </a:lnTo>
                    <a:lnTo>
                      <a:pt x="28" y="18"/>
                    </a:lnTo>
                    <a:lnTo>
                      <a:pt x="28" y="18"/>
                    </a:lnTo>
                    <a:lnTo>
                      <a:pt x="26" y="18"/>
                    </a:lnTo>
                    <a:lnTo>
                      <a:pt x="28" y="18"/>
                    </a:lnTo>
                    <a:lnTo>
                      <a:pt x="28" y="20"/>
                    </a:lnTo>
                    <a:lnTo>
                      <a:pt x="26" y="21"/>
                    </a:lnTo>
                    <a:lnTo>
                      <a:pt x="23" y="23"/>
                    </a:lnTo>
                    <a:lnTo>
                      <a:pt x="23" y="23"/>
                    </a:lnTo>
                    <a:lnTo>
                      <a:pt x="23" y="25"/>
                    </a:lnTo>
                    <a:lnTo>
                      <a:pt x="22" y="26"/>
                    </a:lnTo>
                    <a:lnTo>
                      <a:pt x="22" y="28"/>
                    </a:lnTo>
                    <a:lnTo>
                      <a:pt x="20" y="29"/>
                    </a:lnTo>
                    <a:lnTo>
                      <a:pt x="19" y="31"/>
                    </a:lnTo>
                    <a:lnTo>
                      <a:pt x="16" y="36"/>
                    </a:lnTo>
                    <a:lnTo>
                      <a:pt x="12" y="37"/>
                    </a:lnTo>
                    <a:lnTo>
                      <a:pt x="11" y="37"/>
                    </a:lnTo>
                    <a:lnTo>
                      <a:pt x="6" y="37"/>
                    </a:lnTo>
                    <a:lnTo>
                      <a:pt x="6" y="36"/>
                    </a:lnTo>
                    <a:lnTo>
                      <a:pt x="5" y="31"/>
                    </a:lnTo>
                    <a:lnTo>
                      <a:pt x="3" y="28"/>
                    </a:lnTo>
                    <a:lnTo>
                      <a:pt x="3" y="26"/>
                    </a:lnTo>
                    <a:lnTo>
                      <a:pt x="3" y="25"/>
                    </a:lnTo>
                    <a:lnTo>
                      <a:pt x="3" y="20"/>
                    </a:lnTo>
                    <a:lnTo>
                      <a:pt x="3" y="18"/>
                    </a:lnTo>
                    <a:lnTo>
                      <a:pt x="3" y="17"/>
                    </a:lnTo>
                    <a:lnTo>
                      <a:pt x="3" y="15"/>
                    </a:lnTo>
                    <a:lnTo>
                      <a:pt x="3" y="14"/>
                    </a:lnTo>
                    <a:lnTo>
                      <a:pt x="1" y="12"/>
                    </a:lnTo>
                    <a:lnTo>
                      <a:pt x="0" y="9"/>
                    </a:lnTo>
                    <a:lnTo>
                      <a:pt x="0" y="9"/>
                    </a:lnTo>
                    <a:lnTo>
                      <a:pt x="0" y="7"/>
                    </a:lnTo>
                    <a:lnTo>
                      <a:pt x="0" y="7"/>
                    </a:lnTo>
                    <a:lnTo>
                      <a:pt x="0" y="6"/>
                    </a:lnTo>
                    <a:lnTo>
                      <a:pt x="0" y="6"/>
                    </a:lnTo>
                    <a:lnTo>
                      <a:pt x="0" y="6"/>
                    </a:lnTo>
                    <a:lnTo>
                      <a:pt x="3" y="6"/>
                    </a:lnTo>
                    <a:lnTo>
                      <a:pt x="5" y="6"/>
                    </a:lnTo>
                    <a:lnTo>
                      <a:pt x="5" y="9"/>
                    </a:lnTo>
                    <a:lnTo>
                      <a:pt x="6" y="9"/>
                    </a:lnTo>
                    <a:lnTo>
                      <a:pt x="8" y="9"/>
                    </a:lnTo>
                    <a:lnTo>
                      <a:pt x="11" y="9"/>
                    </a:lnTo>
                    <a:lnTo>
                      <a:pt x="11" y="9"/>
                    </a:lnTo>
                    <a:lnTo>
                      <a:pt x="12" y="9"/>
                    </a:lnTo>
                    <a:lnTo>
                      <a:pt x="14" y="7"/>
                    </a:lnTo>
                    <a:lnTo>
                      <a:pt x="14" y="6"/>
                    </a:lnTo>
                    <a:lnTo>
                      <a:pt x="16" y="4"/>
                    </a:lnTo>
                    <a:lnTo>
                      <a:pt x="16" y="1"/>
                    </a:lnTo>
                    <a:lnTo>
                      <a:pt x="16" y="1"/>
                    </a:lnTo>
                    <a:lnTo>
                      <a:pt x="19" y="3"/>
                    </a:lnTo>
                    <a:lnTo>
                      <a:pt x="19" y="3"/>
                    </a:lnTo>
                    <a:lnTo>
                      <a:pt x="19" y="3"/>
                    </a:lnTo>
                    <a:lnTo>
                      <a:pt x="20" y="1"/>
                    </a:lnTo>
                    <a:lnTo>
                      <a:pt x="20" y="1"/>
                    </a:lnTo>
                    <a:lnTo>
                      <a:pt x="22" y="1"/>
                    </a:lnTo>
                    <a:lnTo>
                      <a:pt x="23" y="0"/>
                    </a:lnTo>
                    <a:lnTo>
                      <a:pt x="25" y="1"/>
                    </a:lnTo>
                    <a:lnTo>
                      <a:pt x="26" y="1"/>
                    </a:lnTo>
                    <a:lnTo>
                      <a:pt x="26"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0" name="Freeform 27">
                <a:extLst>
                  <a:ext uri="{FF2B5EF4-FFF2-40B4-BE49-F238E27FC236}">
                    <a16:creationId xmlns:a16="http://schemas.microsoft.com/office/drawing/2014/main" id="{615E82D0-1EC4-93B5-8B68-18420F236F99}"/>
                  </a:ext>
                </a:extLst>
              </p:cNvPr>
              <p:cNvSpPr>
                <a:spLocks/>
              </p:cNvSpPr>
              <p:nvPr/>
            </p:nvSpPr>
            <p:spPr bwMode="gray">
              <a:xfrm>
                <a:off x="2688" y="1358"/>
                <a:ext cx="54" cy="110"/>
              </a:xfrm>
              <a:custGeom>
                <a:avLst/>
                <a:gdLst>
                  <a:gd name="T0" fmla="*/ 48 w 54"/>
                  <a:gd name="T1" fmla="*/ 18 h 110"/>
                  <a:gd name="T2" fmla="*/ 51 w 54"/>
                  <a:gd name="T3" fmla="*/ 22 h 110"/>
                  <a:gd name="T4" fmla="*/ 53 w 54"/>
                  <a:gd name="T5" fmla="*/ 27 h 110"/>
                  <a:gd name="T6" fmla="*/ 54 w 54"/>
                  <a:gd name="T7" fmla="*/ 32 h 110"/>
                  <a:gd name="T8" fmla="*/ 53 w 54"/>
                  <a:gd name="T9" fmla="*/ 36 h 110"/>
                  <a:gd name="T10" fmla="*/ 51 w 54"/>
                  <a:gd name="T11" fmla="*/ 36 h 110"/>
                  <a:gd name="T12" fmla="*/ 50 w 54"/>
                  <a:gd name="T13" fmla="*/ 39 h 110"/>
                  <a:gd name="T14" fmla="*/ 50 w 54"/>
                  <a:gd name="T15" fmla="*/ 46 h 110"/>
                  <a:gd name="T16" fmla="*/ 45 w 54"/>
                  <a:gd name="T17" fmla="*/ 47 h 110"/>
                  <a:gd name="T18" fmla="*/ 43 w 54"/>
                  <a:gd name="T19" fmla="*/ 52 h 110"/>
                  <a:gd name="T20" fmla="*/ 42 w 54"/>
                  <a:gd name="T21" fmla="*/ 55 h 110"/>
                  <a:gd name="T22" fmla="*/ 37 w 54"/>
                  <a:gd name="T23" fmla="*/ 60 h 110"/>
                  <a:gd name="T24" fmla="*/ 36 w 54"/>
                  <a:gd name="T25" fmla="*/ 68 h 110"/>
                  <a:gd name="T26" fmla="*/ 34 w 54"/>
                  <a:gd name="T27" fmla="*/ 74 h 110"/>
                  <a:gd name="T28" fmla="*/ 34 w 54"/>
                  <a:gd name="T29" fmla="*/ 82 h 110"/>
                  <a:gd name="T30" fmla="*/ 36 w 54"/>
                  <a:gd name="T31" fmla="*/ 86 h 110"/>
                  <a:gd name="T32" fmla="*/ 36 w 54"/>
                  <a:gd name="T33" fmla="*/ 90 h 110"/>
                  <a:gd name="T34" fmla="*/ 36 w 54"/>
                  <a:gd name="T35" fmla="*/ 96 h 110"/>
                  <a:gd name="T36" fmla="*/ 34 w 54"/>
                  <a:gd name="T37" fmla="*/ 99 h 110"/>
                  <a:gd name="T38" fmla="*/ 36 w 54"/>
                  <a:gd name="T39" fmla="*/ 102 h 110"/>
                  <a:gd name="T40" fmla="*/ 34 w 54"/>
                  <a:gd name="T41" fmla="*/ 108 h 110"/>
                  <a:gd name="T42" fmla="*/ 15 w 54"/>
                  <a:gd name="T43" fmla="*/ 110 h 110"/>
                  <a:gd name="T44" fmla="*/ 17 w 54"/>
                  <a:gd name="T45" fmla="*/ 107 h 110"/>
                  <a:gd name="T46" fmla="*/ 15 w 54"/>
                  <a:gd name="T47" fmla="*/ 102 h 110"/>
                  <a:gd name="T48" fmla="*/ 15 w 54"/>
                  <a:gd name="T49" fmla="*/ 99 h 110"/>
                  <a:gd name="T50" fmla="*/ 15 w 54"/>
                  <a:gd name="T51" fmla="*/ 90 h 110"/>
                  <a:gd name="T52" fmla="*/ 15 w 54"/>
                  <a:gd name="T53" fmla="*/ 74 h 110"/>
                  <a:gd name="T54" fmla="*/ 15 w 54"/>
                  <a:gd name="T55" fmla="*/ 60 h 110"/>
                  <a:gd name="T56" fmla="*/ 11 w 54"/>
                  <a:gd name="T57" fmla="*/ 55 h 110"/>
                  <a:gd name="T58" fmla="*/ 11 w 54"/>
                  <a:gd name="T59" fmla="*/ 47 h 110"/>
                  <a:gd name="T60" fmla="*/ 8 w 54"/>
                  <a:gd name="T61" fmla="*/ 41 h 110"/>
                  <a:gd name="T62" fmla="*/ 1 w 54"/>
                  <a:gd name="T63" fmla="*/ 38 h 110"/>
                  <a:gd name="T64" fmla="*/ 1 w 54"/>
                  <a:gd name="T65" fmla="*/ 30 h 110"/>
                  <a:gd name="T66" fmla="*/ 3 w 54"/>
                  <a:gd name="T67" fmla="*/ 25 h 110"/>
                  <a:gd name="T68" fmla="*/ 4 w 54"/>
                  <a:gd name="T69" fmla="*/ 24 h 110"/>
                  <a:gd name="T70" fmla="*/ 6 w 54"/>
                  <a:gd name="T71" fmla="*/ 24 h 110"/>
                  <a:gd name="T72" fmla="*/ 8 w 54"/>
                  <a:gd name="T73" fmla="*/ 22 h 110"/>
                  <a:gd name="T74" fmla="*/ 9 w 54"/>
                  <a:gd name="T75" fmla="*/ 21 h 110"/>
                  <a:gd name="T76" fmla="*/ 11 w 54"/>
                  <a:gd name="T77" fmla="*/ 19 h 110"/>
                  <a:gd name="T78" fmla="*/ 12 w 54"/>
                  <a:gd name="T79" fmla="*/ 18 h 110"/>
                  <a:gd name="T80" fmla="*/ 15 w 54"/>
                  <a:gd name="T81" fmla="*/ 19 h 110"/>
                  <a:gd name="T82" fmla="*/ 26 w 54"/>
                  <a:gd name="T83" fmla="*/ 14 h 110"/>
                  <a:gd name="T84" fmla="*/ 29 w 54"/>
                  <a:gd name="T85" fmla="*/ 10 h 110"/>
                  <a:gd name="T86" fmla="*/ 28 w 54"/>
                  <a:gd name="T87" fmla="*/ 3 h 110"/>
                  <a:gd name="T88" fmla="*/ 34 w 54"/>
                  <a:gd name="T89" fmla="*/ 2 h 110"/>
                  <a:gd name="T90" fmla="*/ 36 w 54"/>
                  <a:gd name="T91" fmla="*/ 0 h 110"/>
                  <a:gd name="T92" fmla="*/ 42 w 54"/>
                  <a:gd name="T93" fmla="*/ 7 h 110"/>
                  <a:gd name="T94" fmla="*/ 47 w 54"/>
                  <a:gd name="T95" fmla="*/ 10 h 110"/>
                  <a:gd name="T96" fmla="*/ 50 w 54"/>
                  <a:gd name="T97"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110">
                    <a:moveTo>
                      <a:pt x="50" y="13"/>
                    </a:moveTo>
                    <a:lnTo>
                      <a:pt x="50" y="14"/>
                    </a:lnTo>
                    <a:lnTo>
                      <a:pt x="48" y="18"/>
                    </a:lnTo>
                    <a:lnTo>
                      <a:pt x="48" y="19"/>
                    </a:lnTo>
                    <a:lnTo>
                      <a:pt x="51" y="22"/>
                    </a:lnTo>
                    <a:lnTo>
                      <a:pt x="51" y="22"/>
                    </a:lnTo>
                    <a:lnTo>
                      <a:pt x="51" y="24"/>
                    </a:lnTo>
                    <a:lnTo>
                      <a:pt x="53" y="24"/>
                    </a:lnTo>
                    <a:lnTo>
                      <a:pt x="53" y="27"/>
                    </a:lnTo>
                    <a:lnTo>
                      <a:pt x="53" y="29"/>
                    </a:lnTo>
                    <a:lnTo>
                      <a:pt x="53" y="30"/>
                    </a:lnTo>
                    <a:lnTo>
                      <a:pt x="54" y="32"/>
                    </a:lnTo>
                    <a:lnTo>
                      <a:pt x="54" y="33"/>
                    </a:lnTo>
                    <a:lnTo>
                      <a:pt x="53" y="36"/>
                    </a:lnTo>
                    <a:lnTo>
                      <a:pt x="53" y="36"/>
                    </a:lnTo>
                    <a:lnTo>
                      <a:pt x="53" y="36"/>
                    </a:lnTo>
                    <a:lnTo>
                      <a:pt x="51" y="36"/>
                    </a:lnTo>
                    <a:lnTo>
                      <a:pt x="51" y="36"/>
                    </a:lnTo>
                    <a:lnTo>
                      <a:pt x="50" y="38"/>
                    </a:lnTo>
                    <a:lnTo>
                      <a:pt x="50" y="38"/>
                    </a:lnTo>
                    <a:lnTo>
                      <a:pt x="50" y="39"/>
                    </a:lnTo>
                    <a:lnTo>
                      <a:pt x="51" y="41"/>
                    </a:lnTo>
                    <a:lnTo>
                      <a:pt x="50" y="44"/>
                    </a:lnTo>
                    <a:lnTo>
                      <a:pt x="50" y="46"/>
                    </a:lnTo>
                    <a:lnTo>
                      <a:pt x="48" y="46"/>
                    </a:lnTo>
                    <a:lnTo>
                      <a:pt x="47" y="46"/>
                    </a:lnTo>
                    <a:lnTo>
                      <a:pt x="45" y="47"/>
                    </a:lnTo>
                    <a:lnTo>
                      <a:pt x="45" y="47"/>
                    </a:lnTo>
                    <a:lnTo>
                      <a:pt x="45" y="49"/>
                    </a:lnTo>
                    <a:lnTo>
                      <a:pt x="43" y="52"/>
                    </a:lnTo>
                    <a:lnTo>
                      <a:pt x="42" y="52"/>
                    </a:lnTo>
                    <a:lnTo>
                      <a:pt x="42" y="54"/>
                    </a:lnTo>
                    <a:lnTo>
                      <a:pt x="42" y="55"/>
                    </a:lnTo>
                    <a:lnTo>
                      <a:pt x="42" y="58"/>
                    </a:lnTo>
                    <a:lnTo>
                      <a:pt x="40" y="60"/>
                    </a:lnTo>
                    <a:lnTo>
                      <a:pt x="37" y="60"/>
                    </a:lnTo>
                    <a:lnTo>
                      <a:pt x="36" y="60"/>
                    </a:lnTo>
                    <a:lnTo>
                      <a:pt x="34" y="65"/>
                    </a:lnTo>
                    <a:lnTo>
                      <a:pt x="36" y="68"/>
                    </a:lnTo>
                    <a:lnTo>
                      <a:pt x="34" y="71"/>
                    </a:lnTo>
                    <a:lnTo>
                      <a:pt x="34" y="72"/>
                    </a:lnTo>
                    <a:lnTo>
                      <a:pt x="34" y="74"/>
                    </a:lnTo>
                    <a:lnTo>
                      <a:pt x="34" y="79"/>
                    </a:lnTo>
                    <a:lnTo>
                      <a:pt x="34" y="82"/>
                    </a:lnTo>
                    <a:lnTo>
                      <a:pt x="34" y="82"/>
                    </a:lnTo>
                    <a:lnTo>
                      <a:pt x="34" y="83"/>
                    </a:lnTo>
                    <a:lnTo>
                      <a:pt x="34" y="85"/>
                    </a:lnTo>
                    <a:lnTo>
                      <a:pt x="36" y="86"/>
                    </a:lnTo>
                    <a:lnTo>
                      <a:pt x="36" y="88"/>
                    </a:lnTo>
                    <a:lnTo>
                      <a:pt x="36" y="88"/>
                    </a:lnTo>
                    <a:lnTo>
                      <a:pt x="36" y="90"/>
                    </a:lnTo>
                    <a:lnTo>
                      <a:pt x="36" y="90"/>
                    </a:lnTo>
                    <a:lnTo>
                      <a:pt x="36" y="94"/>
                    </a:lnTo>
                    <a:lnTo>
                      <a:pt x="36" y="96"/>
                    </a:lnTo>
                    <a:lnTo>
                      <a:pt x="36" y="96"/>
                    </a:lnTo>
                    <a:lnTo>
                      <a:pt x="34" y="97"/>
                    </a:lnTo>
                    <a:lnTo>
                      <a:pt x="34" y="99"/>
                    </a:lnTo>
                    <a:lnTo>
                      <a:pt x="36" y="101"/>
                    </a:lnTo>
                    <a:lnTo>
                      <a:pt x="36" y="102"/>
                    </a:lnTo>
                    <a:lnTo>
                      <a:pt x="36" y="102"/>
                    </a:lnTo>
                    <a:lnTo>
                      <a:pt x="36" y="104"/>
                    </a:lnTo>
                    <a:lnTo>
                      <a:pt x="34" y="107"/>
                    </a:lnTo>
                    <a:lnTo>
                      <a:pt x="34" y="108"/>
                    </a:lnTo>
                    <a:lnTo>
                      <a:pt x="26" y="108"/>
                    </a:lnTo>
                    <a:lnTo>
                      <a:pt x="18" y="110"/>
                    </a:lnTo>
                    <a:lnTo>
                      <a:pt x="15" y="110"/>
                    </a:lnTo>
                    <a:lnTo>
                      <a:pt x="15" y="110"/>
                    </a:lnTo>
                    <a:lnTo>
                      <a:pt x="18" y="108"/>
                    </a:lnTo>
                    <a:lnTo>
                      <a:pt x="17" y="107"/>
                    </a:lnTo>
                    <a:lnTo>
                      <a:pt x="15" y="104"/>
                    </a:lnTo>
                    <a:lnTo>
                      <a:pt x="15" y="104"/>
                    </a:lnTo>
                    <a:lnTo>
                      <a:pt x="15" y="102"/>
                    </a:lnTo>
                    <a:lnTo>
                      <a:pt x="15" y="101"/>
                    </a:lnTo>
                    <a:lnTo>
                      <a:pt x="15" y="101"/>
                    </a:lnTo>
                    <a:lnTo>
                      <a:pt x="15" y="99"/>
                    </a:lnTo>
                    <a:lnTo>
                      <a:pt x="14" y="97"/>
                    </a:lnTo>
                    <a:lnTo>
                      <a:pt x="15" y="96"/>
                    </a:lnTo>
                    <a:lnTo>
                      <a:pt x="15" y="90"/>
                    </a:lnTo>
                    <a:lnTo>
                      <a:pt x="15" y="83"/>
                    </a:lnTo>
                    <a:lnTo>
                      <a:pt x="15" y="79"/>
                    </a:lnTo>
                    <a:lnTo>
                      <a:pt x="15" y="74"/>
                    </a:lnTo>
                    <a:lnTo>
                      <a:pt x="15" y="69"/>
                    </a:lnTo>
                    <a:lnTo>
                      <a:pt x="15" y="65"/>
                    </a:lnTo>
                    <a:lnTo>
                      <a:pt x="15" y="60"/>
                    </a:lnTo>
                    <a:lnTo>
                      <a:pt x="14" y="58"/>
                    </a:lnTo>
                    <a:lnTo>
                      <a:pt x="12" y="57"/>
                    </a:lnTo>
                    <a:lnTo>
                      <a:pt x="11" y="55"/>
                    </a:lnTo>
                    <a:lnTo>
                      <a:pt x="11" y="54"/>
                    </a:lnTo>
                    <a:lnTo>
                      <a:pt x="11" y="50"/>
                    </a:lnTo>
                    <a:lnTo>
                      <a:pt x="11" y="47"/>
                    </a:lnTo>
                    <a:lnTo>
                      <a:pt x="11" y="44"/>
                    </a:lnTo>
                    <a:lnTo>
                      <a:pt x="11" y="44"/>
                    </a:lnTo>
                    <a:lnTo>
                      <a:pt x="8" y="41"/>
                    </a:lnTo>
                    <a:lnTo>
                      <a:pt x="4" y="39"/>
                    </a:lnTo>
                    <a:lnTo>
                      <a:pt x="1" y="38"/>
                    </a:lnTo>
                    <a:lnTo>
                      <a:pt x="1" y="38"/>
                    </a:lnTo>
                    <a:lnTo>
                      <a:pt x="0" y="36"/>
                    </a:lnTo>
                    <a:lnTo>
                      <a:pt x="1" y="32"/>
                    </a:lnTo>
                    <a:lnTo>
                      <a:pt x="1" y="30"/>
                    </a:lnTo>
                    <a:lnTo>
                      <a:pt x="3" y="29"/>
                    </a:lnTo>
                    <a:lnTo>
                      <a:pt x="3" y="25"/>
                    </a:lnTo>
                    <a:lnTo>
                      <a:pt x="3" y="25"/>
                    </a:lnTo>
                    <a:lnTo>
                      <a:pt x="4" y="25"/>
                    </a:lnTo>
                    <a:lnTo>
                      <a:pt x="4" y="24"/>
                    </a:lnTo>
                    <a:lnTo>
                      <a:pt x="4" y="24"/>
                    </a:lnTo>
                    <a:lnTo>
                      <a:pt x="6" y="25"/>
                    </a:lnTo>
                    <a:lnTo>
                      <a:pt x="6" y="24"/>
                    </a:lnTo>
                    <a:lnTo>
                      <a:pt x="6" y="24"/>
                    </a:lnTo>
                    <a:lnTo>
                      <a:pt x="6" y="22"/>
                    </a:lnTo>
                    <a:lnTo>
                      <a:pt x="8" y="22"/>
                    </a:lnTo>
                    <a:lnTo>
                      <a:pt x="8" y="22"/>
                    </a:lnTo>
                    <a:lnTo>
                      <a:pt x="8" y="21"/>
                    </a:lnTo>
                    <a:lnTo>
                      <a:pt x="8" y="21"/>
                    </a:lnTo>
                    <a:lnTo>
                      <a:pt x="9" y="21"/>
                    </a:lnTo>
                    <a:lnTo>
                      <a:pt x="9" y="21"/>
                    </a:lnTo>
                    <a:lnTo>
                      <a:pt x="11" y="21"/>
                    </a:lnTo>
                    <a:lnTo>
                      <a:pt x="11" y="19"/>
                    </a:lnTo>
                    <a:lnTo>
                      <a:pt x="11" y="19"/>
                    </a:lnTo>
                    <a:lnTo>
                      <a:pt x="12" y="18"/>
                    </a:lnTo>
                    <a:lnTo>
                      <a:pt x="12" y="18"/>
                    </a:lnTo>
                    <a:lnTo>
                      <a:pt x="14" y="18"/>
                    </a:lnTo>
                    <a:lnTo>
                      <a:pt x="14" y="18"/>
                    </a:lnTo>
                    <a:lnTo>
                      <a:pt x="15" y="19"/>
                    </a:lnTo>
                    <a:lnTo>
                      <a:pt x="20" y="18"/>
                    </a:lnTo>
                    <a:lnTo>
                      <a:pt x="22" y="18"/>
                    </a:lnTo>
                    <a:lnTo>
                      <a:pt x="26" y="14"/>
                    </a:lnTo>
                    <a:lnTo>
                      <a:pt x="26" y="13"/>
                    </a:lnTo>
                    <a:lnTo>
                      <a:pt x="28" y="11"/>
                    </a:lnTo>
                    <a:lnTo>
                      <a:pt x="29" y="10"/>
                    </a:lnTo>
                    <a:lnTo>
                      <a:pt x="29" y="8"/>
                    </a:lnTo>
                    <a:lnTo>
                      <a:pt x="28" y="5"/>
                    </a:lnTo>
                    <a:lnTo>
                      <a:pt x="28" y="3"/>
                    </a:lnTo>
                    <a:lnTo>
                      <a:pt x="31" y="3"/>
                    </a:lnTo>
                    <a:lnTo>
                      <a:pt x="33" y="3"/>
                    </a:lnTo>
                    <a:lnTo>
                      <a:pt x="34" y="2"/>
                    </a:lnTo>
                    <a:lnTo>
                      <a:pt x="34" y="2"/>
                    </a:lnTo>
                    <a:lnTo>
                      <a:pt x="34" y="2"/>
                    </a:lnTo>
                    <a:lnTo>
                      <a:pt x="36" y="0"/>
                    </a:lnTo>
                    <a:lnTo>
                      <a:pt x="37" y="2"/>
                    </a:lnTo>
                    <a:lnTo>
                      <a:pt x="37" y="2"/>
                    </a:lnTo>
                    <a:lnTo>
                      <a:pt x="42" y="7"/>
                    </a:lnTo>
                    <a:lnTo>
                      <a:pt x="43" y="8"/>
                    </a:lnTo>
                    <a:lnTo>
                      <a:pt x="45" y="10"/>
                    </a:lnTo>
                    <a:lnTo>
                      <a:pt x="47" y="10"/>
                    </a:lnTo>
                    <a:lnTo>
                      <a:pt x="48" y="11"/>
                    </a:lnTo>
                    <a:lnTo>
                      <a:pt x="48" y="11"/>
                    </a:lnTo>
                    <a:lnTo>
                      <a:pt x="50" y="1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1" name="Freeform 28">
                <a:extLst>
                  <a:ext uri="{FF2B5EF4-FFF2-40B4-BE49-F238E27FC236}">
                    <a16:creationId xmlns:a16="http://schemas.microsoft.com/office/drawing/2014/main" id="{F48D216A-D23D-AD52-390B-708A55838EA9}"/>
                  </a:ext>
                </a:extLst>
              </p:cNvPr>
              <p:cNvSpPr>
                <a:spLocks/>
              </p:cNvSpPr>
              <p:nvPr/>
            </p:nvSpPr>
            <p:spPr bwMode="gray">
              <a:xfrm>
                <a:off x="1571" y="1258"/>
                <a:ext cx="2" cy="2"/>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0 h 2"/>
                  <a:gd name="T12" fmla="*/ 0 w 2"/>
                  <a:gd name="T13" fmla="*/ 0 h 2"/>
                  <a:gd name="T14" fmla="*/ 2 w 2"/>
                  <a:gd name="T15" fmla="*/ 2 h 2"/>
                  <a:gd name="T16" fmla="*/ 2 w 2"/>
                  <a:gd name="T17" fmla="*/ 2 h 2"/>
                  <a:gd name="T18" fmla="*/ 2 w 2"/>
                  <a:gd name="T19" fmla="*/ 2 h 2"/>
                  <a:gd name="T20" fmla="*/ 0 w 2"/>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2"/>
                    </a:moveTo>
                    <a:lnTo>
                      <a:pt x="0" y="2"/>
                    </a:lnTo>
                    <a:lnTo>
                      <a:pt x="0" y="2"/>
                    </a:lnTo>
                    <a:lnTo>
                      <a:pt x="0" y="2"/>
                    </a:lnTo>
                    <a:lnTo>
                      <a:pt x="0" y="2"/>
                    </a:lnTo>
                    <a:lnTo>
                      <a:pt x="0" y="0"/>
                    </a:lnTo>
                    <a:lnTo>
                      <a:pt x="0" y="0"/>
                    </a:lnTo>
                    <a:lnTo>
                      <a:pt x="2" y="2"/>
                    </a:lnTo>
                    <a:lnTo>
                      <a:pt x="2" y="2"/>
                    </a:lnTo>
                    <a:lnTo>
                      <a:pt x="2" y="2"/>
                    </a:lnTo>
                    <a:lnTo>
                      <a:pt x="0"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2" name="Freeform 29">
                <a:extLst>
                  <a:ext uri="{FF2B5EF4-FFF2-40B4-BE49-F238E27FC236}">
                    <a16:creationId xmlns:a16="http://schemas.microsoft.com/office/drawing/2014/main" id="{BE638C68-CE48-2448-483C-1F33E9E1E604}"/>
                  </a:ext>
                </a:extLst>
              </p:cNvPr>
              <p:cNvSpPr>
                <a:spLocks noEditPoints="1"/>
              </p:cNvSpPr>
              <p:nvPr/>
            </p:nvSpPr>
            <p:spPr bwMode="gray">
              <a:xfrm>
                <a:off x="4676" y="1490"/>
                <a:ext cx="22" cy="17"/>
              </a:xfrm>
              <a:custGeom>
                <a:avLst/>
                <a:gdLst>
                  <a:gd name="T0" fmla="*/ 22 w 22"/>
                  <a:gd name="T1" fmla="*/ 6 h 17"/>
                  <a:gd name="T2" fmla="*/ 21 w 22"/>
                  <a:gd name="T3" fmla="*/ 1 h 17"/>
                  <a:gd name="T4" fmla="*/ 19 w 22"/>
                  <a:gd name="T5" fmla="*/ 1 h 17"/>
                  <a:gd name="T6" fmla="*/ 18 w 22"/>
                  <a:gd name="T7" fmla="*/ 1 h 17"/>
                  <a:gd name="T8" fmla="*/ 18 w 22"/>
                  <a:gd name="T9" fmla="*/ 3 h 17"/>
                  <a:gd name="T10" fmla="*/ 18 w 22"/>
                  <a:gd name="T11" fmla="*/ 8 h 17"/>
                  <a:gd name="T12" fmla="*/ 21 w 22"/>
                  <a:gd name="T13" fmla="*/ 11 h 17"/>
                  <a:gd name="T14" fmla="*/ 22 w 22"/>
                  <a:gd name="T15" fmla="*/ 11 h 17"/>
                  <a:gd name="T16" fmla="*/ 22 w 22"/>
                  <a:gd name="T17" fmla="*/ 11 h 17"/>
                  <a:gd name="T18" fmla="*/ 18 w 22"/>
                  <a:gd name="T19" fmla="*/ 0 h 17"/>
                  <a:gd name="T20" fmla="*/ 13 w 22"/>
                  <a:gd name="T21" fmla="*/ 1 h 17"/>
                  <a:gd name="T22" fmla="*/ 10 w 22"/>
                  <a:gd name="T23" fmla="*/ 5 h 17"/>
                  <a:gd name="T24" fmla="*/ 5 w 22"/>
                  <a:gd name="T25" fmla="*/ 6 h 17"/>
                  <a:gd name="T26" fmla="*/ 0 w 22"/>
                  <a:gd name="T27" fmla="*/ 6 h 17"/>
                  <a:gd name="T28" fmla="*/ 2 w 22"/>
                  <a:gd name="T29" fmla="*/ 8 h 17"/>
                  <a:gd name="T30" fmla="*/ 4 w 22"/>
                  <a:gd name="T31" fmla="*/ 9 h 17"/>
                  <a:gd name="T32" fmla="*/ 5 w 22"/>
                  <a:gd name="T33" fmla="*/ 11 h 17"/>
                  <a:gd name="T34" fmla="*/ 5 w 22"/>
                  <a:gd name="T35" fmla="*/ 12 h 17"/>
                  <a:gd name="T36" fmla="*/ 7 w 22"/>
                  <a:gd name="T37" fmla="*/ 12 h 17"/>
                  <a:gd name="T38" fmla="*/ 8 w 22"/>
                  <a:gd name="T39" fmla="*/ 14 h 17"/>
                  <a:gd name="T40" fmla="*/ 10 w 22"/>
                  <a:gd name="T41" fmla="*/ 15 h 17"/>
                  <a:gd name="T42" fmla="*/ 11 w 22"/>
                  <a:gd name="T43" fmla="*/ 17 h 17"/>
                  <a:gd name="T44" fmla="*/ 13 w 22"/>
                  <a:gd name="T45" fmla="*/ 15 h 17"/>
                  <a:gd name="T46" fmla="*/ 15 w 22"/>
                  <a:gd name="T47" fmla="*/ 12 h 17"/>
                  <a:gd name="T48" fmla="*/ 15 w 22"/>
                  <a:gd name="T49" fmla="*/ 11 h 17"/>
                  <a:gd name="T50" fmla="*/ 15 w 22"/>
                  <a:gd name="T51" fmla="*/ 9 h 17"/>
                  <a:gd name="T52" fmla="*/ 13 w 22"/>
                  <a:gd name="T53" fmla="*/ 8 h 17"/>
                  <a:gd name="T54" fmla="*/ 13 w 22"/>
                  <a:gd name="T55" fmla="*/ 5 h 17"/>
                  <a:gd name="T56" fmla="*/ 13 w 22"/>
                  <a:gd name="T57" fmla="*/ 5 h 17"/>
                  <a:gd name="T58" fmla="*/ 16 w 22"/>
                  <a:gd name="T59" fmla="*/ 1 h 17"/>
                  <a:gd name="T60" fmla="*/ 18 w 22"/>
                  <a:gd name="T61" fmla="*/ 0 h 17"/>
                  <a:gd name="T62" fmla="*/ 18 w 22"/>
                  <a:gd name="T6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7">
                    <a:moveTo>
                      <a:pt x="22" y="9"/>
                    </a:moveTo>
                    <a:lnTo>
                      <a:pt x="22" y="6"/>
                    </a:lnTo>
                    <a:lnTo>
                      <a:pt x="21" y="5"/>
                    </a:lnTo>
                    <a:lnTo>
                      <a:pt x="21" y="1"/>
                    </a:lnTo>
                    <a:lnTo>
                      <a:pt x="19" y="1"/>
                    </a:lnTo>
                    <a:lnTo>
                      <a:pt x="19" y="1"/>
                    </a:lnTo>
                    <a:lnTo>
                      <a:pt x="19" y="1"/>
                    </a:lnTo>
                    <a:lnTo>
                      <a:pt x="18" y="1"/>
                    </a:lnTo>
                    <a:lnTo>
                      <a:pt x="18" y="1"/>
                    </a:lnTo>
                    <a:lnTo>
                      <a:pt x="18" y="3"/>
                    </a:lnTo>
                    <a:lnTo>
                      <a:pt x="18" y="5"/>
                    </a:lnTo>
                    <a:lnTo>
                      <a:pt x="18" y="8"/>
                    </a:lnTo>
                    <a:lnTo>
                      <a:pt x="19" y="11"/>
                    </a:lnTo>
                    <a:lnTo>
                      <a:pt x="21" y="11"/>
                    </a:lnTo>
                    <a:lnTo>
                      <a:pt x="22" y="11"/>
                    </a:lnTo>
                    <a:lnTo>
                      <a:pt x="22" y="11"/>
                    </a:lnTo>
                    <a:lnTo>
                      <a:pt x="22" y="11"/>
                    </a:lnTo>
                    <a:lnTo>
                      <a:pt x="22" y="11"/>
                    </a:lnTo>
                    <a:lnTo>
                      <a:pt x="22" y="9"/>
                    </a:lnTo>
                    <a:close/>
                    <a:moveTo>
                      <a:pt x="18" y="0"/>
                    </a:moveTo>
                    <a:lnTo>
                      <a:pt x="15" y="0"/>
                    </a:lnTo>
                    <a:lnTo>
                      <a:pt x="13" y="1"/>
                    </a:lnTo>
                    <a:lnTo>
                      <a:pt x="11" y="3"/>
                    </a:lnTo>
                    <a:lnTo>
                      <a:pt x="10" y="5"/>
                    </a:lnTo>
                    <a:lnTo>
                      <a:pt x="7" y="6"/>
                    </a:lnTo>
                    <a:lnTo>
                      <a:pt x="5" y="6"/>
                    </a:lnTo>
                    <a:lnTo>
                      <a:pt x="4" y="6"/>
                    </a:lnTo>
                    <a:lnTo>
                      <a:pt x="0" y="6"/>
                    </a:lnTo>
                    <a:lnTo>
                      <a:pt x="2" y="8"/>
                    </a:lnTo>
                    <a:lnTo>
                      <a:pt x="2" y="8"/>
                    </a:lnTo>
                    <a:lnTo>
                      <a:pt x="4" y="9"/>
                    </a:lnTo>
                    <a:lnTo>
                      <a:pt x="4" y="9"/>
                    </a:lnTo>
                    <a:lnTo>
                      <a:pt x="4" y="9"/>
                    </a:lnTo>
                    <a:lnTo>
                      <a:pt x="5" y="11"/>
                    </a:lnTo>
                    <a:lnTo>
                      <a:pt x="5" y="12"/>
                    </a:lnTo>
                    <a:lnTo>
                      <a:pt x="5" y="12"/>
                    </a:lnTo>
                    <a:lnTo>
                      <a:pt x="7" y="12"/>
                    </a:lnTo>
                    <a:lnTo>
                      <a:pt x="7" y="12"/>
                    </a:lnTo>
                    <a:lnTo>
                      <a:pt x="8" y="14"/>
                    </a:lnTo>
                    <a:lnTo>
                      <a:pt x="8" y="14"/>
                    </a:lnTo>
                    <a:lnTo>
                      <a:pt x="8" y="15"/>
                    </a:lnTo>
                    <a:lnTo>
                      <a:pt x="10" y="15"/>
                    </a:lnTo>
                    <a:lnTo>
                      <a:pt x="10" y="17"/>
                    </a:lnTo>
                    <a:lnTo>
                      <a:pt x="11" y="17"/>
                    </a:lnTo>
                    <a:lnTo>
                      <a:pt x="11" y="17"/>
                    </a:lnTo>
                    <a:lnTo>
                      <a:pt x="13" y="15"/>
                    </a:lnTo>
                    <a:lnTo>
                      <a:pt x="13" y="14"/>
                    </a:lnTo>
                    <a:lnTo>
                      <a:pt x="15" y="12"/>
                    </a:lnTo>
                    <a:lnTo>
                      <a:pt x="13" y="12"/>
                    </a:lnTo>
                    <a:lnTo>
                      <a:pt x="15" y="11"/>
                    </a:lnTo>
                    <a:lnTo>
                      <a:pt x="15" y="11"/>
                    </a:lnTo>
                    <a:lnTo>
                      <a:pt x="15" y="9"/>
                    </a:lnTo>
                    <a:lnTo>
                      <a:pt x="13" y="9"/>
                    </a:lnTo>
                    <a:lnTo>
                      <a:pt x="13" y="8"/>
                    </a:lnTo>
                    <a:lnTo>
                      <a:pt x="13" y="6"/>
                    </a:lnTo>
                    <a:lnTo>
                      <a:pt x="13" y="5"/>
                    </a:lnTo>
                    <a:lnTo>
                      <a:pt x="13" y="5"/>
                    </a:lnTo>
                    <a:lnTo>
                      <a:pt x="13" y="5"/>
                    </a:lnTo>
                    <a:lnTo>
                      <a:pt x="15" y="3"/>
                    </a:lnTo>
                    <a:lnTo>
                      <a:pt x="16" y="1"/>
                    </a:lnTo>
                    <a:lnTo>
                      <a:pt x="18" y="1"/>
                    </a:lnTo>
                    <a:lnTo>
                      <a:pt x="18" y="0"/>
                    </a:lnTo>
                    <a:lnTo>
                      <a:pt x="18" y="0"/>
                    </a:lnTo>
                    <a:lnTo>
                      <a:pt x="1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3" name="Freeform 30">
                <a:extLst>
                  <a:ext uri="{FF2B5EF4-FFF2-40B4-BE49-F238E27FC236}">
                    <a16:creationId xmlns:a16="http://schemas.microsoft.com/office/drawing/2014/main" id="{7699DE64-BC5A-AC19-0DE4-ABA9B8ED4315}"/>
                  </a:ext>
                </a:extLst>
              </p:cNvPr>
              <p:cNvSpPr>
                <a:spLocks/>
              </p:cNvSpPr>
              <p:nvPr/>
            </p:nvSpPr>
            <p:spPr bwMode="gray">
              <a:xfrm>
                <a:off x="1453" y="1746"/>
                <a:ext cx="212" cy="241"/>
              </a:xfrm>
              <a:custGeom>
                <a:avLst/>
                <a:gdLst>
                  <a:gd name="T0" fmla="*/ 184 w 212"/>
                  <a:gd name="T1" fmla="*/ 174 h 241"/>
                  <a:gd name="T2" fmla="*/ 139 w 212"/>
                  <a:gd name="T3" fmla="*/ 180 h 241"/>
                  <a:gd name="T4" fmla="*/ 129 w 212"/>
                  <a:gd name="T5" fmla="*/ 207 h 241"/>
                  <a:gd name="T6" fmla="*/ 120 w 212"/>
                  <a:gd name="T7" fmla="*/ 227 h 241"/>
                  <a:gd name="T8" fmla="*/ 103 w 212"/>
                  <a:gd name="T9" fmla="*/ 226 h 241"/>
                  <a:gd name="T10" fmla="*/ 93 w 212"/>
                  <a:gd name="T11" fmla="*/ 237 h 241"/>
                  <a:gd name="T12" fmla="*/ 89 w 212"/>
                  <a:gd name="T13" fmla="*/ 229 h 241"/>
                  <a:gd name="T14" fmla="*/ 71 w 212"/>
                  <a:gd name="T15" fmla="*/ 226 h 241"/>
                  <a:gd name="T16" fmla="*/ 59 w 212"/>
                  <a:gd name="T17" fmla="*/ 221 h 241"/>
                  <a:gd name="T18" fmla="*/ 51 w 212"/>
                  <a:gd name="T19" fmla="*/ 229 h 241"/>
                  <a:gd name="T20" fmla="*/ 43 w 212"/>
                  <a:gd name="T21" fmla="*/ 240 h 241"/>
                  <a:gd name="T22" fmla="*/ 31 w 212"/>
                  <a:gd name="T23" fmla="*/ 240 h 241"/>
                  <a:gd name="T24" fmla="*/ 29 w 212"/>
                  <a:gd name="T25" fmla="*/ 229 h 241"/>
                  <a:gd name="T26" fmla="*/ 25 w 212"/>
                  <a:gd name="T27" fmla="*/ 212 h 241"/>
                  <a:gd name="T28" fmla="*/ 18 w 212"/>
                  <a:gd name="T29" fmla="*/ 201 h 241"/>
                  <a:gd name="T30" fmla="*/ 15 w 212"/>
                  <a:gd name="T31" fmla="*/ 194 h 241"/>
                  <a:gd name="T32" fmla="*/ 15 w 212"/>
                  <a:gd name="T33" fmla="*/ 188 h 241"/>
                  <a:gd name="T34" fmla="*/ 18 w 212"/>
                  <a:gd name="T35" fmla="*/ 179 h 241"/>
                  <a:gd name="T36" fmla="*/ 17 w 212"/>
                  <a:gd name="T37" fmla="*/ 173 h 241"/>
                  <a:gd name="T38" fmla="*/ 10 w 212"/>
                  <a:gd name="T39" fmla="*/ 163 h 241"/>
                  <a:gd name="T40" fmla="*/ 9 w 212"/>
                  <a:gd name="T41" fmla="*/ 152 h 241"/>
                  <a:gd name="T42" fmla="*/ 1 w 212"/>
                  <a:gd name="T43" fmla="*/ 141 h 241"/>
                  <a:gd name="T44" fmla="*/ 0 w 212"/>
                  <a:gd name="T45" fmla="*/ 135 h 241"/>
                  <a:gd name="T46" fmla="*/ 9 w 212"/>
                  <a:gd name="T47" fmla="*/ 127 h 241"/>
                  <a:gd name="T48" fmla="*/ 14 w 212"/>
                  <a:gd name="T49" fmla="*/ 121 h 241"/>
                  <a:gd name="T50" fmla="*/ 7 w 212"/>
                  <a:gd name="T51" fmla="*/ 116 h 241"/>
                  <a:gd name="T52" fmla="*/ 7 w 212"/>
                  <a:gd name="T53" fmla="*/ 99 h 241"/>
                  <a:gd name="T54" fmla="*/ 7 w 212"/>
                  <a:gd name="T55" fmla="*/ 88 h 241"/>
                  <a:gd name="T56" fmla="*/ 12 w 212"/>
                  <a:gd name="T57" fmla="*/ 82 h 241"/>
                  <a:gd name="T58" fmla="*/ 9 w 212"/>
                  <a:gd name="T59" fmla="*/ 72 h 241"/>
                  <a:gd name="T60" fmla="*/ 12 w 212"/>
                  <a:gd name="T61" fmla="*/ 57 h 241"/>
                  <a:gd name="T62" fmla="*/ 14 w 212"/>
                  <a:gd name="T63" fmla="*/ 47 h 241"/>
                  <a:gd name="T64" fmla="*/ 1 w 212"/>
                  <a:gd name="T65" fmla="*/ 24 h 241"/>
                  <a:gd name="T66" fmla="*/ 15 w 212"/>
                  <a:gd name="T67" fmla="*/ 25 h 241"/>
                  <a:gd name="T68" fmla="*/ 26 w 212"/>
                  <a:gd name="T69" fmla="*/ 21 h 241"/>
                  <a:gd name="T70" fmla="*/ 35 w 212"/>
                  <a:gd name="T71" fmla="*/ 15 h 241"/>
                  <a:gd name="T72" fmla="*/ 53 w 212"/>
                  <a:gd name="T73" fmla="*/ 5 h 241"/>
                  <a:gd name="T74" fmla="*/ 71 w 212"/>
                  <a:gd name="T75" fmla="*/ 2 h 241"/>
                  <a:gd name="T76" fmla="*/ 75 w 212"/>
                  <a:gd name="T77" fmla="*/ 7 h 241"/>
                  <a:gd name="T78" fmla="*/ 75 w 212"/>
                  <a:gd name="T79" fmla="*/ 19 h 241"/>
                  <a:gd name="T80" fmla="*/ 75 w 212"/>
                  <a:gd name="T81" fmla="*/ 30 h 241"/>
                  <a:gd name="T82" fmla="*/ 78 w 212"/>
                  <a:gd name="T83" fmla="*/ 38 h 241"/>
                  <a:gd name="T84" fmla="*/ 81 w 212"/>
                  <a:gd name="T85" fmla="*/ 41 h 241"/>
                  <a:gd name="T86" fmla="*/ 90 w 212"/>
                  <a:gd name="T87" fmla="*/ 46 h 241"/>
                  <a:gd name="T88" fmla="*/ 104 w 212"/>
                  <a:gd name="T89" fmla="*/ 51 h 241"/>
                  <a:gd name="T90" fmla="*/ 114 w 212"/>
                  <a:gd name="T91" fmla="*/ 54 h 241"/>
                  <a:gd name="T92" fmla="*/ 121 w 212"/>
                  <a:gd name="T93" fmla="*/ 60 h 241"/>
                  <a:gd name="T94" fmla="*/ 134 w 212"/>
                  <a:gd name="T95" fmla="*/ 68 h 241"/>
                  <a:gd name="T96" fmla="*/ 150 w 212"/>
                  <a:gd name="T97" fmla="*/ 69 h 241"/>
                  <a:gd name="T98" fmla="*/ 162 w 212"/>
                  <a:gd name="T99" fmla="*/ 79 h 241"/>
                  <a:gd name="T100" fmla="*/ 162 w 212"/>
                  <a:gd name="T101" fmla="*/ 88 h 241"/>
                  <a:gd name="T102" fmla="*/ 165 w 212"/>
                  <a:gd name="T103" fmla="*/ 104 h 241"/>
                  <a:gd name="T104" fmla="*/ 187 w 212"/>
                  <a:gd name="T105" fmla="*/ 119 h 241"/>
                  <a:gd name="T106" fmla="*/ 198 w 212"/>
                  <a:gd name="T107" fmla="*/ 121 h 241"/>
                  <a:gd name="T108" fmla="*/ 198 w 212"/>
                  <a:gd name="T109" fmla="*/ 137 h 241"/>
                  <a:gd name="T110" fmla="*/ 209 w 212"/>
                  <a:gd name="T111" fmla="*/ 149 h 241"/>
                  <a:gd name="T112" fmla="*/ 211 w 212"/>
                  <a:gd name="T113" fmla="*/ 158 h 241"/>
                  <a:gd name="T114" fmla="*/ 207 w 212"/>
                  <a:gd name="T115" fmla="*/ 171 h 241"/>
                  <a:gd name="T116" fmla="*/ 206 w 212"/>
                  <a:gd name="T117" fmla="*/ 18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41">
                    <a:moveTo>
                      <a:pt x="201" y="190"/>
                    </a:moveTo>
                    <a:lnTo>
                      <a:pt x="201" y="187"/>
                    </a:lnTo>
                    <a:lnTo>
                      <a:pt x="201" y="185"/>
                    </a:lnTo>
                    <a:lnTo>
                      <a:pt x="201" y="184"/>
                    </a:lnTo>
                    <a:lnTo>
                      <a:pt x="195" y="180"/>
                    </a:lnTo>
                    <a:lnTo>
                      <a:pt x="190" y="177"/>
                    </a:lnTo>
                    <a:lnTo>
                      <a:pt x="184" y="174"/>
                    </a:lnTo>
                    <a:lnTo>
                      <a:pt x="176" y="174"/>
                    </a:lnTo>
                    <a:lnTo>
                      <a:pt x="168" y="174"/>
                    </a:lnTo>
                    <a:lnTo>
                      <a:pt x="161" y="176"/>
                    </a:lnTo>
                    <a:lnTo>
                      <a:pt x="153" y="177"/>
                    </a:lnTo>
                    <a:lnTo>
                      <a:pt x="150" y="179"/>
                    </a:lnTo>
                    <a:lnTo>
                      <a:pt x="142" y="180"/>
                    </a:lnTo>
                    <a:lnTo>
                      <a:pt x="139" y="180"/>
                    </a:lnTo>
                    <a:lnTo>
                      <a:pt x="137" y="184"/>
                    </a:lnTo>
                    <a:lnTo>
                      <a:pt x="136" y="188"/>
                    </a:lnTo>
                    <a:lnTo>
                      <a:pt x="134" y="191"/>
                    </a:lnTo>
                    <a:lnTo>
                      <a:pt x="131" y="194"/>
                    </a:lnTo>
                    <a:lnTo>
                      <a:pt x="129" y="198"/>
                    </a:lnTo>
                    <a:lnTo>
                      <a:pt x="129" y="202"/>
                    </a:lnTo>
                    <a:lnTo>
                      <a:pt x="129" y="207"/>
                    </a:lnTo>
                    <a:lnTo>
                      <a:pt x="126" y="213"/>
                    </a:lnTo>
                    <a:lnTo>
                      <a:pt x="125" y="220"/>
                    </a:lnTo>
                    <a:lnTo>
                      <a:pt x="123" y="224"/>
                    </a:lnTo>
                    <a:lnTo>
                      <a:pt x="123" y="229"/>
                    </a:lnTo>
                    <a:lnTo>
                      <a:pt x="121" y="229"/>
                    </a:lnTo>
                    <a:lnTo>
                      <a:pt x="121" y="229"/>
                    </a:lnTo>
                    <a:lnTo>
                      <a:pt x="120" y="227"/>
                    </a:lnTo>
                    <a:lnTo>
                      <a:pt x="120" y="226"/>
                    </a:lnTo>
                    <a:lnTo>
                      <a:pt x="118" y="224"/>
                    </a:lnTo>
                    <a:lnTo>
                      <a:pt x="118" y="224"/>
                    </a:lnTo>
                    <a:lnTo>
                      <a:pt x="112" y="224"/>
                    </a:lnTo>
                    <a:lnTo>
                      <a:pt x="104" y="224"/>
                    </a:lnTo>
                    <a:lnTo>
                      <a:pt x="104" y="226"/>
                    </a:lnTo>
                    <a:lnTo>
                      <a:pt x="103" y="226"/>
                    </a:lnTo>
                    <a:lnTo>
                      <a:pt x="101" y="224"/>
                    </a:lnTo>
                    <a:lnTo>
                      <a:pt x="101" y="224"/>
                    </a:lnTo>
                    <a:lnTo>
                      <a:pt x="100" y="226"/>
                    </a:lnTo>
                    <a:lnTo>
                      <a:pt x="100" y="226"/>
                    </a:lnTo>
                    <a:lnTo>
                      <a:pt x="96" y="232"/>
                    </a:lnTo>
                    <a:lnTo>
                      <a:pt x="95" y="234"/>
                    </a:lnTo>
                    <a:lnTo>
                      <a:pt x="93" y="237"/>
                    </a:lnTo>
                    <a:lnTo>
                      <a:pt x="93" y="240"/>
                    </a:lnTo>
                    <a:lnTo>
                      <a:pt x="93" y="240"/>
                    </a:lnTo>
                    <a:lnTo>
                      <a:pt x="92" y="240"/>
                    </a:lnTo>
                    <a:lnTo>
                      <a:pt x="90" y="235"/>
                    </a:lnTo>
                    <a:lnTo>
                      <a:pt x="90" y="234"/>
                    </a:lnTo>
                    <a:lnTo>
                      <a:pt x="89" y="232"/>
                    </a:lnTo>
                    <a:lnTo>
                      <a:pt x="89" y="229"/>
                    </a:lnTo>
                    <a:lnTo>
                      <a:pt x="86" y="229"/>
                    </a:lnTo>
                    <a:lnTo>
                      <a:pt x="86" y="227"/>
                    </a:lnTo>
                    <a:lnTo>
                      <a:pt x="84" y="227"/>
                    </a:lnTo>
                    <a:lnTo>
                      <a:pt x="81" y="227"/>
                    </a:lnTo>
                    <a:lnTo>
                      <a:pt x="79" y="227"/>
                    </a:lnTo>
                    <a:lnTo>
                      <a:pt x="73" y="227"/>
                    </a:lnTo>
                    <a:lnTo>
                      <a:pt x="71" y="226"/>
                    </a:lnTo>
                    <a:lnTo>
                      <a:pt x="68" y="227"/>
                    </a:lnTo>
                    <a:lnTo>
                      <a:pt x="67" y="227"/>
                    </a:lnTo>
                    <a:lnTo>
                      <a:pt x="65" y="226"/>
                    </a:lnTo>
                    <a:lnTo>
                      <a:pt x="62" y="223"/>
                    </a:lnTo>
                    <a:lnTo>
                      <a:pt x="62" y="221"/>
                    </a:lnTo>
                    <a:lnTo>
                      <a:pt x="60" y="221"/>
                    </a:lnTo>
                    <a:lnTo>
                      <a:pt x="59" y="221"/>
                    </a:lnTo>
                    <a:lnTo>
                      <a:pt x="59" y="221"/>
                    </a:lnTo>
                    <a:lnTo>
                      <a:pt x="59" y="224"/>
                    </a:lnTo>
                    <a:lnTo>
                      <a:pt x="57" y="226"/>
                    </a:lnTo>
                    <a:lnTo>
                      <a:pt x="57" y="227"/>
                    </a:lnTo>
                    <a:lnTo>
                      <a:pt x="54" y="227"/>
                    </a:lnTo>
                    <a:lnTo>
                      <a:pt x="53" y="229"/>
                    </a:lnTo>
                    <a:lnTo>
                      <a:pt x="51" y="229"/>
                    </a:lnTo>
                    <a:lnTo>
                      <a:pt x="50" y="230"/>
                    </a:lnTo>
                    <a:lnTo>
                      <a:pt x="50" y="230"/>
                    </a:lnTo>
                    <a:lnTo>
                      <a:pt x="50" y="232"/>
                    </a:lnTo>
                    <a:lnTo>
                      <a:pt x="46" y="234"/>
                    </a:lnTo>
                    <a:lnTo>
                      <a:pt x="45" y="235"/>
                    </a:lnTo>
                    <a:lnTo>
                      <a:pt x="45" y="237"/>
                    </a:lnTo>
                    <a:lnTo>
                      <a:pt x="43" y="240"/>
                    </a:lnTo>
                    <a:lnTo>
                      <a:pt x="42" y="240"/>
                    </a:lnTo>
                    <a:lnTo>
                      <a:pt x="40" y="241"/>
                    </a:lnTo>
                    <a:lnTo>
                      <a:pt x="35" y="241"/>
                    </a:lnTo>
                    <a:lnTo>
                      <a:pt x="34" y="241"/>
                    </a:lnTo>
                    <a:lnTo>
                      <a:pt x="32" y="241"/>
                    </a:lnTo>
                    <a:lnTo>
                      <a:pt x="31" y="241"/>
                    </a:lnTo>
                    <a:lnTo>
                      <a:pt x="31" y="240"/>
                    </a:lnTo>
                    <a:lnTo>
                      <a:pt x="31" y="240"/>
                    </a:lnTo>
                    <a:lnTo>
                      <a:pt x="31" y="238"/>
                    </a:lnTo>
                    <a:lnTo>
                      <a:pt x="31" y="237"/>
                    </a:lnTo>
                    <a:lnTo>
                      <a:pt x="31" y="234"/>
                    </a:lnTo>
                    <a:lnTo>
                      <a:pt x="29" y="230"/>
                    </a:lnTo>
                    <a:lnTo>
                      <a:pt x="29" y="230"/>
                    </a:lnTo>
                    <a:lnTo>
                      <a:pt x="29" y="229"/>
                    </a:lnTo>
                    <a:lnTo>
                      <a:pt x="29" y="226"/>
                    </a:lnTo>
                    <a:lnTo>
                      <a:pt x="28" y="224"/>
                    </a:lnTo>
                    <a:lnTo>
                      <a:pt x="26" y="223"/>
                    </a:lnTo>
                    <a:lnTo>
                      <a:pt x="26" y="220"/>
                    </a:lnTo>
                    <a:lnTo>
                      <a:pt x="25" y="218"/>
                    </a:lnTo>
                    <a:lnTo>
                      <a:pt x="25" y="215"/>
                    </a:lnTo>
                    <a:lnTo>
                      <a:pt x="25" y="212"/>
                    </a:lnTo>
                    <a:lnTo>
                      <a:pt x="23" y="209"/>
                    </a:lnTo>
                    <a:lnTo>
                      <a:pt x="21" y="205"/>
                    </a:lnTo>
                    <a:lnTo>
                      <a:pt x="18" y="204"/>
                    </a:lnTo>
                    <a:lnTo>
                      <a:pt x="18" y="204"/>
                    </a:lnTo>
                    <a:lnTo>
                      <a:pt x="18" y="204"/>
                    </a:lnTo>
                    <a:lnTo>
                      <a:pt x="18" y="202"/>
                    </a:lnTo>
                    <a:lnTo>
                      <a:pt x="18" y="201"/>
                    </a:lnTo>
                    <a:lnTo>
                      <a:pt x="20" y="199"/>
                    </a:lnTo>
                    <a:lnTo>
                      <a:pt x="20" y="199"/>
                    </a:lnTo>
                    <a:lnTo>
                      <a:pt x="20" y="199"/>
                    </a:lnTo>
                    <a:lnTo>
                      <a:pt x="17" y="196"/>
                    </a:lnTo>
                    <a:lnTo>
                      <a:pt x="15" y="196"/>
                    </a:lnTo>
                    <a:lnTo>
                      <a:pt x="15" y="194"/>
                    </a:lnTo>
                    <a:lnTo>
                      <a:pt x="15" y="194"/>
                    </a:lnTo>
                    <a:lnTo>
                      <a:pt x="15" y="193"/>
                    </a:lnTo>
                    <a:lnTo>
                      <a:pt x="17" y="193"/>
                    </a:lnTo>
                    <a:lnTo>
                      <a:pt x="15" y="191"/>
                    </a:lnTo>
                    <a:lnTo>
                      <a:pt x="15" y="190"/>
                    </a:lnTo>
                    <a:lnTo>
                      <a:pt x="15" y="190"/>
                    </a:lnTo>
                    <a:lnTo>
                      <a:pt x="15" y="190"/>
                    </a:lnTo>
                    <a:lnTo>
                      <a:pt x="15" y="188"/>
                    </a:lnTo>
                    <a:lnTo>
                      <a:pt x="18" y="188"/>
                    </a:lnTo>
                    <a:lnTo>
                      <a:pt x="18" y="187"/>
                    </a:lnTo>
                    <a:lnTo>
                      <a:pt x="18" y="185"/>
                    </a:lnTo>
                    <a:lnTo>
                      <a:pt x="18" y="185"/>
                    </a:lnTo>
                    <a:lnTo>
                      <a:pt x="17" y="182"/>
                    </a:lnTo>
                    <a:lnTo>
                      <a:pt x="17" y="182"/>
                    </a:lnTo>
                    <a:lnTo>
                      <a:pt x="18" y="179"/>
                    </a:lnTo>
                    <a:lnTo>
                      <a:pt x="20" y="177"/>
                    </a:lnTo>
                    <a:lnTo>
                      <a:pt x="20" y="177"/>
                    </a:lnTo>
                    <a:lnTo>
                      <a:pt x="20" y="176"/>
                    </a:lnTo>
                    <a:lnTo>
                      <a:pt x="20" y="176"/>
                    </a:lnTo>
                    <a:lnTo>
                      <a:pt x="18" y="176"/>
                    </a:lnTo>
                    <a:lnTo>
                      <a:pt x="17" y="174"/>
                    </a:lnTo>
                    <a:lnTo>
                      <a:pt x="17" y="173"/>
                    </a:lnTo>
                    <a:lnTo>
                      <a:pt x="15" y="173"/>
                    </a:lnTo>
                    <a:lnTo>
                      <a:pt x="14" y="171"/>
                    </a:lnTo>
                    <a:lnTo>
                      <a:pt x="12" y="169"/>
                    </a:lnTo>
                    <a:lnTo>
                      <a:pt x="12" y="168"/>
                    </a:lnTo>
                    <a:lnTo>
                      <a:pt x="12" y="168"/>
                    </a:lnTo>
                    <a:lnTo>
                      <a:pt x="10" y="165"/>
                    </a:lnTo>
                    <a:lnTo>
                      <a:pt x="10" y="163"/>
                    </a:lnTo>
                    <a:lnTo>
                      <a:pt x="10" y="160"/>
                    </a:lnTo>
                    <a:lnTo>
                      <a:pt x="10" y="158"/>
                    </a:lnTo>
                    <a:lnTo>
                      <a:pt x="9" y="157"/>
                    </a:lnTo>
                    <a:lnTo>
                      <a:pt x="9" y="155"/>
                    </a:lnTo>
                    <a:lnTo>
                      <a:pt x="9" y="154"/>
                    </a:lnTo>
                    <a:lnTo>
                      <a:pt x="9" y="154"/>
                    </a:lnTo>
                    <a:lnTo>
                      <a:pt x="9" y="152"/>
                    </a:lnTo>
                    <a:lnTo>
                      <a:pt x="9" y="152"/>
                    </a:lnTo>
                    <a:lnTo>
                      <a:pt x="9" y="151"/>
                    </a:lnTo>
                    <a:lnTo>
                      <a:pt x="6" y="149"/>
                    </a:lnTo>
                    <a:lnTo>
                      <a:pt x="6" y="149"/>
                    </a:lnTo>
                    <a:lnTo>
                      <a:pt x="4" y="146"/>
                    </a:lnTo>
                    <a:lnTo>
                      <a:pt x="3" y="143"/>
                    </a:lnTo>
                    <a:lnTo>
                      <a:pt x="1" y="141"/>
                    </a:lnTo>
                    <a:lnTo>
                      <a:pt x="1" y="141"/>
                    </a:lnTo>
                    <a:lnTo>
                      <a:pt x="1" y="141"/>
                    </a:lnTo>
                    <a:lnTo>
                      <a:pt x="1" y="140"/>
                    </a:lnTo>
                    <a:lnTo>
                      <a:pt x="1" y="138"/>
                    </a:lnTo>
                    <a:lnTo>
                      <a:pt x="0" y="138"/>
                    </a:lnTo>
                    <a:lnTo>
                      <a:pt x="0" y="137"/>
                    </a:lnTo>
                    <a:lnTo>
                      <a:pt x="0" y="135"/>
                    </a:lnTo>
                    <a:lnTo>
                      <a:pt x="3" y="133"/>
                    </a:lnTo>
                    <a:lnTo>
                      <a:pt x="3" y="133"/>
                    </a:lnTo>
                    <a:lnTo>
                      <a:pt x="3" y="133"/>
                    </a:lnTo>
                    <a:lnTo>
                      <a:pt x="4" y="132"/>
                    </a:lnTo>
                    <a:lnTo>
                      <a:pt x="6" y="130"/>
                    </a:lnTo>
                    <a:lnTo>
                      <a:pt x="7" y="127"/>
                    </a:lnTo>
                    <a:lnTo>
                      <a:pt x="9" y="127"/>
                    </a:lnTo>
                    <a:lnTo>
                      <a:pt x="10" y="126"/>
                    </a:lnTo>
                    <a:lnTo>
                      <a:pt x="10" y="126"/>
                    </a:lnTo>
                    <a:lnTo>
                      <a:pt x="10" y="124"/>
                    </a:lnTo>
                    <a:lnTo>
                      <a:pt x="10" y="123"/>
                    </a:lnTo>
                    <a:lnTo>
                      <a:pt x="10" y="123"/>
                    </a:lnTo>
                    <a:lnTo>
                      <a:pt x="12" y="121"/>
                    </a:lnTo>
                    <a:lnTo>
                      <a:pt x="14" y="121"/>
                    </a:lnTo>
                    <a:lnTo>
                      <a:pt x="14" y="119"/>
                    </a:lnTo>
                    <a:lnTo>
                      <a:pt x="14" y="119"/>
                    </a:lnTo>
                    <a:lnTo>
                      <a:pt x="12" y="119"/>
                    </a:lnTo>
                    <a:lnTo>
                      <a:pt x="10" y="118"/>
                    </a:lnTo>
                    <a:lnTo>
                      <a:pt x="9" y="118"/>
                    </a:lnTo>
                    <a:lnTo>
                      <a:pt x="7" y="118"/>
                    </a:lnTo>
                    <a:lnTo>
                      <a:pt x="7" y="116"/>
                    </a:lnTo>
                    <a:lnTo>
                      <a:pt x="4" y="108"/>
                    </a:lnTo>
                    <a:lnTo>
                      <a:pt x="3" y="107"/>
                    </a:lnTo>
                    <a:lnTo>
                      <a:pt x="4" y="107"/>
                    </a:lnTo>
                    <a:lnTo>
                      <a:pt x="6" y="104"/>
                    </a:lnTo>
                    <a:lnTo>
                      <a:pt x="6" y="102"/>
                    </a:lnTo>
                    <a:lnTo>
                      <a:pt x="7" y="101"/>
                    </a:lnTo>
                    <a:lnTo>
                      <a:pt x="7" y="99"/>
                    </a:lnTo>
                    <a:lnTo>
                      <a:pt x="4" y="96"/>
                    </a:lnTo>
                    <a:lnTo>
                      <a:pt x="4" y="94"/>
                    </a:lnTo>
                    <a:lnTo>
                      <a:pt x="4" y="94"/>
                    </a:lnTo>
                    <a:lnTo>
                      <a:pt x="4" y="93"/>
                    </a:lnTo>
                    <a:lnTo>
                      <a:pt x="6" y="91"/>
                    </a:lnTo>
                    <a:lnTo>
                      <a:pt x="6" y="90"/>
                    </a:lnTo>
                    <a:lnTo>
                      <a:pt x="7" y="88"/>
                    </a:lnTo>
                    <a:lnTo>
                      <a:pt x="7" y="88"/>
                    </a:lnTo>
                    <a:lnTo>
                      <a:pt x="7" y="87"/>
                    </a:lnTo>
                    <a:lnTo>
                      <a:pt x="9" y="87"/>
                    </a:lnTo>
                    <a:lnTo>
                      <a:pt x="10" y="85"/>
                    </a:lnTo>
                    <a:lnTo>
                      <a:pt x="10" y="85"/>
                    </a:lnTo>
                    <a:lnTo>
                      <a:pt x="10" y="82"/>
                    </a:lnTo>
                    <a:lnTo>
                      <a:pt x="12" y="82"/>
                    </a:lnTo>
                    <a:lnTo>
                      <a:pt x="14" y="82"/>
                    </a:lnTo>
                    <a:lnTo>
                      <a:pt x="14" y="80"/>
                    </a:lnTo>
                    <a:lnTo>
                      <a:pt x="12" y="79"/>
                    </a:lnTo>
                    <a:lnTo>
                      <a:pt x="12" y="79"/>
                    </a:lnTo>
                    <a:lnTo>
                      <a:pt x="10" y="77"/>
                    </a:lnTo>
                    <a:lnTo>
                      <a:pt x="10" y="74"/>
                    </a:lnTo>
                    <a:lnTo>
                      <a:pt x="9" y="72"/>
                    </a:lnTo>
                    <a:lnTo>
                      <a:pt x="10" y="71"/>
                    </a:lnTo>
                    <a:lnTo>
                      <a:pt x="10" y="71"/>
                    </a:lnTo>
                    <a:lnTo>
                      <a:pt x="10" y="69"/>
                    </a:lnTo>
                    <a:lnTo>
                      <a:pt x="12" y="66"/>
                    </a:lnTo>
                    <a:lnTo>
                      <a:pt x="10" y="58"/>
                    </a:lnTo>
                    <a:lnTo>
                      <a:pt x="10" y="58"/>
                    </a:lnTo>
                    <a:lnTo>
                      <a:pt x="12" y="57"/>
                    </a:lnTo>
                    <a:lnTo>
                      <a:pt x="14" y="55"/>
                    </a:lnTo>
                    <a:lnTo>
                      <a:pt x="14" y="55"/>
                    </a:lnTo>
                    <a:lnTo>
                      <a:pt x="15" y="54"/>
                    </a:lnTo>
                    <a:lnTo>
                      <a:pt x="15" y="52"/>
                    </a:lnTo>
                    <a:lnTo>
                      <a:pt x="15" y="52"/>
                    </a:lnTo>
                    <a:lnTo>
                      <a:pt x="17" y="51"/>
                    </a:lnTo>
                    <a:lnTo>
                      <a:pt x="14" y="47"/>
                    </a:lnTo>
                    <a:lnTo>
                      <a:pt x="12" y="43"/>
                    </a:lnTo>
                    <a:lnTo>
                      <a:pt x="10" y="40"/>
                    </a:lnTo>
                    <a:lnTo>
                      <a:pt x="7" y="36"/>
                    </a:lnTo>
                    <a:lnTo>
                      <a:pt x="6" y="33"/>
                    </a:lnTo>
                    <a:lnTo>
                      <a:pt x="4" y="30"/>
                    </a:lnTo>
                    <a:lnTo>
                      <a:pt x="3" y="27"/>
                    </a:lnTo>
                    <a:lnTo>
                      <a:pt x="1" y="24"/>
                    </a:lnTo>
                    <a:lnTo>
                      <a:pt x="3" y="24"/>
                    </a:lnTo>
                    <a:lnTo>
                      <a:pt x="7" y="24"/>
                    </a:lnTo>
                    <a:lnTo>
                      <a:pt x="10" y="24"/>
                    </a:lnTo>
                    <a:lnTo>
                      <a:pt x="14" y="24"/>
                    </a:lnTo>
                    <a:lnTo>
                      <a:pt x="15" y="25"/>
                    </a:lnTo>
                    <a:lnTo>
                      <a:pt x="15" y="25"/>
                    </a:lnTo>
                    <a:lnTo>
                      <a:pt x="15" y="25"/>
                    </a:lnTo>
                    <a:lnTo>
                      <a:pt x="17" y="25"/>
                    </a:lnTo>
                    <a:lnTo>
                      <a:pt x="17" y="25"/>
                    </a:lnTo>
                    <a:lnTo>
                      <a:pt x="20" y="25"/>
                    </a:lnTo>
                    <a:lnTo>
                      <a:pt x="21" y="24"/>
                    </a:lnTo>
                    <a:lnTo>
                      <a:pt x="23" y="24"/>
                    </a:lnTo>
                    <a:lnTo>
                      <a:pt x="23" y="22"/>
                    </a:lnTo>
                    <a:lnTo>
                      <a:pt x="26" y="21"/>
                    </a:lnTo>
                    <a:lnTo>
                      <a:pt x="28" y="19"/>
                    </a:lnTo>
                    <a:lnTo>
                      <a:pt x="29" y="18"/>
                    </a:lnTo>
                    <a:lnTo>
                      <a:pt x="31" y="18"/>
                    </a:lnTo>
                    <a:lnTo>
                      <a:pt x="32" y="19"/>
                    </a:lnTo>
                    <a:lnTo>
                      <a:pt x="34" y="19"/>
                    </a:lnTo>
                    <a:lnTo>
                      <a:pt x="34" y="18"/>
                    </a:lnTo>
                    <a:lnTo>
                      <a:pt x="35" y="15"/>
                    </a:lnTo>
                    <a:lnTo>
                      <a:pt x="39" y="13"/>
                    </a:lnTo>
                    <a:lnTo>
                      <a:pt x="40" y="13"/>
                    </a:lnTo>
                    <a:lnTo>
                      <a:pt x="42" y="11"/>
                    </a:lnTo>
                    <a:lnTo>
                      <a:pt x="43" y="11"/>
                    </a:lnTo>
                    <a:lnTo>
                      <a:pt x="43" y="11"/>
                    </a:lnTo>
                    <a:lnTo>
                      <a:pt x="51" y="5"/>
                    </a:lnTo>
                    <a:lnTo>
                      <a:pt x="53" y="5"/>
                    </a:lnTo>
                    <a:lnTo>
                      <a:pt x="56" y="4"/>
                    </a:lnTo>
                    <a:lnTo>
                      <a:pt x="56" y="4"/>
                    </a:lnTo>
                    <a:lnTo>
                      <a:pt x="59" y="4"/>
                    </a:lnTo>
                    <a:lnTo>
                      <a:pt x="65" y="2"/>
                    </a:lnTo>
                    <a:lnTo>
                      <a:pt x="68" y="2"/>
                    </a:lnTo>
                    <a:lnTo>
                      <a:pt x="70" y="4"/>
                    </a:lnTo>
                    <a:lnTo>
                      <a:pt x="71" y="2"/>
                    </a:lnTo>
                    <a:lnTo>
                      <a:pt x="73" y="2"/>
                    </a:lnTo>
                    <a:lnTo>
                      <a:pt x="73" y="0"/>
                    </a:lnTo>
                    <a:lnTo>
                      <a:pt x="75" y="2"/>
                    </a:lnTo>
                    <a:lnTo>
                      <a:pt x="75" y="2"/>
                    </a:lnTo>
                    <a:lnTo>
                      <a:pt x="76" y="4"/>
                    </a:lnTo>
                    <a:lnTo>
                      <a:pt x="75" y="5"/>
                    </a:lnTo>
                    <a:lnTo>
                      <a:pt x="75" y="7"/>
                    </a:lnTo>
                    <a:lnTo>
                      <a:pt x="76" y="8"/>
                    </a:lnTo>
                    <a:lnTo>
                      <a:pt x="76" y="11"/>
                    </a:lnTo>
                    <a:lnTo>
                      <a:pt x="75" y="13"/>
                    </a:lnTo>
                    <a:lnTo>
                      <a:pt x="73" y="15"/>
                    </a:lnTo>
                    <a:lnTo>
                      <a:pt x="73" y="16"/>
                    </a:lnTo>
                    <a:lnTo>
                      <a:pt x="73" y="16"/>
                    </a:lnTo>
                    <a:lnTo>
                      <a:pt x="75" y="19"/>
                    </a:lnTo>
                    <a:lnTo>
                      <a:pt x="75" y="22"/>
                    </a:lnTo>
                    <a:lnTo>
                      <a:pt x="75" y="24"/>
                    </a:lnTo>
                    <a:lnTo>
                      <a:pt x="75" y="25"/>
                    </a:lnTo>
                    <a:lnTo>
                      <a:pt x="75" y="27"/>
                    </a:lnTo>
                    <a:lnTo>
                      <a:pt x="75" y="29"/>
                    </a:lnTo>
                    <a:lnTo>
                      <a:pt x="75" y="29"/>
                    </a:lnTo>
                    <a:lnTo>
                      <a:pt x="75" y="30"/>
                    </a:lnTo>
                    <a:lnTo>
                      <a:pt x="75" y="30"/>
                    </a:lnTo>
                    <a:lnTo>
                      <a:pt x="75" y="32"/>
                    </a:lnTo>
                    <a:lnTo>
                      <a:pt x="76" y="33"/>
                    </a:lnTo>
                    <a:lnTo>
                      <a:pt x="78" y="35"/>
                    </a:lnTo>
                    <a:lnTo>
                      <a:pt x="78" y="35"/>
                    </a:lnTo>
                    <a:lnTo>
                      <a:pt x="78" y="36"/>
                    </a:lnTo>
                    <a:lnTo>
                      <a:pt x="78" y="38"/>
                    </a:lnTo>
                    <a:lnTo>
                      <a:pt x="78" y="38"/>
                    </a:lnTo>
                    <a:lnTo>
                      <a:pt x="79" y="38"/>
                    </a:lnTo>
                    <a:lnTo>
                      <a:pt x="79" y="36"/>
                    </a:lnTo>
                    <a:lnTo>
                      <a:pt x="79" y="38"/>
                    </a:lnTo>
                    <a:lnTo>
                      <a:pt x="81" y="40"/>
                    </a:lnTo>
                    <a:lnTo>
                      <a:pt x="81" y="40"/>
                    </a:lnTo>
                    <a:lnTo>
                      <a:pt x="81" y="41"/>
                    </a:lnTo>
                    <a:lnTo>
                      <a:pt x="81" y="41"/>
                    </a:lnTo>
                    <a:lnTo>
                      <a:pt x="82" y="43"/>
                    </a:lnTo>
                    <a:lnTo>
                      <a:pt x="84" y="43"/>
                    </a:lnTo>
                    <a:lnTo>
                      <a:pt x="86" y="43"/>
                    </a:lnTo>
                    <a:lnTo>
                      <a:pt x="87" y="44"/>
                    </a:lnTo>
                    <a:lnTo>
                      <a:pt x="87" y="46"/>
                    </a:lnTo>
                    <a:lnTo>
                      <a:pt x="90" y="46"/>
                    </a:lnTo>
                    <a:lnTo>
                      <a:pt x="90" y="47"/>
                    </a:lnTo>
                    <a:lnTo>
                      <a:pt x="92" y="51"/>
                    </a:lnTo>
                    <a:lnTo>
                      <a:pt x="93" y="51"/>
                    </a:lnTo>
                    <a:lnTo>
                      <a:pt x="98" y="51"/>
                    </a:lnTo>
                    <a:lnTo>
                      <a:pt x="100" y="52"/>
                    </a:lnTo>
                    <a:lnTo>
                      <a:pt x="103" y="51"/>
                    </a:lnTo>
                    <a:lnTo>
                      <a:pt x="104" y="51"/>
                    </a:lnTo>
                    <a:lnTo>
                      <a:pt x="106" y="51"/>
                    </a:lnTo>
                    <a:lnTo>
                      <a:pt x="106" y="52"/>
                    </a:lnTo>
                    <a:lnTo>
                      <a:pt x="107" y="52"/>
                    </a:lnTo>
                    <a:lnTo>
                      <a:pt x="111" y="54"/>
                    </a:lnTo>
                    <a:lnTo>
                      <a:pt x="112" y="55"/>
                    </a:lnTo>
                    <a:lnTo>
                      <a:pt x="114" y="54"/>
                    </a:lnTo>
                    <a:lnTo>
                      <a:pt x="114" y="54"/>
                    </a:lnTo>
                    <a:lnTo>
                      <a:pt x="115" y="54"/>
                    </a:lnTo>
                    <a:lnTo>
                      <a:pt x="115" y="55"/>
                    </a:lnTo>
                    <a:lnTo>
                      <a:pt x="115" y="57"/>
                    </a:lnTo>
                    <a:lnTo>
                      <a:pt x="117" y="57"/>
                    </a:lnTo>
                    <a:lnTo>
                      <a:pt x="118" y="58"/>
                    </a:lnTo>
                    <a:lnTo>
                      <a:pt x="120" y="60"/>
                    </a:lnTo>
                    <a:lnTo>
                      <a:pt x="121" y="60"/>
                    </a:lnTo>
                    <a:lnTo>
                      <a:pt x="125" y="61"/>
                    </a:lnTo>
                    <a:lnTo>
                      <a:pt x="128" y="61"/>
                    </a:lnTo>
                    <a:lnTo>
                      <a:pt x="129" y="63"/>
                    </a:lnTo>
                    <a:lnTo>
                      <a:pt x="131" y="61"/>
                    </a:lnTo>
                    <a:lnTo>
                      <a:pt x="131" y="63"/>
                    </a:lnTo>
                    <a:lnTo>
                      <a:pt x="132" y="65"/>
                    </a:lnTo>
                    <a:lnTo>
                      <a:pt x="134" y="68"/>
                    </a:lnTo>
                    <a:lnTo>
                      <a:pt x="136" y="68"/>
                    </a:lnTo>
                    <a:lnTo>
                      <a:pt x="137" y="69"/>
                    </a:lnTo>
                    <a:lnTo>
                      <a:pt x="142" y="69"/>
                    </a:lnTo>
                    <a:lnTo>
                      <a:pt x="142" y="69"/>
                    </a:lnTo>
                    <a:lnTo>
                      <a:pt x="143" y="69"/>
                    </a:lnTo>
                    <a:lnTo>
                      <a:pt x="150" y="69"/>
                    </a:lnTo>
                    <a:lnTo>
                      <a:pt x="150" y="69"/>
                    </a:lnTo>
                    <a:lnTo>
                      <a:pt x="153" y="69"/>
                    </a:lnTo>
                    <a:lnTo>
                      <a:pt x="156" y="72"/>
                    </a:lnTo>
                    <a:lnTo>
                      <a:pt x="159" y="72"/>
                    </a:lnTo>
                    <a:lnTo>
                      <a:pt x="161" y="74"/>
                    </a:lnTo>
                    <a:lnTo>
                      <a:pt x="161" y="76"/>
                    </a:lnTo>
                    <a:lnTo>
                      <a:pt x="162" y="77"/>
                    </a:lnTo>
                    <a:lnTo>
                      <a:pt x="162" y="79"/>
                    </a:lnTo>
                    <a:lnTo>
                      <a:pt x="161" y="80"/>
                    </a:lnTo>
                    <a:lnTo>
                      <a:pt x="161" y="80"/>
                    </a:lnTo>
                    <a:lnTo>
                      <a:pt x="161" y="82"/>
                    </a:lnTo>
                    <a:lnTo>
                      <a:pt x="161" y="82"/>
                    </a:lnTo>
                    <a:lnTo>
                      <a:pt x="162" y="83"/>
                    </a:lnTo>
                    <a:lnTo>
                      <a:pt x="162" y="85"/>
                    </a:lnTo>
                    <a:lnTo>
                      <a:pt x="162" y="88"/>
                    </a:lnTo>
                    <a:lnTo>
                      <a:pt x="164" y="90"/>
                    </a:lnTo>
                    <a:lnTo>
                      <a:pt x="164" y="97"/>
                    </a:lnTo>
                    <a:lnTo>
                      <a:pt x="162" y="97"/>
                    </a:lnTo>
                    <a:lnTo>
                      <a:pt x="159" y="97"/>
                    </a:lnTo>
                    <a:lnTo>
                      <a:pt x="159" y="99"/>
                    </a:lnTo>
                    <a:lnTo>
                      <a:pt x="162" y="102"/>
                    </a:lnTo>
                    <a:lnTo>
                      <a:pt x="165" y="104"/>
                    </a:lnTo>
                    <a:lnTo>
                      <a:pt x="165" y="108"/>
                    </a:lnTo>
                    <a:lnTo>
                      <a:pt x="165" y="112"/>
                    </a:lnTo>
                    <a:lnTo>
                      <a:pt x="165" y="116"/>
                    </a:lnTo>
                    <a:lnTo>
                      <a:pt x="165" y="119"/>
                    </a:lnTo>
                    <a:lnTo>
                      <a:pt x="172" y="119"/>
                    </a:lnTo>
                    <a:lnTo>
                      <a:pt x="179" y="119"/>
                    </a:lnTo>
                    <a:lnTo>
                      <a:pt x="187" y="119"/>
                    </a:lnTo>
                    <a:lnTo>
                      <a:pt x="195" y="119"/>
                    </a:lnTo>
                    <a:lnTo>
                      <a:pt x="195" y="119"/>
                    </a:lnTo>
                    <a:lnTo>
                      <a:pt x="197" y="119"/>
                    </a:lnTo>
                    <a:lnTo>
                      <a:pt x="197" y="119"/>
                    </a:lnTo>
                    <a:lnTo>
                      <a:pt x="198" y="119"/>
                    </a:lnTo>
                    <a:lnTo>
                      <a:pt x="198" y="119"/>
                    </a:lnTo>
                    <a:lnTo>
                      <a:pt x="198" y="121"/>
                    </a:lnTo>
                    <a:lnTo>
                      <a:pt x="198" y="123"/>
                    </a:lnTo>
                    <a:lnTo>
                      <a:pt x="195" y="126"/>
                    </a:lnTo>
                    <a:lnTo>
                      <a:pt x="195" y="127"/>
                    </a:lnTo>
                    <a:lnTo>
                      <a:pt x="197" y="130"/>
                    </a:lnTo>
                    <a:lnTo>
                      <a:pt x="197" y="133"/>
                    </a:lnTo>
                    <a:lnTo>
                      <a:pt x="197" y="137"/>
                    </a:lnTo>
                    <a:lnTo>
                      <a:pt x="198" y="137"/>
                    </a:lnTo>
                    <a:lnTo>
                      <a:pt x="200" y="138"/>
                    </a:lnTo>
                    <a:lnTo>
                      <a:pt x="204" y="141"/>
                    </a:lnTo>
                    <a:lnTo>
                      <a:pt x="206" y="141"/>
                    </a:lnTo>
                    <a:lnTo>
                      <a:pt x="207" y="141"/>
                    </a:lnTo>
                    <a:lnTo>
                      <a:pt x="207" y="143"/>
                    </a:lnTo>
                    <a:lnTo>
                      <a:pt x="207" y="144"/>
                    </a:lnTo>
                    <a:lnTo>
                      <a:pt x="209" y="149"/>
                    </a:lnTo>
                    <a:lnTo>
                      <a:pt x="211" y="152"/>
                    </a:lnTo>
                    <a:lnTo>
                      <a:pt x="212" y="154"/>
                    </a:lnTo>
                    <a:lnTo>
                      <a:pt x="212" y="154"/>
                    </a:lnTo>
                    <a:lnTo>
                      <a:pt x="212" y="155"/>
                    </a:lnTo>
                    <a:lnTo>
                      <a:pt x="212" y="155"/>
                    </a:lnTo>
                    <a:lnTo>
                      <a:pt x="211" y="155"/>
                    </a:lnTo>
                    <a:lnTo>
                      <a:pt x="211" y="158"/>
                    </a:lnTo>
                    <a:lnTo>
                      <a:pt x="209" y="163"/>
                    </a:lnTo>
                    <a:lnTo>
                      <a:pt x="207" y="168"/>
                    </a:lnTo>
                    <a:lnTo>
                      <a:pt x="209" y="168"/>
                    </a:lnTo>
                    <a:lnTo>
                      <a:pt x="209" y="168"/>
                    </a:lnTo>
                    <a:lnTo>
                      <a:pt x="209" y="169"/>
                    </a:lnTo>
                    <a:lnTo>
                      <a:pt x="207" y="169"/>
                    </a:lnTo>
                    <a:lnTo>
                      <a:pt x="207" y="171"/>
                    </a:lnTo>
                    <a:lnTo>
                      <a:pt x="206" y="173"/>
                    </a:lnTo>
                    <a:lnTo>
                      <a:pt x="204" y="177"/>
                    </a:lnTo>
                    <a:lnTo>
                      <a:pt x="203" y="180"/>
                    </a:lnTo>
                    <a:lnTo>
                      <a:pt x="201" y="182"/>
                    </a:lnTo>
                    <a:lnTo>
                      <a:pt x="203" y="184"/>
                    </a:lnTo>
                    <a:lnTo>
                      <a:pt x="206" y="187"/>
                    </a:lnTo>
                    <a:lnTo>
                      <a:pt x="206" y="188"/>
                    </a:lnTo>
                    <a:lnTo>
                      <a:pt x="204" y="188"/>
                    </a:lnTo>
                    <a:lnTo>
                      <a:pt x="203" y="188"/>
                    </a:lnTo>
                    <a:lnTo>
                      <a:pt x="203" y="190"/>
                    </a:lnTo>
                    <a:lnTo>
                      <a:pt x="203" y="190"/>
                    </a:lnTo>
                    <a:lnTo>
                      <a:pt x="201" y="19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4" name="Freeform 31">
                <a:extLst>
                  <a:ext uri="{FF2B5EF4-FFF2-40B4-BE49-F238E27FC236}">
                    <a16:creationId xmlns:a16="http://schemas.microsoft.com/office/drawing/2014/main" id="{2385B720-E2A1-29AF-5B07-F2AA89792494}"/>
                  </a:ext>
                </a:extLst>
              </p:cNvPr>
              <p:cNvSpPr>
                <a:spLocks noEditPoints="1"/>
              </p:cNvSpPr>
              <p:nvPr/>
            </p:nvSpPr>
            <p:spPr bwMode="gray">
              <a:xfrm>
                <a:off x="1474" y="1264"/>
                <a:ext cx="96" cy="102"/>
              </a:xfrm>
              <a:custGeom>
                <a:avLst/>
                <a:gdLst>
                  <a:gd name="T0" fmla="*/ 91 w 96"/>
                  <a:gd name="T1" fmla="*/ 0 h 102"/>
                  <a:gd name="T2" fmla="*/ 91 w 96"/>
                  <a:gd name="T3" fmla="*/ 0 h 102"/>
                  <a:gd name="T4" fmla="*/ 91 w 96"/>
                  <a:gd name="T5" fmla="*/ 0 h 102"/>
                  <a:gd name="T6" fmla="*/ 91 w 96"/>
                  <a:gd name="T7" fmla="*/ 0 h 102"/>
                  <a:gd name="T8" fmla="*/ 91 w 96"/>
                  <a:gd name="T9" fmla="*/ 0 h 102"/>
                  <a:gd name="T10" fmla="*/ 91 w 96"/>
                  <a:gd name="T11" fmla="*/ 0 h 102"/>
                  <a:gd name="T12" fmla="*/ 91 w 96"/>
                  <a:gd name="T13" fmla="*/ 0 h 102"/>
                  <a:gd name="T14" fmla="*/ 91 w 96"/>
                  <a:gd name="T15" fmla="*/ 0 h 102"/>
                  <a:gd name="T16" fmla="*/ 96 w 96"/>
                  <a:gd name="T17" fmla="*/ 2 h 102"/>
                  <a:gd name="T18" fmla="*/ 96 w 96"/>
                  <a:gd name="T19" fmla="*/ 2 h 102"/>
                  <a:gd name="T20" fmla="*/ 96 w 96"/>
                  <a:gd name="T21" fmla="*/ 2 h 102"/>
                  <a:gd name="T22" fmla="*/ 96 w 96"/>
                  <a:gd name="T23" fmla="*/ 2 h 102"/>
                  <a:gd name="T24" fmla="*/ 96 w 96"/>
                  <a:gd name="T25" fmla="*/ 2 h 102"/>
                  <a:gd name="T26" fmla="*/ 96 w 96"/>
                  <a:gd name="T27" fmla="*/ 4 h 102"/>
                  <a:gd name="T28" fmla="*/ 96 w 96"/>
                  <a:gd name="T29" fmla="*/ 4 h 102"/>
                  <a:gd name="T30" fmla="*/ 96 w 96"/>
                  <a:gd name="T31" fmla="*/ 2 h 102"/>
                  <a:gd name="T32" fmla="*/ 96 w 96"/>
                  <a:gd name="T33" fmla="*/ 2 h 102"/>
                  <a:gd name="T34" fmla="*/ 4 w 96"/>
                  <a:gd name="T35" fmla="*/ 97 h 102"/>
                  <a:gd name="T36" fmla="*/ 0 w 96"/>
                  <a:gd name="T37" fmla="*/ 96 h 102"/>
                  <a:gd name="T38" fmla="*/ 0 w 96"/>
                  <a:gd name="T39" fmla="*/ 97 h 102"/>
                  <a:gd name="T40" fmla="*/ 2 w 96"/>
                  <a:gd name="T41" fmla="*/ 97 h 102"/>
                  <a:gd name="T42" fmla="*/ 2 w 96"/>
                  <a:gd name="T43" fmla="*/ 99 h 102"/>
                  <a:gd name="T44" fmla="*/ 2 w 96"/>
                  <a:gd name="T45" fmla="*/ 99 h 102"/>
                  <a:gd name="T46" fmla="*/ 2 w 96"/>
                  <a:gd name="T47" fmla="*/ 101 h 102"/>
                  <a:gd name="T48" fmla="*/ 4 w 96"/>
                  <a:gd name="T49" fmla="*/ 102 h 102"/>
                  <a:gd name="T50" fmla="*/ 4 w 96"/>
                  <a:gd name="T51" fmla="*/ 99 h 102"/>
                  <a:gd name="T52" fmla="*/ 4 w 96"/>
                  <a:gd name="T53" fmla="*/ 9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02">
                    <a:moveTo>
                      <a:pt x="91" y="0"/>
                    </a:moveTo>
                    <a:lnTo>
                      <a:pt x="91" y="0"/>
                    </a:lnTo>
                    <a:lnTo>
                      <a:pt x="91" y="0"/>
                    </a:lnTo>
                    <a:lnTo>
                      <a:pt x="91" y="0"/>
                    </a:lnTo>
                    <a:lnTo>
                      <a:pt x="91" y="0"/>
                    </a:lnTo>
                    <a:lnTo>
                      <a:pt x="91" y="0"/>
                    </a:lnTo>
                    <a:lnTo>
                      <a:pt x="91" y="0"/>
                    </a:lnTo>
                    <a:lnTo>
                      <a:pt x="91" y="0"/>
                    </a:lnTo>
                    <a:close/>
                    <a:moveTo>
                      <a:pt x="96" y="2"/>
                    </a:moveTo>
                    <a:lnTo>
                      <a:pt x="96" y="2"/>
                    </a:lnTo>
                    <a:lnTo>
                      <a:pt x="96" y="2"/>
                    </a:lnTo>
                    <a:lnTo>
                      <a:pt x="96" y="2"/>
                    </a:lnTo>
                    <a:lnTo>
                      <a:pt x="96" y="2"/>
                    </a:lnTo>
                    <a:lnTo>
                      <a:pt x="96" y="4"/>
                    </a:lnTo>
                    <a:lnTo>
                      <a:pt x="96" y="4"/>
                    </a:lnTo>
                    <a:lnTo>
                      <a:pt x="96" y="2"/>
                    </a:lnTo>
                    <a:lnTo>
                      <a:pt x="96" y="2"/>
                    </a:lnTo>
                    <a:close/>
                    <a:moveTo>
                      <a:pt x="4" y="97"/>
                    </a:moveTo>
                    <a:lnTo>
                      <a:pt x="0" y="96"/>
                    </a:lnTo>
                    <a:lnTo>
                      <a:pt x="0" y="97"/>
                    </a:lnTo>
                    <a:lnTo>
                      <a:pt x="2" y="97"/>
                    </a:lnTo>
                    <a:lnTo>
                      <a:pt x="2" y="99"/>
                    </a:lnTo>
                    <a:lnTo>
                      <a:pt x="2" y="99"/>
                    </a:lnTo>
                    <a:lnTo>
                      <a:pt x="2" y="101"/>
                    </a:lnTo>
                    <a:lnTo>
                      <a:pt x="4" y="102"/>
                    </a:lnTo>
                    <a:lnTo>
                      <a:pt x="4" y="99"/>
                    </a:lnTo>
                    <a:lnTo>
                      <a:pt x="4" y="9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5" name="Freeform 32">
                <a:extLst>
                  <a:ext uri="{FF2B5EF4-FFF2-40B4-BE49-F238E27FC236}">
                    <a16:creationId xmlns:a16="http://schemas.microsoft.com/office/drawing/2014/main" id="{4527DC85-AE5C-5254-1C0F-A605933A2A81}"/>
                  </a:ext>
                </a:extLst>
              </p:cNvPr>
              <p:cNvSpPr>
                <a:spLocks noEditPoints="1"/>
              </p:cNvSpPr>
              <p:nvPr/>
            </p:nvSpPr>
            <p:spPr bwMode="gray">
              <a:xfrm>
                <a:off x="1376" y="1485"/>
                <a:ext cx="688" cy="718"/>
              </a:xfrm>
              <a:custGeom>
                <a:avLst/>
                <a:gdLst>
                  <a:gd name="T0" fmla="*/ 522 w 688"/>
                  <a:gd name="T1" fmla="*/ 506 h 718"/>
                  <a:gd name="T2" fmla="*/ 517 w 688"/>
                  <a:gd name="T3" fmla="*/ 141 h 718"/>
                  <a:gd name="T4" fmla="*/ 433 w 688"/>
                  <a:gd name="T5" fmla="*/ 96 h 718"/>
                  <a:gd name="T6" fmla="*/ 422 w 688"/>
                  <a:gd name="T7" fmla="*/ 122 h 718"/>
                  <a:gd name="T8" fmla="*/ 450 w 688"/>
                  <a:gd name="T9" fmla="*/ 99 h 718"/>
                  <a:gd name="T10" fmla="*/ 420 w 688"/>
                  <a:gd name="T11" fmla="*/ 92 h 718"/>
                  <a:gd name="T12" fmla="*/ 413 w 688"/>
                  <a:gd name="T13" fmla="*/ 55 h 718"/>
                  <a:gd name="T14" fmla="*/ 625 w 688"/>
                  <a:gd name="T15" fmla="*/ 160 h 718"/>
                  <a:gd name="T16" fmla="*/ 524 w 688"/>
                  <a:gd name="T17" fmla="*/ 141 h 718"/>
                  <a:gd name="T18" fmla="*/ 517 w 688"/>
                  <a:gd name="T19" fmla="*/ 125 h 718"/>
                  <a:gd name="T20" fmla="*/ 475 w 688"/>
                  <a:gd name="T21" fmla="*/ 105 h 718"/>
                  <a:gd name="T22" fmla="*/ 449 w 688"/>
                  <a:gd name="T23" fmla="*/ 119 h 718"/>
                  <a:gd name="T24" fmla="*/ 406 w 688"/>
                  <a:gd name="T25" fmla="*/ 116 h 718"/>
                  <a:gd name="T26" fmla="*/ 402 w 688"/>
                  <a:gd name="T27" fmla="*/ 92 h 718"/>
                  <a:gd name="T28" fmla="*/ 402 w 688"/>
                  <a:gd name="T29" fmla="*/ 28 h 718"/>
                  <a:gd name="T30" fmla="*/ 370 w 688"/>
                  <a:gd name="T31" fmla="*/ 52 h 718"/>
                  <a:gd name="T32" fmla="*/ 341 w 688"/>
                  <a:gd name="T33" fmla="*/ 52 h 718"/>
                  <a:gd name="T34" fmla="*/ 314 w 688"/>
                  <a:gd name="T35" fmla="*/ 53 h 718"/>
                  <a:gd name="T36" fmla="*/ 292 w 688"/>
                  <a:gd name="T37" fmla="*/ 58 h 718"/>
                  <a:gd name="T38" fmla="*/ 272 w 688"/>
                  <a:gd name="T39" fmla="*/ 66 h 718"/>
                  <a:gd name="T40" fmla="*/ 250 w 688"/>
                  <a:gd name="T41" fmla="*/ 55 h 718"/>
                  <a:gd name="T42" fmla="*/ 247 w 688"/>
                  <a:gd name="T43" fmla="*/ 13 h 718"/>
                  <a:gd name="T44" fmla="*/ 236 w 688"/>
                  <a:gd name="T45" fmla="*/ 5 h 718"/>
                  <a:gd name="T46" fmla="*/ 198 w 688"/>
                  <a:gd name="T47" fmla="*/ 24 h 718"/>
                  <a:gd name="T48" fmla="*/ 164 w 688"/>
                  <a:gd name="T49" fmla="*/ 22 h 718"/>
                  <a:gd name="T50" fmla="*/ 175 w 688"/>
                  <a:gd name="T51" fmla="*/ 61 h 718"/>
                  <a:gd name="T52" fmla="*/ 141 w 688"/>
                  <a:gd name="T53" fmla="*/ 78 h 718"/>
                  <a:gd name="T54" fmla="*/ 108 w 688"/>
                  <a:gd name="T55" fmla="*/ 61 h 718"/>
                  <a:gd name="T56" fmla="*/ 78 w 688"/>
                  <a:gd name="T57" fmla="*/ 74 h 718"/>
                  <a:gd name="T58" fmla="*/ 78 w 688"/>
                  <a:gd name="T59" fmla="*/ 80 h 718"/>
                  <a:gd name="T60" fmla="*/ 78 w 688"/>
                  <a:gd name="T61" fmla="*/ 103 h 718"/>
                  <a:gd name="T62" fmla="*/ 69 w 688"/>
                  <a:gd name="T63" fmla="*/ 168 h 718"/>
                  <a:gd name="T64" fmla="*/ 30 w 688"/>
                  <a:gd name="T65" fmla="*/ 175 h 718"/>
                  <a:gd name="T66" fmla="*/ 5 w 688"/>
                  <a:gd name="T67" fmla="*/ 215 h 718"/>
                  <a:gd name="T68" fmla="*/ 5 w 688"/>
                  <a:gd name="T69" fmla="*/ 230 h 718"/>
                  <a:gd name="T70" fmla="*/ 31 w 688"/>
                  <a:gd name="T71" fmla="*/ 263 h 718"/>
                  <a:gd name="T72" fmla="*/ 59 w 688"/>
                  <a:gd name="T73" fmla="*/ 285 h 718"/>
                  <a:gd name="T74" fmla="*/ 105 w 688"/>
                  <a:gd name="T75" fmla="*/ 280 h 718"/>
                  <a:gd name="T76" fmla="*/ 150 w 688"/>
                  <a:gd name="T77" fmla="*/ 263 h 718"/>
                  <a:gd name="T78" fmla="*/ 156 w 688"/>
                  <a:gd name="T79" fmla="*/ 297 h 718"/>
                  <a:gd name="T80" fmla="*/ 194 w 688"/>
                  <a:gd name="T81" fmla="*/ 318 h 718"/>
                  <a:gd name="T82" fmla="*/ 238 w 688"/>
                  <a:gd name="T83" fmla="*/ 341 h 718"/>
                  <a:gd name="T84" fmla="*/ 272 w 688"/>
                  <a:gd name="T85" fmla="*/ 388 h 718"/>
                  <a:gd name="T86" fmla="*/ 281 w 688"/>
                  <a:gd name="T87" fmla="*/ 438 h 718"/>
                  <a:gd name="T88" fmla="*/ 283 w 688"/>
                  <a:gd name="T89" fmla="*/ 465 h 718"/>
                  <a:gd name="T90" fmla="*/ 292 w 688"/>
                  <a:gd name="T91" fmla="*/ 490 h 718"/>
                  <a:gd name="T92" fmla="*/ 322 w 688"/>
                  <a:gd name="T93" fmla="*/ 499 h 718"/>
                  <a:gd name="T94" fmla="*/ 344 w 688"/>
                  <a:gd name="T95" fmla="*/ 523 h 718"/>
                  <a:gd name="T96" fmla="*/ 356 w 688"/>
                  <a:gd name="T97" fmla="*/ 568 h 718"/>
                  <a:gd name="T98" fmla="*/ 336 w 688"/>
                  <a:gd name="T99" fmla="*/ 595 h 718"/>
                  <a:gd name="T100" fmla="*/ 316 w 688"/>
                  <a:gd name="T101" fmla="*/ 612 h 718"/>
                  <a:gd name="T102" fmla="*/ 297 w 688"/>
                  <a:gd name="T103" fmla="*/ 645 h 718"/>
                  <a:gd name="T104" fmla="*/ 330 w 688"/>
                  <a:gd name="T105" fmla="*/ 667 h 718"/>
                  <a:gd name="T106" fmla="*/ 360 w 688"/>
                  <a:gd name="T107" fmla="*/ 714 h 718"/>
                  <a:gd name="T108" fmla="*/ 400 w 688"/>
                  <a:gd name="T109" fmla="*/ 651 h 718"/>
                  <a:gd name="T110" fmla="*/ 389 w 688"/>
                  <a:gd name="T111" fmla="*/ 679 h 718"/>
                  <a:gd name="T112" fmla="*/ 446 w 688"/>
                  <a:gd name="T113" fmla="*/ 579 h 718"/>
                  <a:gd name="T114" fmla="*/ 456 w 688"/>
                  <a:gd name="T115" fmla="*/ 545 h 718"/>
                  <a:gd name="T116" fmla="*/ 528 w 688"/>
                  <a:gd name="T117" fmla="*/ 506 h 718"/>
                  <a:gd name="T118" fmla="*/ 578 w 688"/>
                  <a:gd name="T119" fmla="*/ 479 h 718"/>
                  <a:gd name="T120" fmla="*/ 616 w 688"/>
                  <a:gd name="T121" fmla="*/ 373 h 718"/>
                  <a:gd name="T122" fmla="*/ 632 w 688"/>
                  <a:gd name="T123" fmla="*/ 313 h 718"/>
                  <a:gd name="T124" fmla="*/ 686 w 688"/>
                  <a:gd name="T125" fmla="*/ 23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8" h="718">
                    <a:moveTo>
                      <a:pt x="450" y="590"/>
                    </a:moveTo>
                    <a:lnTo>
                      <a:pt x="449" y="590"/>
                    </a:lnTo>
                    <a:lnTo>
                      <a:pt x="449" y="590"/>
                    </a:lnTo>
                    <a:lnTo>
                      <a:pt x="447" y="592"/>
                    </a:lnTo>
                    <a:lnTo>
                      <a:pt x="447" y="593"/>
                    </a:lnTo>
                    <a:lnTo>
                      <a:pt x="447" y="598"/>
                    </a:lnTo>
                    <a:lnTo>
                      <a:pt x="447" y="596"/>
                    </a:lnTo>
                    <a:lnTo>
                      <a:pt x="447" y="596"/>
                    </a:lnTo>
                    <a:lnTo>
                      <a:pt x="449" y="593"/>
                    </a:lnTo>
                    <a:lnTo>
                      <a:pt x="450" y="590"/>
                    </a:lnTo>
                    <a:close/>
                    <a:moveTo>
                      <a:pt x="447" y="565"/>
                    </a:moveTo>
                    <a:lnTo>
                      <a:pt x="444" y="568"/>
                    </a:lnTo>
                    <a:lnTo>
                      <a:pt x="446" y="570"/>
                    </a:lnTo>
                    <a:lnTo>
                      <a:pt x="446" y="570"/>
                    </a:lnTo>
                    <a:lnTo>
                      <a:pt x="447" y="570"/>
                    </a:lnTo>
                    <a:lnTo>
                      <a:pt x="447" y="568"/>
                    </a:lnTo>
                    <a:lnTo>
                      <a:pt x="447" y="567"/>
                    </a:lnTo>
                    <a:lnTo>
                      <a:pt x="447" y="565"/>
                    </a:lnTo>
                    <a:close/>
                    <a:moveTo>
                      <a:pt x="505" y="520"/>
                    </a:moveTo>
                    <a:lnTo>
                      <a:pt x="505" y="520"/>
                    </a:lnTo>
                    <a:lnTo>
                      <a:pt x="503" y="518"/>
                    </a:lnTo>
                    <a:lnTo>
                      <a:pt x="502" y="521"/>
                    </a:lnTo>
                    <a:lnTo>
                      <a:pt x="502" y="523"/>
                    </a:lnTo>
                    <a:lnTo>
                      <a:pt x="503" y="523"/>
                    </a:lnTo>
                    <a:lnTo>
                      <a:pt x="505" y="523"/>
                    </a:lnTo>
                    <a:lnTo>
                      <a:pt x="505" y="521"/>
                    </a:lnTo>
                    <a:lnTo>
                      <a:pt x="505" y="521"/>
                    </a:lnTo>
                    <a:lnTo>
                      <a:pt x="505" y="520"/>
                    </a:lnTo>
                    <a:lnTo>
                      <a:pt x="505" y="520"/>
                    </a:lnTo>
                    <a:close/>
                    <a:moveTo>
                      <a:pt x="524" y="507"/>
                    </a:moveTo>
                    <a:lnTo>
                      <a:pt x="524" y="507"/>
                    </a:lnTo>
                    <a:lnTo>
                      <a:pt x="522" y="506"/>
                    </a:lnTo>
                    <a:lnTo>
                      <a:pt x="522" y="506"/>
                    </a:lnTo>
                    <a:lnTo>
                      <a:pt x="522" y="507"/>
                    </a:lnTo>
                    <a:lnTo>
                      <a:pt x="521" y="509"/>
                    </a:lnTo>
                    <a:lnTo>
                      <a:pt x="521" y="509"/>
                    </a:lnTo>
                    <a:lnTo>
                      <a:pt x="522" y="509"/>
                    </a:lnTo>
                    <a:lnTo>
                      <a:pt x="524" y="507"/>
                    </a:lnTo>
                    <a:lnTo>
                      <a:pt x="525" y="507"/>
                    </a:lnTo>
                    <a:lnTo>
                      <a:pt x="524" y="507"/>
                    </a:lnTo>
                    <a:close/>
                    <a:moveTo>
                      <a:pt x="616" y="329"/>
                    </a:moveTo>
                    <a:lnTo>
                      <a:pt x="614" y="327"/>
                    </a:lnTo>
                    <a:lnTo>
                      <a:pt x="614" y="329"/>
                    </a:lnTo>
                    <a:lnTo>
                      <a:pt x="614" y="329"/>
                    </a:lnTo>
                    <a:lnTo>
                      <a:pt x="614" y="329"/>
                    </a:lnTo>
                    <a:lnTo>
                      <a:pt x="614" y="330"/>
                    </a:lnTo>
                    <a:lnTo>
                      <a:pt x="616" y="330"/>
                    </a:lnTo>
                    <a:lnTo>
                      <a:pt x="616" y="329"/>
                    </a:lnTo>
                    <a:lnTo>
                      <a:pt x="616" y="329"/>
                    </a:lnTo>
                    <a:close/>
                    <a:moveTo>
                      <a:pt x="621" y="319"/>
                    </a:moveTo>
                    <a:lnTo>
                      <a:pt x="621" y="319"/>
                    </a:lnTo>
                    <a:lnTo>
                      <a:pt x="621" y="321"/>
                    </a:lnTo>
                    <a:lnTo>
                      <a:pt x="617" y="322"/>
                    </a:lnTo>
                    <a:lnTo>
                      <a:pt x="617" y="322"/>
                    </a:lnTo>
                    <a:lnTo>
                      <a:pt x="619" y="322"/>
                    </a:lnTo>
                    <a:lnTo>
                      <a:pt x="621" y="321"/>
                    </a:lnTo>
                    <a:lnTo>
                      <a:pt x="621" y="321"/>
                    </a:lnTo>
                    <a:lnTo>
                      <a:pt x="621" y="319"/>
                    </a:lnTo>
                    <a:close/>
                    <a:moveTo>
                      <a:pt x="517" y="139"/>
                    </a:moveTo>
                    <a:lnTo>
                      <a:pt x="517" y="139"/>
                    </a:lnTo>
                    <a:lnTo>
                      <a:pt x="516" y="141"/>
                    </a:lnTo>
                    <a:lnTo>
                      <a:pt x="516" y="141"/>
                    </a:lnTo>
                    <a:lnTo>
                      <a:pt x="517" y="143"/>
                    </a:lnTo>
                    <a:lnTo>
                      <a:pt x="516" y="146"/>
                    </a:lnTo>
                    <a:lnTo>
                      <a:pt x="517" y="143"/>
                    </a:lnTo>
                    <a:lnTo>
                      <a:pt x="517" y="141"/>
                    </a:lnTo>
                    <a:lnTo>
                      <a:pt x="517" y="141"/>
                    </a:lnTo>
                    <a:lnTo>
                      <a:pt x="517" y="139"/>
                    </a:lnTo>
                    <a:close/>
                    <a:moveTo>
                      <a:pt x="511" y="114"/>
                    </a:moveTo>
                    <a:lnTo>
                      <a:pt x="510" y="114"/>
                    </a:lnTo>
                    <a:lnTo>
                      <a:pt x="510" y="116"/>
                    </a:lnTo>
                    <a:lnTo>
                      <a:pt x="510" y="116"/>
                    </a:lnTo>
                    <a:lnTo>
                      <a:pt x="508" y="116"/>
                    </a:lnTo>
                    <a:lnTo>
                      <a:pt x="510" y="116"/>
                    </a:lnTo>
                    <a:lnTo>
                      <a:pt x="510" y="116"/>
                    </a:lnTo>
                    <a:lnTo>
                      <a:pt x="511" y="114"/>
                    </a:lnTo>
                    <a:lnTo>
                      <a:pt x="511" y="114"/>
                    </a:lnTo>
                    <a:close/>
                    <a:moveTo>
                      <a:pt x="399" y="102"/>
                    </a:moveTo>
                    <a:lnTo>
                      <a:pt x="397" y="102"/>
                    </a:lnTo>
                    <a:lnTo>
                      <a:pt x="394" y="103"/>
                    </a:lnTo>
                    <a:lnTo>
                      <a:pt x="392" y="107"/>
                    </a:lnTo>
                    <a:lnTo>
                      <a:pt x="392" y="111"/>
                    </a:lnTo>
                    <a:lnTo>
                      <a:pt x="389" y="113"/>
                    </a:lnTo>
                    <a:lnTo>
                      <a:pt x="388" y="117"/>
                    </a:lnTo>
                    <a:lnTo>
                      <a:pt x="389" y="117"/>
                    </a:lnTo>
                    <a:lnTo>
                      <a:pt x="392" y="116"/>
                    </a:lnTo>
                    <a:lnTo>
                      <a:pt x="395" y="113"/>
                    </a:lnTo>
                    <a:lnTo>
                      <a:pt x="399" y="110"/>
                    </a:lnTo>
                    <a:lnTo>
                      <a:pt x="399" y="110"/>
                    </a:lnTo>
                    <a:lnTo>
                      <a:pt x="400" y="103"/>
                    </a:lnTo>
                    <a:lnTo>
                      <a:pt x="399" y="102"/>
                    </a:lnTo>
                    <a:close/>
                    <a:moveTo>
                      <a:pt x="450" y="97"/>
                    </a:moveTo>
                    <a:lnTo>
                      <a:pt x="449" y="97"/>
                    </a:lnTo>
                    <a:lnTo>
                      <a:pt x="447" y="96"/>
                    </a:lnTo>
                    <a:lnTo>
                      <a:pt x="446" y="96"/>
                    </a:lnTo>
                    <a:lnTo>
                      <a:pt x="442" y="96"/>
                    </a:lnTo>
                    <a:lnTo>
                      <a:pt x="436" y="96"/>
                    </a:lnTo>
                    <a:lnTo>
                      <a:pt x="435" y="94"/>
                    </a:lnTo>
                    <a:lnTo>
                      <a:pt x="433" y="96"/>
                    </a:lnTo>
                    <a:lnTo>
                      <a:pt x="431" y="96"/>
                    </a:lnTo>
                    <a:lnTo>
                      <a:pt x="430" y="96"/>
                    </a:lnTo>
                    <a:lnTo>
                      <a:pt x="428" y="96"/>
                    </a:lnTo>
                    <a:lnTo>
                      <a:pt x="417" y="94"/>
                    </a:lnTo>
                    <a:lnTo>
                      <a:pt x="413" y="94"/>
                    </a:lnTo>
                    <a:lnTo>
                      <a:pt x="410" y="97"/>
                    </a:lnTo>
                    <a:lnTo>
                      <a:pt x="410" y="99"/>
                    </a:lnTo>
                    <a:lnTo>
                      <a:pt x="408" y="100"/>
                    </a:lnTo>
                    <a:lnTo>
                      <a:pt x="410" y="102"/>
                    </a:lnTo>
                    <a:lnTo>
                      <a:pt x="408" y="102"/>
                    </a:lnTo>
                    <a:lnTo>
                      <a:pt x="408" y="103"/>
                    </a:lnTo>
                    <a:lnTo>
                      <a:pt x="408" y="103"/>
                    </a:lnTo>
                    <a:lnTo>
                      <a:pt x="408" y="108"/>
                    </a:lnTo>
                    <a:lnTo>
                      <a:pt x="408" y="110"/>
                    </a:lnTo>
                    <a:lnTo>
                      <a:pt x="410" y="111"/>
                    </a:lnTo>
                    <a:lnTo>
                      <a:pt x="411" y="111"/>
                    </a:lnTo>
                    <a:lnTo>
                      <a:pt x="411" y="111"/>
                    </a:lnTo>
                    <a:lnTo>
                      <a:pt x="411" y="111"/>
                    </a:lnTo>
                    <a:lnTo>
                      <a:pt x="411" y="111"/>
                    </a:lnTo>
                    <a:lnTo>
                      <a:pt x="410" y="111"/>
                    </a:lnTo>
                    <a:lnTo>
                      <a:pt x="408" y="111"/>
                    </a:lnTo>
                    <a:lnTo>
                      <a:pt x="408" y="114"/>
                    </a:lnTo>
                    <a:lnTo>
                      <a:pt x="408" y="116"/>
                    </a:lnTo>
                    <a:lnTo>
                      <a:pt x="410" y="119"/>
                    </a:lnTo>
                    <a:lnTo>
                      <a:pt x="411" y="121"/>
                    </a:lnTo>
                    <a:lnTo>
                      <a:pt x="411" y="122"/>
                    </a:lnTo>
                    <a:lnTo>
                      <a:pt x="413" y="124"/>
                    </a:lnTo>
                    <a:lnTo>
                      <a:pt x="414" y="124"/>
                    </a:lnTo>
                    <a:lnTo>
                      <a:pt x="416" y="122"/>
                    </a:lnTo>
                    <a:lnTo>
                      <a:pt x="419" y="122"/>
                    </a:lnTo>
                    <a:lnTo>
                      <a:pt x="420" y="122"/>
                    </a:lnTo>
                    <a:lnTo>
                      <a:pt x="420" y="122"/>
                    </a:lnTo>
                    <a:lnTo>
                      <a:pt x="422" y="122"/>
                    </a:lnTo>
                    <a:lnTo>
                      <a:pt x="425" y="124"/>
                    </a:lnTo>
                    <a:lnTo>
                      <a:pt x="425" y="122"/>
                    </a:lnTo>
                    <a:lnTo>
                      <a:pt x="427" y="122"/>
                    </a:lnTo>
                    <a:lnTo>
                      <a:pt x="428" y="122"/>
                    </a:lnTo>
                    <a:lnTo>
                      <a:pt x="430" y="121"/>
                    </a:lnTo>
                    <a:lnTo>
                      <a:pt x="430" y="119"/>
                    </a:lnTo>
                    <a:lnTo>
                      <a:pt x="431" y="119"/>
                    </a:lnTo>
                    <a:lnTo>
                      <a:pt x="433" y="119"/>
                    </a:lnTo>
                    <a:lnTo>
                      <a:pt x="435" y="121"/>
                    </a:lnTo>
                    <a:lnTo>
                      <a:pt x="435" y="119"/>
                    </a:lnTo>
                    <a:lnTo>
                      <a:pt x="436" y="117"/>
                    </a:lnTo>
                    <a:lnTo>
                      <a:pt x="436" y="116"/>
                    </a:lnTo>
                    <a:lnTo>
                      <a:pt x="438" y="117"/>
                    </a:lnTo>
                    <a:lnTo>
                      <a:pt x="438" y="119"/>
                    </a:lnTo>
                    <a:lnTo>
                      <a:pt x="439" y="117"/>
                    </a:lnTo>
                    <a:lnTo>
                      <a:pt x="441" y="117"/>
                    </a:lnTo>
                    <a:lnTo>
                      <a:pt x="442" y="116"/>
                    </a:lnTo>
                    <a:lnTo>
                      <a:pt x="442" y="114"/>
                    </a:lnTo>
                    <a:lnTo>
                      <a:pt x="442" y="114"/>
                    </a:lnTo>
                    <a:lnTo>
                      <a:pt x="442" y="113"/>
                    </a:lnTo>
                    <a:lnTo>
                      <a:pt x="442" y="113"/>
                    </a:lnTo>
                    <a:lnTo>
                      <a:pt x="444" y="111"/>
                    </a:lnTo>
                    <a:lnTo>
                      <a:pt x="444" y="111"/>
                    </a:lnTo>
                    <a:lnTo>
                      <a:pt x="446" y="110"/>
                    </a:lnTo>
                    <a:lnTo>
                      <a:pt x="447" y="108"/>
                    </a:lnTo>
                    <a:lnTo>
                      <a:pt x="447" y="107"/>
                    </a:lnTo>
                    <a:lnTo>
                      <a:pt x="447" y="107"/>
                    </a:lnTo>
                    <a:lnTo>
                      <a:pt x="447" y="103"/>
                    </a:lnTo>
                    <a:lnTo>
                      <a:pt x="447" y="103"/>
                    </a:lnTo>
                    <a:lnTo>
                      <a:pt x="447" y="103"/>
                    </a:lnTo>
                    <a:lnTo>
                      <a:pt x="449" y="102"/>
                    </a:lnTo>
                    <a:lnTo>
                      <a:pt x="449" y="100"/>
                    </a:lnTo>
                    <a:lnTo>
                      <a:pt x="450" y="99"/>
                    </a:lnTo>
                    <a:lnTo>
                      <a:pt x="450" y="97"/>
                    </a:lnTo>
                    <a:close/>
                    <a:moveTo>
                      <a:pt x="410" y="92"/>
                    </a:moveTo>
                    <a:lnTo>
                      <a:pt x="408" y="92"/>
                    </a:lnTo>
                    <a:lnTo>
                      <a:pt x="406" y="92"/>
                    </a:lnTo>
                    <a:lnTo>
                      <a:pt x="403" y="94"/>
                    </a:lnTo>
                    <a:lnTo>
                      <a:pt x="403" y="96"/>
                    </a:lnTo>
                    <a:lnTo>
                      <a:pt x="403" y="96"/>
                    </a:lnTo>
                    <a:lnTo>
                      <a:pt x="403" y="96"/>
                    </a:lnTo>
                    <a:lnTo>
                      <a:pt x="403" y="97"/>
                    </a:lnTo>
                    <a:lnTo>
                      <a:pt x="405" y="97"/>
                    </a:lnTo>
                    <a:lnTo>
                      <a:pt x="410" y="94"/>
                    </a:lnTo>
                    <a:lnTo>
                      <a:pt x="410" y="94"/>
                    </a:lnTo>
                    <a:lnTo>
                      <a:pt x="410" y="92"/>
                    </a:lnTo>
                    <a:close/>
                    <a:moveTo>
                      <a:pt x="431" y="91"/>
                    </a:moveTo>
                    <a:lnTo>
                      <a:pt x="430" y="91"/>
                    </a:lnTo>
                    <a:lnTo>
                      <a:pt x="428" y="91"/>
                    </a:lnTo>
                    <a:lnTo>
                      <a:pt x="427" y="92"/>
                    </a:lnTo>
                    <a:lnTo>
                      <a:pt x="425" y="92"/>
                    </a:lnTo>
                    <a:lnTo>
                      <a:pt x="424" y="94"/>
                    </a:lnTo>
                    <a:lnTo>
                      <a:pt x="427" y="94"/>
                    </a:lnTo>
                    <a:lnTo>
                      <a:pt x="431" y="94"/>
                    </a:lnTo>
                    <a:lnTo>
                      <a:pt x="431" y="92"/>
                    </a:lnTo>
                    <a:lnTo>
                      <a:pt x="433" y="92"/>
                    </a:lnTo>
                    <a:lnTo>
                      <a:pt x="431" y="91"/>
                    </a:lnTo>
                    <a:close/>
                    <a:moveTo>
                      <a:pt x="425" y="88"/>
                    </a:moveTo>
                    <a:lnTo>
                      <a:pt x="424" y="86"/>
                    </a:lnTo>
                    <a:lnTo>
                      <a:pt x="419" y="88"/>
                    </a:lnTo>
                    <a:lnTo>
                      <a:pt x="416" y="88"/>
                    </a:lnTo>
                    <a:lnTo>
                      <a:pt x="416" y="89"/>
                    </a:lnTo>
                    <a:lnTo>
                      <a:pt x="416" y="91"/>
                    </a:lnTo>
                    <a:lnTo>
                      <a:pt x="416" y="91"/>
                    </a:lnTo>
                    <a:lnTo>
                      <a:pt x="419" y="91"/>
                    </a:lnTo>
                    <a:lnTo>
                      <a:pt x="420" y="92"/>
                    </a:lnTo>
                    <a:lnTo>
                      <a:pt x="422" y="92"/>
                    </a:lnTo>
                    <a:lnTo>
                      <a:pt x="424" y="92"/>
                    </a:lnTo>
                    <a:lnTo>
                      <a:pt x="427" y="88"/>
                    </a:lnTo>
                    <a:lnTo>
                      <a:pt x="425" y="88"/>
                    </a:lnTo>
                    <a:close/>
                    <a:moveTo>
                      <a:pt x="416" y="85"/>
                    </a:moveTo>
                    <a:lnTo>
                      <a:pt x="416" y="81"/>
                    </a:lnTo>
                    <a:lnTo>
                      <a:pt x="414" y="81"/>
                    </a:lnTo>
                    <a:lnTo>
                      <a:pt x="414" y="81"/>
                    </a:lnTo>
                    <a:lnTo>
                      <a:pt x="414" y="81"/>
                    </a:lnTo>
                    <a:lnTo>
                      <a:pt x="414" y="85"/>
                    </a:lnTo>
                    <a:lnTo>
                      <a:pt x="413" y="86"/>
                    </a:lnTo>
                    <a:lnTo>
                      <a:pt x="413" y="88"/>
                    </a:lnTo>
                    <a:lnTo>
                      <a:pt x="411" y="88"/>
                    </a:lnTo>
                    <a:lnTo>
                      <a:pt x="410" y="91"/>
                    </a:lnTo>
                    <a:lnTo>
                      <a:pt x="414" y="92"/>
                    </a:lnTo>
                    <a:lnTo>
                      <a:pt x="414" y="89"/>
                    </a:lnTo>
                    <a:lnTo>
                      <a:pt x="416" y="88"/>
                    </a:lnTo>
                    <a:lnTo>
                      <a:pt x="416" y="85"/>
                    </a:lnTo>
                    <a:close/>
                    <a:moveTo>
                      <a:pt x="420" y="81"/>
                    </a:moveTo>
                    <a:lnTo>
                      <a:pt x="419" y="81"/>
                    </a:lnTo>
                    <a:lnTo>
                      <a:pt x="419" y="81"/>
                    </a:lnTo>
                    <a:lnTo>
                      <a:pt x="417" y="81"/>
                    </a:lnTo>
                    <a:lnTo>
                      <a:pt x="416" y="83"/>
                    </a:lnTo>
                    <a:lnTo>
                      <a:pt x="416" y="85"/>
                    </a:lnTo>
                    <a:lnTo>
                      <a:pt x="417" y="86"/>
                    </a:lnTo>
                    <a:lnTo>
                      <a:pt x="419" y="85"/>
                    </a:lnTo>
                    <a:lnTo>
                      <a:pt x="420" y="83"/>
                    </a:lnTo>
                    <a:lnTo>
                      <a:pt x="420" y="81"/>
                    </a:lnTo>
                    <a:lnTo>
                      <a:pt x="420" y="81"/>
                    </a:lnTo>
                    <a:close/>
                    <a:moveTo>
                      <a:pt x="416" y="55"/>
                    </a:moveTo>
                    <a:lnTo>
                      <a:pt x="414" y="55"/>
                    </a:lnTo>
                    <a:lnTo>
                      <a:pt x="414" y="55"/>
                    </a:lnTo>
                    <a:lnTo>
                      <a:pt x="413" y="55"/>
                    </a:lnTo>
                    <a:lnTo>
                      <a:pt x="413" y="56"/>
                    </a:lnTo>
                    <a:lnTo>
                      <a:pt x="413" y="58"/>
                    </a:lnTo>
                    <a:lnTo>
                      <a:pt x="414" y="60"/>
                    </a:lnTo>
                    <a:lnTo>
                      <a:pt x="416" y="58"/>
                    </a:lnTo>
                    <a:lnTo>
                      <a:pt x="416" y="58"/>
                    </a:lnTo>
                    <a:lnTo>
                      <a:pt x="416" y="55"/>
                    </a:lnTo>
                    <a:close/>
                    <a:moveTo>
                      <a:pt x="688" y="221"/>
                    </a:moveTo>
                    <a:lnTo>
                      <a:pt x="688" y="219"/>
                    </a:lnTo>
                    <a:lnTo>
                      <a:pt x="688" y="215"/>
                    </a:lnTo>
                    <a:lnTo>
                      <a:pt x="686" y="215"/>
                    </a:lnTo>
                    <a:lnTo>
                      <a:pt x="686" y="213"/>
                    </a:lnTo>
                    <a:lnTo>
                      <a:pt x="686" y="210"/>
                    </a:lnTo>
                    <a:lnTo>
                      <a:pt x="685" y="204"/>
                    </a:lnTo>
                    <a:lnTo>
                      <a:pt x="683" y="200"/>
                    </a:lnTo>
                    <a:lnTo>
                      <a:pt x="682" y="196"/>
                    </a:lnTo>
                    <a:lnTo>
                      <a:pt x="680" y="189"/>
                    </a:lnTo>
                    <a:lnTo>
                      <a:pt x="678" y="183"/>
                    </a:lnTo>
                    <a:lnTo>
                      <a:pt x="677" y="182"/>
                    </a:lnTo>
                    <a:lnTo>
                      <a:pt x="675" y="182"/>
                    </a:lnTo>
                    <a:lnTo>
                      <a:pt x="668" y="180"/>
                    </a:lnTo>
                    <a:lnTo>
                      <a:pt x="664" y="182"/>
                    </a:lnTo>
                    <a:lnTo>
                      <a:pt x="660" y="180"/>
                    </a:lnTo>
                    <a:lnTo>
                      <a:pt x="657" y="182"/>
                    </a:lnTo>
                    <a:lnTo>
                      <a:pt x="653" y="180"/>
                    </a:lnTo>
                    <a:lnTo>
                      <a:pt x="652" y="179"/>
                    </a:lnTo>
                    <a:lnTo>
                      <a:pt x="650" y="179"/>
                    </a:lnTo>
                    <a:lnTo>
                      <a:pt x="647" y="177"/>
                    </a:lnTo>
                    <a:lnTo>
                      <a:pt x="644" y="174"/>
                    </a:lnTo>
                    <a:lnTo>
                      <a:pt x="638" y="172"/>
                    </a:lnTo>
                    <a:lnTo>
                      <a:pt x="636" y="169"/>
                    </a:lnTo>
                    <a:lnTo>
                      <a:pt x="632" y="166"/>
                    </a:lnTo>
                    <a:lnTo>
                      <a:pt x="627" y="161"/>
                    </a:lnTo>
                    <a:lnTo>
                      <a:pt x="625" y="160"/>
                    </a:lnTo>
                    <a:lnTo>
                      <a:pt x="624" y="157"/>
                    </a:lnTo>
                    <a:lnTo>
                      <a:pt x="621" y="155"/>
                    </a:lnTo>
                    <a:lnTo>
                      <a:pt x="616" y="153"/>
                    </a:lnTo>
                    <a:lnTo>
                      <a:pt x="614" y="150"/>
                    </a:lnTo>
                    <a:lnTo>
                      <a:pt x="608" y="147"/>
                    </a:lnTo>
                    <a:lnTo>
                      <a:pt x="605" y="147"/>
                    </a:lnTo>
                    <a:lnTo>
                      <a:pt x="603" y="146"/>
                    </a:lnTo>
                    <a:lnTo>
                      <a:pt x="600" y="144"/>
                    </a:lnTo>
                    <a:lnTo>
                      <a:pt x="597" y="143"/>
                    </a:lnTo>
                    <a:lnTo>
                      <a:pt x="592" y="141"/>
                    </a:lnTo>
                    <a:lnTo>
                      <a:pt x="588" y="141"/>
                    </a:lnTo>
                    <a:lnTo>
                      <a:pt x="582" y="143"/>
                    </a:lnTo>
                    <a:lnTo>
                      <a:pt x="575" y="143"/>
                    </a:lnTo>
                    <a:lnTo>
                      <a:pt x="574" y="143"/>
                    </a:lnTo>
                    <a:lnTo>
                      <a:pt x="571" y="143"/>
                    </a:lnTo>
                    <a:lnTo>
                      <a:pt x="567" y="143"/>
                    </a:lnTo>
                    <a:lnTo>
                      <a:pt x="566" y="141"/>
                    </a:lnTo>
                    <a:lnTo>
                      <a:pt x="564" y="139"/>
                    </a:lnTo>
                    <a:lnTo>
                      <a:pt x="561" y="141"/>
                    </a:lnTo>
                    <a:lnTo>
                      <a:pt x="558" y="141"/>
                    </a:lnTo>
                    <a:lnTo>
                      <a:pt x="552" y="138"/>
                    </a:lnTo>
                    <a:lnTo>
                      <a:pt x="550" y="138"/>
                    </a:lnTo>
                    <a:lnTo>
                      <a:pt x="547" y="136"/>
                    </a:lnTo>
                    <a:lnTo>
                      <a:pt x="546" y="135"/>
                    </a:lnTo>
                    <a:lnTo>
                      <a:pt x="541" y="133"/>
                    </a:lnTo>
                    <a:lnTo>
                      <a:pt x="538" y="133"/>
                    </a:lnTo>
                    <a:lnTo>
                      <a:pt x="536" y="135"/>
                    </a:lnTo>
                    <a:lnTo>
                      <a:pt x="536" y="136"/>
                    </a:lnTo>
                    <a:lnTo>
                      <a:pt x="531" y="136"/>
                    </a:lnTo>
                    <a:lnTo>
                      <a:pt x="528" y="138"/>
                    </a:lnTo>
                    <a:lnTo>
                      <a:pt x="528" y="136"/>
                    </a:lnTo>
                    <a:lnTo>
                      <a:pt x="527" y="138"/>
                    </a:lnTo>
                    <a:lnTo>
                      <a:pt x="524" y="141"/>
                    </a:lnTo>
                    <a:lnTo>
                      <a:pt x="522" y="139"/>
                    </a:lnTo>
                    <a:lnTo>
                      <a:pt x="524" y="139"/>
                    </a:lnTo>
                    <a:lnTo>
                      <a:pt x="525" y="138"/>
                    </a:lnTo>
                    <a:lnTo>
                      <a:pt x="525" y="136"/>
                    </a:lnTo>
                    <a:lnTo>
                      <a:pt x="525" y="135"/>
                    </a:lnTo>
                    <a:lnTo>
                      <a:pt x="524" y="135"/>
                    </a:lnTo>
                    <a:lnTo>
                      <a:pt x="522" y="135"/>
                    </a:lnTo>
                    <a:lnTo>
                      <a:pt x="521" y="136"/>
                    </a:lnTo>
                    <a:lnTo>
                      <a:pt x="521" y="139"/>
                    </a:lnTo>
                    <a:lnTo>
                      <a:pt x="519" y="144"/>
                    </a:lnTo>
                    <a:lnTo>
                      <a:pt x="516" y="147"/>
                    </a:lnTo>
                    <a:lnTo>
                      <a:pt x="514" y="147"/>
                    </a:lnTo>
                    <a:lnTo>
                      <a:pt x="514" y="147"/>
                    </a:lnTo>
                    <a:lnTo>
                      <a:pt x="516" y="139"/>
                    </a:lnTo>
                    <a:lnTo>
                      <a:pt x="516" y="139"/>
                    </a:lnTo>
                    <a:lnTo>
                      <a:pt x="516" y="136"/>
                    </a:lnTo>
                    <a:lnTo>
                      <a:pt x="517" y="136"/>
                    </a:lnTo>
                    <a:lnTo>
                      <a:pt x="517" y="135"/>
                    </a:lnTo>
                    <a:lnTo>
                      <a:pt x="517" y="133"/>
                    </a:lnTo>
                    <a:lnTo>
                      <a:pt x="521" y="133"/>
                    </a:lnTo>
                    <a:lnTo>
                      <a:pt x="519" y="132"/>
                    </a:lnTo>
                    <a:lnTo>
                      <a:pt x="519" y="130"/>
                    </a:lnTo>
                    <a:lnTo>
                      <a:pt x="517" y="130"/>
                    </a:lnTo>
                    <a:lnTo>
                      <a:pt x="516" y="132"/>
                    </a:lnTo>
                    <a:lnTo>
                      <a:pt x="514" y="133"/>
                    </a:lnTo>
                    <a:lnTo>
                      <a:pt x="514" y="133"/>
                    </a:lnTo>
                    <a:lnTo>
                      <a:pt x="513" y="132"/>
                    </a:lnTo>
                    <a:lnTo>
                      <a:pt x="514" y="132"/>
                    </a:lnTo>
                    <a:lnTo>
                      <a:pt x="514" y="132"/>
                    </a:lnTo>
                    <a:lnTo>
                      <a:pt x="516" y="130"/>
                    </a:lnTo>
                    <a:lnTo>
                      <a:pt x="516" y="128"/>
                    </a:lnTo>
                    <a:lnTo>
                      <a:pt x="517" y="128"/>
                    </a:lnTo>
                    <a:lnTo>
                      <a:pt x="517" y="125"/>
                    </a:lnTo>
                    <a:lnTo>
                      <a:pt x="516" y="124"/>
                    </a:lnTo>
                    <a:lnTo>
                      <a:pt x="516" y="122"/>
                    </a:lnTo>
                    <a:lnTo>
                      <a:pt x="514" y="124"/>
                    </a:lnTo>
                    <a:lnTo>
                      <a:pt x="513" y="124"/>
                    </a:lnTo>
                    <a:lnTo>
                      <a:pt x="514" y="122"/>
                    </a:lnTo>
                    <a:lnTo>
                      <a:pt x="513" y="122"/>
                    </a:lnTo>
                    <a:lnTo>
                      <a:pt x="513" y="121"/>
                    </a:lnTo>
                    <a:lnTo>
                      <a:pt x="511" y="119"/>
                    </a:lnTo>
                    <a:lnTo>
                      <a:pt x="508" y="119"/>
                    </a:lnTo>
                    <a:lnTo>
                      <a:pt x="508" y="117"/>
                    </a:lnTo>
                    <a:lnTo>
                      <a:pt x="506" y="117"/>
                    </a:lnTo>
                    <a:lnTo>
                      <a:pt x="505" y="121"/>
                    </a:lnTo>
                    <a:lnTo>
                      <a:pt x="503" y="122"/>
                    </a:lnTo>
                    <a:lnTo>
                      <a:pt x="503" y="122"/>
                    </a:lnTo>
                    <a:lnTo>
                      <a:pt x="503" y="119"/>
                    </a:lnTo>
                    <a:lnTo>
                      <a:pt x="502" y="116"/>
                    </a:lnTo>
                    <a:lnTo>
                      <a:pt x="499" y="116"/>
                    </a:lnTo>
                    <a:lnTo>
                      <a:pt x="497" y="116"/>
                    </a:lnTo>
                    <a:lnTo>
                      <a:pt x="496" y="114"/>
                    </a:lnTo>
                    <a:lnTo>
                      <a:pt x="492" y="113"/>
                    </a:lnTo>
                    <a:lnTo>
                      <a:pt x="491" y="111"/>
                    </a:lnTo>
                    <a:lnTo>
                      <a:pt x="489" y="111"/>
                    </a:lnTo>
                    <a:lnTo>
                      <a:pt x="488" y="111"/>
                    </a:lnTo>
                    <a:lnTo>
                      <a:pt x="488" y="110"/>
                    </a:lnTo>
                    <a:lnTo>
                      <a:pt x="486" y="110"/>
                    </a:lnTo>
                    <a:lnTo>
                      <a:pt x="485" y="110"/>
                    </a:lnTo>
                    <a:lnTo>
                      <a:pt x="483" y="110"/>
                    </a:lnTo>
                    <a:lnTo>
                      <a:pt x="481" y="108"/>
                    </a:lnTo>
                    <a:lnTo>
                      <a:pt x="480" y="108"/>
                    </a:lnTo>
                    <a:lnTo>
                      <a:pt x="478" y="107"/>
                    </a:lnTo>
                    <a:lnTo>
                      <a:pt x="477" y="105"/>
                    </a:lnTo>
                    <a:lnTo>
                      <a:pt x="475" y="105"/>
                    </a:lnTo>
                    <a:lnTo>
                      <a:pt x="475" y="105"/>
                    </a:lnTo>
                    <a:lnTo>
                      <a:pt x="474" y="105"/>
                    </a:lnTo>
                    <a:lnTo>
                      <a:pt x="472" y="105"/>
                    </a:lnTo>
                    <a:lnTo>
                      <a:pt x="471" y="103"/>
                    </a:lnTo>
                    <a:lnTo>
                      <a:pt x="469" y="103"/>
                    </a:lnTo>
                    <a:lnTo>
                      <a:pt x="467" y="103"/>
                    </a:lnTo>
                    <a:lnTo>
                      <a:pt x="466" y="103"/>
                    </a:lnTo>
                    <a:lnTo>
                      <a:pt x="466" y="103"/>
                    </a:lnTo>
                    <a:lnTo>
                      <a:pt x="466" y="105"/>
                    </a:lnTo>
                    <a:lnTo>
                      <a:pt x="467" y="105"/>
                    </a:lnTo>
                    <a:lnTo>
                      <a:pt x="466" y="105"/>
                    </a:lnTo>
                    <a:lnTo>
                      <a:pt x="464" y="103"/>
                    </a:lnTo>
                    <a:lnTo>
                      <a:pt x="463" y="105"/>
                    </a:lnTo>
                    <a:lnTo>
                      <a:pt x="461" y="105"/>
                    </a:lnTo>
                    <a:lnTo>
                      <a:pt x="461" y="105"/>
                    </a:lnTo>
                    <a:lnTo>
                      <a:pt x="461" y="103"/>
                    </a:lnTo>
                    <a:lnTo>
                      <a:pt x="460" y="103"/>
                    </a:lnTo>
                    <a:lnTo>
                      <a:pt x="458" y="103"/>
                    </a:lnTo>
                    <a:lnTo>
                      <a:pt x="456" y="105"/>
                    </a:lnTo>
                    <a:lnTo>
                      <a:pt x="456" y="105"/>
                    </a:lnTo>
                    <a:lnTo>
                      <a:pt x="455" y="105"/>
                    </a:lnTo>
                    <a:lnTo>
                      <a:pt x="455" y="105"/>
                    </a:lnTo>
                    <a:lnTo>
                      <a:pt x="455" y="107"/>
                    </a:lnTo>
                    <a:lnTo>
                      <a:pt x="453" y="107"/>
                    </a:lnTo>
                    <a:lnTo>
                      <a:pt x="452" y="108"/>
                    </a:lnTo>
                    <a:lnTo>
                      <a:pt x="450" y="108"/>
                    </a:lnTo>
                    <a:lnTo>
                      <a:pt x="452" y="110"/>
                    </a:lnTo>
                    <a:lnTo>
                      <a:pt x="449" y="111"/>
                    </a:lnTo>
                    <a:lnTo>
                      <a:pt x="449" y="113"/>
                    </a:lnTo>
                    <a:lnTo>
                      <a:pt x="449" y="114"/>
                    </a:lnTo>
                    <a:lnTo>
                      <a:pt x="449" y="116"/>
                    </a:lnTo>
                    <a:lnTo>
                      <a:pt x="449" y="117"/>
                    </a:lnTo>
                    <a:lnTo>
                      <a:pt x="450" y="117"/>
                    </a:lnTo>
                    <a:lnTo>
                      <a:pt x="449" y="119"/>
                    </a:lnTo>
                    <a:lnTo>
                      <a:pt x="449" y="121"/>
                    </a:lnTo>
                    <a:lnTo>
                      <a:pt x="447" y="119"/>
                    </a:lnTo>
                    <a:lnTo>
                      <a:pt x="446" y="117"/>
                    </a:lnTo>
                    <a:lnTo>
                      <a:pt x="444" y="117"/>
                    </a:lnTo>
                    <a:lnTo>
                      <a:pt x="439" y="124"/>
                    </a:lnTo>
                    <a:lnTo>
                      <a:pt x="436" y="125"/>
                    </a:lnTo>
                    <a:lnTo>
                      <a:pt x="435" y="125"/>
                    </a:lnTo>
                    <a:lnTo>
                      <a:pt x="431" y="133"/>
                    </a:lnTo>
                    <a:lnTo>
                      <a:pt x="431" y="136"/>
                    </a:lnTo>
                    <a:lnTo>
                      <a:pt x="430" y="138"/>
                    </a:lnTo>
                    <a:lnTo>
                      <a:pt x="428" y="138"/>
                    </a:lnTo>
                    <a:lnTo>
                      <a:pt x="428" y="138"/>
                    </a:lnTo>
                    <a:lnTo>
                      <a:pt x="428" y="136"/>
                    </a:lnTo>
                    <a:lnTo>
                      <a:pt x="430" y="136"/>
                    </a:lnTo>
                    <a:lnTo>
                      <a:pt x="430" y="132"/>
                    </a:lnTo>
                    <a:lnTo>
                      <a:pt x="431" y="130"/>
                    </a:lnTo>
                    <a:lnTo>
                      <a:pt x="431" y="127"/>
                    </a:lnTo>
                    <a:lnTo>
                      <a:pt x="433" y="122"/>
                    </a:lnTo>
                    <a:lnTo>
                      <a:pt x="428" y="124"/>
                    </a:lnTo>
                    <a:lnTo>
                      <a:pt x="427" y="125"/>
                    </a:lnTo>
                    <a:lnTo>
                      <a:pt x="424" y="125"/>
                    </a:lnTo>
                    <a:lnTo>
                      <a:pt x="422" y="124"/>
                    </a:lnTo>
                    <a:lnTo>
                      <a:pt x="419" y="124"/>
                    </a:lnTo>
                    <a:lnTo>
                      <a:pt x="419" y="125"/>
                    </a:lnTo>
                    <a:lnTo>
                      <a:pt x="417" y="125"/>
                    </a:lnTo>
                    <a:lnTo>
                      <a:pt x="414" y="127"/>
                    </a:lnTo>
                    <a:lnTo>
                      <a:pt x="411" y="124"/>
                    </a:lnTo>
                    <a:lnTo>
                      <a:pt x="410" y="124"/>
                    </a:lnTo>
                    <a:lnTo>
                      <a:pt x="410" y="122"/>
                    </a:lnTo>
                    <a:lnTo>
                      <a:pt x="410" y="122"/>
                    </a:lnTo>
                    <a:lnTo>
                      <a:pt x="410" y="121"/>
                    </a:lnTo>
                    <a:lnTo>
                      <a:pt x="408" y="117"/>
                    </a:lnTo>
                    <a:lnTo>
                      <a:pt x="406" y="116"/>
                    </a:lnTo>
                    <a:lnTo>
                      <a:pt x="406" y="114"/>
                    </a:lnTo>
                    <a:lnTo>
                      <a:pt x="406" y="113"/>
                    </a:lnTo>
                    <a:lnTo>
                      <a:pt x="405" y="113"/>
                    </a:lnTo>
                    <a:lnTo>
                      <a:pt x="405" y="111"/>
                    </a:lnTo>
                    <a:lnTo>
                      <a:pt x="406" y="110"/>
                    </a:lnTo>
                    <a:lnTo>
                      <a:pt x="406" y="110"/>
                    </a:lnTo>
                    <a:lnTo>
                      <a:pt x="405" y="108"/>
                    </a:lnTo>
                    <a:lnTo>
                      <a:pt x="403" y="110"/>
                    </a:lnTo>
                    <a:lnTo>
                      <a:pt x="403" y="110"/>
                    </a:lnTo>
                    <a:lnTo>
                      <a:pt x="400" y="111"/>
                    </a:lnTo>
                    <a:lnTo>
                      <a:pt x="399" y="113"/>
                    </a:lnTo>
                    <a:lnTo>
                      <a:pt x="394" y="116"/>
                    </a:lnTo>
                    <a:lnTo>
                      <a:pt x="392" y="116"/>
                    </a:lnTo>
                    <a:lnTo>
                      <a:pt x="388" y="119"/>
                    </a:lnTo>
                    <a:lnTo>
                      <a:pt x="383" y="121"/>
                    </a:lnTo>
                    <a:lnTo>
                      <a:pt x="381" y="119"/>
                    </a:lnTo>
                    <a:lnTo>
                      <a:pt x="375" y="119"/>
                    </a:lnTo>
                    <a:lnTo>
                      <a:pt x="377" y="119"/>
                    </a:lnTo>
                    <a:lnTo>
                      <a:pt x="381" y="116"/>
                    </a:lnTo>
                    <a:lnTo>
                      <a:pt x="386" y="116"/>
                    </a:lnTo>
                    <a:lnTo>
                      <a:pt x="386" y="116"/>
                    </a:lnTo>
                    <a:lnTo>
                      <a:pt x="388" y="114"/>
                    </a:lnTo>
                    <a:lnTo>
                      <a:pt x="388" y="113"/>
                    </a:lnTo>
                    <a:lnTo>
                      <a:pt x="389" y="111"/>
                    </a:lnTo>
                    <a:lnTo>
                      <a:pt x="391" y="110"/>
                    </a:lnTo>
                    <a:lnTo>
                      <a:pt x="391" y="107"/>
                    </a:lnTo>
                    <a:lnTo>
                      <a:pt x="391" y="105"/>
                    </a:lnTo>
                    <a:lnTo>
                      <a:pt x="394" y="102"/>
                    </a:lnTo>
                    <a:lnTo>
                      <a:pt x="395" y="100"/>
                    </a:lnTo>
                    <a:lnTo>
                      <a:pt x="397" y="99"/>
                    </a:lnTo>
                    <a:lnTo>
                      <a:pt x="399" y="96"/>
                    </a:lnTo>
                    <a:lnTo>
                      <a:pt x="399" y="94"/>
                    </a:lnTo>
                    <a:lnTo>
                      <a:pt x="402" y="92"/>
                    </a:lnTo>
                    <a:lnTo>
                      <a:pt x="405" y="89"/>
                    </a:lnTo>
                    <a:lnTo>
                      <a:pt x="405" y="89"/>
                    </a:lnTo>
                    <a:lnTo>
                      <a:pt x="406" y="89"/>
                    </a:lnTo>
                    <a:lnTo>
                      <a:pt x="408" y="88"/>
                    </a:lnTo>
                    <a:lnTo>
                      <a:pt x="411" y="85"/>
                    </a:lnTo>
                    <a:lnTo>
                      <a:pt x="413" y="81"/>
                    </a:lnTo>
                    <a:lnTo>
                      <a:pt x="416" y="78"/>
                    </a:lnTo>
                    <a:lnTo>
                      <a:pt x="416" y="77"/>
                    </a:lnTo>
                    <a:lnTo>
                      <a:pt x="420" y="74"/>
                    </a:lnTo>
                    <a:lnTo>
                      <a:pt x="420" y="74"/>
                    </a:lnTo>
                    <a:lnTo>
                      <a:pt x="422" y="72"/>
                    </a:lnTo>
                    <a:lnTo>
                      <a:pt x="424" y="72"/>
                    </a:lnTo>
                    <a:lnTo>
                      <a:pt x="424" y="71"/>
                    </a:lnTo>
                    <a:lnTo>
                      <a:pt x="424" y="67"/>
                    </a:lnTo>
                    <a:lnTo>
                      <a:pt x="422" y="63"/>
                    </a:lnTo>
                    <a:lnTo>
                      <a:pt x="420" y="61"/>
                    </a:lnTo>
                    <a:lnTo>
                      <a:pt x="417" y="61"/>
                    </a:lnTo>
                    <a:lnTo>
                      <a:pt x="416" y="61"/>
                    </a:lnTo>
                    <a:lnTo>
                      <a:pt x="413" y="60"/>
                    </a:lnTo>
                    <a:lnTo>
                      <a:pt x="413" y="58"/>
                    </a:lnTo>
                    <a:lnTo>
                      <a:pt x="411" y="56"/>
                    </a:lnTo>
                    <a:lnTo>
                      <a:pt x="411" y="55"/>
                    </a:lnTo>
                    <a:lnTo>
                      <a:pt x="410" y="55"/>
                    </a:lnTo>
                    <a:lnTo>
                      <a:pt x="408" y="55"/>
                    </a:lnTo>
                    <a:lnTo>
                      <a:pt x="410" y="53"/>
                    </a:lnTo>
                    <a:lnTo>
                      <a:pt x="410" y="53"/>
                    </a:lnTo>
                    <a:lnTo>
                      <a:pt x="408" y="50"/>
                    </a:lnTo>
                    <a:lnTo>
                      <a:pt x="408" y="49"/>
                    </a:lnTo>
                    <a:lnTo>
                      <a:pt x="406" y="47"/>
                    </a:lnTo>
                    <a:lnTo>
                      <a:pt x="406" y="45"/>
                    </a:lnTo>
                    <a:lnTo>
                      <a:pt x="403" y="38"/>
                    </a:lnTo>
                    <a:lnTo>
                      <a:pt x="403" y="35"/>
                    </a:lnTo>
                    <a:lnTo>
                      <a:pt x="402" y="28"/>
                    </a:lnTo>
                    <a:lnTo>
                      <a:pt x="400" y="20"/>
                    </a:lnTo>
                    <a:lnTo>
                      <a:pt x="399" y="19"/>
                    </a:lnTo>
                    <a:lnTo>
                      <a:pt x="395" y="17"/>
                    </a:lnTo>
                    <a:lnTo>
                      <a:pt x="394" y="17"/>
                    </a:lnTo>
                    <a:lnTo>
                      <a:pt x="394" y="17"/>
                    </a:lnTo>
                    <a:lnTo>
                      <a:pt x="392" y="20"/>
                    </a:lnTo>
                    <a:lnTo>
                      <a:pt x="392" y="22"/>
                    </a:lnTo>
                    <a:lnTo>
                      <a:pt x="391" y="22"/>
                    </a:lnTo>
                    <a:lnTo>
                      <a:pt x="389" y="24"/>
                    </a:lnTo>
                    <a:lnTo>
                      <a:pt x="389" y="24"/>
                    </a:lnTo>
                    <a:lnTo>
                      <a:pt x="388" y="25"/>
                    </a:lnTo>
                    <a:lnTo>
                      <a:pt x="388" y="27"/>
                    </a:lnTo>
                    <a:lnTo>
                      <a:pt x="388" y="27"/>
                    </a:lnTo>
                    <a:lnTo>
                      <a:pt x="386" y="27"/>
                    </a:lnTo>
                    <a:lnTo>
                      <a:pt x="386" y="28"/>
                    </a:lnTo>
                    <a:lnTo>
                      <a:pt x="385" y="31"/>
                    </a:lnTo>
                    <a:lnTo>
                      <a:pt x="383" y="33"/>
                    </a:lnTo>
                    <a:lnTo>
                      <a:pt x="381" y="35"/>
                    </a:lnTo>
                    <a:lnTo>
                      <a:pt x="381" y="36"/>
                    </a:lnTo>
                    <a:lnTo>
                      <a:pt x="380" y="36"/>
                    </a:lnTo>
                    <a:lnTo>
                      <a:pt x="380" y="36"/>
                    </a:lnTo>
                    <a:lnTo>
                      <a:pt x="380" y="38"/>
                    </a:lnTo>
                    <a:lnTo>
                      <a:pt x="380" y="39"/>
                    </a:lnTo>
                    <a:lnTo>
                      <a:pt x="380" y="41"/>
                    </a:lnTo>
                    <a:lnTo>
                      <a:pt x="378" y="41"/>
                    </a:lnTo>
                    <a:lnTo>
                      <a:pt x="378" y="42"/>
                    </a:lnTo>
                    <a:lnTo>
                      <a:pt x="377" y="45"/>
                    </a:lnTo>
                    <a:lnTo>
                      <a:pt x="377" y="47"/>
                    </a:lnTo>
                    <a:lnTo>
                      <a:pt x="377" y="47"/>
                    </a:lnTo>
                    <a:lnTo>
                      <a:pt x="375" y="50"/>
                    </a:lnTo>
                    <a:lnTo>
                      <a:pt x="374" y="50"/>
                    </a:lnTo>
                    <a:lnTo>
                      <a:pt x="372" y="52"/>
                    </a:lnTo>
                    <a:lnTo>
                      <a:pt x="370" y="52"/>
                    </a:lnTo>
                    <a:lnTo>
                      <a:pt x="370" y="53"/>
                    </a:lnTo>
                    <a:lnTo>
                      <a:pt x="369" y="53"/>
                    </a:lnTo>
                    <a:lnTo>
                      <a:pt x="369" y="53"/>
                    </a:lnTo>
                    <a:lnTo>
                      <a:pt x="367" y="53"/>
                    </a:lnTo>
                    <a:lnTo>
                      <a:pt x="366" y="53"/>
                    </a:lnTo>
                    <a:lnTo>
                      <a:pt x="364" y="53"/>
                    </a:lnTo>
                    <a:lnTo>
                      <a:pt x="364" y="53"/>
                    </a:lnTo>
                    <a:lnTo>
                      <a:pt x="364" y="52"/>
                    </a:lnTo>
                    <a:lnTo>
                      <a:pt x="363" y="52"/>
                    </a:lnTo>
                    <a:lnTo>
                      <a:pt x="363" y="52"/>
                    </a:lnTo>
                    <a:lnTo>
                      <a:pt x="363" y="52"/>
                    </a:lnTo>
                    <a:lnTo>
                      <a:pt x="361" y="52"/>
                    </a:lnTo>
                    <a:lnTo>
                      <a:pt x="360" y="53"/>
                    </a:lnTo>
                    <a:lnTo>
                      <a:pt x="360" y="52"/>
                    </a:lnTo>
                    <a:lnTo>
                      <a:pt x="358" y="52"/>
                    </a:lnTo>
                    <a:lnTo>
                      <a:pt x="356" y="52"/>
                    </a:lnTo>
                    <a:lnTo>
                      <a:pt x="356" y="52"/>
                    </a:lnTo>
                    <a:lnTo>
                      <a:pt x="355" y="52"/>
                    </a:lnTo>
                    <a:lnTo>
                      <a:pt x="355" y="50"/>
                    </a:lnTo>
                    <a:lnTo>
                      <a:pt x="355" y="52"/>
                    </a:lnTo>
                    <a:lnTo>
                      <a:pt x="355" y="52"/>
                    </a:lnTo>
                    <a:lnTo>
                      <a:pt x="353" y="52"/>
                    </a:lnTo>
                    <a:lnTo>
                      <a:pt x="352" y="53"/>
                    </a:lnTo>
                    <a:lnTo>
                      <a:pt x="350" y="55"/>
                    </a:lnTo>
                    <a:lnTo>
                      <a:pt x="349" y="55"/>
                    </a:lnTo>
                    <a:lnTo>
                      <a:pt x="349" y="55"/>
                    </a:lnTo>
                    <a:lnTo>
                      <a:pt x="347" y="55"/>
                    </a:lnTo>
                    <a:lnTo>
                      <a:pt x="345" y="55"/>
                    </a:lnTo>
                    <a:lnTo>
                      <a:pt x="344" y="53"/>
                    </a:lnTo>
                    <a:lnTo>
                      <a:pt x="342" y="53"/>
                    </a:lnTo>
                    <a:lnTo>
                      <a:pt x="341" y="52"/>
                    </a:lnTo>
                    <a:lnTo>
                      <a:pt x="341" y="52"/>
                    </a:lnTo>
                    <a:lnTo>
                      <a:pt x="341" y="52"/>
                    </a:lnTo>
                    <a:lnTo>
                      <a:pt x="341" y="52"/>
                    </a:lnTo>
                    <a:lnTo>
                      <a:pt x="339" y="52"/>
                    </a:lnTo>
                    <a:lnTo>
                      <a:pt x="339" y="50"/>
                    </a:lnTo>
                    <a:lnTo>
                      <a:pt x="339" y="50"/>
                    </a:lnTo>
                    <a:lnTo>
                      <a:pt x="338" y="49"/>
                    </a:lnTo>
                    <a:lnTo>
                      <a:pt x="338" y="49"/>
                    </a:lnTo>
                    <a:lnTo>
                      <a:pt x="336" y="49"/>
                    </a:lnTo>
                    <a:lnTo>
                      <a:pt x="336" y="49"/>
                    </a:lnTo>
                    <a:lnTo>
                      <a:pt x="334" y="49"/>
                    </a:lnTo>
                    <a:lnTo>
                      <a:pt x="334" y="47"/>
                    </a:lnTo>
                    <a:lnTo>
                      <a:pt x="334" y="47"/>
                    </a:lnTo>
                    <a:lnTo>
                      <a:pt x="334" y="47"/>
                    </a:lnTo>
                    <a:lnTo>
                      <a:pt x="333" y="47"/>
                    </a:lnTo>
                    <a:lnTo>
                      <a:pt x="333" y="47"/>
                    </a:lnTo>
                    <a:lnTo>
                      <a:pt x="331" y="47"/>
                    </a:lnTo>
                    <a:lnTo>
                      <a:pt x="331" y="47"/>
                    </a:lnTo>
                    <a:lnTo>
                      <a:pt x="330" y="47"/>
                    </a:lnTo>
                    <a:lnTo>
                      <a:pt x="328" y="49"/>
                    </a:lnTo>
                    <a:lnTo>
                      <a:pt x="328" y="49"/>
                    </a:lnTo>
                    <a:lnTo>
                      <a:pt x="327" y="49"/>
                    </a:lnTo>
                    <a:lnTo>
                      <a:pt x="322" y="50"/>
                    </a:lnTo>
                    <a:lnTo>
                      <a:pt x="320" y="50"/>
                    </a:lnTo>
                    <a:lnTo>
                      <a:pt x="317" y="49"/>
                    </a:lnTo>
                    <a:lnTo>
                      <a:pt x="317" y="49"/>
                    </a:lnTo>
                    <a:lnTo>
                      <a:pt x="317" y="49"/>
                    </a:lnTo>
                    <a:lnTo>
                      <a:pt x="316" y="49"/>
                    </a:lnTo>
                    <a:lnTo>
                      <a:pt x="316" y="49"/>
                    </a:lnTo>
                    <a:lnTo>
                      <a:pt x="316" y="50"/>
                    </a:lnTo>
                    <a:lnTo>
                      <a:pt x="316" y="50"/>
                    </a:lnTo>
                    <a:lnTo>
                      <a:pt x="314" y="52"/>
                    </a:lnTo>
                    <a:lnTo>
                      <a:pt x="314" y="52"/>
                    </a:lnTo>
                    <a:lnTo>
                      <a:pt x="314" y="52"/>
                    </a:lnTo>
                    <a:lnTo>
                      <a:pt x="314" y="53"/>
                    </a:lnTo>
                    <a:lnTo>
                      <a:pt x="316" y="55"/>
                    </a:lnTo>
                    <a:lnTo>
                      <a:pt x="317" y="55"/>
                    </a:lnTo>
                    <a:lnTo>
                      <a:pt x="317" y="56"/>
                    </a:lnTo>
                    <a:lnTo>
                      <a:pt x="317" y="58"/>
                    </a:lnTo>
                    <a:lnTo>
                      <a:pt x="317" y="60"/>
                    </a:lnTo>
                    <a:lnTo>
                      <a:pt x="317" y="60"/>
                    </a:lnTo>
                    <a:lnTo>
                      <a:pt x="317" y="60"/>
                    </a:lnTo>
                    <a:lnTo>
                      <a:pt x="316" y="60"/>
                    </a:lnTo>
                    <a:lnTo>
                      <a:pt x="313" y="60"/>
                    </a:lnTo>
                    <a:lnTo>
                      <a:pt x="309" y="58"/>
                    </a:lnTo>
                    <a:lnTo>
                      <a:pt x="308" y="58"/>
                    </a:lnTo>
                    <a:lnTo>
                      <a:pt x="308" y="58"/>
                    </a:lnTo>
                    <a:lnTo>
                      <a:pt x="306" y="58"/>
                    </a:lnTo>
                    <a:lnTo>
                      <a:pt x="306" y="58"/>
                    </a:lnTo>
                    <a:lnTo>
                      <a:pt x="306" y="58"/>
                    </a:lnTo>
                    <a:lnTo>
                      <a:pt x="306" y="58"/>
                    </a:lnTo>
                    <a:lnTo>
                      <a:pt x="305" y="58"/>
                    </a:lnTo>
                    <a:lnTo>
                      <a:pt x="305" y="58"/>
                    </a:lnTo>
                    <a:lnTo>
                      <a:pt x="305" y="58"/>
                    </a:lnTo>
                    <a:lnTo>
                      <a:pt x="303" y="60"/>
                    </a:lnTo>
                    <a:lnTo>
                      <a:pt x="303" y="60"/>
                    </a:lnTo>
                    <a:lnTo>
                      <a:pt x="302" y="60"/>
                    </a:lnTo>
                    <a:lnTo>
                      <a:pt x="299" y="58"/>
                    </a:lnTo>
                    <a:lnTo>
                      <a:pt x="299" y="58"/>
                    </a:lnTo>
                    <a:lnTo>
                      <a:pt x="299" y="58"/>
                    </a:lnTo>
                    <a:lnTo>
                      <a:pt x="297" y="56"/>
                    </a:lnTo>
                    <a:lnTo>
                      <a:pt x="297" y="56"/>
                    </a:lnTo>
                    <a:lnTo>
                      <a:pt x="297" y="56"/>
                    </a:lnTo>
                    <a:lnTo>
                      <a:pt x="295" y="58"/>
                    </a:lnTo>
                    <a:lnTo>
                      <a:pt x="295" y="58"/>
                    </a:lnTo>
                    <a:lnTo>
                      <a:pt x="294" y="58"/>
                    </a:lnTo>
                    <a:lnTo>
                      <a:pt x="292" y="58"/>
                    </a:lnTo>
                    <a:lnTo>
                      <a:pt x="292" y="58"/>
                    </a:lnTo>
                    <a:lnTo>
                      <a:pt x="292" y="58"/>
                    </a:lnTo>
                    <a:lnTo>
                      <a:pt x="292" y="58"/>
                    </a:lnTo>
                    <a:lnTo>
                      <a:pt x="291" y="58"/>
                    </a:lnTo>
                    <a:lnTo>
                      <a:pt x="289" y="61"/>
                    </a:lnTo>
                    <a:lnTo>
                      <a:pt x="289" y="61"/>
                    </a:lnTo>
                    <a:lnTo>
                      <a:pt x="289" y="61"/>
                    </a:lnTo>
                    <a:lnTo>
                      <a:pt x="288" y="63"/>
                    </a:lnTo>
                    <a:lnTo>
                      <a:pt x="288" y="63"/>
                    </a:lnTo>
                    <a:lnTo>
                      <a:pt x="286" y="63"/>
                    </a:lnTo>
                    <a:lnTo>
                      <a:pt x="284" y="63"/>
                    </a:lnTo>
                    <a:lnTo>
                      <a:pt x="284" y="63"/>
                    </a:lnTo>
                    <a:lnTo>
                      <a:pt x="283" y="63"/>
                    </a:lnTo>
                    <a:lnTo>
                      <a:pt x="283" y="63"/>
                    </a:lnTo>
                    <a:lnTo>
                      <a:pt x="281" y="63"/>
                    </a:lnTo>
                    <a:lnTo>
                      <a:pt x="281" y="63"/>
                    </a:lnTo>
                    <a:lnTo>
                      <a:pt x="281" y="64"/>
                    </a:lnTo>
                    <a:lnTo>
                      <a:pt x="281" y="64"/>
                    </a:lnTo>
                    <a:lnTo>
                      <a:pt x="280" y="66"/>
                    </a:lnTo>
                    <a:lnTo>
                      <a:pt x="280" y="66"/>
                    </a:lnTo>
                    <a:lnTo>
                      <a:pt x="280" y="66"/>
                    </a:lnTo>
                    <a:lnTo>
                      <a:pt x="278" y="66"/>
                    </a:lnTo>
                    <a:lnTo>
                      <a:pt x="278" y="64"/>
                    </a:lnTo>
                    <a:lnTo>
                      <a:pt x="277" y="64"/>
                    </a:lnTo>
                    <a:lnTo>
                      <a:pt x="277" y="64"/>
                    </a:lnTo>
                    <a:lnTo>
                      <a:pt x="277" y="64"/>
                    </a:lnTo>
                    <a:lnTo>
                      <a:pt x="275" y="64"/>
                    </a:lnTo>
                    <a:lnTo>
                      <a:pt x="275" y="64"/>
                    </a:lnTo>
                    <a:lnTo>
                      <a:pt x="275" y="64"/>
                    </a:lnTo>
                    <a:lnTo>
                      <a:pt x="275" y="64"/>
                    </a:lnTo>
                    <a:lnTo>
                      <a:pt x="275" y="66"/>
                    </a:lnTo>
                    <a:lnTo>
                      <a:pt x="274" y="66"/>
                    </a:lnTo>
                    <a:lnTo>
                      <a:pt x="274" y="66"/>
                    </a:lnTo>
                    <a:lnTo>
                      <a:pt x="272" y="66"/>
                    </a:lnTo>
                    <a:lnTo>
                      <a:pt x="272" y="67"/>
                    </a:lnTo>
                    <a:lnTo>
                      <a:pt x="272" y="69"/>
                    </a:lnTo>
                    <a:lnTo>
                      <a:pt x="272" y="69"/>
                    </a:lnTo>
                    <a:lnTo>
                      <a:pt x="272" y="69"/>
                    </a:lnTo>
                    <a:lnTo>
                      <a:pt x="272" y="69"/>
                    </a:lnTo>
                    <a:lnTo>
                      <a:pt x="270" y="69"/>
                    </a:lnTo>
                    <a:lnTo>
                      <a:pt x="270" y="69"/>
                    </a:lnTo>
                    <a:lnTo>
                      <a:pt x="269" y="69"/>
                    </a:lnTo>
                    <a:lnTo>
                      <a:pt x="269" y="69"/>
                    </a:lnTo>
                    <a:lnTo>
                      <a:pt x="269" y="71"/>
                    </a:lnTo>
                    <a:lnTo>
                      <a:pt x="267" y="71"/>
                    </a:lnTo>
                    <a:lnTo>
                      <a:pt x="267" y="71"/>
                    </a:lnTo>
                    <a:lnTo>
                      <a:pt x="266" y="71"/>
                    </a:lnTo>
                    <a:lnTo>
                      <a:pt x="266" y="71"/>
                    </a:lnTo>
                    <a:lnTo>
                      <a:pt x="266" y="71"/>
                    </a:lnTo>
                    <a:lnTo>
                      <a:pt x="264" y="69"/>
                    </a:lnTo>
                    <a:lnTo>
                      <a:pt x="261" y="69"/>
                    </a:lnTo>
                    <a:lnTo>
                      <a:pt x="259" y="67"/>
                    </a:lnTo>
                    <a:lnTo>
                      <a:pt x="258" y="66"/>
                    </a:lnTo>
                    <a:lnTo>
                      <a:pt x="258" y="66"/>
                    </a:lnTo>
                    <a:lnTo>
                      <a:pt x="256" y="66"/>
                    </a:lnTo>
                    <a:lnTo>
                      <a:pt x="255" y="63"/>
                    </a:lnTo>
                    <a:lnTo>
                      <a:pt x="255" y="63"/>
                    </a:lnTo>
                    <a:lnTo>
                      <a:pt x="253" y="63"/>
                    </a:lnTo>
                    <a:lnTo>
                      <a:pt x="252" y="61"/>
                    </a:lnTo>
                    <a:lnTo>
                      <a:pt x="252" y="61"/>
                    </a:lnTo>
                    <a:lnTo>
                      <a:pt x="252" y="60"/>
                    </a:lnTo>
                    <a:lnTo>
                      <a:pt x="252" y="60"/>
                    </a:lnTo>
                    <a:lnTo>
                      <a:pt x="252" y="60"/>
                    </a:lnTo>
                    <a:lnTo>
                      <a:pt x="250" y="60"/>
                    </a:lnTo>
                    <a:lnTo>
                      <a:pt x="250" y="58"/>
                    </a:lnTo>
                    <a:lnTo>
                      <a:pt x="250" y="58"/>
                    </a:lnTo>
                    <a:lnTo>
                      <a:pt x="250" y="55"/>
                    </a:lnTo>
                    <a:lnTo>
                      <a:pt x="250" y="52"/>
                    </a:lnTo>
                    <a:lnTo>
                      <a:pt x="249" y="52"/>
                    </a:lnTo>
                    <a:lnTo>
                      <a:pt x="249" y="50"/>
                    </a:lnTo>
                    <a:lnTo>
                      <a:pt x="247" y="47"/>
                    </a:lnTo>
                    <a:lnTo>
                      <a:pt x="245" y="45"/>
                    </a:lnTo>
                    <a:lnTo>
                      <a:pt x="245" y="44"/>
                    </a:lnTo>
                    <a:lnTo>
                      <a:pt x="247" y="39"/>
                    </a:lnTo>
                    <a:lnTo>
                      <a:pt x="247" y="38"/>
                    </a:lnTo>
                    <a:lnTo>
                      <a:pt x="249" y="35"/>
                    </a:lnTo>
                    <a:lnTo>
                      <a:pt x="249" y="33"/>
                    </a:lnTo>
                    <a:lnTo>
                      <a:pt x="249" y="33"/>
                    </a:lnTo>
                    <a:lnTo>
                      <a:pt x="249" y="31"/>
                    </a:lnTo>
                    <a:lnTo>
                      <a:pt x="249" y="30"/>
                    </a:lnTo>
                    <a:lnTo>
                      <a:pt x="250" y="28"/>
                    </a:lnTo>
                    <a:lnTo>
                      <a:pt x="252" y="27"/>
                    </a:lnTo>
                    <a:lnTo>
                      <a:pt x="252" y="27"/>
                    </a:lnTo>
                    <a:lnTo>
                      <a:pt x="253" y="25"/>
                    </a:lnTo>
                    <a:lnTo>
                      <a:pt x="253" y="24"/>
                    </a:lnTo>
                    <a:lnTo>
                      <a:pt x="253" y="24"/>
                    </a:lnTo>
                    <a:lnTo>
                      <a:pt x="253" y="22"/>
                    </a:lnTo>
                    <a:lnTo>
                      <a:pt x="253" y="22"/>
                    </a:lnTo>
                    <a:lnTo>
                      <a:pt x="253" y="22"/>
                    </a:lnTo>
                    <a:lnTo>
                      <a:pt x="252" y="19"/>
                    </a:lnTo>
                    <a:lnTo>
                      <a:pt x="252" y="19"/>
                    </a:lnTo>
                    <a:lnTo>
                      <a:pt x="250" y="17"/>
                    </a:lnTo>
                    <a:lnTo>
                      <a:pt x="250" y="17"/>
                    </a:lnTo>
                    <a:lnTo>
                      <a:pt x="252" y="16"/>
                    </a:lnTo>
                    <a:lnTo>
                      <a:pt x="252" y="16"/>
                    </a:lnTo>
                    <a:lnTo>
                      <a:pt x="250" y="14"/>
                    </a:lnTo>
                    <a:lnTo>
                      <a:pt x="249" y="14"/>
                    </a:lnTo>
                    <a:lnTo>
                      <a:pt x="249" y="14"/>
                    </a:lnTo>
                    <a:lnTo>
                      <a:pt x="247" y="14"/>
                    </a:lnTo>
                    <a:lnTo>
                      <a:pt x="247" y="13"/>
                    </a:lnTo>
                    <a:lnTo>
                      <a:pt x="247" y="13"/>
                    </a:lnTo>
                    <a:lnTo>
                      <a:pt x="245" y="13"/>
                    </a:lnTo>
                    <a:lnTo>
                      <a:pt x="244" y="13"/>
                    </a:lnTo>
                    <a:lnTo>
                      <a:pt x="244" y="13"/>
                    </a:lnTo>
                    <a:lnTo>
                      <a:pt x="244" y="13"/>
                    </a:lnTo>
                    <a:lnTo>
                      <a:pt x="244" y="11"/>
                    </a:lnTo>
                    <a:lnTo>
                      <a:pt x="245" y="11"/>
                    </a:lnTo>
                    <a:lnTo>
                      <a:pt x="245" y="10"/>
                    </a:lnTo>
                    <a:lnTo>
                      <a:pt x="245" y="8"/>
                    </a:lnTo>
                    <a:lnTo>
                      <a:pt x="245" y="6"/>
                    </a:lnTo>
                    <a:lnTo>
                      <a:pt x="245" y="5"/>
                    </a:lnTo>
                    <a:lnTo>
                      <a:pt x="245" y="3"/>
                    </a:lnTo>
                    <a:lnTo>
                      <a:pt x="244" y="2"/>
                    </a:lnTo>
                    <a:lnTo>
                      <a:pt x="244" y="2"/>
                    </a:lnTo>
                    <a:lnTo>
                      <a:pt x="244" y="0"/>
                    </a:lnTo>
                    <a:lnTo>
                      <a:pt x="242" y="0"/>
                    </a:lnTo>
                    <a:lnTo>
                      <a:pt x="242" y="0"/>
                    </a:lnTo>
                    <a:lnTo>
                      <a:pt x="242" y="0"/>
                    </a:lnTo>
                    <a:lnTo>
                      <a:pt x="241" y="2"/>
                    </a:lnTo>
                    <a:lnTo>
                      <a:pt x="241" y="2"/>
                    </a:lnTo>
                    <a:lnTo>
                      <a:pt x="239" y="0"/>
                    </a:lnTo>
                    <a:lnTo>
                      <a:pt x="239" y="2"/>
                    </a:lnTo>
                    <a:lnTo>
                      <a:pt x="239" y="2"/>
                    </a:lnTo>
                    <a:lnTo>
                      <a:pt x="238" y="2"/>
                    </a:lnTo>
                    <a:lnTo>
                      <a:pt x="238" y="2"/>
                    </a:lnTo>
                    <a:lnTo>
                      <a:pt x="236" y="2"/>
                    </a:lnTo>
                    <a:lnTo>
                      <a:pt x="234" y="0"/>
                    </a:lnTo>
                    <a:lnTo>
                      <a:pt x="234" y="0"/>
                    </a:lnTo>
                    <a:lnTo>
                      <a:pt x="233" y="2"/>
                    </a:lnTo>
                    <a:lnTo>
                      <a:pt x="233" y="2"/>
                    </a:lnTo>
                    <a:lnTo>
                      <a:pt x="234" y="2"/>
                    </a:lnTo>
                    <a:lnTo>
                      <a:pt x="234" y="3"/>
                    </a:lnTo>
                    <a:lnTo>
                      <a:pt x="236" y="5"/>
                    </a:lnTo>
                    <a:lnTo>
                      <a:pt x="236" y="5"/>
                    </a:lnTo>
                    <a:lnTo>
                      <a:pt x="234" y="6"/>
                    </a:lnTo>
                    <a:lnTo>
                      <a:pt x="234" y="8"/>
                    </a:lnTo>
                    <a:lnTo>
                      <a:pt x="233" y="8"/>
                    </a:lnTo>
                    <a:lnTo>
                      <a:pt x="231" y="10"/>
                    </a:lnTo>
                    <a:lnTo>
                      <a:pt x="230" y="10"/>
                    </a:lnTo>
                    <a:lnTo>
                      <a:pt x="228" y="13"/>
                    </a:lnTo>
                    <a:lnTo>
                      <a:pt x="228" y="13"/>
                    </a:lnTo>
                    <a:lnTo>
                      <a:pt x="228" y="13"/>
                    </a:lnTo>
                    <a:lnTo>
                      <a:pt x="228" y="13"/>
                    </a:lnTo>
                    <a:lnTo>
                      <a:pt x="227" y="13"/>
                    </a:lnTo>
                    <a:lnTo>
                      <a:pt x="227" y="13"/>
                    </a:lnTo>
                    <a:lnTo>
                      <a:pt x="227" y="13"/>
                    </a:lnTo>
                    <a:lnTo>
                      <a:pt x="225" y="13"/>
                    </a:lnTo>
                    <a:lnTo>
                      <a:pt x="223" y="13"/>
                    </a:lnTo>
                    <a:lnTo>
                      <a:pt x="222" y="14"/>
                    </a:lnTo>
                    <a:lnTo>
                      <a:pt x="222" y="14"/>
                    </a:lnTo>
                    <a:lnTo>
                      <a:pt x="220" y="16"/>
                    </a:lnTo>
                    <a:lnTo>
                      <a:pt x="219" y="17"/>
                    </a:lnTo>
                    <a:lnTo>
                      <a:pt x="214" y="19"/>
                    </a:lnTo>
                    <a:lnTo>
                      <a:pt x="214" y="19"/>
                    </a:lnTo>
                    <a:lnTo>
                      <a:pt x="209" y="20"/>
                    </a:lnTo>
                    <a:lnTo>
                      <a:pt x="208" y="20"/>
                    </a:lnTo>
                    <a:lnTo>
                      <a:pt x="208" y="20"/>
                    </a:lnTo>
                    <a:lnTo>
                      <a:pt x="203" y="19"/>
                    </a:lnTo>
                    <a:lnTo>
                      <a:pt x="203" y="19"/>
                    </a:lnTo>
                    <a:lnTo>
                      <a:pt x="203" y="19"/>
                    </a:lnTo>
                    <a:lnTo>
                      <a:pt x="202" y="20"/>
                    </a:lnTo>
                    <a:lnTo>
                      <a:pt x="200" y="22"/>
                    </a:lnTo>
                    <a:lnTo>
                      <a:pt x="198" y="22"/>
                    </a:lnTo>
                    <a:lnTo>
                      <a:pt x="198" y="22"/>
                    </a:lnTo>
                    <a:lnTo>
                      <a:pt x="198" y="22"/>
                    </a:lnTo>
                    <a:lnTo>
                      <a:pt x="198" y="24"/>
                    </a:lnTo>
                    <a:lnTo>
                      <a:pt x="197" y="28"/>
                    </a:lnTo>
                    <a:lnTo>
                      <a:pt x="195" y="30"/>
                    </a:lnTo>
                    <a:lnTo>
                      <a:pt x="194" y="30"/>
                    </a:lnTo>
                    <a:lnTo>
                      <a:pt x="192" y="28"/>
                    </a:lnTo>
                    <a:lnTo>
                      <a:pt x="191" y="27"/>
                    </a:lnTo>
                    <a:lnTo>
                      <a:pt x="188" y="24"/>
                    </a:lnTo>
                    <a:lnTo>
                      <a:pt x="188" y="24"/>
                    </a:lnTo>
                    <a:lnTo>
                      <a:pt x="188" y="24"/>
                    </a:lnTo>
                    <a:lnTo>
                      <a:pt x="186" y="24"/>
                    </a:lnTo>
                    <a:lnTo>
                      <a:pt x="184" y="24"/>
                    </a:lnTo>
                    <a:lnTo>
                      <a:pt x="184" y="24"/>
                    </a:lnTo>
                    <a:lnTo>
                      <a:pt x="183" y="24"/>
                    </a:lnTo>
                    <a:lnTo>
                      <a:pt x="181" y="24"/>
                    </a:lnTo>
                    <a:lnTo>
                      <a:pt x="181" y="24"/>
                    </a:lnTo>
                    <a:lnTo>
                      <a:pt x="181" y="24"/>
                    </a:lnTo>
                    <a:lnTo>
                      <a:pt x="180" y="24"/>
                    </a:lnTo>
                    <a:lnTo>
                      <a:pt x="177" y="24"/>
                    </a:lnTo>
                    <a:lnTo>
                      <a:pt x="175" y="24"/>
                    </a:lnTo>
                    <a:lnTo>
                      <a:pt x="175" y="22"/>
                    </a:lnTo>
                    <a:lnTo>
                      <a:pt x="173" y="20"/>
                    </a:lnTo>
                    <a:lnTo>
                      <a:pt x="173" y="20"/>
                    </a:lnTo>
                    <a:lnTo>
                      <a:pt x="172" y="20"/>
                    </a:lnTo>
                    <a:lnTo>
                      <a:pt x="172" y="19"/>
                    </a:lnTo>
                    <a:lnTo>
                      <a:pt x="166" y="19"/>
                    </a:lnTo>
                    <a:lnTo>
                      <a:pt x="166" y="19"/>
                    </a:lnTo>
                    <a:lnTo>
                      <a:pt x="164" y="17"/>
                    </a:lnTo>
                    <a:lnTo>
                      <a:pt x="163" y="17"/>
                    </a:lnTo>
                    <a:lnTo>
                      <a:pt x="163" y="17"/>
                    </a:lnTo>
                    <a:lnTo>
                      <a:pt x="163" y="17"/>
                    </a:lnTo>
                    <a:lnTo>
                      <a:pt x="163" y="17"/>
                    </a:lnTo>
                    <a:lnTo>
                      <a:pt x="161" y="17"/>
                    </a:lnTo>
                    <a:lnTo>
                      <a:pt x="164" y="20"/>
                    </a:lnTo>
                    <a:lnTo>
                      <a:pt x="164" y="22"/>
                    </a:lnTo>
                    <a:lnTo>
                      <a:pt x="166" y="24"/>
                    </a:lnTo>
                    <a:lnTo>
                      <a:pt x="170" y="28"/>
                    </a:lnTo>
                    <a:lnTo>
                      <a:pt x="172" y="30"/>
                    </a:lnTo>
                    <a:lnTo>
                      <a:pt x="172" y="31"/>
                    </a:lnTo>
                    <a:lnTo>
                      <a:pt x="172" y="33"/>
                    </a:lnTo>
                    <a:lnTo>
                      <a:pt x="172" y="36"/>
                    </a:lnTo>
                    <a:lnTo>
                      <a:pt x="173" y="39"/>
                    </a:lnTo>
                    <a:lnTo>
                      <a:pt x="175" y="42"/>
                    </a:lnTo>
                    <a:lnTo>
                      <a:pt x="175" y="45"/>
                    </a:lnTo>
                    <a:lnTo>
                      <a:pt x="175" y="47"/>
                    </a:lnTo>
                    <a:lnTo>
                      <a:pt x="175" y="47"/>
                    </a:lnTo>
                    <a:lnTo>
                      <a:pt x="175" y="49"/>
                    </a:lnTo>
                    <a:lnTo>
                      <a:pt x="175" y="49"/>
                    </a:lnTo>
                    <a:lnTo>
                      <a:pt x="177" y="49"/>
                    </a:lnTo>
                    <a:lnTo>
                      <a:pt x="181" y="50"/>
                    </a:lnTo>
                    <a:lnTo>
                      <a:pt x="183" y="50"/>
                    </a:lnTo>
                    <a:lnTo>
                      <a:pt x="186" y="50"/>
                    </a:lnTo>
                    <a:lnTo>
                      <a:pt x="186" y="50"/>
                    </a:lnTo>
                    <a:lnTo>
                      <a:pt x="186" y="52"/>
                    </a:lnTo>
                    <a:lnTo>
                      <a:pt x="186" y="53"/>
                    </a:lnTo>
                    <a:lnTo>
                      <a:pt x="186" y="55"/>
                    </a:lnTo>
                    <a:lnTo>
                      <a:pt x="184" y="55"/>
                    </a:lnTo>
                    <a:lnTo>
                      <a:pt x="184" y="55"/>
                    </a:lnTo>
                    <a:lnTo>
                      <a:pt x="183" y="55"/>
                    </a:lnTo>
                    <a:lnTo>
                      <a:pt x="181" y="56"/>
                    </a:lnTo>
                    <a:lnTo>
                      <a:pt x="181" y="56"/>
                    </a:lnTo>
                    <a:lnTo>
                      <a:pt x="178" y="58"/>
                    </a:lnTo>
                    <a:lnTo>
                      <a:pt x="178" y="58"/>
                    </a:lnTo>
                    <a:lnTo>
                      <a:pt x="177" y="58"/>
                    </a:lnTo>
                    <a:lnTo>
                      <a:pt x="177" y="58"/>
                    </a:lnTo>
                    <a:lnTo>
                      <a:pt x="175" y="58"/>
                    </a:lnTo>
                    <a:lnTo>
                      <a:pt x="175" y="58"/>
                    </a:lnTo>
                    <a:lnTo>
                      <a:pt x="175" y="61"/>
                    </a:lnTo>
                    <a:lnTo>
                      <a:pt x="173" y="64"/>
                    </a:lnTo>
                    <a:lnTo>
                      <a:pt x="172" y="66"/>
                    </a:lnTo>
                    <a:lnTo>
                      <a:pt x="170" y="66"/>
                    </a:lnTo>
                    <a:lnTo>
                      <a:pt x="170" y="66"/>
                    </a:lnTo>
                    <a:lnTo>
                      <a:pt x="169" y="67"/>
                    </a:lnTo>
                    <a:lnTo>
                      <a:pt x="167" y="66"/>
                    </a:lnTo>
                    <a:lnTo>
                      <a:pt x="167" y="66"/>
                    </a:lnTo>
                    <a:lnTo>
                      <a:pt x="167" y="67"/>
                    </a:lnTo>
                    <a:lnTo>
                      <a:pt x="166" y="67"/>
                    </a:lnTo>
                    <a:lnTo>
                      <a:pt x="164" y="69"/>
                    </a:lnTo>
                    <a:lnTo>
                      <a:pt x="163" y="71"/>
                    </a:lnTo>
                    <a:lnTo>
                      <a:pt x="163" y="71"/>
                    </a:lnTo>
                    <a:lnTo>
                      <a:pt x="161" y="71"/>
                    </a:lnTo>
                    <a:lnTo>
                      <a:pt x="159" y="71"/>
                    </a:lnTo>
                    <a:lnTo>
                      <a:pt x="158" y="72"/>
                    </a:lnTo>
                    <a:lnTo>
                      <a:pt x="156" y="72"/>
                    </a:lnTo>
                    <a:lnTo>
                      <a:pt x="155" y="74"/>
                    </a:lnTo>
                    <a:lnTo>
                      <a:pt x="155" y="74"/>
                    </a:lnTo>
                    <a:lnTo>
                      <a:pt x="153" y="75"/>
                    </a:lnTo>
                    <a:lnTo>
                      <a:pt x="152" y="77"/>
                    </a:lnTo>
                    <a:lnTo>
                      <a:pt x="152" y="78"/>
                    </a:lnTo>
                    <a:lnTo>
                      <a:pt x="150" y="80"/>
                    </a:lnTo>
                    <a:lnTo>
                      <a:pt x="148" y="80"/>
                    </a:lnTo>
                    <a:lnTo>
                      <a:pt x="148" y="78"/>
                    </a:lnTo>
                    <a:lnTo>
                      <a:pt x="148" y="77"/>
                    </a:lnTo>
                    <a:lnTo>
                      <a:pt x="148" y="75"/>
                    </a:lnTo>
                    <a:lnTo>
                      <a:pt x="147" y="75"/>
                    </a:lnTo>
                    <a:lnTo>
                      <a:pt x="147" y="75"/>
                    </a:lnTo>
                    <a:lnTo>
                      <a:pt x="145" y="75"/>
                    </a:lnTo>
                    <a:lnTo>
                      <a:pt x="145" y="75"/>
                    </a:lnTo>
                    <a:lnTo>
                      <a:pt x="144" y="75"/>
                    </a:lnTo>
                    <a:lnTo>
                      <a:pt x="142" y="77"/>
                    </a:lnTo>
                    <a:lnTo>
                      <a:pt x="141" y="78"/>
                    </a:lnTo>
                    <a:lnTo>
                      <a:pt x="139" y="78"/>
                    </a:lnTo>
                    <a:lnTo>
                      <a:pt x="139" y="78"/>
                    </a:lnTo>
                    <a:lnTo>
                      <a:pt x="139" y="78"/>
                    </a:lnTo>
                    <a:lnTo>
                      <a:pt x="137" y="78"/>
                    </a:lnTo>
                    <a:lnTo>
                      <a:pt x="137" y="78"/>
                    </a:lnTo>
                    <a:lnTo>
                      <a:pt x="134" y="78"/>
                    </a:lnTo>
                    <a:lnTo>
                      <a:pt x="134" y="78"/>
                    </a:lnTo>
                    <a:lnTo>
                      <a:pt x="133" y="77"/>
                    </a:lnTo>
                    <a:lnTo>
                      <a:pt x="130" y="75"/>
                    </a:lnTo>
                    <a:lnTo>
                      <a:pt x="125" y="71"/>
                    </a:lnTo>
                    <a:lnTo>
                      <a:pt x="125" y="71"/>
                    </a:lnTo>
                    <a:lnTo>
                      <a:pt x="125" y="71"/>
                    </a:lnTo>
                    <a:lnTo>
                      <a:pt x="125" y="71"/>
                    </a:lnTo>
                    <a:lnTo>
                      <a:pt x="122" y="72"/>
                    </a:lnTo>
                    <a:lnTo>
                      <a:pt x="122" y="71"/>
                    </a:lnTo>
                    <a:lnTo>
                      <a:pt x="122" y="71"/>
                    </a:lnTo>
                    <a:lnTo>
                      <a:pt x="122" y="67"/>
                    </a:lnTo>
                    <a:lnTo>
                      <a:pt x="122" y="64"/>
                    </a:lnTo>
                    <a:lnTo>
                      <a:pt x="120" y="63"/>
                    </a:lnTo>
                    <a:lnTo>
                      <a:pt x="119" y="60"/>
                    </a:lnTo>
                    <a:lnTo>
                      <a:pt x="117" y="56"/>
                    </a:lnTo>
                    <a:lnTo>
                      <a:pt x="117" y="55"/>
                    </a:lnTo>
                    <a:lnTo>
                      <a:pt x="116" y="55"/>
                    </a:lnTo>
                    <a:lnTo>
                      <a:pt x="116" y="55"/>
                    </a:lnTo>
                    <a:lnTo>
                      <a:pt x="116" y="55"/>
                    </a:lnTo>
                    <a:lnTo>
                      <a:pt x="114" y="55"/>
                    </a:lnTo>
                    <a:lnTo>
                      <a:pt x="114" y="55"/>
                    </a:lnTo>
                    <a:lnTo>
                      <a:pt x="112" y="56"/>
                    </a:lnTo>
                    <a:lnTo>
                      <a:pt x="112" y="56"/>
                    </a:lnTo>
                    <a:lnTo>
                      <a:pt x="111" y="58"/>
                    </a:lnTo>
                    <a:lnTo>
                      <a:pt x="109" y="61"/>
                    </a:lnTo>
                    <a:lnTo>
                      <a:pt x="109" y="61"/>
                    </a:lnTo>
                    <a:lnTo>
                      <a:pt x="108" y="61"/>
                    </a:lnTo>
                    <a:lnTo>
                      <a:pt x="106" y="61"/>
                    </a:lnTo>
                    <a:lnTo>
                      <a:pt x="106" y="61"/>
                    </a:lnTo>
                    <a:lnTo>
                      <a:pt x="105" y="61"/>
                    </a:lnTo>
                    <a:lnTo>
                      <a:pt x="105" y="60"/>
                    </a:lnTo>
                    <a:lnTo>
                      <a:pt x="103" y="58"/>
                    </a:lnTo>
                    <a:lnTo>
                      <a:pt x="102" y="56"/>
                    </a:lnTo>
                    <a:lnTo>
                      <a:pt x="102" y="58"/>
                    </a:lnTo>
                    <a:lnTo>
                      <a:pt x="102" y="58"/>
                    </a:lnTo>
                    <a:lnTo>
                      <a:pt x="102" y="58"/>
                    </a:lnTo>
                    <a:lnTo>
                      <a:pt x="102" y="60"/>
                    </a:lnTo>
                    <a:lnTo>
                      <a:pt x="102" y="61"/>
                    </a:lnTo>
                    <a:lnTo>
                      <a:pt x="103" y="61"/>
                    </a:lnTo>
                    <a:lnTo>
                      <a:pt x="102" y="61"/>
                    </a:lnTo>
                    <a:lnTo>
                      <a:pt x="102" y="61"/>
                    </a:lnTo>
                    <a:lnTo>
                      <a:pt x="83" y="61"/>
                    </a:lnTo>
                    <a:lnTo>
                      <a:pt x="81" y="61"/>
                    </a:lnTo>
                    <a:lnTo>
                      <a:pt x="80" y="61"/>
                    </a:lnTo>
                    <a:lnTo>
                      <a:pt x="78" y="61"/>
                    </a:lnTo>
                    <a:lnTo>
                      <a:pt x="78" y="61"/>
                    </a:lnTo>
                    <a:lnTo>
                      <a:pt x="78" y="61"/>
                    </a:lnTo>
                    <a:lnTo>
                      <a:pt x="77" y="61"/>
                    </a:lnTo>
                    <a:lnTo>
                      <a:pt x="75" y="61"/>
                    </a:lnTo>
                    <a:lnTo>
                      <a:pt x="75" y="61"/>
                    </a:lnTo>
                    <a:lnTo>
                      <a:pt x="73" y="63"/>
                    </a:lnTo>
                    <a:lnTo>
                      <a:pt x="73" y="63"/>
                    </a:lnTo>
                    <a:lnTo>
                      <a:pt x="73" y="69"/>
                    </a:lnTo>
                    <a:lnTo>
                      <a:pt x="73" y="74"/>
                    </a:lnTo>
                    <a:lnTo>
                      <a:pt x="73" y="74"/>
                    </a:lnTo>
                    <a:lnTo>
                      <a:pt x="75" y="74"/>
                    </a:lnTo>
                    <a:lnTo>
                      <a:pt x="75" y="74"/>
                    </a:lnTo>
                    <a:lnTo>
                      <a:pt x="77" y="74"/>
                    </a:lnTo>
                    <a:lnTo>
                      <a:pt x="78" y="74"/>
                    </a:lnTo>
                    <a:lnTo>
                      <a:pt x="78" y="74"/>
                    </a:lnTo>
                    <a:lnTo>
                      <a:pt x="80" y="74"/>
                    </a:lnTo>
                    <a:lnTo>
                      <a:pt x="80" y="74"/>
                    </a:lnTo>
                    <a:lnTo>
                      <a:pt x="81" y="74"/>
                    </a:lnTo>
                    <a:lnTo>
                      <a:pt x="81" y="74"/>
                    </a:lnTo>
                    <a:lnTo>
                      <a:pt x="81" y="74"/>
                    </a:lnTo>
                    <a:lnTo>
                      <a:pt x="81" y="74"/>
                    </a:lnTo>
                    <a:lnTo>
                      <a:pt x="83" y="74"/>
                    </a:lnTo>
                    <a:lnTo>
                      <a:pt x="83" y="74"/>
                    </a:lnTo>
                    <a:lnTo>
                      <a:pt x="84" y="75"/>
                    </a:lnTo>
                    <a:lnTo>
                      <a:pt x="84" y="77"/>
                    </a:lnTo>
                    <a:lnTo>
                      <a:pt x="84" y="77"/>
                    </a:lnTo>
                    <a:lnTo>
                      <a:pt x="84" y="78"/>
                    </a:lnTo>
                    <a:lnTo>
                      <a:pt x="84" y="80"/>
                    </a:lnTo>
                    <a:lnTo>
                      <a:pt x="84" y="80"/>
                    </a:lnTo>
                    <a:lnTo>
                      <a:pt x="86" y="80"/>
                    </a:lnTo>
                    <a:lnTo>
                      <a:pt x="86" y="80"/>
                    </a:lnTo>
                    <a:lnTo>
                      <a:pt x="84" y="80"/>
                    </a:lnTo>
                    <a:lnTo>
                      <a:pt x="84" y="81"/>
                    </a:lnTo>
                    <a:lnTo>
                      <a:pt x="84" y="81"/>
                    </a:lnTo>
                    <a:lnTo>
                      <a:pt x="84" y="81"/>
                    </a:lnTo>
                    <a:lnTo>
                      <a:pt x="84" y="81"/>
                    </a:lnTo>
                    <a:lnTo>
                      <a:pt x="83" y="81"/>
                    </a:lnTo>
                    <a:lnTo>
                      <a:pt x="83" y="81"/>
                    </a:lnTo>
                    <a:lnTo>
                      <a:pt x="83" y="80"/>
                    </a:lnTo>
                    <a:lnTo>
                      <a:pt x="83" y="80"/>
                    </a:lnTo>
                    <a:lnTo>
                      <a:pt x="83" y="80"/>
                    </a:lnTo>
                    <a:lnTo>
                      <a:pt x="81" y="80"/>
                    </a:lnTo>
                    <a:lnTo>
                      <a:pt x="81" y="80"/>
                    </a:lnTo>
                    <a:lnTo>
                      <a:pt x="81" y="80"/>
                    </a:lnTo>
                    <a:lnTo>
                      <a:pt x="81" y="80"/>
                    </a:lnTo>
                    <a:lnTo>
                      <a:pt x="80" y="80"/>
                    </a:lnTo>
                    <a:lnTo>
                      <a:pt x="80" y="80"/>
                    </a:lnTo>
                    <a:lnTo>
                      <a:pt x="78" y="80"/>
                    </a:lnTo>
                    <a:lnTo>
                      <a:pt x="78" y="80"/>
                    </a:lnTo>
                    <a:lnTo>
                      <a:pt x="78" y="80"/>
                    </a:lnTo>
                    <a:lnTo>
                      <a:pt x="77" y="80"/>
                    </a:lnTo>
                    <a:lnTo>
                      <a:pt x="77" y="80"/>
                    </a:lnTo>
                    <a:lnTo>
                      <a:pt x="77" y="80"/>
                    </a:lnTo>
                    <a:lnTo>
                      <a:pt x="75" y="80"/>
                    </a:lnTo>
                    <a:lnTo>
                      <a:pt x="75" y="80"/>
                    </a:lnTo>
                    <a:lnTo>
                      <a:pt x="75" y="80"/>
                    </a:lnTo>
                    <a:lnTo>
                      <a:pt x="75" y="81"/>
                    </a:lnTo>
                    <a:lnTo>
                      <a:pt x="73" y="81"/>
                    </a:lnTo>
                    <a:lnTo>
                      <a:pt x="73" y="81"/>
                    </a:lnTo>
                    <a:lnTo>
                      <a:pt x="73" y="81"/>
                    </a:lnTo>
                    <a:lnTo>
                      <a:pt x="73" y="81"/>
                    </a:lnTo>
                    <a:lnTo>
                      <a:pt x="72" y="81"/>
                    </a:lnTo>
                    <a:lnTo>
                      <a:pt x="72" y="81"/>
                    </a:lnTo>
                    <a:lnTo>
                      <a:pt x="70" y="81"/>
                    </a:lnTo>
                    <a:lnTo>
                      <a:pt x="69" y="81"/>
                    </a:lnTo>
                    <a:lnTo>
                      <a:pt x="69" y="81"/>
                    </a:lnTo>
                    <a:lnTo>
                      <a:pt x="69" y="85"/>
                    </a:lnTo>
                    <a:lnTo>
                      <a:pt x="69" y="89"/>
                    </a:lnTo>
                    <a:lnTo>
                      <a:pt x="69" y="91"/>
                    </a:lnTo>
                    <a:lnTo>
                      <a:pt x="69" y="94"/>
                    </a:lnTo>
                    <a:lnTo>
                      <a:pt x="70" y="96"/>
                    </a:lnTo>
                    <a:lnTo>
                      <a:pt x="72" y="97"/>
                    </a:lnTo>
                    <a:lnTo>
                      <a:pt x="73" y="99"/>
                    </a:lnTo>
                    <a:lnTo>
                      <a:pt x="75" y="100"/>
                    </a:lnTo>
                    <a:lnTo>
                      <a:pt x="75" y="100"/>
                    </a:lnTo>
                    <a:lnTo>
                      <a:pt x="77" y="100"/>
                    </a:lnTo>
                    <a:lnTo>
                      <a:pt x="77" y="100"/>
                    </a:lnTo>
                    <a:lnTo>
                      <a:pt x="77" y="100"/>
                    </a:lnTo>
                    <a:lnTo>
                      <a:pt x="77" y="102"/>
                    </a:lnTo>
                    <a:lnTo>
                      <a:pt x="78" y="102"/>
                    </a:lnTo>
                    <a:lnTo>
                      <a:pt x="78" y="103"/>
                    </a:lnTo>
                    <a:lnTo>
                      <a:pt x="78" y="103"/>
                    </a:lnTo>
                    <a:lnTo>
                      <a:pt x="77" y="105"/>
                    </a:lnTo>
                    <a:lnTo>
                      <a:pt x="77" y="105"/>
                    </a:lnTo>
                    <a:lnTo>
                      <a:pt x="78" y="107"/>
                    </a:lnTo>
                    <a:lnTo>
                      <a:pt x="78" y="107"/>
                    </a:lnTo>
                    <a:lnTo>
                      <a:pt x="78" y="107"/>
                    </a:lnTo>
                    <a:lnTo>
                      <a:pt x="78" y="108"/>
                    </a:lnTo>
                    <a:lnTo>
                      <a:pt x="78" y="108"/>
                    </a:lnTo>
                    <a:lnTo>
                      <a:pt x="80" y="108"/>
                    </a:lnTo>
                    <a:lnTo>
                      <a:pt x="80" y="108"/>
                    </a:lnTo>
                    <a:lnTo>
                      <a:pt x="80" y="110"/>
                    </a:lnTo>
                    <a:lnTo>
                      <a:pt x="80" y="110"/>
                    </a:lnTo>
                    <a:lnTo>
                      <a:pt x="80" y="111"/>
                    </a:lnTo>
                    <a:lnTo>
                      <a:pt x="80" y="111"/>
                    </a:lnTo>
                    <a:lnTo>
                      <a:pt x="81" y="113"/>
                    </a:lnTo>
                    <a:lnTo>
                      <a:pt x="81" y="113"/>
                    </a:lnTo>
                    <a:lnTo>
                      <a:pt x="81" y="114"/>
                    </a:lnTo>
                    <a:lnTo>
                      <a:pt x="80" y="117"/>
                    </a:lnTo>
                    <a:lnTo>
                      <a:pt x="80" y="121"/>
                    </a:lnTo>
                    <a:lnTo>
                      <a:pt x="80" y="122"/>
                    </a:lnTo>
                    <a:lnTo>
                      <a:pt x="78" y="127"/>
                    </a:lnTo>
                    <a:lnTo>
                      <a:pt x="78" y="132"/>
                    </a:lnTo>
                    <a:lnTo>
                      <a:pt x="77" y="138"/>
                    </a:lnTo>
                    <a:lnTo>
                      <a:pt x="75" y="144"/>
                    </a:lnTo>
                    <a:lnTo>
                      <a:pt x="73" y="150"/>
                    </a:lnTo>
                    <a:lnTo>
                      <a:pt x="73" y="155"/>
                    </a:lnTo>
                    <a:lnTo>
                      <a:pt x="72" y="161"/>
                    </a:lnTo>
                    <a:lnTo>
                      <a:pt x="72" y="166"/>
                    </a:lnTo>
                    <a:lnTo>
                      <a:pt x="70" y="166"/>
                    </a:lnTo>
                    <a:lnTo>
                      <a:pt x="70" y="168"/>
                    </a:lnTo>
                    <a:lnTo>
                      <a:pt x="70" y="168"/>
                    </a:lnTo>
                    <a:lnTo>
                      <a:pt x="70" y="168"/>
                    </a:lnTo>
                    <a:lnTo>
                      <a:pt x="69" y="168"/>
                    </a:lnTo>
                    <a:lnTo>
                      <a:pt x="69" y="168"/>
                    </a:lnTo>
                    <a:lnTo>
                      <a:pt x="69" y="168"/>
                    </a:lnTo>
                    <a:lnTo>
                      <a:pt x="67" y="168"/>
                    </a:lnTo>
                    <a:lnTo>
                      <a:pt x="66" y="168"/>
                    </a:lnTo>
                    <a:lnTo>
                      <a:pt x="66" y="166"/>
                    </a:lnTo>
                    <a:lnTo>
                      <a:pt x="64" y="164"/>
                    </a:lnTo>
                    <a:lnTo>
                      <a:pt x="64" y="164"/>
                    </a:lnTo>
                    <a:lnTo>
                      <a:pt x="61" y="164"/>
                    </a:lnTo>
                    <a:lnTo>
                      <a:pt x="59" y="164"/>
                    </a:lnTo>
                    <a:lnTo>
                      <a:pt x="59" y="164"/>
                    </a:lnTo>
                    <a:lnTo>
                      <a:pt x="58" y="164"/>
                    </a:lnTo>
                    <a:lnTo>
                      <a:pt x="56" y="164"/>
                    </a:lnTo>
                    <a:lnTo>
                      <a:pt x="55" y="166"/>
                    </a:lnTo>
                    <a:lnTo>
                      <a:pt x="55" y="168"/>
                    </a:lnTo>
                    <a:lnTo>
                      <a:pt x="55" y="168"/>
                    </a:lnTo>
                    <a:lnTo>
                      <a:pt x="53" y="168"/>
                    </a:lnTo>
                    <a:lnTo>
                      <a:pt x="53" y="168"/>
                    </a:lnTo>
                    <a:lnTo>
                      <a:pt x="50" y="169"/>
                    </a:lnTo>
                    <a:lnTo>
                      <a:pt x="48" y="169"/>
                    </a:lnTo>
                    <a:lnTo>
                      <a:pt x="48" y="169"/>
                    </a:lnTo>
                    <a:lnTo>
                      <a:pt x="47" y="169"/>
                    </a:lnTo>
                    <a:lnTo>
                      <a:pt x="45" y="169"/>
                    </a:lnTo>
                    <a:lnTo>
                      <a:pt x="45" y="169"/>
                    </a:lnTo>
                    <a:lnTo>
                      <a:pt x="44" y="171"/>
                    </a:lnTo>
                    <a:lnTo>
                      <a:pt x="44" y="171"/>
                    </a:lnTo>
                    <a:lnTo>
                      <a:pt x="41" y="171"/>
                    </a:lnTo>
                    <a:lnTo>
                      <a:pt x="37" y="171"/>
                    </a:lnTo>
                    <a:lnTo>
                      <a:pt x="36" y="171"/>
                    </a:lnTo>
                    <a:lnTo>
                      <a:pt x="36" y="172"/>
                    </a:lnTo>
                    <a:lnTo>
                      <a:pt x="36" y="172"/>
                    </a:lnTo>
                    <a:lnTo>
                      <a:pt x="34" y="174"/>
                    </a:lnTo>
                    <a:lnTo>
                      <a:pt x="31" y="175"/>
                    </a:lnTo>
                    <a:lnTo>
                      <a:pt x="30" y="175"/>
                    </a:lnTo>
                    <a:lnTo>
                      <a:pt x="30" y="175"/>
                    </a:lnTo>
                    <a:lnTo>
                      <a:pt x="26" y="177"/>
                    </a:lnTo>
                    <a:lnTo>
                      <a:pt x="26" y="177"/>
                    </a:lnTo>
                    <a:lnTo>
                      <a:pt x="25" y="180"/>
                    </a:lnTo>
                    <a:lnTo>
                      <a:pt x="23" y="180"/>
                    </a:lnTo>
                    <a:lnTo>
                      <a:pt x="23" y="180"/>
                    </a:lnTo>
                    <a:lnTo>
                      <a:pt x="20" y="182"/>
                    </a:lnTo>
                    <a:lnTo>
                      <a:pt x="20" y="182"/>
                    </a:lnTo>
                    <a:lnTo>
                      <a:pt x="19" y="182"/>
                    </a:lnTo>
                    <a:lnTo>
                      <a:pt x="20" y="183"/>
                    </a:lnTo>
                    <a:lnTo>
                      <a:pt x="19" y="185"/>
                    </a:lnTo>
                    <a:lnTo>
                      <a:pt x="19" y="188"/>
                    </a:lnTo>
                    <a:lnTo>
                      <a:pt x="19" y="189"/>
                    </a:lnTo>
                    <a:lnTo>
                      <a:pt x="19" y="191"/>
                    </a:lnTo>
                    <a:lnTo>
                      <a:pt x="17" y="193"/>
                    </a:lnTo>
                    <a:lnTo>
                      <a:pt x="17" y="193"/>
                    </a:lnTo>
                    <a:lnTo>
                      <a:pt x="16" y="196"/>
                    </a:lnTo>
                    <a:lnTo>
                      <a:pt x="14" y="197"/>
                    </a:lnTo>
                    <a:lnTo>
                      <a:pt x="14" y="199"/>
                    </a:lnTo>
                    <a:lnTo>
                      <a:pt x="14" y="199"/>
                    </a:lnTo>
                    <a:lnTo>
                      <a:pt x="16" y="202"/>
                    </a:lnTo>
                    <a:lnTo>
                      <a:pt x="16" y="204"/>
                    </a:lnTo>
                    <a:lnTo>
                      <a:pt x="16" y="204"/>
                    </a:lnTo>
                    <a:lnTo>
                      <a:pt x="16" y="205"/>
                    </a:lnTo>
                    <a:lnTo>
                      <a:pt x="14" y="207"/>
                    </a:lnTo>
                    <a:lnTo>
                      <a:pt x="14" y="207"/>
                    </a:lnTo>
                    <a:lnTo>
                      <a:pt x="14" y="207"/>
                    </a:lnTo>
                    <a:lnTo>
                      <a:pt x="12" y="207"/>
                    </a:lnTo>
                    <a:lnTo>
                      <a:pt x="12" y="207"/>
                    </a:lnTo>
                    <a:lnTo>
                      <a:pt x="9" y="208"/>
                    </a:lnTo>
                    <a:lnTo>
                      <a:pt x="6" y="211"/>
                    </a:lnTo>
                    <a:lnTo>
                      <a:pt x="5" y="213"/>
                    </a:lnTo>
                    <a:lnTo>
                      <a:pt x="5" y="215"/>
                    </a:lnTo>
                    <a:lnTo>
                      <a:pt x="3" y="216"/>
                    </a:lnTo>
                    <a:lnTo>
                      <a:pt x="3" y="216"/>
                    </a:lnTo>
                    <a:lnTo>
                      <a:pt x="5" y="218"/>
                    </a:lnTo>
                    <a:lnTo>
                      <a:pt x="5" y="219"/>
                    </a:lnTo>
                    <a:lnTo>
                      <a:pt x="5" y="219"/>
                    </a:lnTo>
                    <a:lnTo>
                      <a:pt x="5" y="221"/>
                    </a:lnTo>
                    <a:lnTo>
                      <a:pt x="5" y="221"/>
                    </a:lnTo>
                    <a:lnTo>
                      <a:pt x="5" y="221"/>
                    </a:lnTo>
                    <a:lnTo>
                      <a:pt x="3" y="221"/>
                    </a:lnTo>
                    <a:lnTo>
                      <a:pt x="3" y="221"/>
                    </a:lnTo>
                    <a:lnTo>
                      <a:pt x="1" y="221"/>
                    </a:lnTo>
                    <a:lnTo>
                      <a:pt x="1" y="221"/>
                    </a:lnTo>
                    <a:lnTo>
                      <a:pt x="1" y="221"/>
                    </a:lnTo>
                    <a:lnTo>
                      <a:pt x="1" y="221"/>
                    </a:lnTo>
                    <a:lnTo>
                      <a:pt x="1" y="222"/>
                    </a:lnTo>
                    <a:lnTo>
                      <a:pt x="1" y="222"/>
                    </a:lnTo>
                    <a:lnTo>
                      <a:pt x="1" y="224"/>
                    </a:lnTo>
                    <a:lnTo>
                      <a:pt x="1" y="224"/>
                    </a:lnTo>
                    <a:lnTo>
                      <a:pt x="0" y="224"/>
                    </a:lnTo>
                    <a:lnTo>
                      <a:pt x="0" y="224"/>
                    </a:lnTo>
                    <a:lnTo>
                      <a:pt x="0" y="224"/>
                    </a:lnTo>
                    <a:lnTo>
                      <a:pt x="1" y="225"/>
                    </a:lnTo>
                    <a:lnTo>
                      <a:pt x="1" y="225"/>
                    </a:lnTo>
                    <a:lnTo>
                      <a:pt x="1" y="225"/>
                    </a:lnTo>
                    <a:lnTo>
                      <a:pt x="3" y="227"/>
                    </a:lnTo>
                    <a:lnTo>
                      <a:pt x="5" y="227"/>
                    </a:lnTo>
                    <a:lnTo>
                      <a:pt x="5" y="227"/>
                    </a:lnTo>
                    <a:lnTo>
                      <a:pt x="5" y="229"/>
                    </a:lnTo>
                    <a:lnTo>
                      <a:pt x="5" y="229"/>
                    </a:lnTo>
                    <a:lnTo>
                      <a:pt x="5" y="230"/>
                    </a:lnTo>
                    <a:lnTo>
                      <a:pt x="5" y="230"/>
                    </a:lnTo>
                    <a:lnTo>
                      <a:pt x="5" y="230"/>
                    </a:lnTo>
                    <a:lnTo>
                      <a:pt x="5" y="230"/>
                    </a:lnTo>
                    <a:lnTo>
                      <a:pt x="5" y="232"/>
                    </a:lnTo>
                    <a:lnTo>
                      <a:pt x="6" y="232"/>
                    </a:lnTo>
                    <a:lnTo>
                      <a:pt x="6" y="233"/>
                    </a:lnTo>
                    <a:lnTo>
                      <a:pt x="8" y="235"/>
                    </a:lnTo>
                    <a:lnTo>
                      <a:pt x="8" y="235"/>
                    </a:lnTo>
                    <a:lnTo>
                      <a:pt x="8" y="236"/>
                    </a:lnTo>
                    <a:lnTo>
                      <a:pt x="8" y="238"/>
                    </a:lnTo>
                    <a:lnTo>
                      <a:pt x="8" y="238"/>
                    </a:lnTo>
                    <a:lnTo>
                      <a:pt x="9" y="240"/>
                    </a:lnTo>
                    <a:lnTo>
                      <a:pt x="9" y="240"/>
                    </a:lnTo>
                    <a:lnTo>
                      <a:pt x="11" y="240"/>
                    </a:lnTo>
                    <a:lnTo>
                      <a:pt x="11" y="241"/>
                    </a:lnTo>
                    <a:lnTo>
                      <a:pt x="11" y="241"/>
                    </a:lnTo>
                    <a:lnTo>
                      <a:pt x="11" y="243"/>
                    </a:lnTo>
                    <a:lnTo>
                      <a:pt x="12" y="244"/>
                    </a:lnTo>
                    <a:lnTo>
                      <a:pt x="14" y="244"/>
                    </a:lnTo>
                    <a:lnTo>
                      <a:pt x="14" y="244"/>
                    </a:lnTo>
                    <a:lnTo>
                      <a:pt x="16" y="246"/>
                    </a:lnTo>
                    <a:lnTo>
                      <a:pt x="17" y="247"/>
                    </a:lnTo>
                    <a:lnTo>
                      <a:pt x="19" y="249"/>
                    </a:lnTo>
                    <a:lnTo>
                      <a:pt x="19" y="252"/>
                    </a:lnTo>
                    <a:lnTo>
                      <a:pt x="16" y="254"/>
                    </a:lnTo>
                    <a:lnTo>
                      <a:pt x="14" y="257"/>
                    </a:lnTo>
                    <a:lnTo>
                      <a:pt x="17" y="257"/>
                    </a:lnTo>
                    <a:lnTo>
                      <a:pt x="20" y="257"/>
                    </a:lnTo>
                    <a:lnTo>
                      <a:pt x="25" y="258"/>
                    </a:lnTo>
                    <a:lnTo>
                      <a:pt x="25" y="258"/>
                    </a:lnTo>
                    <a:lnTo>
                      <a:pt x="26" y="258"/>
                    </a:lnTo>
                    <a:lnTo>
                      <a:pt x="28" y="258"/>
                    </a:lnTo>
                    <a:lnTo>
                      <a:pt x="30" y="260"/>
                    </a:lnTo>
                    <a:lnTo>
                      <a:pt x="30" y="261"/>
                    </a:lnTo>
                    <a:lnTo>
                      <a:pt x="31" y="261"/>
                    </a:lnTo>
                    <a:lnTo>
                      <a:pt x="31" y="263"/>
                    </a:lnTo>
                    <a:lnTo>
                      <a:pt x="33" y="265"/>
                    </a:lnTo>
                    <a:lnTo>
                      <a:pt x="33" y="266"/>
                    </a:lnTo>
                    <a:lnTo>
                      <a:pt x="33" y="268"/>
                    </a:lnTo>
                    <a:lnTo>
                      <a:pt x="42" y="268"/>
                    </a:lnTo>
                    <a:lnTo>
                      <a:pt x="47" y="268"/>
                    </a:lnTo>
                    <a:lnTo>
                      <a:pt x="48" y="266"/>
                    </a:lnTo>
                    <a:lnTo>
                      <a:pt x="48" y="266"/>
                    </a:lnTo>
                    <a:lnTo>
                      <a:pt x="51" y="265"/>
                    </a:lnTo>
                    <a:lnTo>
                      <a:pt x="51" y="265"/>
                    </a:lnTo>
                    <a:lnTo>
                      <a:pt x="53" y="263"/>
                    </a:lnTo>
                    <a:lnTo>
                      <a:pt x="53" y="263"/>
                    </a:lnTo>
                    <a:lnTo>
                      <a:pt x="55" y="261"/>
                    </a:lnTo>
                    <a:lnTo>
                      <a:pt x="56" y="261"/>
                    </a:lnTo>
                    <a:lnTo>
                      <a:pt x="56" y="260"/>
                    </a:lnTo>
                    <a:lnTo>
                      <a:pt x="58" y="258"/>
                    </a:lnTo>
                    <a:lnTo>
                      <a:pt x="59" y="258"/>
                    </a:lnTo>
                    <a:lnTo>
                      <a:pt x="59" y="258"/>
                    </a:lnTo>
                    <a:lnTo>
                      <a:pt x="59" y="258"/>
                    </a:lnTo>
                    <a:lnTo>
                      <a:pt x="61" y="257"/>
                    </a:lnTo>
                    <a:lnTo>
                      <a:pt x="61" y="257"/>
                    </a:lnTo>
                    <a:lnTo>
                      <a:pt x="61" y="257"/>
                    </a:lnTo>
                    <a:lnTo>
                      <a:pt x="61" y="258"/>
                    </a:lnTo>
                    <a:lnTo>
                      <a:pt x="59" y="260"/>
                    </a:lnTo>
                    <a:lnTo>
                      <a:pt x="59" y="260"/>
                    </a:lnTo>
                    <a:lnTo>
                      <a:pt x="61" y="261"/>
                    </a:lnTo>
                    <a:lnTo>
                      <a:pt x="59" y="263"/>
                    </a:lnTo>
                    <a:lnTo>
                      <a:pt x="59" y="265"/>
                    </a:lnTo>
                    <a:lnTo>
                      <a:pt x="59" y="266"/>
                    </a:lnTo>
                    <a:lnTo>
                      <a:pt x="59" y="271"/>
                    </a:lnTo>
                    <a:lnTo>
                      <a:pt x="59" y="282"/>
                    </a:lnTo>
                    <a:lnTo>
                      <a:pt x="59" y="285"/>
                    </a:lnTo>
                    <a:lnTo>
                      <a:pt x="59" y="285"/>
                    </a:lnTo>
                    <a:lnTo>
                      <a:pt x="59" y="285"/>
                    </a:lnTo>
                    <a:lnTo>
                      <a:pt x="61" y="285"/>
                    </a:lnTo>
                    <a:lnTo>
                      <a:pt x="61" y="283"/>
                    </a:lnTo>
                    <a:lnTo>
                      <a:pt x="62" y="285"/>
                    </a:lnTo>
                    <a:lnTo>
                      <a:pt x="64" y="286"/>
                    </a:lnTo>
                    <a:lnTo>
                      <a:pt x="64" y="286"/>
                    </a:lnTo>
                    <a:lnTo>
                      <a:pt x="66" y="286"/>
                    </a:lnTo>
                    <a:lnTo>
                      <a:pt x="67" y="286"/>
                    </a:lnTo>
                    <a:lnTo>
                      <a:pt x="67" y="286"/>
                    </a:lnTo>
                    <a:lnTo>
                      <a:pt x="69" y="285"/>
                    </a:lnTo>
                    <a:lnTo>
                      <a:pt x="69" y="285"/>
                    </a:lnTo>
                    <a:lnTo>
                      <a:pt x="70" y="283"/>
                    </a:lnTo>
                    <a:lnTo>
                      <a:pt x="72" y="283"/>
                    </a:lnTo>
                    <a:lnTo>
                      <a:pt x="73" y="283"/>
                    </a:lnTo>
                    <a:lnTo>
                      <a:pt x="77" y="285"/>
                    </a:lnTo>
                    <a:lnTo>
                      <a:pt x="78" y="285"/>
                    </a:lnTo>
                    <a:lnTo>
                      <a:pt x="80" y="285"/>
                    </a:lnTo>
                    <a:lnTo>
                      <a:pt x="84" y="285"/>
                    </a:lnTo>
                    <a:lnTo>
                      <a:pt x="87" y="285"/>
                    </a:lnTo>
                    <a:lnTo>
                      <a:pt x="91" y="285"/>
                    </a:lnTo>
                    <a:lnTo>
                      <a:pt x="92" y="286"/>
                    </a:lnTo>
                    <a:lnTo>
                      <a:pt x="92" y="286"/>
                    </a:lnTo>
                    <a:lnTo>
                      <a:pt x="92" y="286"/>
                    </a:lnTo>
                    <a:lnTo>
                      <a:pt x="94" y="286"/>
                    </a:lnTo>
                    <a:lnTo>
                      <a:pt x="94" y="286"/>
                    </a:lnTo>
                    <a:lnTo>
                      <a:pt x="95" y="286"/>
                    </a:lnTo>
                    <a:lnTo>
                      <a:pt x="95" y="286"/>
                    </a:lnTo>
                    <a:lnTo>
                      <a:pt x="97" y="286"/>
                    </a:lnTo>
                    <a:lnTo>
                      <a:pt x="98" y="285"/>
                    </a:lnTo>
                    <a:lnTo>
                      <a:pt x="100" y="285"/>
                    </a:lnTo>
                    <a:lnTo>
                      <a:pt x="100" y="285"/>
                    </a:lnTo>
                    <a:lnTo>
                      <a:pt x="102" y="283"/>
                    </a:lnTo>
                    <a:lnTo>
                      <a:pt x="103" y="282"/>
                    </a:lnTo>
                    <a:lnTo>
                      <a:pt x="105" y="280"/>
                    </a:lnTo>
                    <a:lnTo>
                      <a:pt x="106" y="279"/>
                    </a:lnTo>
                    <a:lnTo>
                      <a:pt x="108" y="279"/>
                    </a:lnTo>
                    <a:lnTo>
                      <a:pt x="108" y="279"/>
                    </a:lnTo>
                    <a:lnTo>
                      <a:pt x="109" y="280"/>
                    </a:lnTo>
                    <a:lnTo>
                      <a:pt x="111" y="279"/>
                    </a:lnTo>
                    <a:lnTo>
                      <a:pt x="111" y="279"/>
                    </a:lnTo>
                    <a:lnTo>
                      <a:pt x="111" y="279"/>
                    </a:lnTo>
                    <a:lnTo>
                      <a:pt x="112" y="276"/>
                    </a:lnTo>
                    <a:lnTo>
                      <a:pt x="116" y="274"/>
                    </a:lnTo>
                    <a:lnTo>
                      <a:pt x="117" y="274"/>
                    </a:lnTo>
                    <a:lnTo>
                      <a:pt x="119" y="272"/>
                    </a:lnTo>
                    <a:lnTo>
                      <a:pt x="120" y="272"/>
                    </a:lnTo>
                    <a:lnTo>
                      <a:pt x="120" y="272"/>
                    </a:lnTo>
                    <a:lnTo>
                      <a:pt x="120" y="272"/>
                    </a:lnTo>
                    <a:lnTo>
                      <a:pt x="128" y="266"/>
                    </a:lnTo>
                    <a:lnTo>
                      <a:pt x="130" y="266"/>
                    </a:lnTo>
                    <a:lnTo>
                      <a:pt x="131" y="266"/>
                    </a:lnTo>
                    <a:lnTo>
                      <a:pt x="133" y="265"/>
                    </a:lnTo>
                    <a:lnTo>
                      <a:pt x="133" y="265"/>
                    </a:lnTo>
                    <a:lnTo>
                      <a:pt x="136" y="265"/>
                    </a:lnTo>
                    <a:lnTo>
                      <a:pt x="136" y="265"/>
                    </a:lnTo>
                    <a:lnTo>
                      <a:pt x="139" y="265"/>
                    </a:lnTo>
                    <a:lnTo>
                      <a:pt x="141" y="263"/>
                    </a:lnTo>
                    <a:lnTo>
                      <a:pt x="142" y="263"/>
                    </a:lnTo>
                    <a:lnTo>
                      <a:pt x="142" y="263"/>
                    </a:lnTo>
                    <a:lnTo>
                      <a:pt x="145" y="263"/>
                    </a:lnTo>
                    <a:lnTo>
                      <a:pt x="147" y="265"/>
                    </a:lnTo>
                    <a:lnTo>
                      <a:pt x="147" y="265"/>
                    </a:lnTo>
                    <a:lnTo>
                      <a:pt x="147" y="265"/>
                    </a:lnTo>
                    <a:lnTo>
                      <a:pt x="147" y="265"/>
                    </a:lnTo>
                    <a:lnTo>
                      <a:pt x="148" y="263"/>
                    </a:lnTo>
                    <a:lnTo>
                      <a:pt x="148" y="263"/>
                    </a:lnTo>
                    <a:lnTo>
                      <a:pt x="150" y="263"/>
                    </a:lnTo>
                    <a:lnTo>
                      <a:pt x="150" y="261"/>
                    </a:lnTo>
                    <a:lnTo>
                      <a:pt x="152" y="261"/>
                    </a:lnTo>
                    <a:lnTo>
                      <a:pt x="152" y="263"/>
                    </a:lnTo>
                    <a:lnTo>
                      <a:pt x="153" y="265"/>
                    </a:lnTo>
                    <a:lnTo>
                      <a:pt x="153" y="266"/>
                    </a:lnTo>
                    <a:lnTo>
                      <a:pt x="153" y="268"/>
                    </a:lnTo>
                    <a:lnTo>
                      <a:pt x="153" y="269"/>
                    </a:lnTo>
                    <a:lnTo>
                      <a:pt x="153" y="272"/>
                    </a:lnTo>
                    <a:lnTo>
                      <a:pt x="152" y="274"/>
                    </a:lnTo>
                    <a:lnTo>
                      <a:pt x="150" y="276"/>
                    </a:lnTo>
                    <a:lnTo>
                      <a:pt x="150" y="276"/>
                    </a:lnTo>
                    <a:lnTo>
                      <a:pt x="150" y="277"/>
                    </a:lnTo>
                    <a:lnTo>
                      <a:pt x="152" y="280"/>
                    </a:lnTo>
                    <a:lnTo>
                      <a:pt x="152" y="283"/>
                    </a:lnTo>
                    <a:lnTo>
                      <a:pt x="153" y="285"/>
                    </a:lnTo>
                    <a:lnTo>
                      <a:pt x="152" y="286"/>
                    </a:lnTo>
                    <a:lnTo>
                      <a:pt x="152" y="288"/>
                    </a:lnTo>
                    <a:lnTo>
                      <a:pt x="152" y="290"/>
                    </a:lnTo>
                    <a:lnTo>
                      <a:pt x="152" y="290"/>
                    </a:lnTo>
                    <a:lnTo>
                      <a:pt x="152" y="291"/>
                    </a:lnTo>
                    <a:lnTo>
                      <a:pt x="153" y="291"/>
                    </a:lnTo>
                    <a:lnTo>
                      <a:pt x="153" y="293"/>
                    </a:lnTo>
                    <a:lnTo>
                      <a:pt x="153" y="294"/>
                    </a:lnTo>
                    <a:lnTo>
                      <a:pt x="155" y="296"/>
                    </a:lnTo>
                    <a:lnTo>
                      <a:pt x="155" y="296"/>
                    </a:lnTo>
                    <a:lnTo>
                      <a:pt x="155" y="297"/>
                    </a:lnTo>
                    <a:lnTo>
                      <a:pt x="155" y="299"/>
                    </a:lnTo>
                    <a:lnTo>
                      <a:pt x="155" y="299"/>
                    </a:lnTo>
                    <a:lnTo>
                      <a:pt x="155" y="299"/>
                    </a:lnTo>
                    <a:lnTo>
                      <a:pt x="156" y="299"/>
                    </a:lnTo>
                    <a:lnTo>
                      <a:pt x="156" y="299"/>
                    </a:lnTo>
                    <a:lnTo>
                      <a:pt x="156" y="297"/>
                    </a:lnTo>
                    <a:lnTo>
                      <a:pt x="156" y="297"/>
                    </a:lnTo>
                    <a:lnTo>
                      <a:pt x="156" y="299"/>
                    </a:lnTo>
                    <a:lnTo>
                      <a:pt x="158" y="301"/>
                    </a:lnTo>
                    <a:lnTo>
                      <a:pt x="158" y="301"/>
                    </a:lnTo>
                    <a:lnTo>
                      <a:pt x="158" y="302"/>
                    </a:lnTo>
                    <a:lnTo>
                      <a:pt x="158" y="302"/>
                    </a:lnTo>
                    <a:lnTo>
                      <a:pt x="159" y="304"/>
                    </a:lnTo>
                    <a:lnTo>
                      <a:pt x="161" y="304"/>
                    </a:lnTo>
                    <a:lnTo>
                      <a:pt x="163" y="304"/>
                    </a:lnTo>
                    <a:lnTo>
                      <a:pt x="164" y="305"/>
                    </a:lnTo>
                    <a:lnTo>
                      <a:pt x="166" y="307"/>
                    </a:lnTo>
                    <a:lnTo>
                      <a:pt x="167" y="307"/>
                    </a:lnTo>
                    <a:lnTo>
                      <a:pt x="167" y="308"/>
                    </a:lnTo>
                    <a:lnTo>
                      <a:pt x="169" y="310"/>
                    </a:lnTo>
                    <a:lnTo>
                      <a:pt x="170" y="312"/>
                    </a:lnTo>
                    <a:lnTo>
                      <a:pt x="172" y="312"/>
                    </a:lnTo>
                    <a:lnTo>
                      <a:pt x="175" y="312"/>
                    </a:lnTo>
                    <a:lnTo>
                      <a:pt x="177" y="313"/>
                    </a:lnTo>
                    <a:lnTo>
                      <a:pt x="177" y="312"/>
                    </a:lnTo>
                    <a:lnTo>
                      <a:pt x="180" y="312"/>
                    </a:lnTo>
                    <a:lnTo>
                      <a:pt x="181" y="312"/>
                    </a:lnTo>
                    <a:lnTo>
                      <a:pt x="183" y="312"/>
                    </a:lnTo>
                    <a:lnTo>
                      <a:pt x="184" y="313"/>
                    </a:lnTo>
                    <a:lnTo>
                      <a:pt x="184" y="313"/>
                    </a:lnTo>
                    <a:lnTo>
                      <a:pt x="188" y="315"/>
                    </a:lnTo>
                    <a:lnTo>
                      <a:pt x="189" y="316"/>
                    </a:lnTo>
                    <a:lnTo>
                      <a:pt x="189" y="316"/>
                    </a:lnTo>
                    <a:lnTo>
                      <a:pt x="191" y="315"/>
                    </a:lnTo>
                    <a:lnTo>
                      <a:pt x="191" y="315"/>
                    </a:lnTo>
                    <a:lnTo>
                      <a:pt x="191" y="315"/>
                    </a:lnTo>
                    <a:lnTo>
                      <a:pt x="192" y="315"/>
                    </a:lnTo>
                    <a:lnTo>
                      <a:pt x="192" y="316"/>
                    </a:lnTo>
                    <a:lnTo>
                      <a:pt x="192" y="318"/>
                    </a:lnTo>
                    <a:lnTo>
                      <a:pt x="194" y="318"/>
                    </a:lnTo>
                    <a:lnTo>
                      <a:pt x="195" y="319"/>
                    </a:lnTo>
                    <a:lnTo>
                      <a:pt x="197" y="321"/>
                    </a:lnTo>
                    <a:lnTo>
                      <a:pt x="198" y="321"/>
                    </a:lnTo>
                    <a:lnTo>
                      <a:pt x="198" y="321"/>
                    </a:lnTo>
                    <a:lnTo>
                      <a:pt x="202" y="322"/>
                    </a:lnTo>
                    <a:lnTo>
                      <a:pt x="205" y="322"/>
                    </a:lnTo>
                    <a:lnTo>
                      <a:pt x="206" y="324"/>
                    </a:lnTo>
                    <a:lnTo>
                      <a:pt x="206" y="322"/>
                    </a:lnTo>
                    <a:lnTo>
                      <a:pt x="208" y="322"/>
                    </a:lnTo>
                    <a:lnTo>
                      <a:pt x="208" y="322"/>
                    </a:lnTo>
                    <a:lnTo>
                      <a:pt x="208" y="322"/>
                    </a:lnTo>
                    <a:lnTo>
                      <a:pt x="209" y="324"/>
                    </a:lnTo>
                    <a:lnTo>
                      <a:pt x="209" y="326"/>
                    </a:lnTo>
                    <a:lnTo>
                      <a:pt x="211" y="329"/>
                    </a:lnTo>
                    <a:lnTo>
                      <a:pt x="213" y="329"/>
                    </a:lnTo>
                    <a:lnTo>
                      <a:pt x="214" y="330"/>
                    </a:lnTo>
                    <a:lnTo>
                      <a:pt x="219" y="330"/>
                    </a:lnTo>
                    <a:lnTo>
                      <a:pt x="219" y="330"/>
                    </a:lnTo>
                    <a:lnTo>
                      <a:pt x="220" y="330"/>
                    </a:lnTo>
                    <a:lnTo>
                      <a:pt x="227" y="330"/>
                    </a:lnTo>
                    <a:lnTo>
                      <a:pt x="227" y="330"/>
                    </a:lnTo>
                    <a:lnTo>
                      <a:pt x="227" y="330"/>
                    </a:lnTo>
                    <a:lnTo>
                      <a:pt x="227" y="330"/>
                    </a:lnTo>
                    <a:lnTo>
                      <a:pt x="227" y="330"/>
                    </a:lnTo>
                    <a:lnTo>
                      <a:pt x="230" y="330"/>
                    </a:lnTo>
                    <a:lnTo>
                      <a:pt x="233" y="333"/>
                    </a:lnTo>
                    <a:lnTo>
                      <a:pt x="236" y="333"/>
                    </a:lnTo>
                    <a:lnTo>
                      <a:pt x="238" y="335"/>
                    </a:lnTo>
                    <a:lnTo>
                      <a:pt x="238" y="337"/>
                    </a:lnTo>
                    <a:lnTo>
                      <a:pt x="239" y="338"/>
                    </a:lnTo>
                    <a:lnTo>
                      <a:pt x="239" y="340"/>
                    </a:lnTo>
                    <a:lnTo>
                      <a:pt x="239" y="341"/>
                    </a:lnTo>
                    <a:lnTo>
                      <a:pt x="238" y="341"/>
                    </a:lnTo>
                    <a:lnTo>
                      <a:pt x="238" y="341"/>
                    </a:lnTo>
                    <a:lnTo>
                      <a:pt x="238" y="341"/>
                    </a:lnTo>
                    <a:lnTo>
                      <a:pt x="238" y="343"/>
                    </a:lnTo>
                    <a:lnTo>
                      <a:pt x="239" y="344"/>
                    </a:lnTo>
                    <a:lnTo>
                      <a:pt x="239" y="346"/>
                    </a:lnTo>
                    <a:lnTo>
                      <a:pt x="241" y="349"/>
                    </a:lnTo>
                    <a:lnTo>
                      <a:pt x="241" y="349"/>
                    </a:lnTo>
                    <a:lnTo>
                      <a:pt x="241" y="358"/>
                    </a:lnTo>
                    <a:lnTo>
                      <a:pt x="241" y="358"/>
                    </a:lnTo>
                    <a:lnTo>
                      <a:pt x="239" y="358"/>
                    </a:lnTo>
                    <a:lnTo>
                      <a:pt x="236" y="358"/>
                    </a:lnTo>
                    <a:lnTo>
                      <a:pt x="236" y="358"/>
                    </a:lnTo>
                    <a:lnTo>
                      <a:pt x="236" y="360"/>
                    </a:lnTo>
                    <a:lnTo>
                      <a:pt x="239" y="363"/>
                    </a:lnTo>
                    <a:lnTo>
                      <a:pt x="242" y="365"/>
                    </a:lnTo>
                    <a:lnTo>
                      <a:pt x="242" y="369"/>
                    </a:lnTo>
                    <a:lnTo>
                      <a:pt x="242" y="373"/>
                    </a:lnTo>
                    <a:lnTo>
                      <a:pt x="242" y="377"/>
                    </a:lnTo>
                    <a:lnTo>
                      <a:pt x="242" y="380"/>
                    </a:lnTo>
                    <a:lnTo>
                      <a:pt x="249" y="380"/>
                    </a:lnTo>
                    <a:lnTo>
                      <a:pt x="256" y="380"/>
                    </a:lnTo>
                    <a:lnTo>
                      <a:pt x="256" y="380"/>
                    </a:lnTo>
                    <a:lnTo>
                      <a:pt x="264" y="380"/>
                    </a:lnTo>
                    <a:lnTo>
                      <a:pt x="272" y="380"/>
                    </a:lnTo>
                    <a:lnTo>
                      <a:pt x="272" y="380"/>
                    </a:lnTo>
                    <a:lnTo>
                      <a:pt x="274" y="380"/>
                    </a:lnTo>
                    <a:lnTo>
                      <a:pt x="275" y="380"/>
                    </a:lnTo>
                    <a:lnTo>
                      <a:pt x="275" y="380"/>
                    </a:lnTo>
                    <a:lnTo>
                      <a:pt x="275" y="380"/>
                    </a:lnTo>
                    <a:lnTo>
                      <a:pt x="275" y="382"/>
                    </a:lnTo>
                    <a:lnTo>
                      <a:pt x="275" y="384"/>
                    </a:lnTo>
                    <a:lnTo>
                      <a:pt x="272" y="387"/>
                    </a:lnTo>
                    <a:lnTo>
                      <a:pt x="272" y="388"/>
                    </a:lnTo>
                    <a:lnTo>
                      <a:pt x="274" y="391"/>
                    </a:lnTo>
                    <a:lnTo>
                      <a:pt x="274" y="394"/>
                    </a:lnTo>
                    <a:lnTo>
                      <a:pt x="274" y="398"/>
                    </a:lnTo>
                    <a:lnTo>
                      <a:pt x="275" y="398"/>
                    </a:lnTo>
                    <a:lnTo>
                      <a:pt x="277" y="399"/>
                    </a:lnTo>
                    <a:lnTo>
                      <a:pt x="281" y="402"/>
                    </a:lnTo>
                    <a:lnTo>
                      <a:pt x="283" y="402"/>
                    </a:lnTo>
                    <a:lnTo>
                      <a:pt x="284" y="402"/>
                    </a:lnTo>
                    <a:lnTo>
                      <a:pt x="284" y="402"/>
                    </a:lnTo>
                    <a:lnTo>
                      <a:pt x="284" y="404"/>
                    </a:lnTo>
                    <a:lnTo>
                      <a:pt x="284" y="405"/>
                    </a:lnTo>
                    <a:lnTo>
                      <a:pt x="288" y="410"/>
                    </a:lnTo>
                    <a:lnTo>
                      <a:pt x="288" y="413"/>
                    </a:lnTo>
                    <a:lnTo>
                      <a:pt x="289" y="415"/>
                    </a:lnTo>
                    <a:lnTo>
                      <a:pt x="289" y="415"/>
                    </a:lnTo>
                    <a:lnTo>
                      <a:pt x="289" y="416"/>
                    </a:lnTo>
                    <a:lnTo>
                      <a:pt x="289" y="416"/>
                    </a:lnTo>
                    <a:lnTo>
                      <a:pt x="289" y="416"/>
                    </a:lnTo>
                    <a:lnTo>
                      <a:pt x="289" y="416"/>
                    </a:lnTo>
                    <a:lnTo>
                      <a:pt x="289" y="416"/>
                    </a:lnTo>
                    <a:lnTo>
                      <a:pt x="288" y="419"/>
                    </a:lnTo>
                    <a:lnTo>
                      <a:pt x="286" y="424"/>
                    </a:lnTo>
                    <a:lnTo>
                      <a:pt x="284" y="429"/>
                    </a:lnTo>
                    <a:lnTo>
                      <a:pt x="286" y="429"/>
                    </a:lnTo>
                    <a:lnTo>
                      <a:pt x="286" y="429"/>
                    </a:lnTo>
                    <a:lnTo>
                      <a:pt x="286" y="429"/>
                    </a:lnTo>
                    <a:lnTo>
                      <a:pt x="286" y="430"/>
                    </a:lnTo>
                    <a:lnTo>
                      <a:pt x="286" y="430"/>
                    </a:lnTo>
                    <a:lnTo>
                      <a:pt x="284" y="430"/>
                    </a:lnTo>
                    <a:lnTo>
                      <a:pt x="284" y="430"/>
                    </a:lnTo>
                    <a:lnTo>
                      <a:pt x="284" y="432"/>
                    </a:lnTo>
                    <a:lnTo>
                      <a:pt x="283" y="434"/>
                    </a:lnTo>
                    <a:lnTo>
                      <a:pt x="281" y="438"/>
                    </a:lnTo>
                    <a:lnTo>
                      <a:pt x="280" y="441"/>
                    </a:lnTo>
                    <a:lnTo>
                      <a:pt x="278" y="443"/>
                    </a:lnTo>
                    <a:lnTo>
                      <a:pt x="280" y="445"/>
                    </a:lnTo>
                    <a:lnTo>
                      <a:pt x="283" y="448"/>
                    </a:lnTo>
                    <a:lnTo>
                      <a:pt x="283" y="449"/>
                    </a:lnTo>
                    <a:lnTo>
                      <a:pt x="283" y="449"/>
                    </a:lnTo>
                    <a:lnTo>
                      <a:pt x="283" y="449"/>
                    </a:lnTo>
                    <a:lnTo>
                      <a:pt x="281" y="449"/>
                    </a:lnTo>
                    <a:lnTo>
                      <a:pt x="281" y="449"/>
                    </a:lnTo>
                    <a:lnTo>
                      <a:pt x="280" y="449"/>
                    </a:lnTo>
                    <a:lnTo>
                      <a:pt x="280" y="451"/>
                    </a:lnTo>
                    <a:lnTo>
                      <a:pt x="280" y="451"/>
                    </a:lnTo>
                    <a:lnTo>
                      <a:pt x="280" y="451"/>
                    </a:lnTo>
                    <a:lnTo>
                      <a:pt x="280" y="451"/>
                    </a:lnTo>
                    <a:lnTo>
                      <a:pt x="278" y="451"/>
                    </a:lnTo>
                    <a:lnTo>
                      <a:pt x="278" y="451"/>
                    </a:lnTo>
                    <a:lnTo>
                      <a:pt x="278" y="452"/>
                    </a:lnTo>
                    <a:lnTo>
                      <a:pt x="278" y="454"/>
                    </a:lnTo>
                    <a:lnTo>
                      <a:pt x="280" y="454"/>
                    </a:lnTo>
                    <a:lnTo>
                      <a:pt x="280" y="455"/>
                    </a:lnTo>
                    <a:lnTo>
                      <a:pt x="280" y="455"/>
                    </a:lnTo>
                    <a:lnTo>
                      <a:pt x="281" y="457"/>
                    </a:lnTo>
                    <a:lnTo>
                      <a:pt x="281" y="459"/>
                    </a:lnTo>
                    <a:lnTo>
                      <a:pt x="281" y="459"/>
                    </a:lnTo>
                    <a:lnTo>
                      <a:pt x="281" y="460"/>
                    </a:lnTo>
                    <a:lnTo>
                      <a:pt x="281" y="460"/>
                    </a:lnTo>
                    <a:lnTo>
                      <a:pt x="283" y="462"/>
                    </a:lnTo>
                    <a:lnTo>
                      <a:pt x="283" y="462"/>
                    </a:lnTo>
                    <a:lnTo>
                      <a:pt x="283" y="463"/>
                    </a:lnTo>
                    <a:lnTo>
                      <a:pt x="283" y="463"/>
                    </a:lnTo>
                    <a:lnTo>
                      <a:pt x="283" y="463"/>
                    </a:lnTo>
                    <a:lnTo>
                      <a:pt x="283" y="463"/>
                    </a:lnTo>
                    <a:lnTo>
                      <a:pt x="283" y="465"/>
                    </a:lnTo>
                    <a:lnTo>
                      <a:pt x="283" y="465"/>
                    </a:lnTo>
                    <a:lnTo>
                      <a:pt x="283" y="465"/>
                    </a:lnTo>
                    <a:lnTo>
                      <a:pt x="284" y="466"/>
                    </a:lnTo>
                    <a:lnTo>
                      <a:pt x="284" y="470"/>
                    </a:lnTo>
                    <a:lnTo>
                      <a:pt x="283" y="471"/>
                    </a:lnTo>
                    <a:lnTo>
                      <a:pt x="283" y="471"/>
                    </a:lnTo>
                    <a:lnTo>
                      <a:pt x="283" y="471"/>
                    </a:lnTo>
                    <a:lnTo>
                      <a:pt x="283" y="473"/>
                    </a:lnTo>
                    <a:lnTo>
                      <a:pt x="283" y="474"/>
                    </a:lnTo>
                    <a:lnTo>
                      <a:pt x="283" y="474"/>
                    </a:lnTo>
                    <a:lnTo>
                      <a:pt x="283" y="474"/>
                    </a:lnTo>
                    <a:lnTo>
                      <a:pt x="281" y="476"/>
                    </a:lnTo>
                    <a:lnTo>
                      <a:pt x="281" y="477"/>
                    </a:lnTo>
                    <a:lnTo>
                      <a:pt x="283" y="477"/>
                    </a:lnTo>
                    <a:lnTo>
                      <a:pt x="283" y="479"/>
                    </a:lnTo>
                    <a:lnTo>
                      <a:pt x="283" y="481"/>
                    </a:lnTo>
                    <a:lnTo>
                      <a:pt x="283" y="481"/>
                    </a:lnTo>
                    <a:lnTo>
                      <a:pt x="281" y="482"/>
                    </a:lnTo>
                    <a:lnTo>
                      <a:pt x="281" y="484"/>
                    </a:lnTo>
                    <a:lnTo>
                      <a:pt x="283" y="484"/>
                    </a:lnTo>
                    <a:lnTo>
                      <a:pt x="281" y="485"/>
                    </a:lnTo>
                    <a:lnTo>
                      <a:pt x="281" y="485"/>
                    </a:lnTo>
                    <a:lnTo>
                      <a:pt x="281" y="487"/>
                    </a:lnTo>
                    <a:lnTo>
                      <a:pt x="281" y="488"/>
                    </a:lnTo>
                    <a:lnTo>
                      <a:pt x="283" y="488"/>
                    </a:lnTo>
                    <a:lnTo>
                      <a:pt x="284" y="488"/>
                    </a:lnTo>
                    <a:lnTo>
                      <a:pt x="284" y="488"/>
                    </a:lnTo>
                    <a:lnTo>
                      <a:pt x="284" y="488"/>
                    </a:lnTo>
                    <a:lnTo>
                      <a:pt x="286" y="487"/>
                    </a:lnTo>
                    <a:lnTo>
                      <a:pt x="288" y="488"/>
                    </a:lnTo>
                    <a:lnTo>
                      <a:pt x="289" y="488"/>
                    </a:lnTo>
                    <a:lnTo>
                      <a:pt x="291" y="490"/>
                    </a:lnTo>
                    <a:lnTo>
                      <a:pt x="292" y="490"/>
                    </a:lnTo>
                    <a:lnTo>
                      <a:pt x="292" y="490"/>
                    </a:lnTo>
                    <a:lnTo>
                      <a:pt x="294" y="490"/>
                    </a:lnTo>
                    <a:lnTo>
                      <a:pt x="294" y="490"/>
                    </a:lnTo>
                    <a:lnTo>
                      <a:pt x="295" y="490"/>
                    </a:lnTo>
                    <a:lnTo>
                      <a:pt x="299" y="490"/>
                    </a:lnTo>
                    <a:lnTo>
                      <a:pt x="300" y="491"/>
                    </a:lnTo>
                    <a:lnTo>
                      <a:pt x="302" y="490"/>
                    </a:lnTo>
                    <a:lnTo>
                      <a:pt x="303" y="490"/>
                    </a:lnTo>
                    <a:lnTo>
                      <a:pt x="303" y="490"/>
                    </a:lnTo>
                    <a:lnTo>
                      <a:pt x="303" y="490"/>
                    </a:lnTo>
                    <a:lnTo>
                      <a:pt x="305" y="490"/>
                    </a:lnTo>
                    <a:lnTo>
                      <a:pt x="305" y="490"/>
                    </a:lnTo>
                    <a:lnTo>
                      <a:pt x="306" y="488"/>
                    </a:lnTo>
                    <a:lnTo>
                      <a:pt x="306" y="488"/>
                    </a:lnTo>
                    <a:lnTo>
                      <a:pt x="306" y="488"/>
                    </a:lnTo>
                    <a:lnTo>
                      <a:pt x="308" y="487"/>
                    </a:lnTo>
                    <a:lnTo>
                      <a:pt x="308" y="487"/>
                    </a:lnTo>
                    <a:lnTo>
                      <a:pt x="309" y="487"/>
                    </a:lnTo>
                    <a:lnTo>
                      <a:pt x="309" y="488"/>
                    </a:lnTo>
                    <a:lnTo>
                      <a:pt x="311" y="490"/>
                    </a:lnTo>
                    <a:lnTo>
                      <a:pt x="311" y="490"/>
                    </a:lnTo>
                    <a:lnTo>
                      <a:pt x="313" y="491"/>
                    </a:lnTo>
                    <a:lnTo>
                      <a:pt x="314" y="491"/>
                    </a:lnTo>
                    <a:lnTo>
                      <a:pt x="316" y="491"/>
                    </a:lnTo>
                    <a:lnTo>
                      <a:pt x="317" y="491"/>
                    </a:lnTo>
                    <a:lnTo>
                      <a:pt x="319" y="491"/>
                    </a:lnTo>
                    <a:lnTo>
                      <a:pt x="319" y="493"/>
                    </a:lnTo>
                    <a:lnTo>
                      <a:pt x="320" y="493"/>
                    </a:lnTo>
                    <a:lnTo>
                      <a:pt x="320" y="495"/>
                    </a:lnTo>
                    <a:lnTo>
                      <a:pt x="322" y="496"/>
                    </a:lnTo>
                    <a:lnTo>
                      <a:pt x="322" y="498"/>
                    </a:lnTo>
                    <a:lnTo>
                      <a:pt x="324" y="498"/>
                    </a:lnTo>
                    <a:lnTo>
                      <a:pt x="322" y="499"/>
                    </a:lnTo>
                    <a:lnTo>
                      <a:pt x="322" y="501"/>
                    </a:lnTo>
                    <a:lnTo>
                      <a:pt x="322" y="502"/>
                    </a:lnTo>
                    <a:lnTo>
                      <a:pt x="322" y="504"/>
                    </a:lnTo>
                    <a:lnTo>
                      <a:pt x="322" y="506"/>
                    </a:lnTo>
                    <a:lnTo>
                      <a:pt x="324" y="507"/>
                    </a:lnTo>
                    <a:lnTo>
                      <a:pt x="324" y="507"/>
                    </a:lnTo>
                    <a:lnTo>
                      <a:pt x="324" y="509"/>
                    </a:lnTo>
                    <a:lnTo>
                      <a:pt x="324" y="510"/>
                    </a:lnTo>
                    <a:lnTo>
                      <a:pt x="325" y="512"/>
                    </a:lnTo>
                    <a:lnTo>
                      <a:pt x="325" y="512"/>
                    </a:lnTo>
                    <a:lnTo>
                      <a:pt x="325" y="512"/>
                    </a:lnTo>
                    <a:lnTo>
                      <a:pt x="324" y="513"/>
                    </a:lnTo>
                    <a:lnTo>
                      <a:pt x="324" y="515"/>
                    </a:lnTo>
                    <a:lnTo>
                      <a:pt x="324" y="515"/>
                    </a:lnTo>
                    <a:lnTo>
                      <a:pt x="325" y="517"/>
                    </a:lnTo>
                    <a:lnTo>
                      <a:pt x="325" y="518"/>
                    </a:lnTo>
                    <a:lnTo>
                      <a:pt x="325" y="520"/>
                    </a:lnTo>
                    <a:lnTo>
                      <a:pt x="325" y="521"/>
                    </a:lnTo>
                    <a:lnTo>
                      <a:pt x="327" y="523"/>
                    </a:lnTo>
                    <a:lnTo>
                      <a:pt x="327" y="523"/>
                    </a:lnTo>
                    <a:lnTo>
                      <a:pt x="328" y="524"/>
                    </a:lnTo>
                    <a:lnTo>
                      <a:pt x="330" y="524"/>
                    </a:lnTo>
                    <a:lnTo>
                      <a:pt x="333" y="524"/>
                    </a:lnTo>
                    <a:lnTo>
                      <a:pt x="334" y="523"/>
                    </a:lnTo>
                    <a:lnTo>
                      <a:pt x="334" y="523"/>
                    </a:lnTo>
                    <a:lnTo>
                      <a:pt x="336" y="521"/>
                    </a:lnTo>
                    <a:lnTo>
                      <a:pt x="336" y="521"/>
                    </a:lnTo>
                    <a:lnTo>
                      <a:pt x="339" y="521"/>
                    </a:lnTo>
                    <a:lnTo>
                      <a:pt x="339" y="520"/>
                    </a:lnTo>
                    <a:lnTo>
                      <a:pt x="341" y="520"/>
                    </a:lnTo>
                    <a:lnTo>
                      <a:pt x="342" y="521"/>
                    </a:lnTo>
                    <a:lnTo>
                      <a:pt x="344" y="521"/>
                    </a:lnTo>
                    <a:lnTo>
                      <a:pt x="344" y="523"/>
                    </a:lnTo>
                    <a:lnTo>
                      <a:pt x="347" y="524"/>
                    </a:lnTo>
                    <a:lnTo>
                      <a:pt x="347" y="524"/>
                    </a:lnTo>
                    <a:lnTo>
                      <a:pt x="347" y="524"/>
                    </a:lnTo>
                    <a:lnTo>
                      <a:pt x="345" y="526"/>
                    </a:lnTo>
                    <a:lnTo>
                      <a:pt x="345" y="527"/>
                    </a:lnTo>
                    <a:lnTo>
                      <a:pt x="347" y="529"/>
                    </a:lnTo>
                    <a:lnTo>
                      <a:pt x="345" y="534"/>
                    </a:lnTo>
                    <a:lnTo>
                      <a:pt x="344" y="540"/>
                    </a:lnTo>
                    <a:lnTo>
                      <a:pt x="344" y="545"/>
                    </a:lnTo>
                    <a:lnTo>
                      <a:pt x="344" y="545"/>
                    </a:lnTo>
                    <a:lnTo>
                      <a:pt x="342" y="548"/>
                    </a:lnTo>
                    <a:lnTo>
                      <a:pt x="341" y="551"/>
                    </a:lnTo>
                    <a:lnTo>
                      <a:pt x="341" y="554"/>
                    </a:lnTo>
                    <a:lnTo>
                      <a:pt x="342" y="554"/>
                    </a:lnTo>
                    <a:lnTo>
                      <a:pt x="342" y="554"/>
                    </a:lnTo>
                    <a:lnTo>
                      <a:pt x="344" y="556"/>
                    </a:lnTo>
                    <a:lnTo>
                      <a:pt x="344" y="554"/>
                    </a:lnTo>
                    <a:lnTo>
                      <a:pt x="345" y="554"/>
                    </a:lnTo>
                    <a:lnTo>
                      <a:pt x="345" y="554"/>
                    </a:lnTo>
                    <a:lnTo>
                      <a:pt x="347" y="554"/>
                    </a:lnTo>
                    <a:lnTo>
                      <a:pt x="347" y="553"/>
                    </a:lnTo>
                    <a:lnTo>
                      <a:pt x="347" y="553"/>
                    </a:lnTo>
                    <a:lnTo>
                      <a:pt x="349" y="553"/>
                    </a:lnTo>
                    <a:lnTo>
                      <a:pt x="349" y="554"/>
                    </a:lnTo>
                    <a:lnTo>
                      <a:pt x="350" y="554"/>
                    </a:lnTo>
                    <a:lnTo>
                      <a:pt x="352" y="554"/>
                    </a:lnTo>
                    <a:lnTo>
                      <a:pt x="352" y="556"/>
                    </a:lnTo>
                    <a:lnTo>
                      <a:pt x="353" y="556"/>
                    </a:lnTo>
                    <a:lnTo>
                      <a:pt x="353" y="557"/>
                    </a:lnTo>
                    <a:lnTo>
                      <a:pt x="355" y="562"/>
                    </a:lnTo>
                    <a:lnTo>
                      <a:pt x="356" y="563"/>
                    </a:lnTo>
                    <a:lnTo>
                      <a:pt x="356" y="567"/>
                    </a:lnTo>
                    <a:lnTo>
                      <a:pt x="356" y="568"/>
                    </a:lnTo>
                    <a:lnTo>
                      <a:pt x="356" y="570"/>
                    </a:lnTo>
                    <a:lnTo>
                      <a:pt x="356" y="571"/>
                    </a:lnTo>
                    <a:lnTo>
                      <a:pt x="356" y="574"/>
                    </a:lnTo>
                    <a:lnTo>
                      <a:pt x="355" y="578"/>
                    </a:lnTo>
                    <a:lnTo>
                      <a:pt x="356" y="578"/>
                    </a:lnTo>
                    <a:lnTo>
                      <a:pt x="356" y="579"/>
                    </a:lnTo>
                    <a:lnTo>
                      <a:pt x="355" y="581"/>
                    </a:lnTo>
                    <a:lnTo>
                      <a:pt x="353" y="584"/>
                    </a:lnTo>
                    <a:lnTo>
                      <a:pt x="353" y="584"/>
                    </a:lnTo>
                    <a:lnTo>
                      <a:pt x="353" y="585"/>
                    </a:lnTo>
                    <a:lnTo>
                      <a:pt x="352" y="585"/>
                    </a:lnTo>
                    <a:lnTo>
                      <a:pt x="352" y="585"/>
                    </a:lnTo>
                    <a:lnTo>
                      <a:pt x="350" y="587"/>
                    </a:lnTo>
                    <a:lnTo>
                      <a:pt x="349" y="587"/>
                    </a:lnTo>
                    <a:lnTo>
                      <a:pt x="349" y="587"/>
                    </a:lnTo>
                    <a:lnTo>
                      <a:pt x="349" y="587"/>
                    </a:lnTo>
                    <a:lnTo>
                      <a:pt x="347" y="587"/>
                    </a:lnTo>
                    <a:lnTo>
                      <a:pt x="347" y="588"/>
                    </a:lnTo>
                    <a:lnTo>
                      <a:pt x="347" y="590"/>
                    </a:lnTo>
                    <a:lnTo>
                      <a:pt x="345" y="590"/>
                    </a:lnTo>
                    <a:lnTo>
                      <a:pt x="344" y="590"/>
                    </a:lnTo>
                    <a:lnTo>
                      <a:pt x="344" y="590"/>
                    </a:lnTo>
                    <a:lnTo>
                      <a:pt x="342" y="590"/>
                    </a:lnTo>
                    <a:lnTo>
                      <a:pt x="341" y="590"/>
                    </a:lnTo>
                    <a:lnTo>
                      <a:pt x="341" y="592"/>
                    </a:lnTo>
                    <a:lnTo>
                      <a:pt x="341" y="592"/>
                    </a:lnTo>
                    <a:lnTo>
                      <a:pt x="339" y="592"/>
                    </a:lnTo>
                    <a:lnTo>
                      <a:pt x="339" y="593"/>
                    </a:lnTo>
                    <a:lnTo>
                      <a:pt x="338" y="592"/>
                    </a:lnTo>
                    <a:lnTo>
                      <a:pt x="338" y="592"/>
                    </a:lnTo>
                    <a:lnTo>
                      <a:pt x="336" y="593"/>
                    </a:lnTo>
                    <a:lnTo>
                      <a:pt x="336" y="593"/>
                    </a:lnTo>
                    <a:lnTo>
                      <a:pt x="336" y="595"/>
                    </a:lnTo>
                    <a:lnTo>
                      <a:pt x="334" y="596"/>
                    </a:lnTo>
                    <a:lnTo>
                      <a:pt x="334" y="596"/>
                    </a:lnTo>
                    <a:lnTo>
                      <a:pt x="334" y="596"/>
                    </a:lnTo>
                    <a:lnTo>
                      <a:pt x="333" y="596"/>
                    </a:lnTo>
                    <a:lnTo>
                      <a:pt x="333" y="596"/>
                    </a:lnTo>
                    <a:lnTo>
                      <a:pt x="333" y="598"/>
                    </a:lnTo>
                    <a:lnTo>
                      <a:pt x="333" y="598"/>
                    </a:lnTo>
                    <a:lnTo>
                      <a:pt x="333" y="598"/>
                    </a:lnTo>
                    <a:lnTo>
                      <a:pt x="331" y="599"/>
                    </a:lnTo>
                    <a:lnTo>
                      <a:pt x="330" y="599"/>
                    </a:lnTo>
                    <a:lnTo>
                      <a:pt x="330" y="599"/>
                    </a:lnTo>
                    <a:lnTo>
                      <a:pt x="328" y="601"/>
                    </a:lnTo>
                    <a:lnTo>
                      <a:pt x="327" y="603"/>
                    </a:lnTo>
                    <a:lnTo>
                      <a:pt x="325" y="603"/>
                    </a:lnTo>
                    <a:lnTo>
                      <a:pt x="324" y="604"/>
                    </a:lnTo>
                    <a:lnTo>
                      <a:pt x="320" y="606"/>
                    </a:lnTo>
                    <a:lnTo>
                      <a:pt x="320" y="606"/>
                    </a:lnTo>
                    <a:lnTo>
                      <a:pt x="320" y="606"/>
                    </a:lnTo>
                    <a:lnTo>
                      <a:pt x="322" y="607"/>
                    </a:lnTo>
                    <a:lnTo>
                      <a:pt x="322" y="609"/>
                    </a:lnTo>
                    <a:lnTo>
                      <a:pt x="322" y="609"/>
                    </a:lnTo>
                    <a:lnTo>
                      <a:pt x="322" y="609"/>
                    </a:lnTo>
                    <a:lnTo>
                      <a:pt x="320" y="609"/>
                    </a:lnTo>
                    <a:lnTo>
                      <a:pt x="319" y="609"/>
                    </a:lnTo>
                    <a:lnTo>
                      <a:pt x="319" y="609"/>
                    </a:lnTo>
                    <a:lnTo>
                      <a:pt x="319" y="609"/>
                    </a:lnTo>
                    <a:lnTo>
                      <a:pt x="317" y="609"/>
                    </a:lnTo>
                    <a:lnTo>
                      <a:pt x="317" y="609"/>
                    </a:lnTo>
                    <a:lnTo>
                      <a:pt x="317" y="610"/>
                    </a:lnTo>
                    <a:lnTo>
                      <a:pt x="317" y="610"/>
                    </a:lnTo>
                    <a:lnTo>
                      <a:pt x="317" y="610"/>
                    </a:lnTo>
                    <a:lnTo>
                      <a:pt x="316" y="610"/>
                    </a:lnTo>
                    <a:lnTo>
                      <a:pt x="316" y="612"/>
                    </a:lnTo>
                    <a:lnTo>
                      <a:pt x="316" y="612"/>
                    </a:lnTo>
                    <a:lnTo>
                      <a:pt x="316" y="612"/>
                    </a:lnTo>
                    <a:lnTo>
                      <a:pt x="316" y="614"/>
                    </a:lnTo>
                    <a:lnTo>
                      <a:pt x="314" y="615"/>
                    </a:lnTo>
                    <a:lnTo>
                      <a:pt x="313" y="617"/>
                    </a:lnTo>
                    <a:lnTo>
                      <a:pt x="311" y="618"/>
                    </a:lnTo>
                    <a:lnTo>
                      <a:pt x="309" y="621"/>
                    </a:lnTo>
                    <a:lnTo>
                      <a:pt x="309" y="621"/>
                    </a:lnTo>
                    <a:lnTo>
                      <a:pt x="308" y="623"/>
                    </a:lnTo>
                    <a:lnTo>
                      <a:pt x="308" y="623"/>
                    </a:lnTo>
                    <a:lnTo>
                      <a:pt x="308" y="623"/>
                    </a:lnTo>
                    <a:lnTo>
                      <a:pt x="306" y="624"/>
                    </a:lnTo>
                    <a:lnTo>
                      <a:pt x="306" y="624"/>
                    </a:lnTo>
                    <a:lnTo>
                      <a:pt x="305" y="626"/>
                    </a:lnTo>
                    <a:lnTo>
                      <a:pt x="305" y="628"/>
                    </a:lnTo>
                    <a:lnTo>
                      <a:pt x="305" y="628"/>
                    </a:lnTo>
                    <a:lnTo>
                      <a:pt x="303" y="629"/>
                    </a:lnTo>
                    <a:lnTo>
                      <a:pt x="300" y="634"/>
                    </a:lnTo>
                    <a:lnTo>
                      <a:pt x="300" y="634"/>
                    </a:lnTo>
                    <a:lnTo>
                      <a:pt x="297" y="635"/>
                    </a:lnTo>
                    <a:lnTo>
                      <a:pt x="294" y="637"/>
                    </a:lnTo>
                    <a:lnTo>
                      <a:pt x="294" y="639"/>
                    </a:lnTo>
                    <a:lnTo>
                      <a:pt x="292" y="640"/>
                    </a:lnTo>
                    <a:lnTo>
                      <a:pt x="291" y="642"/>
                    </a:lnTo>
                    <a:lnTo>
                      <a:pt x="289" y="645"/>
                    </a:lnTo>
                    <a:lnTo>
                      <a:pt x="289" y="645"/>
                    </a:lnTo>
                    <a:lnTo>
                      <a:pt x="288" y="645"/>
                    </a:lnTo>
                    <a:lnTo>
                      <a:pt x="289" y="646"/>
                    </a:lnTo>
                    <a:lnTo>
                      <a:pt x="292" y="646"/>
                    </a:lnTo>
                    <a:lnTo>
                      <a:pt x="295" y="646"/>
                    </a:lnTo>
                    <a:lnTo>
                      <a:pt x="295" y="646"/>
                    </a:lnTo>
                    <a:lnTo>
                      <a:pt x="295" y="646"/>
                    </a:lnTo>
                    <a:lnTo>
                      <a:pt x="297" y="645"/>
                    </a:lnTo>
                    <a:lnTo>
                      <a:pt x="299" y="643"/>
                    </a:lnTo>
                    <a:lnTo>
                      <a:pt x="299" y="643"/>
                    </a:lnTo>
                    <a:lnTo>
                      <a:pt x="300" y="643"/>
                    </a:lnTo>
                    <a:lnTo>
                      <a:pt x="302" y="643"/>
                    </a:lnTo>
                    <a:lnTo>
                      <a:pt x="303" y="645"/>
                    </a:lnTo>
                    <a:lnTo>
                      <a:pt x="309" y="651"/>
                    </a:lnTo>
                    <a:lnTo>
                      <a:pt x="313" y="654"/>
                    </a:lnTo>
                    <a:lnTo>
                      <a:pt x="314" y="656"/>
                    </a:lnTo>
                    <a:lnTo>
                      <a:pt x="316" y="657"/>
                    </a:lnTo>
                    <a:lnTo>
                      <a:pt x="316" y="659"/>
                    </a:lnTo>
                    <a:lnTo>
                      <a:pt x="316" y="662"/>
                    </a:lnTo>
                    <a:lnTo>
                      <a:pt x="316" y="664"/>
                    </a:lnTo>
                    <a:lnTo>
                      <a:pt x="316" y="664"/>
                    </a:lnTo>
                    <a:lnTo>
                      <a:pt x="317" y="664"/>
                    </a:lnTo>
                    <a:lnTo>
                      <a:pt x="319" y="664"/>
                    </a:lnTo>
                    <a:lnTo>
                      <a:pt x="319" y="662"/>
                    </a:lnTo>
                    <a:lnTo>
                      <a:pt x="319" y="662"/>
                    </a:lnTo>
                    <a:lnTo>
                      <a:pt x="320" y="662"/>
                    </a:lnTo>
                    <a:lnTo>
                      <a:pt x="320" y="660"/>
                    </a:lnTo>
                    <a:lnTo>
                      <a:pt x="322" y="660"/>
                    </a:lnTo>
                    <a:lnTo>
                      <a:pt x="322" y="659"/>
                    </a:lnTo>
                    <a:lnTo>
                      <a:pt x="322" y="659"/>
                    </a:lnTo>
                    <a:lnTo>
                      <a:pt x="322" y="659"/>
                    </a:lnTo>
                    <a:lnTo>
                      <a:pt x="324" y="659"/>
                    </a:lnTo>
                    <a:lnTo>
                      <a:pt x="324" y="659"/>
                    </a:lnTo>
                    <a:lnTo>
                      <a:pt x="324" y="659"/>
                    </a:lnTo>
                    <a:lnTo>
                      <a:pt x="325" y="660"/>
                    </a:lnTo>
                    <a:lnTo>
                      <a:pt x="327" y="662"/>
                    </a:lnTo>
                    <a:lnTo>
                      <a:pt x="328" y="664"/>
                    </a:lnTo>
                    <a:lnTo>
                      <a:pt x="328" y="665"/>
                    </a:lnTo>
                    <a:lnTo>
                      <a:pt x="328" y="665"/>
                    </a:lnTo>
                    <a:lnTo>
                      <a:pt x="330" y="667"/>
                    </a:lnTo>
                    <a:lnTo>
                      <a:pt x="330" y="667"/>
                    </a:lnTo>
                    <a:lnTo>
                      <a:pt x="331" y="668"/>
                    </a:lnTo>
                    <a:lnTo>
                      <a:pt x="333" y="667"/>
                    </a:lnTo>
                    <a:lnTo>
                      <a:pt x="333" y="667"/>
                    </a:lnTo>
                    <a:lnTo>
                      <a:pt x="336" y="670"/>
                    </a:lnTo>
                    <a:lnTo>
                      <a:pt x="341" y="671"/>
                    </a:lnTo>
                    <a:lnTo>
                      <a:pt x="342" y="673"/>
                    </a:lnTo>
                    <a:lnTo>
                      <a:pt x="342" y="675"/>
                    </a:lnTo>
                    <a:lnTo>
                      <a:pt x="345" y="678"/>
                    </a:lnTo>
                    <a:lnTo>
                      <a:pt x="347" y="679"/>
                    </a:lnTo>
                    <a:lnTo>
                      <a:pt x="350" y="681"/>
                    </a:lnTo>
                    <a:lnTo>
                      <a:pt x="352" y="681"/>
                    </a:lnTo>
                    <a:lnTo>
                      <a:pt x="353" y="681"/>
                    </a:lnTo>
                    <a:lnTo>
                      <a:pt x="353" y="682"/>
                    </a:lnTo>
                    <a:lnTo>
                      <a:pt x="355" y="682"/>
                    </a:lnTo>
                    <a:lnTo>
                      <a:pt x="355" y="684"/>
                    </a:lnTo>
                    <a:lnTo>
                      <a:pt x="356" y="684"/>
                    </a:lnTo>
                    <a:lnTo>
                      <a:pt x="356" y="686"/>
                    </a:lnTo>
                    <a:lnTo>
                      <a:pt x="358" y="689"/>
                    </a:lnTo>
                    <a:lnTo>
                      <a:pt x="358" y="690"/>
                    </a:lnTo>
                    <a:lnTo>
                      <a:pt x="360" y="693"/>
                    </a:lnTo>
                    <a:lnTo>
                      <a:pt x="363" y="695"/>
                    </a:lnTo>
                    <a:lnTo>
                      <a:pt x="364" y="695"/>
                    </a:lnTo>
                    <a:lnTo>
                      <a:pt x="366" y="696"/>
                    </a:lnTo>
                    <a:lnTo>
                      <a:pt x="366" y="698"/>
                    </a:lnTo>
                    <a:lnTo>
                      <a:pt x="364" y="700"/>
                    </a:lnTo>
                    <a:lnTo>
                      <a:pt x="364" y="700"/>
                    </a:lnTo>
                    <a:lnTo>
                      <a:pt x="363" y="701"/>
                    </a:lnTo>
                    <a:lnTo>
                      <a:pt x="361" y="703"/>
                    </a:lnTo>
                    <a:lnTo>
                      <a:pt x="361" y="703"/>
                    </a:lnTo>
                    <a:lnTo>
                      <a:pt x="360" y="704"/>
                    </a:lnTo>
                    <a:lnTo>
                      <a:pt x="360" y="706"/>
                    </a:lnTo>
                    <a:lnTo>
                      <a:pt x="360" y="706"/>
                    </a:lnTo>
                    <a:lnTo>
                      <a:pt x="360" y="714"/>
                    </a:lnTo>
                    <a:lnTo>
                      <a:pt x="360" y="715"/>
                    </a:lnTo>
                    <a:lnTo>
                      <a:pt x="360" y="717"/>
                    </a:lnTo>
                    <a:lnTo>
                      <a:pt x="360" y="717"/>
                    </a:lnTo>
                    <a:lnTo>
                      <a:pt x="361" y="718"/>
                    </a:lnTo>
                    <a:lnTo>
                      <a:pt x="361" y="718"/>
                    </a:lnTo>
                    <a:lnTo>
                      <a:pt x="363" y="718"/>
                    </a:lnTo>
                    <a:lnTo>
                      <a:pt x="370" y="711"/>
                    </a:lnTo>
                    <a:lnTo>
                      <a:pt x="374" y="709"/>
                    </a:lnTo>
                    <a:lnTo>
                      <a:pt x="375" y="706"/>
                    </a:lnTo>
                    <a:lnTo>
                      <a:pt x="377" y="700"/>
                    </a:lnTo>
                    <a:lnTo>
                      <a:pt x="380" y="692"/>
                    </a:lnTo>
                    <a:lnTo>
                      <a:pt x="381" y="689"/>
                    </a:lnTo>
                    <a:lnTo>
                      <a:pt x="383" y="687"/>
                    </a:lnTo>
                    <a:lnTo>
                      <a:pt x="385" y="686"/>
                    </a:lnTo>
                    <a:lnTo>
                      <a:pt x="383" y="684"/>
                    </a:lnTo>
                    <a:lnTo>
                      <a:pt x="383" y="681"/>
                    </a:lnTo>
                    <a:lnTo>
                      <a:pt x="383" y="679"/>
                    </a:lnTo>
                    <a:lnTo>
                      <a:pt x="385" y="676"/>
                    </a:lnTo>
                    <a:lnTo>
                      <a:pt x="386" y="675"/>
                    </a:lnTo>
                    <a:lnTo>
                      <a:pt x="386" y="671"/>
                    </a:lnTo>
                    <a:lnTo>
                      <a:pt x="386" y="670"/>
                    </a:lnTo>
                    <a:lnTo>
                      <a:pt x="388" y="668"/>
                    </a:lnTo>
                    <a:lnTo>
                      <a:pt x="391" y="667"/>
                    </a:lnTo>
                    <a:lnTo>
                      <a:pt x="395" y="664"/>
                    </a:lnTo>
                    <a:lnTo>
                      <a:pt x="395" y="662"/>
                    </a:lnTo>
                    <a:lnTo>
                      <a:pt x="395" y="660"/>
                    </a:lnTo>
                    <a:lnTo>
                      <a:pt x="395" y="660"/>
                    </a:lnTo>
                    <a:lnTo>
                      <a:pt x="397" y="659"/>
                    </a:lnTo>
                    <a:lnTo>
                      <a:pt x="397" y="656"/>
                    </a:lnTo>
                    <a:lnTo>
                      <a:pt x="399" y="656"/>
                    </a:lnTo>
                    <a:lnTo>
                      <a:pt x="399" y="657"/>
                    </a:lnTo>
                    <a:lnTo>
                      <a:pt x="399" y="653"/>
                    </a:lnTo>
                    <a:lnTo>
                      <a:pt x="400" y="651"/>
                    </a:lnTo>
                    <a:lnTo>
                      <a:pt x="400" y="650"/>
                    </a:lnTo>
                    <a:lnTo>
                      <a:pt x="402" y="650"/>
                    </a:lnTo>
                    <a:lnTo>
                      <a:pt x="399" y="646"/>
                    </a:lnTo>
                    <a:lnTo>
                      <a:pt x="399" y="645"/>
                    </a:lnTo>
                    <a:lnTo>
                      <a:pt x="399" y="642"/>
                    </a:lnTo>
                    <a:lnTo>
                      <a:pt x="400" y="643"/>
                    </a:lnTo>
                    <a:lnTo>
                      <a:pt x="400" y="643"/>
                    </a:lnTo>
                    <a:lnTo>
                      <a:pt x="400" y="646"/>
                    </a:lnTo>
                    <a:lnTo>
                      <a:pt x="403" y="646"/>
                    </a:lnTo>
                    <a:lnTo>
                      <a:pt x="403" y="650"/>
                    </a:lnTo>
                    <a:lnTo>
                      <a:pt x="405" y="650"/>
                    </a:lnTo>
                    <a:lnTo>
                      <a:pt x="410" y="646"/>
                    </a:lnTo>
                    <a:lnTo>
                      <a:pt x="411" y="646"/>
                    </a:lnTo>
                    <a:lnTo>
                      <a:pt x="411" y="648"/>
                    </a:lnTo>
                    <a:lnTo>
                      <a:pt x="411" y="650"/>
                    </a:lnTo>
                    <a:lnTo>
                      <a:pt x="411" y="651"/>
                    </a:lnTo>
                    <a:lnTo>
                      <a:pt x="410" y="650"/>
                    </a:lnTo>
                    <a:lnTo>
                      <a:pt x="410" y="650"/>
                    </a:lnTo>
                    <a:lnTo>
                      <a:pt x="410" y="656"/>
                    </a:lnTo>
                    <a:lnTo>
                      <a:pt x="408" y="657"/>
                    </a:lnTo>
                    <a:lnTo>
                      <a:pt x="405" y="660"/>
                    </a:lnTo>
                    <a:lnTo>
                      <a:pt x="405" y="662"/>
                    </a:lnTo>
                    <a:lnTo>
                      <a:pt x="405" y="662"/>
                    </a:lnTo>
                    <a:lnTo>
                      <a:pt x="405" y="664"/>
                    </a:lnTo>
                    <a:lnTo>
                      <a:pt x="402" y="664"/>
                    </a:lnTo>
                    <a:lnTo>
                      <a:pt x="402" y="664"/>
                    </a:lnTo>
                    <a:lnTo>
                      <a:pt x="402" y="667"/>
                    </a:lnTo>
                    <a:lnTo>
                      <a:pt x="400" y="668"/>
                    </a:lnTo>
                    <a:lnTo>
                      <a:pt x="399" y="671"/>
                    </a:lnTo>
                    <a:lnTo>
                      <a:pt x="395" y="673"/>
                    </a:lnTo>
                    <a:lnTo>
                      <a:pt x="392" y="678"/>
                    </a:lnTo>
                    <a:lnTo>
                      <a:pt x="389" y="678"/>
                    </a:lnTo>
                    <a:lnTo>
                      <a:pt x="389" y="679"/>
                    </a:lnTo>
                    <a:lnTo>
                      <a:pt x="388" y="679"/>
                    </a:lnTo>
                    <a:lnTo>
                      <a:pt x="386" y="678"/>
                    </a:lnTo>
                    <a:lnTo>
                      <a:pt x="385" y="679"/>
                    </a:lnTo>
                    <a:lnTo>
                      <a:pt x="385" y="681"/>
                    </a:lnTo>
                    <a:lnTo>
                      <a:pt x="386" y="682"/>
                    </a:lnTo>
                    <a:lnTo>
                      <a:pt x="385" y="684"/>
                    </a:lnTo>
                    <a:lnTo>
                      <a:pt x="386" y="684"/>
                    </a:lnTo>
                    <a:lnTo>
                      <a:pt x="388" y="682"/>
                    </a:lnTo>
                    <a:lnTo>
                      <a:pt x="389" y="681"/>
                    </a:lnTo>
                    <a:lnTo>
                      <a:pt x="395" y="676"/>
                    </a:lnTo>
                    <a:lnTo>
                      <a:pt x="402" y="671"/>
                    </a:lnTo>
                    <a:lnTo>
                      <a:pt x="405" y="667"/>
                    </a:lnTo>
                    <a:lnTo>
                      <a:pt x="408" y="664"/>
                    </a:lnTo>
                    <a:lnTo>
                      <a:pt x="411" y="659"/>
                    </a:lnTo>
                    <a:lnTo>
                      <a:pt x="416" y="650"/>
                    </a:lnTo>
                    <a:lnTo>
                      <a:pt x="420" y="637"/>
                    </a:lnTo>
                    <a:lnTo>
                      <a:pt x="425" y="629"/>
                    </a:lnTo>
                    <a:lnTo>
                      <a:pt x="430" y="623"/>
                    </a:lnTo>
                    <a:lnTo>
                      <a:pt x="435" y="618"/>
                    </a:lnTo>
                    <a:lnTo>
                      <a:pt x="439" y="615"/>
                    </a:lnTo>
                    <a:lnTo>
                      <a:pt x="442" y="614"/>
                    </a:lnTo>
                    <a:lnTo>
                      <a:pt x="442" y="610"/>
                    </a:lnTo>
                    <a:lnTo>
                      <a:pt x="444" y="607"/>
                    </a:lnTo>
                    <a:lnTo>
                      <a:pt x="446" y="606"/>
                    </a:lnTo>
                    <a:lnTo>
                      <a:pt x="446" y="603"/>
                    </a:lnTo>
                    <a:lnTo>
                      <a:pt x="446" y="598"/>
                    </a:lnTo>
                    <a:lnTo>
                      <a:pt x="446" y="593"/>
                    </a:lnTo>
                    <a:lnTo>
                      <a:pt x="447" y="588"/>
                    </a:lnTo>
                    <a:lnTo>
                      <a:pt x="446" y="587"/>
                    </a:lnTo>
                    <a:lnTo>
                      <a:pt x="447" y="585"/>
                    </a:lnTo>
                    <a:lnTo>
                      <a:pt x="447" y="584"/>
                    </a:lnTo>
                    <a:lnTo>
                      <a:pt x="446" y="582"/>
                    </a:lnTo>
                    <a:lnTo>
                      <a:pt x="446" y="579"/>
                    </a:lnTo>
                    <a:lnTo>
                      <a:pt x="444" y="576"/>
                    </a:lnTo>
                    <a:lnTo>
                      <a:pt x="444" y="574"/>
                    </a:lnTo>
                    <a:lnTo>
                      <a:pt x="446" y="573"/>
                    </a:lnTo>
                    <a:lnTo>
                      <a:pt x="446" y="570"/>
                    </a:lnTo>
                    <a:lnTo>
                      <a:pt x="444" y="570"/>
                    </a:lnTo>
                    <a:lnTo>
                      <a:pt x="444" y="568"/>
                    </a:lnTo>
                    <a:lnTo>
                      <a:pt x="444" y="567"/>
                    </a:lnTo>
                    <a:lnTo>
                      <a:pt x="444" y="567"/>
                    </a:lnTo>
                    <a:lnTo>
                      <a:pt x="446" y="565"/>
                    </a:lnTo>
                    <a:lnTo>
                      <a:pt x="447" y="560"/>
                    </a:lnTo>
                    <a:lnTo>
                      <a:pt x="446" y="560"/>
                    </a:lnTo>
                    <a:lnTo>
                      <a:pt x="444" y="560"/>
                    </a:lnTo>
                    <a:lnTo>
                      <a:pt x="446" y="559"/>
                    </a:lnTo>
                    <a:lnTo>
                      <a:pt x="447" y="559"/>
                    </a:lnTo>
                    <a:lnTo>
                      <a:pt x="449" y="554"/>
                    </a:lnTo>
                    <a:lnTo>
                      <a:pt x="449" y="554"/>
                    </a:lnTo>
                    <a:lnTo>
                      <a:pt x="447" y="553"/>
                    </a:lnTo>
                    <a:lnTo>
                      <a:pt x="444" y="553"/>
                    </a:lnTo>
                    <a:lnTo>
                      <a:pt x="444" y="549"/>
                    </a:lnTo>
                    <a:lnTo>
                      <a:pt x="446" y="551"/>
                    </a:lnTo>
                    <a:lnTo>
                      <a:pt x="447" y="551"/>
                    </a:lnTo>
                    <a:lnTo>
                      <a:pt x="449" y="551"/>
                    </a:lnTo>
                    <a:lnTo>
                      <a:pt x="449" y="551"/>
                    </a:lnTo>
                    <a:lnTo>
                      <a:pt x="449" y="549"/>
                    </a:lnTo>
                    <a:lnTo>
                      <a:pt x="449" y="548"/>
                    </a:lnTo>
                    <a:lnTo>
                      <a:pt x="452" y="549"/>
                    </a:lnTo>
                    <a:lnTo>
                      <a:pt x="453" y="549"/>
                    </a:lnTo>
                    <a:lnTo>
                      <a:pt x="452" y="551"/>
                    </a:lnTo>
                    <a:lnTo>
                      <a:pt x="453" y="551"/>
                    </a:lnTo>
                    <a:lnTo>
                      <a:pt x="456" y="548"/>
                    </a:lnTo>
                    <a:lnTo>
                      <a:pt x="458" y="546"/>
                    </a:lnTo>
                    <a:lnTo>
                      <a:pt x="458" y="545"/>
                    </a:lnTo>
                    <a:lnTo>
                      <a:pt x="456" y="545"/>
                    </a:lnTo>
                    <a:lnTo>
                      <a:pt x="456" y="543"/>
                    </a:lnTo>
                    <a:lnTo>
                      <a:pt x="458" y="543"/>
                    </a:lnTo>
                    <a:lnTo>
                      <a:pt x="458" y="543"/>
                    </a:lnTo>
                    <a:lnTo>
                      <a:pt x="460" y="542"/>
                    </a:lnTo>
                    <a:lnTo>
                      <a:pt x="464" y="538"/>
                    </a:lnTo>
                    <a:lnTo>
                      <a:pt x="472" y="534"/>
                    </a:lnTo>
                    <a:lnTo>
                      <a:pt x="477" y="527"/>
                    </a:lnTo>
                    <a:lnTo>
                      <a:pt x="480" y="526"/>
                    </a:lnTo>
                    <a:lnTo>
                      <a:pt x="492" y="520"/>
                    </a:lnTo>
                    <a:lnTo>
                      <a:pt x="494" y="520"/>
                    </a:lnTo>
                    <a:lnTo>
                      <a:pt x="497" y="520"/>
                    </a:lnTo>
                    <a:lnTo>
                      <a:pt x="500" y="520"/>
                    </a:lnTo>
                    <a:lnTo>
                      <a:pt x="500" y="520"/>
                    </a:lnTo>
                    <a:lnTo>
                      <a:pt x="502" y="520"/>
                    </a:lnTo>
                    <a:lnTo>
                      <a:pt x="502" y="518"/>
                    </a:lnTo>
                    <a:lnTo>
                      <a:pt x="503" y="517"/>
                    </a:lnTo>
                    <a:lnTo>
                      <a:pt x="505" y="515"/>
                    </a:lnTo>
                    <a:lnTo>
                      <a:pt x="510" y="512"/>
                    </a:lnTo>
                    <a:lnTo>
                      <a:pt x="514" y="510"/>
                    </a:lnTo>
                    <a:lnTo>
                      <a:pt x="516" y="510"/>
                    </a:lnTo>
                    <a:lnTo>
                      <a:pt x="517" y="510"/>
                    </a:lnTo>
                    <a:lnTo>
                      <a:pt x="516" y="509"/>
                    </a:lnTo>
                    <a:lnTo>
                      <a:pt x="514" y="509"/>
                    </a:lnTo>
                    <a:lnTo>
                      <a:pt x="514" y="507"/>
                    </a:lnTo>
                    <a:lnTo>
                      <a:pt x="516" y="506"/>
                    </a:lnTo>
                    <a:lnTo>
                      <a:pt x="521" y="504"/>
                    </a:lnTo>
                    <a:lnTo>
                      <a:pt x="524" y="506"/>
                    </a:lnTo>
                    <a:lnTo>
                      <a:pt x="525" y="504"/>
                    </a:lnTo>
                    <a:lnTo>
                      <a:pt x="528" y="502"/>
                    </a:lnTo>
                    <a:lnTo>
                      <a:pt x="531" y="504"/>
                    </a:lnTo>
                    <a:lnTo>
                      <a:pt x="533" y="506"/>
                    </a:lnTo>
                    <a:lnTo>
                      <a:pt x="530" y="506"/>
                    </a:lnTo>
                    <a:lnTo>
                      <a:pt x="528" y="506"/>
                    </a:lnTo>
                    <a:lnTo>
                      <a:pt x="527" y="506"/>
                    </a:lnTo>
                    <a:lnTo>
                      <a:pt x="528" y="507"/>
                    </a:lnTo>
                    <a:lnTo>
                      <a:pt x="531" y="506"/>
                    </a:lnTo>
                    <a:lnTo>
                      <a:pt x="535" y="506"/>
                    </a:lnTo>
                    <a:lnTo>
                      <a:pt x="538" y="504"/>
                    </a:lnTo>
                    <a:lnTo>
                      <a:pt x="541" y="504"/>
                    </a:lnTo>
                    <a:lnTo>
                      <a:pt x="541" y="504"/>
                    </a:lnTo>
                    <a:lnTo>
                      <a:pt x="541" y="502"/>
                    </a:lnTo>
                    <a:lnTo>
                      <a:pt x="539" y="501"/>
                    </a:lnTo>
                    <a:lnTo>
                      <a:pt x="539" y="501"/>
                    </a:lnTo>
                    <a:lnTo>
                      <a:pt x="541" y="499"/>
                    </a:lnTo>
                    <a:lnTo>
                      <a:pt x="541" y="499"/>
                    </a:lnTo>
                    <a:lnTo>
                      <a:pt x="542" y="499"/>
                    </a:lnTo>
                    <a:lnTo>
                      <a:pt x="542" y="501"/>
                    </a:lnTo>
                    <a:lnTo>
                      <a:pt x="542" y="502"/>
                    </a:lnTo>
                    <a:lnTo>
                      <a:pt x="542" y="502"/>
                    </a:lnTo>
                    <a:lnTo>
                      <a:pt x="544" y="504"/>
                    </a:lnTo>
                    <a:lnTo>
                      <a:pt x="546" y="504"/>
                    </a:lnTo>
                    <a:lnTo>
                      <a:pt x="547" y="504"/>
                    </a:lnTo>
                    <a:lnTo>
                      <a:pt x="552" y="504"/>
                    </a:lnTo>
                    <a:lnTo>
                      <a:pt x="560" y="504"/>
                    </a:lnTo>
                    <a:lnTo>
                      <a:pt x="561" y="504"/>
                    </a:lnTo>
                    <a:lnTo>
                      <a:pt x="561" y="502"/>
                    </a:lnTo>
                    <a:lnTo>
                      <a:pt x="563" y="501"/>
                    </a:lnTo>
                    <a:lnTo>
                      <a:pt x="563" y="499"/>
                    </a:lnTo>
                    <a:lnTo>
                      <a:pt x="561" y="498"/>
                    </a:lnTo>
                    <a:lnTo>
                      <a:pt x="563" y="496"/>
                    </a:lnTo>
                    <a:lnTo>
                      <a:pt x="567" y="491"/>
                    </a:lnTo>
                    <a:lnTo>
                      <a:pt x="569" y="490"/>
                    </a:lnTo>
                    <a:lnTo>
                      <a:pt x="577" y="487"/>
                    </a:lnTo>
                    <a:lnTo>
                      <a:pt x="580" y="485"/>
                    </a:lnTo>
                    <a:lnTo>
                      <a:pt x="580" y="484"/>
                    </a:lnTo>
                    <a:lnTo>
                      <a:pt x="578" y="479"/>
                    </a:lnTo>
                    <a:lnTo>
                      <a:pt x="578" y="477"/>
                    </a:lnTo>
                    <a:lnTo>
                      <a:pt x="578" y="476"/>
                    </a:lnTo>
                    <a:lnTo>
                      <a:pt x="580" y="471"/>
                    </a:lnTo>
                    <a:lnTo>
                      <a:pt x="582" y="468"/>
                    </a:lnTo>
                    <a:lnTo>
                      <a:pt x="583" y="465"/>
                    </a:lnTo>
                    <a:lnTo>
                      <a:pt x="585" y="463"/>
                    </a:lnTo>
                    <a:lnTo>
                      <a:pt x="586" y="463"/>
                    </a:lnTo>
                    <a:lnTo>
                      <a:pt x="589" y="459"/>
                    </a:lnTo>
                    <a:lnTo>
                      <a:pt x="591" y="455"/>
                    </a:lnTo>
                    <a:lnTo>
                      <a:pt x="591" y="454"/>
                    </a:lnTo>
                    <a:lnTo>
                      <a:pt x="594" y="452"/>
                    </a:lnTo>
                    <a:lnTo>
                      <a:pt x="594" y="448"/>
                    </a:lnTo>
                    <a:lnTo>
                      <a:pt x="597" y="443"/>
                    </a:lnTo>
                    <a:lnTo>
                      <a:pt x="600" y="441"/>
                    </a:lnTo>
                    <a:lnTo>
                      <a:pt x="600" y="440"/>
                    </a:lnTo>
                    <a:lnTo>
                      <a:pt x="602" y="438"/>
                    </a:lnTo>
                    <a:lnTo>
                      <a:pt x="602" y="435"/>
                    </a:lnTo>
                    <a:lnTo>
                      <a:pt x="602" y="427"/>
                    </a:lnTo>
                    <a:lnTo>
                      <a:pt x="602" y="423"/>
                    </a:lnTo>
                    <a:lnTo>
                      <a:pt x="603" y="416"/>
                    </a:lnTo>
                    <a:lnTo>
                      <a:pt x="607" y="412"/>
                    </a:lnTo>
                    <a:lnTo>
                      <a:pt x="607" y="410"/>
                    </a:lnTo>
                    <a:lnTo>
                      <a:pt x="610" y="409"/>
                    </a:lnTo>
                    <a:lnTo>
                      <a:pt x="611" y="405"/>
                    </a:lnTo>
                    <a:lnTo>
                      <a:pt x="611" y="405"/>
                    </a:lnTo>
                    <a:lnTo>
                      <a:pt x="611" y="399"/>
                    </a:lnTo>
                    <a:lnTo>
                      <a:pt x="611" y="396"/>
                    </a:lnTo>
                    <a:lnTo>
                      <a:pt x="611" y="394"/>
                    </a:lnTo>
                    <a:lnTo>
                      <a:pt x="613" y="388"/>
                    </a:lnTo>
                    <a:lnTo>
                      <a:pt x="613" y="384"/>
                    </a:lnTo>
                    <a:lnTo>
                      <a:pt x="614" y="379"/>
                    </a:lnTo>
                    <a:lnTo>
                      <a:pt x="616" y="373"/>
                    </a:lnTo>
                    <a:lnTo>
                      <a:pt x="616" y="373"/>
                    </a:lnTo>
                    <a:lnTo>
                      <a:pt x="616" y="366"/>
                    </a:lnTo>
                    <a:lnTo>
                      <a:pt x="614" y="362"/>
                    </a:lnTo>
                    <a:lnTo>
                      <a:pt x="614" y="355"/>
                    </a:lnTo>
                    <a:lnTo>
                      <a:pt x="613" y="351"/>
                    </a:lnTo>
                    <a:lnTo>
                      <a:pt x="616" y="340"/>
                    </a:lnTo>
                    <a:lnTo>
                      <a:pt x="614" y="338"/>
                    </a:lnTo>
                    <a:lnTo>
                      <a:pt x="614" y="341"/>
                    </a:lnTo>
                    <a:lnTo>
                      <a:pt x="613" y="340"/>
                    </a:lnTo>
                    <a:lnTo>
                      <a:pt x="614" y="338"/>
                    </a:lnTo>
                    <a:lnTo>
                      <a:pt x="614" y="335"/>
                    </a:lnTo>
                    <a:lnTo>
                      <a:pt x="614" y="332"/>
                    </a:lnTo>
                    <a:lnTo>
                      <a:pt x="614" y="332"/>
                    </a:lnTo>
                    <a:lnTo>
                      <a:pt x="614" y="332"/>
                    </a:lnTo>
                    <a:lnTo>
                      <a:pt x="614" y="330"/>
                    </a:lnTo>
                    <a:lnTo>
                      <a:pt x="613" y="332"/>
                    </a:lnTo>
                    <a:lnTo>
                      <a:pt x="613" y="329"/>
                    </a:lnTo>
                    <a:lnTo>
                      <a:pt x="614" y="327"/>
                    </a:lnTo>
                    <a:lnTo>
                      <a:pt x="614" y="326"/>
                    </a:lnTo>
                    <a:lnTo>
                      <a:pt x="617" y="324"/>
                    </a:lnTo>
                    <a:lnTo>
                      <a:pt x="617" y="321"/>
                    </a:lnTo>
                    <a:lnTo>
                      <a:pt x="619" y="319"/>
                    </a:lnTo>
                    <a:lnTo>
                      <a:pt x="617" y="318"/>
                    </a:lnTo>
                    <a:lnTo>
                      <a:pt x="617" y="316"/>
                    </a:lnTo>
                    <a:lnTo>
                      <a:pt x="617" y="316"/>
                    </a:lnTo>
                    <a:lnTo>
                      <a:pt x="619" y="316"/>
                    </a:lnTo>
                    <a:lnTo>
                      <a:pt x="619" y="315"/>
                    </a:lnTo>
                    <a:lnTo>
                      <a:pt x="621" y="315"/>
                    </a:lnTo>
                    <a:lnTo>
                      <a:pt x="622" y="316"/>
                    </a:lnTo>
                    <a:lnTo>
                      <a:pt x="624" y="319"/>
                    </a:lnTo>
                    <a:lnTo>
                      <a:pt x="624" y="319"/>
                    </a:lnTo>
                    <a:lnTo>
                      <a:pt x="625" y="319"/>
                    </a:lnTo>
                    <a:lnTo>
                      <a:pt x="628" y="318"/>
                    </a:lnTo>
                    <a:lnTo>
                      <a:pt x="632" y="313"/>
                    </a:lnTo>
                    <a:lnTo>
                      <a:pt x="633" y="312"/>
                    </a:lnTo>
                    <a:lnTo>
                      <a:pt x="638" y="305"/>
                    </a:lnTo>
                    <a:lnTo>
                      <a:pt x="641" y="297"/>
                    </a:lnTo>
                    <a:lnTo>
                      <a:pt x="643" y="294"/>
                    </a:lnTo>
                    <a:lnTo>
                      <a:pt x="643" y="293"/>
                    </a:lnTo>
                    <a:lnTo>
                      <a:pt x="643" y="290"/>
                    </a:lnTo>
                    <a:lnTo>
                      <a:pt x="644" y="290"/>
                    </a:lnTo>
                    <a:lnTo>
                      <a:pt x="644" y="290"/>
                    </a:lnTo>
                    <a:lnTo>
                      <a:pt x="644" y="291"/>
                    </a:lnTo>
                    <a:lnTo>
                      <a:pt x="643" y="291"/>
                    </a:lnTo>
                    <a:lnTo>
                      <a:pt x="643" y="293"/>
                    </a:lnTo>
                    <a:lnTo>
                      <a:pt x="644" y="291"/>
                    </a:lnTo>
                    <a:lnTo>
                      <a:pt x="646" y="288"/>
                    </a:lnTo>
                    <a:lnTo>
                      <a:pt x="646" y="286"/>
                    </a:lnTo>
                    <a:lnTo>
                      <a:pt x="647" y="286"/>
                    </a:lnTo>
                    <a:lnTo>
                      <a:pt x="647" y="286"/>
                    </a:lnTo>
                    <a:lnTo>
                      <a:pt x="650" y="282"/>
                    </a:lnTo>
                    <a:lnTo>
                      <a:pt x="653" y="279"/>
                    </a:lnTo>
                    <a:lnTo>
                      <a:pt x="657" y="277"/>
                    </a:lnTo>
                    <a:lnTo>
                      <a:pt x="660" y="276"/>
                    </a:lnTo>
                    <a:lnTo>
                      <a:pt x="660" y="276"/>
                    </a:lnTo>
                    <a:lnTo>
                      <a:pt x="663" y="271"/>
                    </a:lnTo>
                    <a:lnTo>
                      <a:pt x="666" y="269"/>
                    </a:lnTo>
                    <a:lnTo>
                      <a:pt x="669" y="265"/>
                    </a:lnTo>
                    <a:lnTo>
                      <a:pt x="669" y="263"/>
                    </a:lnTo>
                    <a:lnTo>
                      <a:pt x="669" y="261"/>
                    </a:lnTo>
                    <a:lnTo>
                      <a:pt x="671" y="263"/>
                    </a:lnTo>
                    <a:lnTo>
                      <a:pt x="671" y="261"/>
                    </a:lnTo>
                    <a:lnTo>
                      <a:pt x="674" y="260"/>
                    </a:lnTo>
                    <a:lnTo>
                      <a:pt x="678" y="254"/>
                    </a:lnTo>
                    <a:lnTo>
                      <a:pt x="682" y="249"/>
                    </a:lnTo>
                    <a:lnTo>
                      <a:pt x="685" y="240"/>
                    </a:lnTo>
                    <a:lnTo>
                      <a:pt x="686" y="233"/>
                    </a:lnTo>
                    <a:lnTo>
                      <a:pt x="688" y="232"/>
                    </a:lnTo>
                    <a:lnTo>
                      <a:pt x="688" y="230"/>
                    </a:lnTo>
                    <a:lnTo>
                      <a:pt x="686" y="227"/>
                    </a:lnTo>
                    <a:lnTo>
                      <a:pt x="686" y="227"/>
                    </a:lnTo>
                    <a:lnTo>
                      <a:pt x="688" y="225"/>
                    </a:lnTo>
                    <a:lnTo>
                      <a:pt x="686" y="225"/>
                    </a:lnTo>
                    <a:lnTo>
                      <a:pt x="688" y="224"/>
                    </a:lnTo>
                    <a:lnTo>
                      <a:pt x="688" y="22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6" name="Freeform 33">
                <a:extLst>
                  <a:ext uri="{FF2B5EF4-FFF2-40B4-BE49-F238E27FC236}">
                    <a16:creationId xmlns:a16="http://schemas.microsoft.com/office/drawing/2014/main" id="{69D3E4FF-9DDD-8EEA-94F6-EF87297CC056}"/>
                  </a:ext>
                </a:extLst>
              </p:cNvPr>
              <p:cNvSpPr>
                <a:spLocks noEditPoints="1"/>
              </p:cNvSpPr>
              <p:nvPr/>
            </p:nvSpPr>
            <p:spPr bwMode="gray">
              <a:xfrm>
                <a:off x="1288" y="1088"/>
                <a:ext cx="110" cy="115"/>
              </a:xfrm>
              <a:custGeom>
                <a:avLst/>
                <a:gdLst>
                  <a:gd name="T0" fmla="*/ 99 w 110"/>
                  <a:gd name="T1" fmla="*/ 111 h 115"/>
                  <a:gd name="T2" fmla="*/ 94 w 110"/>
                  <a:gd name="T3" fmla="*/ 112 h 115"/>
                  <a:gd name="T4" fmla="*/ 102 w 110"/>
                  <a:gd name="T5" fmla="*/ 114 h 115"/>
                  <a:gd name="T6" fmla="*/ 105 w 110"/>
                  <a:gd name="T7" fmla="*/ 103 h 115"/>
                  <a:gd name="T8" fmla="*/ 110 w 110"/>
                  <a:gd name="T9" fmla="*/ 89 h 115"/>
                  <a:gd name="T10" fmla="*/ 104 w 110"/>
                  <a:gd name="T11" fmla="*/ 87 h 115"/>
                  <a:gd name="T12" fmla="*/ 110 w 110"/>
                  <a:gd name="T13" fmla="*/ 90 h 115"/>
                  <a:gd name="T14" fmla="*/ 89 w 110"/>
                  <a:gd name="T15" fmla="*/ 81 h 115"/>
                  <a:gd name="T16" fmla="*/ 89 w 110"/>
                  <a:gd name="T17" fmla="*/ 86 h 115"/>
                  <a:gd name="T18" fmla="*/ 83 w 110"/>
                  <a:gd name="T19" fmla="*/ 90 h 115"/>
                  <a:gd name="T20" fmla="*/ 91 w 110"/>
                  <a:gd name="T21" fmla="*/ 86 h 115"/>
                  <a:gd name="T22" fmla="*/ 83 w 110"/>
                  <a:gd name="T23" fmla="*/ 79 h 115"/>
                  <a:gd name="T24" fmla="*/ 86 w 110"/>
                  <a:gd name="T25" fmla="*/ 83 h 115"/>
                  <a:gd name="T26" fmla="*/ 69 w 110"/>
                  <a:gd name="T27" fmla="*/ 73 h 115"/>
                  <a:gd name="T28" fmla="*/ 64 w 110"/>
                  <a:gd name="T29" fmla="*/ 65 h 115"/>
                  <a:gd name="T30" fmla="*/ 68 w 110"/>
                  <a:gd name="T31" fmla="*/ 72 h 115"/>
                  <a:gd name="T32" fmla="*/ 74 w 110"/>
                  <a:gd name="T33" fmla="*/ 79 h 115"/>
                  <a:gd name="T34" fmla="*/ 54 w 110"/>
                  <a:gd name="T35" fmla="*/ 64 h 115"/>
                  <a:gd name="T36" fmla="*/ 58 w 110"/>
                  <a:gd name="T37" fmla="*/ 69 h 115"/>
                  <a:gd name="T38" fmla="*/ 79 w 110"/>
                  <a:gd name="T39" fmla="*/ 54 h 115"/>
                  <a:gd name="T40" fmla="*/ 25 w 110"/>
                  <a:gd name="T41" fmla="*/ 59 h 115"/>
                  <a:gd name="T42" fmla="*/ 24 w 110"/>
                  <a:gd name="T43" fmla="*/ 54 h 115"/>
                  <a:gd name="T44" fmla="*/ 22 w 110"/>
                  <a:gd name="T45" fmla="*/ 51 h 115"/>
                  <a:gd name="T46" fmla="*/ 19 w 110"/>
                  <a:gd name="T47" fmla="*/ 56 h 115"/>
                  <a:gd name="T48" fmla="*/ 25 w 110"/>
                  <a:gd name="T49" fmla="*/ 62 h 115"/>
                  <a:gd name="T50" fmla="*/ 61 w 110"/>
                  <a:gd name="T51" fmla="*/ 50 h 115"/>
                  <a:gd name="T52" fmla="*/ 57 w 110"/>
                  <a:gd name="T53" fmla="*/ 45 h 115"/>
                  <a:gd name="T54" fmla="*/ 63 w 110"/>
                  <a:gd name="T55" fmla="*/ 53 h 115"/>
                  <a:gd name="T56" fmla="*/ 64 w 110"/>
                  <a:gd name="T57" fmla="*/ 54 h 115"/>
                  <a:gd name="T58" fmla="*/ 27 w 110"/>
                  <a:gd name="T59" fmla="*/ 37 h 115"/>
                  <a:gd name="T60" fmla="*/ 28 w 110"/>
                  <a:gd name="T61" fmla="*/ 37 h 115"/>
                  <a:gd name="T62" fmla="*/ 21 w 110"/>
                  <a:gd name="T63" fmla="*/ 42 h 115"/>
                  <a:gd name="T64" fmla="*/ 14 w 110"/>
                  <a:gd name="T65" fmla="*/ 34 h 115"/>
                  <a:gd name="T66" fmla="*/ 13 w 110"/>
                  <a:gd name="T67" fmla="*/ 43 h 115"/>
                  <a:gd name="T68" fmla="*/ 10 w 110"/>
                  <a:gd name="T69" fmla="*/ 45 h 115"/>
                  <a:gd name="T70" fmla="*/ 16 w 110"/>
                  <a:gd name="T71" fmla="*/ 50 h 115"/>
                  <a:gd name="T72" fmla="*/ 21 w 110"/>
                  <a:gd name="T73" fmla="*/ 50 h 115"/>
                  <a:gd name="T74" fmla="*/ 50 w 110"/>
                  <a:gd name="T75" fmla="*/ 36 h 115"/>
                  <a:gd name="T76" fmla="*/ 41 w 110"/>
                  <a:gd name="T77" fmla="*/ 28 h 115"/>
                  <a:gd name="T78" fmla="*/ 43 w 110"/>
                  <a:gd name="T79" fmla="*/ 29 h 115"/>
                  <a:gd name="T80" fmla="*/ 50 w 110"/>
                  <a:gd name="T81" fmla="*/ 37 h 115"/>
                  <a:gd name="T82" fmla="*/ 49 w 110"/>
                  <a:gd name="T83" fmla="*/ 43 h 115"/>
                  <a:gd name="T84" fmla="*/ 50 w 110"/>
                  <a:gd name="T85" fmla="*/ 36 h 115"/>
                  <a:gd name="T86" fmla="*/ 11 w 110"/>
                  <a:gd name="T87" fmla="*/ 4 h 115"/>
                  <a:gd name="T88" fmla="*/ 7 w 110"/>
                  <a:gd name="T89" fmla="*/ 6 h 115"/>
                  <a:gd name="T90" fmla="*/ 3 w 110"/>
                  <a:gd name="T91" fmla="*/ 9 h 115"/>
                  <a:gd name="T92" fmla="*/ 19 w 110"/>
                  <a:gd name="T93" fmla="*/ 6 h 115"/>
                  <a:gd name="T94" fmla="*/ 32 w 110"/>
                  <a:gd name="T95" fmla="*/ 6 h 115"/>
                  <a:gd name="T96" fmla="*/ 27 w 110"/>
                  <a:gd name="T97" fmla="*/ 3 h 115"/>
                  <a:gd name="T98" fmla="*/ 19 w 110"/>
                  <a:gd name="T99" fmla="*/ 1 h 115"/>
                  <a:gd name="T100" fmla="*/ 32 w 110"/>
                  <a:gd name="T101" fmla="*/ 9 h 115"/>
                  <a:gd name="T102" fmla="*/ 30 w 110"/>
                  <a:gd name="T103" fmla="*/ 17 h 115"/>
                  <a:gd name="T104" fmla="*/ 32 w 110"/>
                  <a:gd name="T105"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0" h="115">
                    <a:moveTo>
                      <a:pt x="105" y="108"/>
                    </a:moveTo>
                    <a:lnTo>
                      <a:pt x="104" y="111"/>
                    </a:lnTo>
                    <a:lnTo>
                      <a:pt x="102" y="111"/>
                    </a:lnTo>
                    <a:lnTo>
                      <a:pt x="100" y="111"/>
                    </a:lnTo>
                    <a:lnTo>
                      <a:pt x="99" y="111"/>
                    </a:lnTo>
                    <a:lnTo>
                      <a:pt x="96" y="111"/>
                    </a:lnTo>
                    <a:lnTo>
                      <a:pt x="96" y="112"/>
                    </a:lnTo>
                    <a:lnTo>
                      <a:pt x="94" y="112"/>
                    </a:lnTo>
                    <a:lnTo>
                      <a:pt x="94" y="112"/>
                    </a:lnTo>
                    <a:lnTo>
                      <a:pt x="94" y="112"/>
                    </a:lnTo>
                    <a:lnTo>
                      <a:pt x="94" y="114"/>
                    </a:lnTo>
                    <a:lnTo>
                      <a:pt x="94" y="114"/>
                    </a:lnTo>
                    <a:lnTo>
                      <a:pt x="94" y="115"/>
                    </a:lnTo>
                    <a:lnTo>
                      <a:pt x="99" y="115"/>
                    </a:lnTo>
                    <a:lnTo>
                      <a:pt x="102" y="114"/>
                    </a:lnTo>
                    <a:lnTo>
                      <a:pt x="105" y="112"/>
                    </a:lnTo>
                    <a:lnTo>
                      <a:pt x="105" y="111"/>
                    </a:lnTo>
                    <a:lnTo>
                      <a:pt x="105" y="108"/>
                    </a:lnTo>
                    <a:lnTo>
                      <a:pt x="105" y="108"/>
                    </a:lnTo>
                    <a:close/>
                    <a:moveTo>
                      <a:pt x="105" y="103"/>
                    </a:moveTo>
                    <a:lnTo>
                      <a:pt x="105" y="104"/>
                    </a:lnTo>
                    <a:lnTo>
                      <a:pt x="105" y="106"/>
                    </a:lnTo>
                    <a:lnTo>
                      <a:pt x="107" y="104"/>
                    </a:lnTo>
                    <a:lnTo>
                      <a:pt x="105" y="103"/>
                    </a:lnTo>
                    <a:close/>
                    <a:moveTo>
                      <a:pt x="110" y="89"/>
                    </a:moveTo>
                    <a:lnTo>
                      <a:pt x="108" y="87"/>
                    </a:lnTo>
                    <a:lnTo>
                      <a:pt x="107" y="87"/>
                    </a:lnTo>
                    <a:lnTo>
                      <a:pt x="107" y="87"/>
                    </a:lnTo>
                    <a:lnTo>
                      <a:pt x="105" y="87"/>
                    </a:lnTo>
                    <a:lnTo>
                      <a:pt x="104" y="87"/>
                    </a:lnTo>
                    <a:lnTo>
                      <a:pt x="102" y="87"/>
                    </a:lnTo>
                    <a:lnTo>
                      <a:pt x="104" y="89"/>
                    </a:lnTo>
                    <a:lnTo>
                      <a:pt x="107" y="89"/>
                    </a:lnTo>
                    <a:lnTo>
                      <a:pt x="108" y="89"/>
                    </a:lnTo>
                    <a:lnTo>
                      <a:pt x="110" y="90"/>
                    </a:lnTo>
                    <a:lnTo>
                      <a:pt x="110" y="89"/>
                    </a:lnTo>
                    <a:lnTo>
                      <a:pt x="110" y="89"/>
                    </a:lnTo>
                    <a:close/>
                    <a:moveTo>
                      <a:pt x="89" y="83"/>
                    </a:moveTo>
                    <a:lnTo>
                      <a:pt x="91" y="81"/>
                    </a:lnTo>
                    <a:lnTo>
                      <a:pt x="89" y="81"/>
                    </a:lnTo>
                    <a:lnTo>
                      <a:pt x="88" y="83"/>
                    </a:lnTo>
                    <a:lnTo>
                      <a:pt x="88" y="83"/>
                    </a:lnTo>
                    <a:lnTo>
                      <a:pt x="89" y="84"/>
                    </a:lnTo>
                    <a:lnTo>
                      <a:pt x="89" y="86"/>
                    </a:lnTo>
                    <a:lnTo>
                      <a:pt x="89" y="86"/>
                    </a:lnTo>
                    <a:lnTo>
                      <a:pt x="88" y="87"/>
                    </a:lnTo>
                    <a:lnTo>
                      <a:pt x="88" y="87"/>
                    </a:lnTo>
                    <a:lnTo>
                      <a:pt x="86" y="87"/>
                    </a:lnTo>
                    <a:lnTo>
                      <a:pt x="86" y="89"/>
                    </a:lnTo>
                    <a:lnTo>
                      <a:pt x="83" y="90"/>
                    </a:lnTo>
                    <a:lnTo>
                      <a:pt x="83" y="92"/>
                    </a:lnTo>
                    <a:lnTo>
                      <a:pt x="85" y="90"/>
                    </a:lnTo>
                    <a:lnTo>
                      <a:pt x="86" y="89"/>
                    </a:lnTo>
                    <a:lnTo>
                      <a:pt x="88" y="89"/>
                    </a:lnTo>
                    <a:lnTo>
                      <a:pt x="91" y="86"/>
                    </a:lnTo>
                    <a:lnTo>
                      <a:pt x="89" y="83"/>
                    </a:lnTo>
                    <a:close/>
                    <a:moveTo>
                      <a:pt x="86" y="81"/>
                    </a:moveTo>
                    <a:lnTo>
                      <a:pt x="85" y="81"/>
                    </a:lnTo>
                    <a:lnTo>
                      <a:pt x="85" y="79"/>
                    </a:lnTo>
                    <a:lnTo>
                      <a:pt x="83" y="79"/>
                    </a:lnTo>
                    <a:lnTo>
                      <a:pt x="83" y="79"/>
                    </a:lnTo>
                    <a:lnTo>
                      <a:pt x="83" y="81"/>
                    </a:lnTo>
                    <a:lnTo>
                      <a:pt x="83" y="81"/>
                    </a:lnTo>
                    <a:lnTo>
                      <a:pt x="83" y="81"/>
                    </a:lnTo>
                    <a:lnTo>
                      <a:pt x="86" y="83"/>
                    </a:lnTo>
                    <a:lnTo>
                      <a:pt x="88" y="83"/>
                    </a:lnTo>
                    <a:lnTo>
                      <a:pt x="86" y="81"/>
                    </a:lnTo>
                    <a:close/>
                    <a:moveTo>
                      <a:pt x="74" y="76"/>
                    </a:moveTo>
                    <a:lnTo>
                      <a:pt x="72" y="75"/>
                    </a:lnTo>
                    <a:lnTo>
                      <a:pt x="69" y="73"/>
                    </a:lnTo>
                    <a:lnTo>
                      <a:pt x="69" y="70"/>
                    </a:lnTo>
                    <a:lnTo>
                      <a:pt x="68" y="69"/>
                    </a:lnTo>
                    <a:lnTo>
                      <a:pt x="66" y="65"/>
                    </a:lnTo>
                    <a:lnTo>
                      <a:pt x="64" y="64"/>
                    </a:lnTo>
                    <a:lnTo>
                      <a:pt x="64" y="65"/>
                    </a:lnTo>
                    <a:lnTo>
                      <a:pt x="66" y="65"/>
                    </a:lnTo>
                    <a:lnTo>
                      <a:pt x="66" y="67"/>
                    </a:lnTo>
                    <a:lnTo>
                      <a:pt x="68" y="70"/>
                    </a:lnTo>
                    <a:lnTo>
                      <a:pt x="68" y="72"/>
                    </a:lnTo>
                    <a:lnTo>
                      <a:pt x="68" y="72"/>
                    </a:lnTo>
                    <a:lnTo>
                      <a:pt x="68" y="73"/>
                    </a:lnTo>
                    <a:lnTo>
                      <a:pt x="66" y="73"/>
                    </a:lnTo>
                    <a:lnTo>
                      <a:pt x="68" y="75"/>
                    </a:lnTo>
                    <a:lnTo>
                      <a:pt x="71" y="75"/>
                    </a:lnTo>
                    <a:lnTo>
                      <a:pt x="74" y="79"/>
                    </a:lnTo>
                    <a:lnTo>
                      <a:pt x="74" y="78"/>
                    </a:lnTo>
                    <a:lnTo>
                      <a:pt x="74" y="76"/>
                    </a:lnTo>
                    <a:close/>
                    <a:moveTo>
                      <a:pt x="57" y="67"/>
                    </a:moveTo>
                    <a:lnTo>
                      <a:pt x="57" y="65"/>
                    </a:lnTo>
                    <a:lnTo>
                      <a:pt x="54" y="64"/>
                    </a:lnTo>
                    <a:lnTo>
                      <a:pt x="54" y="64"/>
                    </a:lnTo>
                    <a:lnTo>
                      <a:pt x="52" y="65"/>
                    </a:lnTo>
                    <a:lnTo>
                      <a:pt x="54" y="65"/>
                    </a:lnTo>
                    <a:lnTo>
                      <a:pt x="57" y="67"/>
                    </a:lnTo>
                    <a:lnTo>
                      <a:pt x="58" y="69"/>
                    </a:lnTo>
                    <a:lnTo>
                      <a:pt x="58" y="67"/>
                    </a:lnTo>
                    <a:lnTo>
                      <a:pt x="57" y="67"/>
                    </a:lnTo>
                    <a:close/>
                    <a:moveTo>
                      <a:pt x="80" y="54"/>
                    </a:moveTo>
                    <a:lnTo>
                      <a:pt x="80" y="54"/>
                    </a:lnTo>
                    <a:lnTo>
                      <a:pt x="79" y="54"/>
                    </a:lnTo>
                    <a:lnTo>
                      <a:pt x="79" y="58"/>
                    </a:lnTo>
                    <a:lnTo>
                      <a:pt x="79" y="58"/>
                    </a:lnTo>
                    <a:lnTo>
                      <a:pt x="80" y="56"/>
                    </a:lnTo>
                    <a:lnTo>
                      <a:pt x="80" y="54"/>
                    </a:lnTo>
                    <a:close/>
                    <a:moveTo>
                      <a:pt x="25" y="59"/>
                    </a:moveTo>
                    <a:lnTo>
                      <a:pt x="25" y="58"/>
                    </a:lnTo>
                    <a:lnTo>
                      <a:pt x="25" y="58"/>
                    </a:lnTo>
                    <a:lnTo>
                      <a:pt x="25" y="54"/>
                    </a:lnTo>
                    <a:lnTo>
                      <a:pt x="24" y="53"/>
                    </a:lnTo>
                    <a:lnTo>
                      <a:pt x="24" y="54"/>
                    </a:lnTo>
                    <a:lnTo>
                      <a:pt x="22" y="54"/>
                    </a:lnTo>
                    <a:lnTo>
                      <a:pt x="24" y="53"/>
                    </a:lnTo>
                    <a:lnTo>
                      <a:pt x="24" y="53"/>
                    </a:lnTo>
                    <a:lnTo>
                      <a:pt x="24" y="51"/>
                    </a:lnTo>
                    <a:lnTo>
                      <a:pt x="22" y="51"/>
                    </a:lnTo>
                    <a:lnTo>
                      <a:pt x="21" y="53"/>
                    </a:lnTo>
                    <a:lnTo>
                      <a:pt x="19" y="53"/>
                    </a:lnTo>
                    <a:lnTo>
                      <a:pt x="19" y="53"/>
                    </a:lnTo>
                    <a:lnTo>
                      <a:pt x="18" y="53"/>
                    </a:lnTo>
                    <a:lnTo>
                      <a:pt x="19" y="56"/>
                    </a:lnTo>
                    <a:lnTo>
                      <a:pt x="21" y="56"/>
                    </a:lnTo>
                    <a:lnTo>
                      <a:pt x="21" y="59"/>
                    </a:lnTo>
                    <a:lnTo>
                      <a:pt x="22" y="59"/>
                    </a:lnTo>
                    <a:lnTo>
                      <a:pt x="22" y="62"/>
                    </a:lnTo>
                    <a:lnTo>
                      <a:pt x="25" y="62"/>
                    </a:lnTo>
                    <a:lnTo>
                      <a:pt x="27" y="59"/>
                    </a:lnTo>
                    <a:lnTo>
                      <a:pt x="27" y="59"/>
                    </a:lnTo>
                    <a:lnTo>
                      <a:pt x="25" y="59"/>
                    </a:lnTo>
                    <a:close/>
                    <a:moveTo>
                      <a:pt x="64" y="53"/>
                    </a:moveTo>
                    <a:lnTo>
                      <a:pt x="61" y="50"/>
                    </a:lnTo>
                    <a:lnTo>
                      <a:pt x="61" y="48"/>
                    </a:lnTo>
                    <a:lnTo>
                      <a:pt x="60" y="43"/>
                    </a:lnTo>
                    <a:lnTo>
                      <a:pt x="58" y="43"/>
                    </a:lnTo>
                    <a:lnTo>
                      <a:pt x="58" y="43"/>
                    </a:lnTo>
                    <a:lnTo>
                      <a:pt x="57" y="45"/>
                    </a:lnTo>
                    <a:lnTo>
                      <a:pt x="58" y="47"/>
                    </a:lnTo>
                    <a:lnTo>
                      <a:pt x="60" y="47"/>
                    </a:lnTo>
                    <a:lnTo>
                      <a:pt x="60" y="48"/>
                    </a:lnTo>
                    <a:lnTo>
                      <a:pt x="61" y="51"/>
                    </a:lnTo>
                    <a:lnTo>
                      <a:pt x="63" y="53"/>
                    </a:lnTo>
                    <a:lnTo>
                      <a:pt x="63" y="53"/>
                    </a:lnTo>
                    <a:lnTo>
                      <a:pt x="61" y="54"/>
                    </a:lnTo>
                    <a:lnTo>
                      <a:pt x="61" y="54"/>
                    </a:lnTo>
                    <a:lnTo>
                      <a:pt x="63" y="54"/>
                    </a:lnTo>
                    <a:lnTo>
                      <a:pt x="64" y="54"/>
                    </a:lnTo>
                    <a:lnTo>
                      <a:pt x="64" y="54"/>
                    </a:lnTo>
                    <a:lnTo>
                      <a:pt x="64" y="53"/>
                    </a:lnTo>
                    <a:close/>
                    <a:moveTo>
                      <a:pt x="30" y="37"/>
                    </a:moveTo>
                    <a:lnTo>
                      <a:pt x="30" y="36"/>
                    </a:lnTo>
                    <a:lnTo>
                      <a:pt x="27" y="37"/>
                    </a:lnTo>
                    <a:lnTo>
                      <a:pt x="25" y="37"/>
                    </a:lnTo>
                    <a:lnTo>
                      <a:pt x="25" y="37"/>
                    </a:lnTo>
                    <a:lnTo>
                      <a:pt x="25" y="37"/>
                    </a:lnTo>
                    <a:lnTo>
                      <a:pt x="27" y="39"/>
                    </a:lnTo>
                    <a:lnTo>
                      <a:pt x="28" y="37"/>
                    </a:lnTo>
                    <a:lnTo>
                      <a:pt x="30" y="37"/>
                    </a:lnTo>
                    <a:lnTo>
                      <a:pt x="30" y="37"/>
                    </a:lnTo>
                    <a:close/>
                    <a:moveTo>
                      <a:pt x="22" y="47"/>
                    </a:moveTo>
                    <a:lnTo>
                      <a:pt x="22" y="43"/>
                    </a:lnTo>
                    <a:lnTo>
                      <a:pt x="21" y="42"/>
                    </a:lnTo>
                    <a:lnTo>
                      <a:pt x="19" y="39"/>
                    </a:lnTo>
                    <a:lnTo>
                      <a:pt x="18" y="37"/>
                    </a:lnTo>
                    <a:lnTo>
                      <a:pt x="18" y="36"/>
                    </a:lnTo>
                    <a:lnTo>
                      <a:pt x="18" y="36"/>
                    </a:lnTo>
                    <a:lnTo>
                      <a:pt x="14" y="34"/>
                    </a:lnTo>
                    <a:lnTo>
                      <a:pt x="14" y="34"/>
                    </a:lnTo>
                    <a:lnTo>
                      <a:pt x="14" y="37"/>
                    </a:lnTo>
                    <a:lnTo>
                      <a:pt x="14" y="40"/>
                    </a:lnTo>
                    <a:lnTo>
                      <a:pt x="13" y="43"/>
                    </a:lnTo>
                    <a:lnTo>
                      <a:pt x="13" y="43"/>
                    </a:lnTo>
                    <a:lnTo>
                      <a:pt x="13" y="43"/>
                    </a:lnTo>
                    <a:lnTo>
                      <a:pt x="13" y="45"/>
                    </a:lnTo>
                    <a:lnTo>
                      <a:pt x="13" y="47"/>
                    </a:lnTo>
                    <a:lnTo>
                      <a:pt x="11" y="45"/>
                    </a:lnTo>
                    <a:lnTo>
                      <a:pt x="10" y="45"/>
                    </a:lnTo>
                    <a:lnTo>
                      <a:pt x="11" y="47"/>
                    </a:lnTo>
                    <a:lnTo>
                      <a:pt x="13" y="48"/>
                    </a:lnTo>
                    <a:lnTo>
                      <a:pt x="14" y="48"/>
                    </a:lnTo>
                    <a:lnTo>
                      <a:pt x="16" y="48"/>
                    </a:lnTo>
                    <a:lnTo>
                      <a:pt x="16" y="50"/>
                    </a:lnTo>
                    <a:lnTo>
                      <a:pt x="16" y="50"/>
                    </a:lnTo>
                    <a:lnTo>
                      <a:pt x="18" y="51"/>
                    </a:lnTo>
                    <a:lnTo>
                      <a:pt x="18" y="51"/>
                    </a:lnTo>
                    <a:lnTo>
                      <a:pt x="21" y="50"/>
                    </a:lnTo>
                    <a:lnTo>
                      <a:pt x="21" y="50"/>
                    </a:lnTo>
                    <a:lnTo>
                      <a:pt x="22" y="48"/>
                    </a:lnTo>
                    <a:lnTo>
                      <a:pt x="22" y="48"/>
                    </a:lnTo>
                    <a:lnTo>
                      <a:pt x="22" y="47"/>
                    </a:lnTo>
                    <a:close/>
                    <a:moveTo>
                      <a:pt x="50" y="36"/>
                    </a:moveTo>
                    <a:lnTo>
                      <a:pt x="50" y="36"/>
                    </a:lnTo>
                    <a:lnTo>
                      <a:pt x="49" y="34"/>
                    </a:lnTo>
                    <a:lnTo>
                      <a:pt x="47" y="31"/>
                    </a:lnTo>
                    <a:lnTo>
                      <a:pt x="44" y="31"/>
                    </a:lnTo>
                    <a:lnTo>
                      <a:pt x="41" y="28"/>
                    </a:lnTo>
                    <a:lnTo>
                      <a:pt x="41" y="28"/>
                    </a:lnTo>
                    <a:lnTo>
                      <a:pt x="39" y="28"/>
                    </a:lnTo>
                    <a:lnTo>
                      <a:pt x="39" y="29"/>
                    </a:lnTo>
                    <a:lnTo>
                      <a:pt x="39" y="29"/>
                    </a:lnTo>
                    <a:lnTo>
                      <a:pt x="41" y="29"/>
                    </a:lnTo>
                    <a:lnTo>
                      <a:pt x="43" y="29"/>
                    </a:lnTo>
                    <a:lnTo>
                      <a:pt x="44" y="31"/>
                    </a:lnTo>
                    <a:lnTo>
                      <a:pt x="46" y="33"/>
                    </a:lnTo>
                    <a:lnTo>
                      <a:pt x="47" y="34"/>
                    </a:lnTo>
                    <a:lnTo>
                      <a:pt x="50" y="36"/>
                    </a:lnTo>
                    <a:lnTo>
                      <a:pt x="50" y="37"/>
                    </a:lnTo>
                    <a:lnTo>
                      <a:pt x="49" y="39"/>
                    </a:lnTo>
                    <a:lnTo>
                      <a:pt x="49" y="42"/>
                    </a:lnTo>
                    <a:lnTo>
                      <a:pt x="47" y="42"/>
                    </a:lnTo>
                    <a:lnTo>
                      <a:pt x="47" y="42"/>
                    </a:lnTo>
                    <a:lnTo>
                      <a:pt x="49" y="43"/>
                    </a:lnTo>
                    <a:lnTo>
                      <a:pt x="49" y="43"/>
                    </a:lnTo>
                    <a:lnTo>
                      <a:pt x="50" y="45"/>
                    </a:lnTo>
                    <a:lnTo>
                      <a:pt x="50" y="42"/>
                    </a:lnTo>
                    <a:lnTo>
                      <a:pt x="50" y="40"/>
                    </a:lnTo>
                    <a:lnTo>
                      <a:pt x="50" y="36"/>
                    </a:lnTo>
                    <a:close/>
                    <a:moveTo>
                      <a:pt x="19" y="4"/>
                    </a:moveTo>
                    <a:lnTo>
                      <a:pt x="16" y="4"/>
                    </a:lnTo>
                    <a:lnTo>
                      <a:pt x="13" y="4"/>
                    </a:lnTo>
                    <a:lnTo>
                      <a:pt x="13" y="4"/>
                    </a:lnTo>
                    <a:lnTo>
                      <a:pt x="11" y="4"/>
                    </a:lnTo>
                    <a:lnTo>
                      <a:pt x="10" y="4"/>
                    </a:lnTo>
                    <a:lnTo>
                      <a:pt x="7" y="3"/>
                    </a:lnTo>
                    <a:lnTo>
                      <a:pt x="7" y="4"/>
                    </a:lnTo>
                    <a:lnTo>
                      <a:pt x="7" y="4"/>
                    </a:lnTo>
                    <a:lnTo>
                      <a:pt x="7" y="6"/>
                    </a:lnTo>
                    <a:lnTo>
                      <a:pt x="5" y="7"/>
                    </a:lnTo>
                    <a:lnTo>
                      <a:pt x="3" y="7"/>
                    </a:lnTo>
                    <a:lnTo>
                      <a:pt x="2" y="6"/>
                    </a:lnTo>
                    <a:lnTo>
                      <a:pt x="0" y="6"/>
                    </a:lnTo>
                    <a:lnTo>
                      <a:pt x="3" y="9"/>
                    </a:lnTo>
                    <a:lnTo>
                      <a:pt x="5" y="9"/>
                    </a:lnTo>
                    <a:lnTo>
                      <a:pt x="7" y="9"/>
                    </a:lnTo>
                    <a:lnTo>
                      <a:pt x="8" y="7"/>
                    </a:lnTo>
                    <a:lnTo>
                      <a:pt x="14" y="6"/>
                    </a:lnTo>
                    <a:lnTo>
                      <a:pt x="19" y="6"/>
                    </a:lnTo>
                    <a:lnTo>
                      <a:pt x="19" y="6"/>
                    </a:lnTo>
                    <a:lnTo>
                      <a:pt x="19" y="4"/>
                    </a:lnTo>
                    <a:close/>
                    <a:moveTo>
                      <a:pt x="35" y="9"/>
                    </a:moveTo>
                    <a:lnTo>
                      <a:pt x="33" y="7"/>
                    </a:lnTo>
                    <a:lnTo>
                      <a:pt x="32" y="6"/>
                    </a:lnTo>
                    <a:lnTo>
                      <a:pt x="30" y="6"/>
                    </a:lnTo>
                    <a:lnTo>
                      <a:pt x="30" y="6"/>
                    </a:lnTo>
                    <a:lnTo>
                      <a:pt x="30" y="4"/>
                    </a:lnTo>
                    <a:lnTo>
                      <a:pt x="28" y="4"/>
                    </a:lnTo>
                    <a:lnTo>
                      <a:pt x="27" y="3"/>
                    </a:lnTo>
                    <a:lnTo>
                      <a:pt x="25" y="1"/>
                    </a:lnTo>
                    <a:lnTo>
                      <a:pt x="24" y="1"/>
                    </a:lnTo>
                    <a:lnTo>
                      <a:pt x="22" y="0"/>
                    </a:lnTo>
                    <a:lnTo>
                      <a:pt x="21" y="0"/>
                    </a:lnTo>
                    <a:lnTo>
                      <a:pt x="19" y="1"/>
                    </a:lnTo>
                    <a:lnTo>
                      <a:pt x="21" y="1"/>
                    </a:lnTo>
                    <a:lnTo>
                      <a:pt x="27" y="3"/>
                    </a:lnTo>
                    <a:lnTo>
                      <a:pt x="30" y="6"/>
                    </a:lnTo>
                    <a:lnTo>
                      <a:pt x="32" y="7"/>
                    </a:lnTo>
                    <a:lnTo>
                      <a:pt x="32" y="9"/>
                    </a:lnTo>
                    <a:lnTo>
                      <a:pt x="32" y="11"/>
                    </a:lnTo>
                    <a:lnTo>
                      <a:pt x="32" y="12"/>
                    </a:lnTo>
                    <a:lnTo>
                      <a:pt x="32" y="14"/>
                    </a:lnTo>
                    <a:lnTo>
                      <a:pt x="32" y="15"/>
                    </a:lnTo>
                    <a:lnTo>
                      <a:pt x="30" y="17"/>
                    </a:lnTo>
                    <a:lnTo>
                      <a:pt x="28" y="18"/>
                    </a:lnTo>
                    <a:lnTo>
                      <a:pt x="30" y="18"/>
                    </a:lnTo>
                    <a:lnTo>
                      <a:pt x="32" y="20"/>
                    </a:lnTo>
                    <a:lnTo>
                      <a:pt x="32" y="20"/>
                    </a:lnTo>
                    <a:lnTo>
                      <a:pt x="32" y="20"/>
                    </a:lnTo>
                    <a:lnTo>
                      <a:pt x="33" y="14"/>
                    </a:lnTo>
                    <a:lnTo>
                      <a:pt x="35" y="12"/>
                    </a:lnTo>
                    <a:lnTo>
                      <a:pt x="35" y="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7" name="Freeform 34">
                <a:extLst>
                  <a:ext uri="{FF2B5EF4-FFF2-40B4-BE49-F238E27FC236}">
                    <a16:creationId xmlns:a16="http://schemas.microsoft.com/office/drawing/2014/main" id="{04BCC715-22F6-DA6C-AE21-75AFAB0FC6FA}"/>
                  </a:ext>
                </a:extLst>
              </p:cNvPr>
              <p:cNvSpPr>
                <a:spLocks/>
              </p:cNvSpPr>
              <p:nvPr/>
            </p:nvSpPr>
            <p:spPr bwMode="gray">
              <a:xfrm>
                <a:off x="4232" y="1061"/>
                <a:ext cx="60" cy="31"/>
              </a:xfrm>
              <a:custGeom>
                <a:avLst/>
                <a:gdLst>
                  <a:gd name="T0" fmla="*/ 50 w 60"/>
                  <a:gd name="T1" fmla="*/ 11 h 31"/>
                  <a:gd name="T2" fmla="*/ 50 w 60"/>
                  <a:gd name="T3" fmla="*/ 14 h 31"/>
                  <a:gd name="T4" fmla="*/ 52 w 60"/>
                  <a:gd name="T5" fmla="*/ 16 h 31"/>
                  <a:gd name="T6" fmla="*/ 55 w 60"/>
                  <a:gd name="T7" fmla="*/ 17 h 31"/>
                  <a:gd name="T8" fmla="*/ 57 w 60"/>
                  <a:gd name="T9" fmla="*/ 17 h 31"/>
                  <a:gd name="T10" fmla="*/ 60 w 60"/>
                  <a:gd name="T11" fmla="*/ 20 h 31"/>
                  <a:gd name="T12" fmla="*/ 58 w 60"/>
                  <a:gd name="T13" fmla="*/ 24 h 31"/>
                  <a:gd name="T14" fmla="*/ 58 w 60"/>
                  <a:gd name="T15" fmla="*/ 25 h 31"/>
                  <a:gd name="T16" fmla="*/ 58 w 60"/>
                  <a:gd name="T17" fmla="*/ 27 h 31"/>
                  <a:gd name="T18" fmla="*/ 58 w 60"/>
                  <a:gd name="T19" fmla="*/ 28 h 31"/>
                  <a:gd name="T20" fmla="*/ 57 w 60"/>
                  <a:gd name="T21" fmla="*/ 28 h 31"/>
                  <a:gd name="T22" fmla="*/ 55 w 60"/>
                  <a:gd name="T23" fmla="*/ 28 h 31"/>
                  <a:gd name="T24" fmla="*/ 52 w 60"/>
                  <a:gd name="T25" fmla="*/ 30 h 31"/>
                  <a:gd name="T26" fmla="*/ 47 w 60"/>
                  <a:gd name="T27" fmla="*/ 28 h 31"/>
                  <a:gd name="T28" fmla="*/ 46 w 60"/>
                  <a:gd name="T29" fmla="*/ 30 h 31"/>
                  <a:gd name="T30" fmla="*/ 38 w 60"/>
                  <a:gd name="T31" fmla="*/ 30 h 31"/>
                  <a:gd name="T32" fmla="*/ 33 w 60"/>
                  <a:gd name="T33" fmla="*/ 30 h 31"/>
                  <a:gd name="T34" fmla="*/ 30 w 60"/>
                  <a:gd name="T35" fmla="*/ 30 h 31"/>
                  <a:gd name="T36" fmla="*/ 27 w 60"/>
                  <a:gd name="T37" fmla="*/ 28 h 31"/>
                  <a:gd name="T38" fmla="*/ 25 w 60"/>
                  <a:gd name="T39" fmla="*/ 31 h 31"/>
                  <a:gd name="T40" fmla="*/ 18 w 60"/>
                  <a:gd name="T41" fmla="*/ 31 h 31"/>
                  <a:gd name="T42" fmla="*/ 16 w 60"/>
                  <a:gd name="T43" fmla="*/ 31 h 31"/>
                  <a:gd name="T44" fmla="*/ 16 w 60"/>
                  <a:gd name="T45" fmla="*/ 31 h 31"/>
                  <a:gd name="T46" fmla="*/ 15 w 60"/>
                  <a:gd name="T47" fmla="*/ 30 h 31"/>
                  <a:gd name="T48" fmla="*/ 11 w 60"/>
                  <a:gd name="T49" fmla="*/ 30 h 31"/>
                  <a:gd name="T50" fmla="*/ 8 w 60"/>
                  <a:gd name="T51" fmla="*/ 30 h 31"/>
                  <a:gd name="T52" fmla="*/ 4 w 60"/>
                  <a:gd name="T53" fmla="*/ 27 h 31"/>
                  <a:gd name="T54" fmla="*/ 2 w 60"/>
                  <a:gd name="T55" fmla="*/ 25 h 31"/>
                  <a:gd name="T56" fmla="*/ 0 w 60"/>
                  <a:gd name="T57" fmla="*/ 24 h 31"/>
                  <a:gd name="T58" fmla="*/ 0 w 60"/>
                  <a:gd name="T59" fmla="*/ 22 h 31"/>
                  <a:gd name="T60" fmla="*/ 4 w 60"/>
                  <a:gd name="T61" fmla="*/ 20 h 31"/>
                  <a:gd name="T62" fmla="*/ 5 w 60"/>
                  <a:gd name="T63" fmla="*/ 16 h 31"/>
                  <a:gd name="T64" fmla="*/ 8 w 60"/>
                  <a:gd name="T65" fmla="*/ 13 h 31"/>
                  <a:gd name="T66" fmla="*/ 11 w 60"/>
                  <a:gd name="T67" fmla="*/ 8 h 31"/>
                  <a:gd name="T68" fmla="*/ 15 w 60"/>
                  <a:gd name="T69" fmla="*/ 5 h 31"/>
                  <a:gd name="T70" fmla="*/ 18 w 60"/>
                  <a:gd name="T71" fmla="*/ 3 h 31"/>
                  <a:gd name="T72" fmla="*/ 21 w 60"/>
                  <a:gd name="T73" fmla="*/ 0 h 31"/>
                  <a:gd name="T74" fmla="*/ 24 w 60"/>
                  <a:gd name="T75" fmla="*/ 0 h 31"/>
                  <a:gd name="T76" fmla="*/ 29 w 60"/>
                  <a:gd name="T77" fmla="*/ 2 h 31"/>
                  <a:gd name="T78" fmla="*/ 29 w 60"/>
                  <a:gd name="T79" fmla="*/ 3 h 31"/>
                  <a:gd name="T80" fmla="*/ 29 w 60"/>
                  <a:gd name="T81" fmla="*/ 5 h 31"/>
                  <a:gd name="T82" fmla="*/ 30 w 60"/>
                  <a:gd name="T83" fmla="*/ 5 h 31"/>
                  <a:gd name="T84" fmla="*/ 35 w 60"/>
                  <a:gd name="T85" fmla="*/ 5 h 31"/>
                  <a:gd name="T86" fmla="*/ 40 w 60"/>
                  <a:gd name="T87" fmla="*/ 6 h 31"/>
                  <a:gd name="T88" fmla="*/ 41 w 60"/>
                  <a:gd name="T89" fmla="*/ 6 h 31"/>
                  <a:gd name="T90" fmla="*/ 44 w 60"/>
                  <a:gd name="T91" fmla="*/ 5 h 31"/>
                  <a:gd name="T92" fmla="*/ 46 w 60"/>
                  <a:gd name="T93" fmla="*/ 5 h 31"/>
                  <a:gd name="T94" fmla="*/ 49 w 60"/>
                  <a:gd name="T95" fmla="*/ 6 h 31"/>
                  <a:gd name="T96" fmla="*/ 52 w 60"/>
                  <a:gd name="T97" fmla="*/ 8 h 31"/>
                  <a:gd name="T98" fmla="*/ 50 w 60"/>
                  <a:gd name="T99"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31">
                    <a:moveTo>
                      <a:pt x="50" y="11"/>
                    </a:moveTo>
                    <a:lnTo>
                      <a:pt x="50" y="11"/>
                    </a:lnTo>
                    <a:lnTo>
                      <a:pt x="50" y="13"/>
                    </a:lnTo>
                    <a:lnTo>
                      <a:pt x="50" y="14"/>
                    </a:lnTo>
                    <a:lnTo>
                      <a:pt x="50" y="16"/>
                    </a:lnTo>
                    <a:lnTo>
                      <a:pt x="52" y="16"/>
                    </a:lnTo>
                    <a:lnTo>
                      <a:pt x="54" y="17"/>
                    </a:lnTo>
                    <a:lnTo>
                      <a:pt x="55" y="17"/>
                    </a:lnTo>
                    <a:lnTo>
                      <a:pt x="57" y="17"/>
                    </a:lnTo>
                    <a:lnTo>
                      <a:pt x="57" y="17"/>
                    </a:lnTo>
                    <a:lnTo>
                      <a:pt x="58" y="19"/>
                    </a:lnTo>
                    <a:lnTo>
                      <a:pt x="60" y="20"/>
                    </a:lnTo>
                    <a:lnTo>
                      <a:pt x="58" y="22"/>
                    </a:lnTo>
                    <a:lnTo>
                      <a:pt x="58" y="24"/>
                    </a:lnTo>
                    <a:lnTo>
                      <a:pt x="58" y="24"/>
                    </a:lnTo>
                    <a:lnTo>
                      <a:pt x="58" y="25"/>
                    </a:lnTo>
                    <a:lnTo>
                      <a:pt x="58" y="25"/>
                    </a:lnTo>
                    <a:lnTo>
                      <a:pt x="58" y="27"/>
                    </a:lnTo>
                    <a:lnTo>
                      <a:pt x="58" y="28"/>
                    </a:lnTo>
                    <a:lnTo>
                      <a:pt x="58" y="28"/>
                    </a:lnTo>
                    <a:lnTo>
                      <a:pt x="58" y="28"/>
                    </a:lnTo>
                    <a:lnTo>
                      <a:pt x="57" y="28"/>
                    </a:lnTo>
                    <a:lnTo>
                      <a:pt x="55" y="28"/>
                    </a:lnTo>
                    <a:lnTo>
                      <a:pt x="55" y="28"/>
                    </a:lnTo>
                    <a:lnTo>
                      <a:pt x="54" y="30"/>
                    </a:lnTo>
                    <a:lnTo>
                      <a:pt x="52" y="30"/>
                    </a:lnTo>
                    <a:lnTo>
                      <a:pt x="49" y="30"/>
                    </a:lnTo>
                    <a:lnTo>
                      <a:pt x="47" y="28"/>
                    </a:lnTo>
                    <a:lnTo>
                      <a:pt x="47" y="28"/>
                    </a:lnTo>
                    <a:lnTo>
                      <a:pt x="46" y="30"/>
                    </a:lnTo>
                    <a:lnTo>
                      <a:pt x="43" y="30"/>
                    </a:lnTo>
                    <a:lnTo>
                      <a:pt x="38" y="30"/>
                    </a:lnTo>
                    <a:lnTo>
                      <a:pt x="35" y="31"/>
                    </a:lnTo>
                    <a:lnTo>
                      <a:pt x="33" y="30"/>
                    </a:lnTo>
                    <a:lnTo>
                      <a:pt x="32" y="30"/>
                    </a:lnTo>
                    <a:lnTo>
                      <a:pt x="30" y="30"/>
                    </a:lnTo>
                    <a:lnTo>
                      <a:pt x="29" y="28"/>
                    </a:lnTo>
                    <a:lnTo>
                      <a:pt x="27" y="28"/>
                    </a:lnTo>
                    <a:lnTo>
                      <a:pt x="25" y="30"/>
                    </a:lnTo>
                    <a:lnTo>
                      <a:pt x="25" y="31"/>
                    </a:lnTo>
                    <a:lnTo>
                      <a:pt x="21" y="31"/>
                    </a:lnTo>
                    <a:lnTo>
                      <a:pt x="18" y="31"/>
                    </a:lnTo>
                    <a:lnTo>
                      <a:pt x="18" y="31"/>
                    </a:lnTo>
                    <a:lnTo>
                      <a:pt x="16" y="31"/>
                    </a:lnTo>
                    <a:lnTo>
                      <a:pt x="16" y="31"/>
                    </a:lnTo>
                    <a:lnTo>
                      <a:pt x="16" y="31"/>
                    </a:lnTo>
                    <a:lnTo>
                      <a:pt x="15" y="30"/>
                    </a:lnTo>
                    <a:lnTo>
                      <a:pt x="15" y="30"/>
                    </a:lnTo>
                    <a:lnTo>
                      <a:pt x="13" y="30"/>
                    </a:lnTo>
                    <a:lnTo>
                      <a:pt x="11" y="30"/>
                    </a:lnTo>
                    <a:lnTo>
                      <a:pt x="11" y="30"/>
                    </a:lnTo>
                    <a:lnTo>
                      <a:pt x="8" y="30"/>
                    </a:lnTo>
                    <a:lnTo>
                      <a:pt x="5" y="28"/>
                    </a:lnTo>
                    <a:lnTo>
                      <a:pt x="4" y="27"/>
                    </a:lnTo>
                    <a:lnTo>
                      <a:pt x="2" y="27"/>
                    </a:lnTo>
                    <a:lnTo>
                      <a:pt x="2" y="25"/>
                    </a:lnTo>
                    <a:lnTo>
                      <a:pt x="2" y="24"/>
                    </a:lnTo>
                    <a:lnTo>
                      <a:pt x="0" y="24"/>
                    </a:lnTo>
                    <a:lnTo>
                      <a:pt x="0" y="22"/>
                    </a:lnTo>
                    <a:lnTo>
                      <a:pt x="0" y="22"/>
                    </a:lnTo>
                    <a:lnTo>
                      <a:pt x="4" y="20"/>
                    </a:lnTo>
                    <a:lnTo>
                      <a:pt x="4" y="20"/>
                    </a:lnTo>
                    <a:lnTo>
                      <a:pt x="4" y="17"/>
                    </a:lnTo>
                    <a:lnTo>
                      <a:pt x="5" y="16"/>
                    </a:lnTo>
                    <a:lnTo>
                      <a:pt x="7" y="14"/>
                    </a:lnTo>
                    <a:lnTo>
                      <a:pt x="8" y="13"/>
                    </a:lnTo>
                    <a:lnTo>
                      <a:pt x="10" y="9"/>
                    </a:lnTo>
                    <a:lnTo>
                      <a:pt x="11" y="8"/>
                    </a:lnTo>
                    <a:lnTo>
                      <a:pt x="13" y="5"/>
                    </a:lnTo>
                    <a:lnTo>
                      <a:pt x="15" y="5"/>
                    </a:lnTo>
                    <a:lnTo>
                      <a:pt x="16" y="3"/>
                    </a:lnTo>
                    <a:lnTo>
                      <a:pt x="18" y="3"/>
                    </a:lnTo>
                    <a:lnTo>
                      <a:pt x="19" y="2"/>
                    </a:lnTo>
                    <a:lnTo>
                      <a:pt x="21" y="0"/>
                    </a:lnTo>
                    <a:lnTo>
                      <a:pt x="22" y="0"/>
                    </a:lnTo>
                    <a:lnTo>
                      <a:pt x="24" y="0"/>
                    </a:lnTo>
                    <a:lnTo>
                      <a:pt x="27" y="2"/>
                    </a:lnTo>
                    <a:lnTo>
                      <a:pt x="29" y="2"/>
                    </a:lnTo>
                    <a:lnTo>
                      <a:pt x="29" y="2"/>
                    </a:lnTo>
                    <a:lnTo>
                      <a:pt x="29" y="3"/>
                    </a:lnTo>
                    <a:lnTo>
                      <a:pt x="29" y="5"/>
                    </a:lnTo>
                    <a:lnTo>
                      <a:pt x="29" y="5"/>
                    </a:lnTo>
                    <a:lnTo>
                      <a:pt x="29" y="5"/>
                    </a:lnTo>
                    <a:lnTo>
                      <a:pt x="30" y="5"/>
                    </a:lnTo>
                    <a:lnTo>
                      <a:pt x="33" y="5"/>
                    </a:lnTo>
                    <a:lnTo>
                      <a:pt x="35" y="5"/>
                    </a:lnTo>
                    <a:lnTo>
                      <a:pt x="38" y="6"/>
                    </a:lnTo>
                    <a:lnTo>
                      <a:pt x="40" y="6"/>
                    </a:lnTo>
                    <a:lnTo>
                      <a:pt x="41" y="6"/>
                    </a:lnTo>
                    <a:lnTo>
                      <a:pt x="41" y="6"/>
                    </a:lnTo>
                    <a:lnTo>
                      <a:pt x="43" y="6"/>
                    </a:lnTo>
                    <a:lnTo>
                      <a:pt x="44" y="5"/>
                    </a:lnTo>
                    <a:lnTo>
                      <a:pt x="44" y="5"/>
                    </a:lnTo>
                    <a:lnTo>
                      <a:pt x="46" y="5"/>
                    </a:lnTo>
                    <a:lnTo>
                      <a:pt x="46" y="6"/>
                    </a:lnTo>
                    <a:lnTo>
                      <a:pt x="49" y="6"/>
                    </a:lnTo>
                    <a:lnTo>
                      <a:pt x="50" y="8"/>
                    </a:lnTo>
                    <a:lnTo>
                      <a:pt x="52" y="8"/>
                    </a:lnTo>
                    <a:lnTo>
                      <a:pt x="50" y="11"/>
                    </a:lnTo>
                    <a:lnTo>
                      <a:pt x="50"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8" name="Freeform 35">
                <a:extLst>
                  <a:ext uri="{FF2B5EF4-FFF2-40B4-BE49-F238E27FC236}">
                    <a16:creationId xmlns:a16="http://schemas.microsoft.com/office/drawing/2014/main" id="{AF508020-CA35-0DC5-AE5D-DAA460B7C442}"/>
                  </a:ext>
                </a:extLst>
              </p:cNvPr>
              <p:cNvSpPr>
                <a:spLocks/>
              </p:cNvSpPr>
              <p:nvPr/>
            </p:nvSpPr>
            <p:spPr bwMode="gray">
              <a:xfrm>
                <a:off x="3025" y="1892"/>
                <a:ext cx="165" cy="172"/>
              </a:xfrm>
              <a:custGeom>
                <a:avLst/>
                <a:gdLst>
                  <a:gd name="T0" fmla="*/ 93 w 165"/>
                  <a:gd name="T1" fmla="*/ 3 h 172"/>
                  <a:gd name="T2" fmla="*/ 96 w 165"/>
                  <a:gd name="T3" fmla="*/ 9 h 172"/>
                  <a:gd name="T4" fmla="*/ 102 w 165"/>
                  <a:gd name="T5" fmla="*/ 17 h 172"/>
                  <a:gd name="T6" fmla="*/ 105 w 165"/>
                  <a:gd name="T7" fmla="*/ 25 h 172"/>
                  <a:gd name="T8" fmla="*/ 115 w 165"/>
                  <a:gd name="T9" fmla="*/ 36 h 172"/>
                  <a:gd name="T10" fmla="*/ 127 w 165"/>
                  <a:gd name="T11" fmla="*/ 44 h 172"/>
                  <a:gd name="T12" fmla="*/ 129 w 165"/>
                  <a:gd name="T13" fmla="*/ 50 h 172"/>
                  <a:gd name="T14" fmla="*/ 136 w 165"/>
                  <a:gd name="T15" fmla="*/ 52 h 172"/>
                  <a:gd name="T16" fmla="*/ 136 w 165"/>
                  <a:gd name="T17" fmla="*/ 58 h 172"/>
                  <a:gd name="T18" fmla="*/ 138 w 165"/>
                  <a:gd name="T19" fmla="*/ 64 h 172"/>
                  <a:gd name="T20" fmla="*/ 143 w 165"/>
                  <a:gd name="T21" fmla="*/ 70 h 172"/>
                  <a:gd name="T22" fmla="*/ 157 w 165"/>
                  <a:gd name="T23" fmla="*/ 75 h 172"/>
                  <a:gd name="T24" fmla="*/ 160 w 165"/>
                  <a:gd name="T25" fmla="*/ 78 h 172"/>
                  <a:gd name="T26" fmla="*/ 161 w 165"/>
                  <a:gd name="T27" fmla="*/ 80 h 172"/>
                  <a:gd name="T28" fmla="*/ 161 w 165"/>
                  <a:gd name="T29" fmla="*/ 83 h 172"/>
                  <a:gd name="T30" fmla="*/ 154 w 165"/>
                  <a:gd name="T31" fmla="*/ 89 h 172"/>
                  <a:gd name="T32" fmla="*/ 141 w 165"/>
                  <a:gd name="T33" fmla="*/ 95 h 172"/>
                  <a:gd name="T34" fmla="*/ 138 w 165"/>
                  <a:gd name="T35" fmla="*/ 100 h 172"/>
                  <a:gd name="T36" fmla="*/ 135 w 165"/>
                  <a:gd name="T37" fmla="*/ 102 h 172"/>
                  <a:gd name="T38" fmla="*/ 130 w 165"/>
                  <a:gd name="T39" fmla="*/ 105 h 172"/>
                  <a:gd name="T40" fmla="*/ 127 w 165"/>
                  <a:gd name="T41" fmla="*/ 108 h 172"/>
                  <a:gd name="T42" fmla="*/ 121 w 165"/>
                  <a:gd name="T43" fmla="*/ 122 h 172"/>
                  <a:gd name="T44" fmla="*/ 115 w 165"/>
                  <a:gd name="T45" fmla="*/ 128 h 172"/>
                  <a:gd name="T46" fmla="*/ 105 w 165"/>
                  <a:gd name="T47" fmla="*/ 131 h 172"/>
                  <a:gd name="T48" fmla="*/ 100 w 165"/>
                  <a:gd name="T49" fmla="*/ 142 h 172"/>
                  <a:gd name="T50" fmla="*/ 96 w 165"/>
                  <a:gd name="T51" fmla="*/ 150 h 172"/>
                  <a:gd name="T52" fmla="*/ 88 w 165"/>
                  <a:gd name="T53" fmla="*/ 150 h 172"/>
                  <a:gd name="T54" fmla="*/ 79 w 165"/>
                  <a:gd name="T55" fmla="*/ 150 h 172"/>
                  <a:gd name="T56" fmla="*/ 71 w 165"/>
                  <a:gd name="T57" fmla="*/ 149 h 172"/>
                  <a:gd name="T58" fmla="*/ 63 w 165"/>
                  <a:gd name="T59" fmla="*/ 142 h 172"/>
                  <a:gd name="T60" fmla="*/ 55 w 165"/>
                  <a:gd name="T61" fmla="*/ 142 h 172"/>
                  <a:gd name="T62" fmla="*/ 50 w 165"/>
                  <a:gd name="T63" fmla="*/ 147 h 172"/>
                  <a:gd name="T64" fmla="*/ 46 w 165"/>
                  <a:gd name="T65" fmla="*/ 158 h 172"/>
                  <a:gd name="T66" fmla="*/ 38 w 165"/>
                  <a:gd name="T67" fmla="*/ 166 h 172"/>
                  <a:gd name="T68" fmla="*/ 32 w 165"/>
                  <a:gd name="T69" fmla="*/ 169 h 172"/>
                  <a:gd name="T70" fmla="*/ 27 w 165"/>
                  <a:gd name="T71" fmla="*/ 172 h 172"/>
                  <a:gd name="T72" fmla="*/ 16 w 165"/>
                  <a:gd name="T73" fmla="*/ 171 h 172"/>
                  <a:gd name="T74" fmla="*/ 11 w 165"/>
                  <a:gd name="T75" fmla="*/ 166 h 172"/>
                  <a:gd name="T76" fmla="*/ 14 w 165"/>
                  <a:gd name="T77" fmla="*/ 158 h 172"/>
                  <a:gd name="T78" fmla="*/ 14 w 165"/>
                  <a:gd name="T79" fmla="*/ 153 h 172"/>
                  <a:gd name="T80" fmla="*/ 8 w 165"/>
                  <a:gd name="T81" fmla="*/ 139 h 172"/>
                  <a:gd name="T82" fmla="*/ 0 w 165"/>
                  <a:gd name="T83" fmla="*/ 131 h 172"/>
                  <a:gd name="T84" fmla="*/ 0 w 165"/>
                  <a:gd name="T85" fmla="*/ 111 h 172"/>
                  <a:gd name="T86" fmla="*/ 0 w 165"/>
                  <a:gd name="T87" fmla="*/ 89 h 172"/>
                  <a:gd name="T88" fmla="*/ 10 w 165"/>
                  <a:gd name="T89" fmla="*/ 78 h 172"/>
                  <a:gd name="T90" fmla="*/ 18 w 165"/>
                  <a:gd name="T91" fmla="*/ 75 h 172"/>
                  <a:gd name="T92" fmla="*/ 18 w 165"/>
                  <a:gd name="T93" fmla="*/ 44 h 172"/>
                  <a:gd name="T94" fmla="*/ 18 w 165"/>
                  <a:gd name="T95" fmla="*/ 14 h 172"/>
                  <a:gd name="T96" fmla="*/ 36 w 165"/>
                  <a:gd name="T97" fmla="*/ 8 h 172"/>
                  <a:gd name="T98" fmla="*/ 57 w 165"/>
                  <a:gd name="T99" fmla="*/ 5 h 172"/>
                  <a:gd name="T100" fmla="*/ 63 w 165"/>
                  <a:gd name="T101" fmla="*/ 11 h 172"/>
                  <a:gd name="T102" fmla="*/ 66 w 165"/>
                  <a:gd name="T103" fmla="*/ 12 h 172"/>
                  <a:gd name="T104" fmla="*/ 74 w 165"/>
                  <a:gd name="T105" fmla="*/ 6 h 172"/>
                  <a:gd name="T106" fmla="*/ 80 w 165"/>
                  <a:gd name="T107" fmla="*/ 5 h 172"/>
                  <a:gd name="T108" fmla="*/ 93 w 165"/>
                  <a:gd name="T10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5" h="172">
                    <a:moveTo>
                      <a:pt x="93" y="0"/>
                    </a:moveTo>
                    <a:lnTo>
                      <a:pt x="93" y="2"/>
                    </a:lnTo>
                    <a:lnTo>
                      <a:pt x="93" y="3"/>
                    </a:lnTo>
                    <a:lnTo>
                      <a:pt x="93" y="3"/>
                    </a:lnTo>
                    <a:lnTo>
                      <a:pt x="94" y="5"/>
                    </a:lnTo>
                    <a:lnTo>
                      <a:pt x="94" y="6"/>
                    </a:lnTo>
                    <a:lnTo>
                      <a:pt x="96" y="6"/>
                    </a:lnTo>
                    <a:lnTo>
                      <a:pt x="96" y="9"/>
                    </a:lnTo>
                    <a:lnTo>
                      <a:pt x="97" y="11"/>
                    </a:lnTo>
                    <a:lnTo>
                      <a:pt x="99" y="12"/>
                    </a:lnTo>
                    <a:lnTo>
                      <a:pt x="102" y="16"/>
                    </a:lnTo>
                    <a:lnTo>
                      <a:pt x="102" y="17"/>
                    </a:lnTo>
                    <a:lnTo>
                      <a:pt x="104" y="19"/>
                    </a:lnTo>
                    <a:lnTo>
                      <a:pt x="105" y="22"/>
                    </a:lnTo>
                    <a:lnTo>
                      <a:pt x="105" y="22"/>
                    </a:lnTo>
                    <a:lnTo>
                      <a:pt x="105" y="25"/>
                    </a:lnTo>
                    <a:lnTo>
                      <a:pt x="108" y="30"/>
                    </a:lnTo>
                    <a:lnTo>
                      <a:pt x="110" y="33"/>
                    </a:lnTo>
                    <a:lnTo>
                      <a:pt x="110" y="33"/>
                    </a:lnTo>
                    <a:lnTo>
                      <a:pt x="115" y="36"/>
                    </a:lnTo>
                    <a:lnTo>
                      <a:pt x="118" y="39"/>
                    </a:lnTo>
                    <a:lnTo>
                      <a:pt x="122" y="41"/>
                    </a:lnTo>
                    <a:lnTo>
                      <a:pt x="125" y="42"/>
                    </a:lnTo>
                    <a:lnTo>
                      <a:pt x="127" y="44"/>
                    </a:lnTo>
                    <a:lnTo>
                      <a:pt x="127" y="44"/>
                    </a:lnTo>
                    <a:lnTo>
                      <a:pt x="129" y="45"/>
                    </a:lnTo>
                    <a:lnTo>
                      <a:pt x="129" y="48"/>
                    </a:lnTo>
                    <a:lnTo>
                      <a:pt x="129" y="50"/>
                    </a:lnTo>
                    <a:lnTo>
                      <a:pt x="132" y="50"/>
                    </a:lnTo>
                    <a:lnTo>
                      <a:pt x="135" y="50"/>
                    </a:lnTo>
                    <a:lnTo>
                      <a:pt x="136" y="50"/>
                    </a:lnTo>
                    <a:lnTo>
                      <a:pt x="136" y="52"/>
                    </a:lnTo>
                    <a:lnTo>
                      <a:pt x="136" y="53"/>
                    </a:lnTo>
                    <a:lnTo>
                      <a:pt x="136" y="55"/>
                    </a:lnTo>
                    <a:lnTo>
                      <a:pt x="136" y="56"/>
                    </a:lnTo>
                    <a:lnTo>
                      <a:pt x="136" y="58"/>
                    </a:lnTo>
                    <a:lnTo>
                      <a:pt x="136" y="59"/>
                    </a:lnTo>
                    <a:lnTo>
                      <a:pt x="135" y="61"/>
                    </a:lnTo>
                    <a:lnTo>
                      <a:pt x="136" y="63"/>
                    </a:lnTo>
                    <a:lnTo>
                      <a:pt x="138" y="64"/>
                    </a:lnTo>
                    <a:lnTo>
                      <a:pt x="140" y="67"/>
                    </a:lnTo>
                    <a:lnTo>
                      <a:pt x="141" y="69"/>
                    </a:lnTo>
                    <a:lnTo>
                      <a:pt x="141" y="70"/>
                    </a:lnTo>
                    <a:lnTo>
                      <a:pt x="143" y="70"/>
                    </a:lnTo>
                    <a:lnTo>
                      <a:pt x="144" y="70"/>
                    </a:lnTo>
                    <a:lnTo>
                      <a:pt x="151" y="72"/>
                    </a:lnTo>
                    <a:lnTo>
                      <a:pt x="155" y="74"/>
                    </a:lnTo>
                    <a:lnTo>
                      <a:pt x="157" y="75"/>
                    </a:lnTo>
                    <a:lnTo>
                      <a:pt x="158" y="75"/>
                    </a:lnTo>
                    <a:lnTo>
                      <a:pt x="160" y="75"/>
                    </a:lnTo>
                    <a:lnTo>
                      <a:pt x="160" y="75"/>
                    </a:lnTo>
                    <a:lnTo>
                      <a:pt x="160" y="78"/>
                    </a:lnTo>
                    <a:lnTo>
                      <a:pt x="160" y="78"/>
                    </a:lnTo>
                    <a:lnTo>
                      <a:pt x="160" y="80"/>
                    </a:lnTo>
                    <a:lnTo>
                      <a:pt x="160" y="80"/>
                    </a:lnTo>
                    <a:lnTo>
                      <a:pt x="161" y="80"/>
                    </a:lnTo>
                    <a:lnTo>
                      <a:pt x="163" y="80"/>
                    </a:lnTo>
                    <a:lnTo>
                      <a:pt x="165" y="81"/>
                    </a:lnTo>
                    <a:lnTo>
                      <a:pt x="165" y="83"/>
                    </a:lnTo>
                    <a:lnTo>
                      <a:pt x="161" y="83"/>
                    </a:lnTo>
                    <a:lnTo>
                      <a:pt x="160" y="84"/>
                    </a:lnTo>
                    <a:lnTo>
                      <a:pt x="158" y="86"/>
                    </a:lnTo>
                    <a:lnTo>
                      <a:pt x="157" y="88"/>
                    </a:lnTo>
                    <a:lnTo>
                      <a:pt x="154" y="89"/>
                    </a:lnTo>
                    <a:lnTo>
                      <a:pt x="151" y="89"/>
                    </a:lnTo>
                    <a:lnTo>
                      <a:pt x="147" y="89"/>
                    </a:lnTo>
                    <a:lnTo>
                      <a:pt x="144" y="92"/>
                    </a:lnTo>
                    <a:lnTo>
                      <a:pt x="141" y="95"/>
                    </a:lnTo>
                    <a:lnTo>
                      <a:pt x="140" y="97"/>
                    </a:lnTo>
                    <a:lnTo>
                      <a:pt x="140" y="99"/>
                    </a:lnTo>
                    <a:lnTo>
                      <a:pt x="140" y="99"/>
                    </a:lnTo>
                    <a:lnTo>
                      <a:pt x="138" y="100"/>
                    </a:lnTo>
                    <a:lnTo>
                      <a:pt x="138" y="100"/>
                    </a:lnTo>
                    <a:lnTo>
                      <a:pt x="136" y="102"/>
                    </a:lnTo>
                    <a:lnTo>
                      <a:pt x="136" y="102"/>
                    </a:lnTo>
                    <a:lnTo>
                      <a:pt x="135" y="102"/>
                    </a:lnTo>
                    <a:lnTo>
                      <a:pt x="135" y="102"/>
                    </a:lnTo>
                    <a:lnTo>
                      <a:pt x="133" y="103"/>
                    </a:lnTo>
                    <a:lnTo>
                      <a:pt x="133" y="105"/>
                    </a:lnTo>
                    <a:lnTo>
                      <a:pt x="130" y="105"/>
                    </a:lnTo>
                    <a:lnTo>
                      <a:pt x="129" y="106"/>
                    </a:lnTo>
                    <a:lnTo>
                      <a:pt x="129" y="106"/>
                    </a:lnTo>
                    <a:lnTo>
                      <a:pt x="127" y="108"/>
                    </a:lnTo>
                    <a:lnTo>
                      <a:pt x="127" y="108"/>
                    </a:lnTo>
                    <a:lnTo>
                      <a:pt x="125" y="108"/>
                    </a:lnTo>
                    <a:lnTo>
                      <a:pt x="124" y="111"/>
                    </a:lnTo>
                    <a:lnTo>
                      <a:pt x="124" y="113"/>
                    </a:lnTo>
                    <a:lnTo>
                      <a:pt x="121" y="122"/>
                    </a:lnTo>
                    <a:lnTo>
                      <a:pt x="119" y="122"/>
                    </a:lnTo>
                    <a:lnTo>
                      <a:pt x="118" y="124"/>
                    </a:lnTo>
                    <a:lnTo>
                      <a:pt x="115" y="127"/>
                    </a:lnTo>
                    <a:lnTo>
                      <a:pt x="115" y="128"/>
                    </a:lnTo>
                    <a:lnTo>
                      <a:pt x="113" y="128"/>
                    </a:lnTo>
                    <a:lnTo>
                      <a:pt x="108" y="130"/>
                    </a:lnTo>
                    <a:lnTo>
                      <a:pt x="107" y="130"/>
                    </a:lnTo>
                    <a:lnTo>
                      <a:pt x="105" y="131"/>
                    </a:lnTo>
                    <a:lnTo>
                      <a:pt x="104" y="131"/>
                    </a:lnTo>
                    <a:lnTo>
                      <a:pt x="104" y="135"/>
                    </a:lnTo>
                    <a:lnTo>
                      <a:pt x="102" y="139"/>
                    </a:lnTo>
                    <a:lnTo>
                      <a:pt x="100" y="142"/>
                    </a:lnTo>
                    <a:lnTo>
                      <a:pt x="100" y="144"/>
                    </a:lnTo>
                    <a:lnTo>
                      <a:pt x="99" y="147"/>
                    </a:lnTo>
                    <a:lnTo>
                      <a:pt x="97" y="149"/>
                    </a:lnTo>
                    <a:lnTo>
                      <a:pt x="96" y="150"/>
                    </a:lnTo>
                    <a:lnTo>
                      <a:pt x="94" y="150"/>
                    </a:lnTo>
                    <a:lnTo>
                      <a:pt x="93" y="150"/>
                    </a:lnTo>
                    <a:lnTo>
                      <a:pt x="90" y="150"/>
                    </a:lnTo>
                    <a:lnTo>
                      <a:pt x="88" y="150"/>
                    </a:lnTo>
                    <a:lnTo>
                      <a:pt x="86" y="152"/>
                    </a:lnTo>
                    <a:lnTo>
                      <a:pt x="85" y="152"/>
                    </a:lnTo>
                    <a:lnTo>
                      <a:pt x="80" y="152"/>
                    </a:lnTo>
                    <a:lnTo>
                      <a:pt x="79" y="150"/>
                    </a:lnTo>
                    <a:lnTo>
                      <a:pt x="77" y="150"/>
                    </a:lnTo>
                    <a:lnTo>
                      <a:pt x="74" y="149"/>
                    </a:lnTo>
                    <a:lnTo>
                      <a:pt x="72" y="149"/>
                    </a:lnTo>
                    <a:lnTo>
                      <a:pt x="71" y="149"/>
                    </a:lnTo>
                    <a:lnTo>
                      <a:pt x="69" y="147"/>
                    </a:lnTo>
                    <a:lnTo>
                      <a:pt x="68" y="147"/>
                    </a:lnTo>
                    <a:lnTo>
                      <a:pt x="66" y="144"/>
                    </a:lnTo>
                    <a:lnTo>
                      <a:pt x="63" y="142"/>
                    </a:lnTo>
                    <a:lnTo>
                      <a:pt x="60" y="141"/>
                    </a:lnTo>
                    <a:lnTo>
                      <a:pt x="58" y="141"/>
                    </a:lnTo>
                    <a:lnTo>
                      <a:pt x="57" y="141"/>
                    </a:lnTo>
                    <a:lnTo>
                      <a:pt x="55" y="142"/>
                    </a:lnTo>
                    <a:lnTo>
                      <a:pt x="54" y="142"/>
                    </a:lnTo>
                    <a:lnTo>
                      <a:pt x="52" y="142"/>
                    </a:lnTo>
                    <a:lnTo>
                      <a:pt x="52" y="146"/>
                    </a:lnTo>
                    <a:lnTo>
                      <a:pt x="50" y="147"/>
                    </a:lnTo>
                    <a:lnTo>
                      <a:pt x="50" y="149"/>
                    </a:lnTo>
                    <a:lnTo>
                      <a:pt x="49" y="152"/>
                    </a:lnTo>
                    <a:lnTo>
                      <a:pt x="47" y="156"/>
                    </a:lnTo>
                    <a:lnTo>
                      <a:pt x="46" y="158"/>
                    </a:lnTo>
                    <a:lnTo>
                      <a:pt x="46" y="158"/>
                    </a:lnTo>
                    <a:lnTo>
                      <a:pt x="44" y="160"/>
                    </a:lnTo>
                    <a:lnTo>
                      <a:pt x="40" y="163"/>
                    </a:lnTo>
                    <a:lnTo>
                      <a:pt x="38" y="166"/>
                    </a:lnTo>
                    <a:lnTo>
                      <a:pt x="36" y="167"/>
                    </a:lnTo>
                    <a:lnTo>
                      <a:pt x="35" y="167"/>
                    </a:lnTo>
                    <a:lnTo>
                      <a:pt x="33" y="169"/>
                    </a:lnTo>
                    <a:lnTo>
                      <a:pt x="32" y="169"/>
                    </a:lnTo>
                    <a:lnTo>
                      <a:pt x="32" y="171"/>
                    </a:lnTo>
                    <a:lnTo>
                      <a:pt x="30" y="172"/>
                    </a:lnTo>
                    <a:lnTo>
                      <a:pt x="30" y="172"/>
                    </a:lnTo>
                    <a:lnTo>
                      <a:pt x="27" y="172"/>
                    </a:lnTo>
                    <a:lnTo>
                      <a:pt x="27" y="172"/>
                    </a:lnTo>
                    <a:lnTo>
                      <a:pt x="19" y="172"/>
                    </a:lnTo>
                    <a:lnTo>
                      <a:pt x="18" y="171"/>
                    </a:lnTo>
                    <a:lnTo>
                      <a:pt x="16" y="171"/>
                    </a:lnTo>
                    <a:lnTo>
                      <a:pt x="14" y="172"/>
                    </a:lnTo>
                    <a:lnTo>
                      <a:pt x="13" y="171"/>
                    </a:lnTo>
                    <a:lnTo>
                      <a:pt x="13" y="169"/>
                    </a:lnTo>
                    <a:lnTo>
                      <a:pt x="11" y="166"/>
                    </a:lnTo>
                    <a:lnTo>
                      <a:pt x="11" y="164"/>
                    </a:lnTo>
                    <a:lnTo>
                      <a:pt x="13" y="161"/>
                    </a:lnTo>
                    <a:lnTo>
                      <a:pt x="14" y="161"/>
                    </a:lnTo>
                    <a:lnTo>
                      <a:pt x="14" y="158"/>
                    </a:lnTo>
                    <a:lnTo>
                      <a:pt x="16" y="158"/>
                    </a:lnTo>
                    <a:lnTo>
                      <a:pt x="14" y="156"/>
                    </a:lnTo>
                    <a:lnTo>
                      <a:pt x="14" y="155"/>
                    </a:lnTo>
                    <a:lnTo>
                      <a:pt x="14" y="153"/>
                    </a:lnTo>
                    <a:lnTo>
                      <a:pt x="13" y="150"/>
                    </a:lnTo>
                    <a:lnTo>
                      <a:pt x="11" y="146"/>
                    </a:lnTo>
                    <a:lnTo>
                      <a:pt x="10" y="141"/>
                    </a:lnTo>
                    <a:lnTo>
                      <a:pt x="8" y="139"/>
                    </a:lnTo>
                    <a:lnTo>
                      <a:pt x="7" y="136"/>
                    </a:lnTo>
                    <a:lnTo>
                      <a:pt x="2" y="131"/>
                    </a:lnTo>
                    <a:lnTo>
                      <a:pt x="0" y="131"/>
                    </a:lnTo>
                    <a:lnTo>
                      <a:pt x="0" y="131"/>
                    </a:lnTo>
                    <a:lnTo>
                      <a:pt x="0" y="127"/>
                    </a:lnTo>
                    <a:lnTo>
                      <a:pt x="0" y="122"/>
                    </a:lnTo>
                    <a:lnTo>
                      <a:pt x="0" y="116"/>
                    </a:lnTo>
                    <a:lnTo>
                      <a:pt x="0" y="111"/>
                    </a:lnTo>
                    <a:lnTo>
                      <a:pt x="0" y="105"/>
                    </a:lnTo>
                    <a:lnTo>
                      <a:pt x="0" y="100"/>
                    </a:lnTo>
                    <a:lnTo>
                      <a:pt x="0" y="94"/>
                    </a:lnTo>
                    <a:lnTo>
                      <a:pt x="0" y="89"/>
                    </a:lnTo>
                    <a:lnTo>
                      <a:pt x="0" y="83"/>
                    </a:lnTo>
                    <a:lnTo>
                      <a:pt x="0" y="78"/>
                    </a:lnTo>
                    <a:lnTo>
                      <a:pt x="5" y="78"/>
                    </a:lnTo>
                    <a:lnTo>
                      <a:pt x="10" y="78"/>
                    </a:lnTo>
                    <a:lnTo>
                      <a:pt x="16" y="78"/>
                    </a:lnTo>
                    <a:lnTo>
                      <a:pt x="18" y="78"/>
                    </a:lnTo>
                    <a:lnTo>
                      <a:pt x="18" y="78"/>
                    </a:lnTo>
                    <a:lnTo>
                      <a:pt x="18" y="75"/>
                    </a:lnTo>
                    <a:lnTo>
                      <a:pt x="18" y="67"/>
                    </a:lnTo>
                    <a:lnTo>
                      <a:pt x="18" y="59"/>
                    </a:lnTo>
                    <a:lnTo>
                      <a:pt x="18" y="52"/>
                    </a:lnTo>
                    <a:lnTo>
                      <a:pt x="18" y="44"/>
                    </a:lnTo>
                    <a:lnTo>
                      <a:pt x="18" y="36"/>
                    </a:lnTo>
                    <a:lnTo>
                      <a:pt x="18" y="30"/>
                    </a:lnTo>
                    <a:lnTo>
                      <a:pt x="18" y="22"/>
                    </a:lnTo>
                    <a:lnTo>
                      <a:pt x="18" y="14"/>
                    </a:lnTo>
                    <a:lnTo>
                      <a:pt x="18" y="11"/>
                    </a:lnTo>
                    <a:lnTo>
                      <a:pt x="22" y="9"/>
                    </a:lnTo>
                    <a:lnTo>
                      <a:pt x="27" y="9"/>
                    </a:lnTo>
                    <a:lnTo>
                      <a:pt x="36" y="8"/>
                    </a:lnTo>
                    <a:lnTo>
                      <a:pt x="44" y="6"/>
                    </a:lnTo>
                    <a:lnTo>
                      <a:pt x="49" y="6"/>
                    </a:lnTo>
                    <a:lnTo>
                      <a:pt x="55" y="5"/>
                    </a:lnTo>
                    <a:lnTo>
                      <a:pt x="57" y="5"/>
                    </a:lnTo>
                    <a:lnTo>
                      <a:pt x="58" y="5"/>
                    </a:lnTo>
                    <a:lnTo>
                      <a:pt x="58" y="5"/>
                    </a:lnTo>
                    <a:lnTo>
                      <a:pt x="61" y="9"/>
                    </a:lnTo>
                    <a:lnTo>
                      <a:pt x="63" y="11"/>
                    </a:lnTo>
                    <a:lnTo>
                      <a:pt x="65" y="12"/>
                    </a:lnTo>
                    <a:lnTo>
                      <a:pt x="65" y="12"/>
                    </a:lnTo>
                    <a:lnTo>
                      <a:pt x="65" y="12"/>
                    </a:lnTo>
                    <a:lnTo>
                      <a:pt x="66" y="12"/>
                    </a:lnTo>
                    <a:lnTo>
                      <a:pt x="69" y="9"/>
                    </a:lnTo>
                    <a:lnTo>
                      <a:pt x="69" y="9"/>
                    </a:lnTo>
                    <a:lnTo>
                      <a:pt x="71" y="8"/>
                    </a:lnTo>
                    <a:lnTo>
                      <a:pt x="74" y="6"/>
                    </a:lnTo>
                    <a:lnTo>
                      <a:pt x="75" y="5"/>
                    </a:lnTo>
                    <a:lnTo>
                      <a:pt x="77" y="5"/>
                    </a:lnTo>
                    <a:lnTo>
                      <a:pt x="79" y="5"/>
                    </a:lnTo>
                    <a:lnTo>
                      <a:pt x="80" y="5"/>
                    </a:lnTo>
                    <a:lnTo>
                      <a:pt x="80" y="5"/>
                    </a:lnTo>
                    <a:lnTo>
                      <a:pt x="85" y="2"/>
                    </a:lnTo>
                    <a:lnTo>
                      <a:pt x="86" y="2"/>
                    </a:lnTo>
                    <a:lnTo>
                      <a:pt x="93" y="0"/>
                    </a:lnTo>
                    <a:lnTo>
                      <a:pt x="9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09" name="Freeform 36">
                <a:extLst>
                  <a:ext uri="{FF2B5EF4-FFF2-40B4-BE49-F238E27FC236}">
                    <a16:creationId xmlns:a16="http://schemas.microsoft.com/office/drawing/2014/main" id="{A500010D-B942-CC81-9744-E47036D46BFE}"/>
                  </a:ext>
                </a:extLst>
              </p:cNvPr>
              <p:cNvSpPr>
                <a:spLocks/>
              </p:cNvSpPr>
              <p:nvPr/>
            </p:nvSpPr>
            <p:spPr bwMode="gray">
              <a:xfrm>
                <a:off x="3082" y="385"/>
                <a:ext cx="167" cy="146"/>
              </a:xfrm>
              <a:custGeom>
                <a:avLst/>
                <a:gdLst>
                  <a:gd name="T0" fmla="*/ 94 w 167"/>
                  <a:gd name="T1" fmla="*/ 2 h 146"/>
                  <a:gd name="T2" fmla="*/ 103 w 167"/>
                  <a:gd name="T3" fmla="*/ 5 h 146"/>
                  <a:gd name="T4" fmla="*/ 109 w 167"/>
                  <a:gd name="T5" fmla="*/ 9 h 146"/>
                  <a:gd name="T6" fmla="*/ 115 w 167"/>
                  <a:gd name="T7" fmla="*/ 13 h 146"/>
                  <a:gd name="T8" fmla="*/ 128 w 167"/>
                  <a:gd name="T9" fmla="*/ 11 h 146"/>
                  <a:gd name="T10" fmla="*/ 134 w 167"/>
                  <a:gd name="T11" fmla="*/ 17 h 146"/>
                  <a:gd name="T12" fmla="*/ 134 w 167"/>
                  <a:gd name="T13" fmla="*/ 25 h 146"/>
                  <a:gd name="T14" fmla="*/ 137 w 167"/>
                  <a:gd name="T15" fmla="*/ 33 h 146"/>
                  <a:gd name="T16" fmla="*/ 134 w 167"/>
                  <a:gd name="T17" fmla="*/ 42 h 146"/>
                  <a:gd name="T18" fmla="*/ 139 w 167"/>
                  <a:gd name="T19" fmla="*/ 52 h 146"/>
                  <a:gd name="T20" fmla="*/ 151 w 167"/>
                  <a:gd name="T21" fmla="*/ 64 h 146"/>
                  <a:gd name="T22" fmla="*/ 151 w 167"/>
                  <a:gd name="T23" fmla="*/ 72 h 146"/>
                  <a:gd name="T24" fmla="*/ 162 w 167"/>
                  <a:gd name="T25" fmla="*/ 78 h 146"/>
                  <a:gd name="T26" fmla="*/ 165 w 167"/>
                  <a:gd name="T27" fmla="*/ 86 h 146"/>
                  <a:gd name="T28" fmla="*/ 156 w 167"/>
                  <a:gd name="T29" fmla="*/ 92 h 146"/>
                  <a:gd name="T30" fmla="*/ 144 w 167"/>
                  <a:gd name="T31" fmla="*/ 89 h 146"/>
                  <a:gd name="T32" fmla="*/ 144 w 167"/>
                  <a:gd name="T33" fmla="*/ 97 h 146"/>
                  <a:gd name="T34" fmla="*/ 147 w 167"/>
                  <a:gd name="T35" fmla="*/ 106 h 146"/>
                  <a:gd name="T36" fmla="*/ 148 w 167"/>
                  <a:gd name="T37" fmla="*/ 117 h 146"/>
                  <a:gd name="T38" fmla="*/ 140 w 167"/>
                  <a:gd name="T39" fmla="*/ 122 h 146"/>
                  <a:gd name="T40" fmla="*/ 131 w 167"/>
                  <a:gd name="T41" fmla="*/ 130 h 146"/>
                  <a:gd name="T42" fmla="*/ 129 w 167"/>
                  <a:gd name="T43" fmla="*/ 141 h 146"/>
                  <a:gd name="T44" fmla="*/ 125 w 167"/>
                  <a:gd name="T45" fmla="*/ 141 h 146"/>
                  <a:gd name="T46" fmla="*/ 112 w 167"/>
                  <a:gd name="T47" fmla="*/ 141 h 146"/>
                  <a:gd name="T48" fmla="*/ 104 w 167"/>
                  <a:gd name="T49" fmla="*/ 135 h 146"/>
                  <a:gd name="T50" fmla="*/ 100 w 167"/>
                  <a:gd name="T51" fmla="*/ 138 h 146"/>
                  <a:gd name="T52" fmla="*/ 94 w 167"/>
                  <a:gd name="T53" fmla="*/ 136 h 146"/>
                  <a:gd name="T54" fmla="*/ 84 w 167"/>
                  <a:gd name="T55" fmla="*/ 136 h 146"/>
                  <a:gd name="T56" fmla="*/ 78 w 167"/>
                  <a:gd name="T57" fmla="*/ 139 h 146"/>
                  <a:gd name="T58" fmla="*/ 72 w 167"/>
                  <a:gd name="T59" fmla="*/ 135 h 146"/>
                  <a:gd name="T60" fmla="*/ 58 w 167"/>
                  <a:gd name="T61" fmla="*/ 130 h 146"/>
                  <a:gd name="T62" fmla="*/ 36 w 167"/>
                  <a:gd name="T63" fmla="*/ 125 h 146"/>
                  <a:gd name="T64" fmla="*/ 23 w 167"/>
                  <a:gd name="T65" fmla="*/ 127 h 146"/>
                  <a:gd name="T66" fmla="*/ 14 w 167"/>
                  <a:gd name="T67" fmla="*/ 136 h 146"/>
                  <a:gd name="T68" fmla="*/ 8 w 167"/>
                  <a:gd name="T69" fmla="*/ 138 h 146"/>
                  <a:gd name="T70" fmla="*/ 8 w 167"/>
                  <a:gd name="T71" fmla="*/ 128 h 146"/>
                  <a:gd name="T72" fmla="*/ 4 w 167"/>
                  <a:gd name="T73" fmla="*/ 119 h 146"/>
                  <a:gd name="T74" fmla="*/ 1 w 167"/>
                  <a:gd name="T75" fmla="*/ 111 h 146"/>
                  <a:gd name="T76" fmla="*/ 12 w 167"/>
                  <a:gd name="T77" fmla="*/ 100 h 146"/>
                  <a:gd name="T78" fmla="*/ 4 w 167"/>
                  <a:gd name="T79" fmla="*/ 67 h 146"/>
                  <a:gd name="T80" fmla="*/ 15 w 167"/>
                  <a:gd name="T81" fmla="*/ 67 h 146"/>
                  <a:gd name="T82" fmla="*/ 28 w 167"/>
                  <a:gd name="T83" fmla="*/ 67 h 146"/>
                  <a:gd name="T84" fmla="*/ 34 w 167"/>
                  <a:gd name="T85" fmla="*/ 60 h 146"/>
                  <a:gd name="T86" fmla="*/ 40 w 167"/>
                  <a:gd name="T87" fmla="*/ 61 h 146"/>
                  <a:gd name="T88" fmla="*/ 45 w 167"/>
                  <a:gd name="T89" fmla="*/ 60 h 146"/>
                  <a:gd name="T90" fmla="*/ 42 w 167"/>
                  <a:gd name="T91" fmla="*/ 55 h 146"/>
                  <a:gd name="T92" fmla="*/ 45 w 167"/>
                  <a:gd name="T93" fmla="*/ 44 h 146"/>
                  <a:gd name="T94" fmla="*/ 53 w 167"/>
                  <a:gd name="T95" fmla="*/ 34 h 146"/>
                  <a:gd name="T96" fmla="*/ 61 w 167"/>
                  <a:gd name="T97" fmla="*/ 28 h 146"/>
                  <a:gd name="T98" fmla="*/ 58 w 167"/>
                  <a:gd name="T99" fmla="*/ 25 h 146"/>
                  <a:gd name="T100" fmla="*/ 61 w 167"/>
                  <a:gd name="T101" fmla="*/ 14 h 146"/>
                  <a:gd name="T102" fmla="*/ 75 w 167"/>
                  <a:gd name="T103" fmla="*/ 11 h 146"/>
                  <a:gd name="T104" fmla="*/ 83 w 167"/>
                  <a:gd name="T105" fmla="*/ 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7" h="146">
                    <a:moveTo>
                      <a:pt x="87" y="0"/>
                    </a:moveTo>
                    <a:lnTo>
                      <a:pt x="89" y="3"/>
                    </a:lnTo>
                    <a:lnTo>
                      <a:pt x="90" y="3"/>
                    </a:lnTo>
                    <a:lnTo>
                      <a:pt x="92" y="2"/>
                    </a:lnTo>
                    <a:lnTo>
                      <a:pt x="92" y="2"/>
                    </a:lnTo>
                    <a:lnTo>
                      <a:pt x="94" y="2"/>
                    </a:lnTo>
                    <a:lnTo>
                      <a:pt x="95" y="3"/>
                    </a:lnTo>
                    <a:lnTo>
                      <a:pt x="97" y="5"/>
                    </a:lnTo>
                    <a:lnTo>
                      <a:pt x="97" y="6"/>
                    </a:lnTo>
                    <a:lnTo>
                      <a:pt x="98" y="6"/>
                    </a:lnTo>
                    <a:lnTo>
                      <a:pt x="101" y="5"/>
                    </a:lnTo>
                    <a:lnTo>
                      <a:pt x="103" y="5"/>
                    </a:lnTo>
                    <a:lnTo>
                      <a:pt x="103" y="5"/>
                    </a:lnTo>
                    <a:lnTo>
                      <a:pt x="108" y="6"/>
                    </a:lnTo>
                    <a:lnTo>
                      <a:pt x="109" y="6"/>
                    </a:lnTo>
                    <a:lnTo>
                      <a:pt x="109" y="8"/>
                    </a:lnTo>
                    <a:lnTo>
                      <a:pt x="109" y="8"/>
                    </a:lnTo>
                    <a:lnTo>
                      <a:pt x="109" y="9"/>
                    </a:lnTo>
                    <a:lnTo>
                      <a:pt x="108" y="11"/>
                    </a:lnTo>
                    <a:lnTo>
                      <a:pt x="109" y="14"/>
                    </a:lnTo>
                    <a:lnTo>
                      <a:pt x="111" y="14"/>
                    </a:lnTo>
                    <a:lnTo>
                      <a:pt x="112" y="13"/>
                    </a:lnTo>
                    <a:lnTo>
                      <a:pt x="114" y="13"/>
                    </a:lnTo>
                    <a:lnTo>
                      <a:pt x="115" y="13"/>
                    </a:lnTo>
                    <a:lnTo>
                      <a:pt x="117" y="11"/>
                    </a:lnTo>
                    <a:lnTo>
                      <a:pt x="117" y="9"/>
                    </a:lnTo>
                    <a:lnTo>
                      <a:pt x="119" y="9"/>
                    </a:lnTo>
                    <a:lnTo>
                      <a:pt x="120" y="9"/>
                    </a:lnTo>
                    <a:lnTo>
                      <a:pt x="123" y="9"/>
                    </a:lnTo>
                    <a:lnTo>
                      <a:pt x="128" y="11"/>
                    </a:lnTo>
                    <a:lnTo>
                      <a:pt x="128" y="13"/>
                    </a:lnTo>
                    <a:lnTo>
                      <a:pt x="129" y="14"/>
                    </a:lnTo>
                    <a:lnTo>
                      <a:pt x="131" y="16"/>
                    </a:lnTo>
                    <a:lnTo>
                      <a:pt x="131" y="16"/>
                    </a:lnTo>
                    <a:lnTo>
                      <a:pt x="133" y="17"/>
                    </a:lnTo>
                    <a:lnTo>
                      <a:pt x="134" y="17"/>
                    </a:lnTo>
                    <a:lnTo>
                      <a:pt x="134" y="17"/>
                    </a:lnTo>
                    <a:lnTo>
                      <a:pt x="134" y="17"/>
                    </a:lnTo>
                    <a:lnTo>
                      <a:pt x="136" y="19"/>
                    </a:lnTo>
                    <a:lnTo>
                      <a:pt x="136" y="19"/>
                    </a:lnTo>
                    <a:lnTo>
                      <a:pt x="136" y="24"/>
                    </a:lnTo>
                    <a:lnTo>
                      <a:pt x="134" y="25"/>
                    </a:lnTo>
                    <a:lnTo>
                      <a:pt x="134" y="25"/>
                    </a:lnTo>
                    <a:lnTo>
                      <a:pt x="134" y="27"/>
                    </a:lnTo>
                    <a:lnTo>
                      <a:pt x="134" y="27"/>
                    </a:lnTo>
                    <a:lnTo>
                      <a:pt x="134" y="28"/>
                    </a:lnTo>
                    <a:lnTo>
                      <a:pt x="136" y="31"/>
                    </a:lnTo>
                    <a:lnTo>
                      <a:pt x="137" y="33"/>
                    </a:lnTo>
                    <a:lnTo>
                      <a:pt x="137" y="34"/>
                    </a:lnTo>
                    <a:lnTo>
                      <a:pt x="134" y="38"/>
                    </a:lnTo>
                    <a:lnTo>
                      <a:pt x="134" y="38"/>
                    </a:lnTo>
                    <a:lnTo>
                      <a:pt x="134" y="41"/>
                    </a:lnTo>
                    <a:lnTo>
                      <a:pt x="133" y="42"/>
                    </a:lnTo>
                    <a:lnTo>
                      <a:pt x="134" y="42"/>
                    </a:lnTo>
                    <a:lnTo>
                      <a:pt x="137" y="45"/>
                    </a:lnTo>
                    <a:lnTo>
                      <a:pt x="139" y="47"/>
                    </a:lnTo>
                    <a:lnTo>
                      <a:pt x="140" y="47"/>
                    </a:lnTo>
                    <a:lnTo>
                      <a:pt x="140" y="47"/>
                    </a:lnTo>
                    <a:lnTo>
                      <a:pt x="139" y="50"/>
                    </a:lnTo>
                    <a:lnTo>
                      <a:pt x="139" y="52"/>
                    </a:lnTo>
                    <a:lnTo>
                      <a:pt x="140" y="52"/>
                    </a:lnTo>
                    <a:lnTo>
                      <a:pt x="142" y="55"/>
                    </a:lnTo>
                    <a:lnTo>
                      <a:pt x="142" y="58"/>
                    </a:lnTo>
                    <a:lnTo>
                      <a:pt x="144" y="60"/>
                    </a:lnTo>
                    <a:lnTo>
                      <a:pt x="148" y="63"/>
                    </a:lnTo>
                    <a:lnTo>
                      <a:pt x="151" y="64"/>
                    </a:lnTo>
                    <a:lnTo>
                      <a:pt x="151" y="66"/>
                    </a:lnTo>
                    <a:lnTo>
                      <a:pt x="151" y="66"/>
                    </a:lnTo>
                    <a:lnTo>
                      <a:pt x="151" y="67"/>
                    </a:lnTo>
                    <a:lnTo>
                      <a:pt x="151" y="70"/>
                    </a:lnTo>
                    <a:lnTo>
                      <a:pt x="150" y="72"/>
                    </a:lnTo>
                    <a:lnTo>
                      <a:pt x="151" y="72"/>
                    </a:lnTo>
                    <a:lnTo>
                      <a:pt x="154" y="72"/>
                    </a:lnTo>
                    <a:lnTo>
                      <a:pt x="158" y="72"/>
                    </a:lnTo>
                    <a:lnTo>
                      <a:pt x="162" y="75"/>
                    </a:lnTo>
                    <a:lnTo>
                      <a:pt x="162" y="77"/>
                    </a:lnTo>
                    <a:lnTo>
                      <a:pt x="162" y="77"/>
                    </a:lnTo>
                    <a:lnTo>
                      <a:pt x="162" y="78"/>
                    </a:lnTo>
                    <a:lnTo>
                      <a:pt x="162" y="80"/>
                    </a:lnTo>
                    <a:lnTo>
                      <a:pt x="167" y="83"/>
                    </a:lnTo>
                    <a:lnTo>
                      <a:pt x="167" y="83"/>
                    </a:lnTo>
                    <a:lnTo>
                      <a:pt x="167" y="85"/>
                    </a:lnTo>
                    <a:lnTo>
                      <a:pt x="167" y="86"/>
                    </a:lnTo>
                    <a:lnTo>
                      <a:pt x="165" y="86"/>
                    </a:lnTo>
                    <a:lnTo>
                      <a:pt x="165" y="86"/>
                    </a:lnTo>
                    <a:lnTo>
                      <a:pt x="162" y="88"/>
                    </a:lnTo>
                    <a:lnTo>
                      <a:pt x="162" y="89"/>
                    </a:lnTo>
                    <a:lnTo>
                      <a:pt x="159" y="92"/>
                    </a:lnTo>
                    <a:lnTo>
                      <a:pt x="158" y="92"/>
                    </a:lnTo>
                    <a:lnTo>
                      <a:pt x="156" y="92"/>
                    </a:lnTo>
                    <a:lnTo>
                      <a:pt x="151" y="92"/>
                    </a:lnTo>
                    <a:lnTo>
                      <a:pt x="151" y="91"/>
                    </a:lnTo>
                    <a:lnTo>
                      <a:pt x="150" y="89"/>
                    </a:lnTo>
                    <a:lnTo>
                      <a:pt x="148" y="89"/>
                    </a:lnTo>
                    <a:lnTo>
                      <a:pt x="147" y="89"/>
                    </a:lnTo>
                    <a:lnTo>
                      <a:pt x="144" y="89"/>
                    </a:lnTo>
                    <a:lnTo>
                      <a:pt x="144" y="89"/>
                    </a:lnTo>
                    <a:lnTo>
                      <a:pt x="144" y="91"/>
                    </a:lnTo>
                    <a:lnTo>
                      <a:pt x="142" y="94"/>
                    </a:lnTo>
                    <a:lnTo>
                      <a:pt x="142" y="96"/>
                    </a:lnTo>
                    <a:lnTo>
                      <a:pt x="142" y="96"/>
                    </a:lnTo>
                    <a:lnTo>
                      <a:pt x="144" y="97"/>
                    </a:lnTo>
                    <a:lnTo>
                      <a:pt x="145" y="99"/>
                    </a:lnTo>
                    <a:lnTo>
                      <a:pt x="147" y="102"/>
                    </a:lnTo>
                    <a:lnTo>
                      <a:pt x="147" y="102"/>
                    </a:lnTo>
                    <a:lnTo>
                      <a:pt x="147" y="103"/>
                    </a:lnTo>
                    <a:lnTo>
                      <a:pt x="147" y="105"/>
                    </a:lnTo>
                    <a:lnTo>
                      <a:pt x="147" y="106"/>
                    </a:lnTo>
                    <a:lnTo>
                      <a:pt x="148" y="108"/>
                    </a:lnTo>
                    <a:lnTo>
                      <a:pt x="147" y="110"/>
                    </a:lnTo>
                    <a:lnTo>
                      <a:pt x="147" y="113"/>
                    </a:lnTo>
                    <a:lnTo>
                      <a:pt x="147" y="116"/>
                    </a:lnTo>
                    <a:lnTo>
                      <a:pt x="148" y="116"/>
                    </a:lnTo>
                    <a:lnTo>
                      <a:pt x="148" y="117"/>
                    </a:lnTo>
                    <a:lnTo>
                      <a:pt x="150" y="117"/>
                    </a:lnTo>
                    <a:lnTo>
                      <a:pt x="150" y="121"/>
                    </a:lnTo>
                    <a:lnTo>
                      <a:pt x="150" y="121"/>
                    </a:lnTo>
                    <a:lnTo>
                      <a:pt x="147" y="121"/>
                    </a:lnTo>
                    <a:lnTo>
                      <a:pt x="144" y="121"/>
                    </a:lnTo>
                    <a:lnTo>
                      <a:pt x="140" y="122"/>
                    </a:lnTo>
                    <a:lnTo>
                      <a:pt x="140" y="122"/>
                    </a:lnTo>
                    <a:lnTo>
                      <a:pt x="139" y="122"/>
                    </a:lnTo>
                    <a:lnTo>
                      <a:pt x="137" y="122"/>
                    </a:lnTo>
                    <a:lnTo>
                      <a:pt x="134" y="125"/>
                    </a:lnTo>
                    <a:lnTo>
                      <a:pt x="133" y="127"/>
                    </a:lnTo>
                    <a:lnTo>
                      <a:pt x="131" y="130"/>
                    </a:lnTo>
                    <a:lnTo>
                      <a:pt x="131" y="130"/>
                    </a:lnTo>
                    <a:lnTo>
                      <a:pt x="129" y="133"/>
                    </a:lnTo>
                    <a:lnTo>
                      <a:pt x="129" y="136"/>
                    </a:lnTo>
                    <a:lnTo>
                      <a:pt x="129" y="138"/>
                    </a:lnTo>
                    <a:lnTo>
                      <a:pt x="129" y="139"/>
                    </a:lnTo>
                    <a:lnTo>
                      <a:pt x="129" y="141"/>
                    </a:lnTo>
                    <a:lnTo>
                      <a:pt x="131" y="142"/>
                    </a:lnTo>
                    <a:lnTo>
                      <a:pt x="129" y="144"/>
                    </a:lnTo>
                    <a:lnTo>
                      <a:pt x="129" y="146"/>
                    </a:lnTo>
                    <a:lnTo>
                      <a:pt x="128" y="144"/>
                    </a:lnTo>
                    <a:lnTo>
                      <a:pt x="125" y="142"/>
                    </a:lnTo>
                    <a:lnTo>
                      <a:pt x="125" y="141"/>
                    </a:lnTo>
                    <a:lnTo>
                      <a:pt x="123" y="139"/>
                    </a:lnTo>
                    <a:lnTo>
                      <a:pt x="122" y="139"/>
                    </a:lnTo>
                    <a:lnTo>
                      <a:pt x="120" y="139"/>
                    </a:lnTo>
                    <a:lnTo>
                      <a:pt x="119" y="139"/>
                    </a:lnTo>
                    <a:lnTo>
                      <a:pt x="114" y="139"/>
                    </a:lnTo>
                    <a:lnTo>
                      <a:pt x="112" y="141"/>
                    </a:lnTo>
                    <a:lnTo>
                      <a:pt x="111" y="141"/>
                    </a:lnTo>
                    <a:lnTo>
                      <a:pt x="108" y="141"/>
                    </a:lnTo>
                    <a:lnTo>
                      <a:pt x="108" y="141"/>
                    </a:lnTo>
                    <a:lnTo>
                      <a:pt x="106" y="138"/>
                    </a:lnTo>
                    <a:lnTo>
                      <a:pt x="104" y="136"/>
                    </a:lnTo>
                    <a:lnTo>
                      <a:pt x="104" y="135"/>
                    </a:lnTo>
                    <a:lnTo>
                      <a:pt x="103" y="135"/>
                    </a:lnTo>
                    <a:lnTo>
                      <a:pt x="103" y="135"/>
                    </a:lnTo>
                    <a:lnTo>
                      <a:pt x="103" y="136"/>
                    </a:lnTo>
                    <a:lnTo>
                      <a:pt x="101" y="136"/>
                    </a:lnTo>
                    <a:lnTo>
                      <a:pt x="101" y="136"/>
                    </a:lnTo>
                    <a:lnTo>
                      <a:pt x="100" y="138"/>
                    </a:lnTo>
                    <a:lnTo>
                      <a:pt x="98" y="138"/>
                    </a:lnTo>
                    <a:lnTo>
                      <a:pt x="97" y="141"/>
                    </a:lnTo>
                    <a:lnTo>
                      <a:pt x="97" y="139"/>
                    </a:lnTo>
                    <a:lnTo>
                      <a:pt x="95" y="139"/>
                    </a:lnTo>
                    <a:lnTo>
                      <a:pt x="95" y="138"/>
                    </a:lnTo>
                    <a:lnTo>
                      <a:pt x="94" y="136"/>
                    </a:lnTo>
                    <a:lnTo>
                      <a:pt x="92" y="136"/>
                    </a:lnTo>
                    <a:lnTo>
                      <a:pt x="89" y="136"/>
                    </a:lnTo>
                    <a:lnTo>
                      <a:pt x="87" y="135"/>
                    </a:lnTo>
                    <a:lnTo>
                      <a:pt x="87" y="136"/>
                    </a:lnTo>
                    <a:lnTo>
                      <a:pt x="86" y="136"/>
                    </a:lnTo>
                    <a:lnTo>
                      <a:pt x="84" y="136"/>
                    </a:lnTo>
                    <a:lnTo>
                      <a:pt x="83" y="136"/>
                    </a:lnTo>
                    <a:lnTo>
                      <a:pt x="81" y="136"/>
                    </a:lnTo>
                    <a:lnTo>
                      <a:pt x="81" y="138"/>
                    </a:lnTo>
                    <a:lnTo>
                      <a:pt x="79" y="139"/>
                    </a:lnTo>
                    <a:lnTo>
                      <a:pt x="79" y="139"/>
                    </a:lnTo>
                    <a:lnTo>
                      <a:pt x="78" y="139"/>
                    </a:lnTo>
                    <a:lnTo>
                      <a:pt x="79" y="136"/>
                    </a:lnTo>
                    <a:lnTo>
                      <a:pt x="78" y="136"/>
                    </a:lnTo>
                    <a:lnTo>
                      <a:pt x="75" y="135"/>
                    </a:lnTo>
                    <a:lnTo>
                      <a:pt x="73" y="136"/>
                    </a:lnTo>
                    <a:lnTo>
                      <a:pt x="72" y="136"/>
                    </a:lnTo>
                    <a:lnTo>
                      <a:pt x="72" y="135"/>
                    </a:lnTo>
                    <a:lnTo>
                      <a:pt x="68" y="131"/>
                    </a:lnTo>
                    <a:lnTo>
                      <a:pt x="68" y="131"/>
                    </a:lnTo>
                    <a:lnTo>
                      <a:pt x="65" y="131"/>
                    </a:lnTo>
                    <a:lnTo>
                      <a:pt x="62" y="130"/>
                    </a:lnTo>
                    <a:lnTo>
                      <a:pt x="59" y="130"/>
                    </a:lnTo>
                    <a:lnTo>
                      <a:pt x="58" y="130"/>
                    </a:lnTo>
                    <a:lnTo>
                      <a:pt x="56" y="128"/>
                    </a:lnTo>
                    <a:lnTo>
                      <a:pt x="54" y="128"/>
                    </a:lnTo>
                    <a:lnTo>
                      <a:pt x="48" y="127"/>
                    </a:lnTo>
                    <a:lnTo>
                      <a:pt x="45" y="127"/>
                    </a:lnTo>
                    <a:lnTo>
                      <a:pt x="42" y="127"/>
                    </a:lnTo>
                    <a:lnTo>
                      <a:pt x="36" y="125"/>
                    </a:lnTo>
                    <a:lnTo>
                      <a:pt x="33" y="127"/>
                    </a:lnTo>
                    <a:lnTo>
                      <a:pt x="31" y="127"/>
                    </a:lnTo>
                    <a:lnTo>
                      <a:pt x="29" y="127"/>
                    </a:lnTo>
                    <a:lnTo>
                      <a:pt x="26" y="127"/>
                    </a:lnTo>
                    <a:lnTo>
                      <a:pt x="25" y="127"/>
                    </a:lnTo>
                    <a:lnTo>
                      <a:pt x="23" y="127"/>
                    </a:lnTo>
                    <a:lnTo>
                      <a:pt x="20" y="128"/>
                    </a:lnTo>
                    <a:lnTo>
                      <a:pt x="20" y="128"/>
                    </a:lnTo>
                    <a:lnTo>
                      <a:pt x="18" y="130"/>
                    </a:lnTo>
                    <a:lnTo>
                      <a:pt x="17" y="133"/>
                    </a:lnTo>
                    <a:lnTo>
                      <a:pt x="14" y="136"/>
                    </a:lnTo>
                    <a:lnTo>
                      <a:pt x="14" y="136"/>
                    </a:lnTo>
                    <a:lnTo>
                      <a:pt x="12" y="135"/>
                    </a:lnTo>
                    <a:lnTo>
                      <a:pt x="11" y="135"/>
                    </a:lnTo>
                    <a:lnTo>
                      <a:pt x="9" y="135"/>
                    </a:lnTo>
                    <a:lnTo>
                      <a:pt x="8" y="135"/>
                    </a:lnTo>
                    <a:lnTo>
                      <a:pt x="8" y="135"/>
                    </a:lnTo>
                    <a:lnTo>
                      <a:pt x="8" y="138"/>
                    </a:lnTo>
                    <a:lnTo>
                      <a:pt x="8" y="138"/>
                    </a:lnTo>
                    <a:lnTo>
                      <a:pt x="6" y="135"/>
                    </a:lnTo>
                    <a:lnTo>
                      <a:pt x="6" y="133"/>
                    </a:lnTo>
                    <a:lnTo>
                      <a:pt x="8" y="131"/>
                    </a:lnTo>
                    <a:lnTo>
                      <a:pt x="8" y="130"/>
                    </a:lnTo>
                    <a:lnTo>
                      <a:pt x="8" y="128"/>
                    </a:lnTo>
                    <a:lnTo>
                      <a:pt x="8" y="125"/>
                    </a:lnTo>
                    <a:lnTo>
                      <a:pt x="8" y="124"/>
                    </a:lnTo>
                    <a:lnTo>
                      <a:pt x="8" y="122"/>
                    </a:lnTo>
                    <a:lnTo>
                      <a:pt x="8" y="121"/>
                    </a:lnTo>
                    <a:lnTo>
                      <a:pt x="6" y="121"/>
                    </a:lnTo>
                    <a:lnTo>
                      <a:pt x="4" y="119"/>
                    </a:lnTo>
                    <a:lnTo>
                      <a:pt x="3" y="119"/>
                    </a:lnTo>
                    <a:lnTo>
                      <a:pt x="0" y="117"/>
                    </a:lnTo>
                    <a:lnTo>
                      <a:pt x="0" y="116"/>
                    </a:lnTo>
                    <a:lnTo>
                      <a:pt x="0" y="116"/>
                    </a:lnTo>
                    <a:lnTo>
                      <a:pt x="0" y="114"/>
                    </a:lnTo>
                    <a:lnTo>
                      <a:pt x="1" y="111"/>
                    </a:lnTo>
                    <a:lnTo>
                      <a:pt x="4" y="110"/>
                    </a:lnTo>
                    <a:lnTo>
                      <a:pt x="4" y="108"/>
                    </a:lnTo>
                    <a:lnTo>
                      <a:pt x="11" y="105"/>
                    </a:lnTo>
                    <a:lnTo>
                      <a:pt x="12" y="103"/>
                    </a:lnTo>
                    <a:lnTo>
                      <a:pt x="12" y="102"/>
                    </a:lnTo>
                    <a:lnTo>
                      <a:pt x="12" y="100"/>
                    </a:lnTo>
                    <a:lnTo>
                      <a:pt x="12" y="99"/>
                    </a:lnTo>
                    <a:lnTo>
                      <a:pt x="12" y="94"/>
                    </a:lnTo>
                    <a:lnTo>
                      <a:pt x="12" y="92"/>
                    </a:lnTo>
                    <a:lnTo>
                      <a:pt x="11" y="88"/>
                    </a:lnTo>
                    <a:lnTo>
                      <a:pt x="8" y="78"/>
                    </a:lnTo>
                    <a:lnTo>
                      <a:pt x="4" y="67"/>
                    </a:lnTo>
                    <a:lnTo>
                      <a:pt x="6" y="69"/>
                    </a:lnTo>
                    <a:lnTo>
                      <a:pt x="9" y="69"/>
                    </a:lnTo>
                    <a:lnTo>
                      <a:pt x="12" y="67"/>
                    </a:lnTo>
                    <a:lnTo>
                      <a:pt x="14" y="67"/>
                    </a:lnTo>
                    <a:lnTo>
                      <a:pt x="14" y="67"/>
                    </a:lnTo>
                    <a:lnTo>
                      <a:pt x="15" y="67"/>
                    </a:lnTo>
                    <a:lnTo>
                      <a:pt x="17" y="67"/>
                    </a:lnTo>
                    <a:lnTo>
                      <a:pt x="18" y="69"/>
                    </a:lnTo>
                    <a:lnTo>
                      <a:pt x="20" y="69"/>
                    </a:lnTo>
                    <a:lnTo>
                      <a:pt x="23" y="67"/>
                    </a:lnTo>
                    <a:lnTo>
                      <a:pt x="25" y="66"/>
                    </a:lnTo>
                    <a:lnTo>
                      <a:pt x="28" y="67"/>
                    </a:lnTo>
                    <a:lnTo>
                      <a:pt x="28" y="66"/>
                    </a:lnTo>
                    <a:lnTo>
                      <a:pt x="28" y="63"/>
                    </a:lnTo>
                    <a:lnTo>
                      <a:pt x="29" y="61"/>
                    </a:lnTo>
                    <a:lnTo>
                      <a:pt x="33" y="63"/>
                    </a:lnTo>
                    <a:lnTo>
                      <a:pt x="34" y="61"/>
                    </a:lnTo>
                    <a:lnTo>
                      <a:pt x="34" y="60"/>
                    </a:lnTo>
                    <a:lnTo>
                      <a:pt x="37" y="58"/>
                    </a:lnTo>
                    <a:lnTo>
                      <a:pt x="39" y="58"/>
                    </a:lnTo>
                    <a:lnTo>
                      <a:pt x="40" y="56"/>
                    </a:lnTo>
                    <a:lnTo>
                      <a:pt x="40" y="58"/>
                    </a:lnTo>
                    <a:lnTo>
                      <a:pt x="40" y="60"/>
                    </a:lnTo>
                    <a:lnTo>
                      <a:pt x="40" y="61"/>
                    </a:lnTo>
                    <a:lnTo>
                      <a:pt x="40" y="61"/>
                    </a:lnTo>
                    <a:lnTo>
                      <a:pt x="42" y="61"/>
                    </a:lnTo>
                    <a:lnTo>
                      <a:pt x="43" y="61"/>
                    </a:lnTo>
                    <a:lnTo>
                      <a:pt x="45" y="61"/>
                    </a:lnTo>
                    <a:lnTo>
                      <a:pt x="45" y="61"/>
                    </a:lnTo>
                    <a:lnTo>
                      <a:pt x="45" y="60"/>
                    </a:lnTo>
                    <a:lnTo>
                      <a:pt x="45" y="58"/>
                    </a:lnTo>
                    <a:lnTo>
                      <a:pt x="43" y="56"/>
                    </a:lnTo>
                    <a:lnTo>
                      <a:pt x="42" y="56"/>
                    </a:lnTo>
                    <a:lnTo>
                      <a:pt x="42" y="56"/>
                    </a:lnTo>
                    <a:lnTo>
                      <a:pt x="42" y="56"/>
                    </a:lnTo>
                    <a:lnTo>
                      <a:pt x="42" y="55"/>
                    </a:lnTo>
                    <a:lnTo>
                      <a:pt x="42" y="52"/>
                    </a:lnTo>
                    <a:lnTo>
                      <a:pt x="43" y="50"/>
                    </a:lnTo>
                    <a:lnTo>
                      <a:pt x="45" y="49"/>
                    </a:lnTo>
                    <a:lnTo>
                      <a:pt x="45" y="49"/>
                    </a:lnTo>
                    <a:lnTo>
                      <a:pt x="45" y="47"/>
                    </a:lnTo>
                    <a:lnTo>
                      <a:pt x="45" y="44"/>
                    </a:lnTo>
                    <a:lnTo>
                      <a:pt x="45" y="41"/>
                    </a:lnTo>
                    <a:lnTo>
                      <a:pt x="47" y="38"/>
                    </a:lnTo>
                    <a:lnTo>
                      <a:pt x="48" y="38"/>
                    </a:lnTo>
                    <a:lnTo>
                      <a:pt x="51" y="38"/>
                    </a:lnTo>
                    <a:lnTo>
                      <a:pt x="53" y="36"/>
                    </a:lnTo>
                    <a:lnTo>
                      <a:pt x="53" y="34"/>
                    </a:lnTo>
                    <a:lnTo>
                      <a:pt x="53" y="33"/>
                    </a:lnTo>
                    <a:lnTo>
                      <a:pt x="53" y="31"/>
                    </a:lnTo>
                    <a:lnTo>
                      <a:pt x="54" y="31"/>
                    </a:lnTo>
                    <a:lnTo>
                      <a:pt x="59" y="31"/>
                    </a:lnTo>
                    <a:lnTo>
                      <a:pt x="61" y="30"/>
                    </a:lnTo>
                    <a:lnTo>
                      <a:pt x="61" y="28"/>
                    </a:lnTo>
                    <a:lnTo>
                      <a:pt x="62" y="28"/>
                    </a:lnTo>
                    <a:lnTo>
                      <a:pt x="62" y="27"/>
                    </a:lnTo>
                    <a:lnTo>
                      <a:pt x="62" y="27"/>
                    </a:lnTo>
                    <a:lnTo>
                      <a:pt x="61" y="27"/>
                    </a:lnTo>
                    <a:lnTo>
                      <a:pt x="58" y="27"/>
                    </a:lnTo>
                    <a:lnTo>
                      <a:pt x="58" y="25"/>
                    </a:lnTo>
                    <a:lnTo>
                      <a:pt x="58" y="25"/>
                    </a:lnTo>
                    <a:lnTo>
                      <a:pt x="59" y="22"/>
                    </a:lnTo>
                    <a:lnTo>
                      <a:pt x="59" y="19"/>
                    </a:lnTo>
                    <a:lnTo>
                      <a:pt x="59" y="17"/>
                    </a:lnTo>
                    <a:lnTo>
                      <a:pt x="59" y="16"/>
                    </a:lnTo>
                    <a:lnTo>
                      <a:pt x="61" y="14"/>
                    </a:lnTo>
                    <a:lnTo>
                      <a:pt x="62" y="14"/>
                    </a:lnTo>
                    <a:lnTo>
                      <a:pt x="64" y="14"/>
                    </a:lnTo>
                    <a:lnTo>
                      <a:pt x="65" y="11"/>
                    </a:lnTo>
                    <a:lnTo>
                      <a:pt x="67" y="9"/>
                    </a:lnTo>
                    <a:lnTo>
                      <a:pt x="72" y="11"/>
                    </a:lnTo>
                    <a:lnTo>
                      <a:pt x="75" y="11"/>
                    </a:lnTo>
                    <a:lnTo>
                      <a:pt x="75" y="11"/>
                    </a:lnTo>
                    <a:lnTo>
                      <a:pt x="76" y="11"/>
                    </a:lnTo>
                    <a:lnTo>
                      <a:pt x="78" y="11"/>
                    </a:lnTo>
                    <a:lnTo>
                      <a:pt x="78" y="8"/>
                    </a:lnTo>
                    <a:lnTo>
                      <a:pt x="79" y="6"/>
                    </a:lnTo>
                    <a:lnTo>
                      <a:pt x="83" y="3"/>
                    </a:lnTo>
                    <a:lnTo>
                      <a:pt x="84" y="0"/>
                    </a:lnTo>
                    <a:lnTo>
                      <a:pt x="86" y="0"/>
                    </a:lnTo>
                    <a:lnTo>
                      <a:pt x="87"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0" name="Freeform 37">
                <a:extLst>
                  <a:ext uri="{FF2B5EF4-FFF2-40B4-BE49-F238E27FC236}">
                    <a16:creationId xmlns:a16="http://schemas.microsoft.com/office/drawing/2014/main" id="{914B2825-80F8-F8A5-BCA6-2F05F8575ACE}"/>
                  </a:ext>
                </a:extLst>
              </p:cNvPr>
              <p:cNvSpPr>
                <a:spLocks noEditPoints="1"/>
              </p:cNvSpPr>
              <p:nvPr/>
            </p:nvSpPr>
            <p:spPr bwMode="gray">
              <a:xfrm>
                <a:off x="1109" y="1249"/>
                <a:ext cx="25" cy="47"/>
              </a:xfrm>
              <a:custGeom>
                <a:avLst/>
                <a:gdLst>
                  <a:gd name="T0" fmla="*/ 25 w 25"/>
                  <a:gd name="T1" fmla="*/ 17 h 47"/>
                  <a:gd name="T2" fmla="*/ 23 w 25"/>
                  <a:gd name="T3" fmla="*/ 19 h 47"/>
                  <a:gd name="T4" fmla="*/ 23 w 25"/>
                  <a:gd name="T5" fmla="*/ 22 h 47"/>
                  <a:gd name="T6" fmla="*/ 25 w 25"/>
                  <a:gd name="T7" fmla="*/ 19 h 47"/>
                  <a:gd name="T8" fmla="*/ 25 w 25"/>
                  <a:gd name="T9" fmla="*/ 17 h 47"/>
                  <a:gd name="T10" fmla="*/ 23 w 25"/>
                  <a:gd name="T11" fmla="*/ 6 h 47"/>
                  <a:gd name="T12" fmla="*/ 21 w 25"/>
                  <a:gd name="T13" fmla="*/ 9 h 47"/>
                  <a:gd name="T14" fmla="*/ 21 w 25"/>
                  <a:gd name="T15" fmla="*/ 9 h 47"/>
                  <a:gd name="T16" fmla="*/ 23 w 25"/>
                  <a:gd name="T17" fmla="*/ 6 h 47"/>
                  <a:gd name="T18" fmla="*/ 20 w 25"/>
                  <a:gd name="T19" fmla="*/ 6 h 47"/>
                  <a:gd name="T20" fmla="*/ 18 w 25"/>
                  <a:gd name="T21" fmla="*/ 1 h 47"/>
                  <a:gd name="T22" fmla="*/ 17 w 25"/>
                  <a:gd name="T23" fmla="*/ 1 h 47"/>
                  <a:gd name="T24" fmla="*/ 17 w 25"/>
                  <a:gd name="T25" fmla="*/ 0 h 47"/>
                  <a:gd name="T26" fmla="*/ 15 w 25"/>
                  <a:gd name="T27" fmla="*/ 0 h 47"/>
                  <a:gd name="T28" fmla="*/ 12 w 25"/>
                  <a:gd name="T29" fmla="*/ 0 h 47"/>
                  <a:gd name="T30" fmla="*/ 12 w 25"/>
                  <a:gd name="T31" fmla="*/ 3 h 47"/>
                  <a:gd name="T32" fmla="*/ 10 w 25"/>
                  <a:gd name="T33" fmla="*/ 5 h 47"/>
                  <a:gd name="T34" fmla="*/ 7 w 25"/>
                  <a:gd name="T35" fmla="*/ 9 h 47"/>
                  <a:gd name="T36" fmla="*/ 6 w 25"/>
                  <a:gd name="T37" fmla="*/ 11 h 47"/>
                  <a:gd name="T38" fmla="*/ 3 w 25"/>
                  <a:gd name="T39" fmla="*/ 9 h 47"/>
                  <a:gd name="T40" fmla="*/ 1 w 25"/>
                  <a:gd name="T41" fmla="*/ 9 h 47"/>
                  <a:gd name="T42" fmla="*/ 1 w 25"/>
                  <a:gd name="T43" fmla="*/ 12 h 47"/>
                  <a:gd name="T44" fmla="*/ 1 w 25"/>
                  <a:gd name="T45" fmla="*/ 22 h 47"/>
                  <a:gd name="T46" fmla="*/ 0 w 25"/>
                  <a:gd name="T47" fmla="*/ 30 h 47"/>
                  <a:gd name="T48" fmla="*/ 0 w 25"/>
                  <a:gd name="T49" fmla="*/ 42 h 47"/>
                  <a:gd name="T50" fmla="*/ 0 w 25"/>
                  <a:gd name="T51" fmla="*/ 47 h 47"/>
                  <a:gd name="T52" fmla="*/ 4 w 25"/>
                  <a:gd name="T53" fmla="*/ 47 h 47"/>
                  <a:gd name="T54" fmla="*/ 6 w 25"/>
                  <a:gd name="T55" fmla="*/ 45 h 47"/>
                  <a:gd name="T56" fmla="*/ 9 w 25"/>
                  <a:gd name="T57" fmla="*/ 41 h 47"/>
                  <a:gd name="T58" fmla="*/ 14 w 25"/>
                  <a:gd name="T59" fmla="*/ 37 h 47"/>
                  <a:gd name="T60" fmla="*/ 15 w 25"/>
                  <a:gd name="T61" fmla="*/ 34 h 47"/>
                  <a:gd name="T62" fmla="*/ 17 w 25"/>
                  <a:gd name="T63" fmla="*/ 23 h 47"/>
                  <a:gd name="T64" fmla="*/ 17 w 25"/>
                  <a:gd name="T65" fmla="*/ 20 h 47"/>
                  <a:gd name="T66" fmla="*/ 17 w 25"/>
                  <a:gd name="T67" fmla="*/ 15 h 47"/>
                  <a:gd name="T68" fmla="*/ 18 w 25"/>
                  <a:gd name="T69"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47">
                    <a:moveTo>
                      <a:pt x="25" y="17"/>
                    </a:moveTo>
                    <a:lnTo>
                      <a:pt x="25" y="17"/>
                    </a:lnTo>
                    <a:lnTo>
                      <a:pt x="23" y="19"/>
                    </a:lnTo>
                    <a:lnTo>
                      <a:pt x="23" y="19"/>
                    </a:lnTo>
                    <a:lnTo>
                      <a:pt x="23" y="20"/>
                    </a:lnTo>
                    <a:lnTo>
                      <a:pt x="23" y="22"/>
                    </a:lnTo>
                    <a:lnTo>
                      <a:pt x="25" y="19"/>
                    </a:lnTo>
                    <a:lnTo>
                      <a:pt x="25" y="19"/>
                    </a:lnTo>
                    <a:lnTo>
                      <a:pt x="25" y="17"/>
                    </a:lnTo>
                    <a:lnTo>
                      <a:pt x="25" y="17"/>
                    </a:lnTo>
                    <a:close/>
                    <a:moveTo>
                      <a:pt x="23" y="6"/>
                    </a:moveTo>
                    <a:lnTo>
                      <a:pt x="23" y="6"/>
                    </a:lnTo>
                    <a:lnTo>
                      <a:pt x="21" y="9"/>
                    </a:lnTo>
                    <a:lnTo>
                      <a:pt x="21" y="9"/>
                    </a:lnTo>
                    <a:lnTo>
                      <a:pt x="21" y="11"/>
                    </a:lnTo>
                    <a:lnTo>
                      <a:pt x="21" y="9"/>
                    </a:lnTo>
                    <a:lnTo>
                      <a:pt x="25" y="6"/>
                    </a:lnTo>
                    <a:lnTo>
                      <a:pt x="23" y="6"/>
                    </a:lnTo>
                    <a:close/>
                    <a:moveTo>
                      <a:pt x="18" y="11"/>
                    </a:moveTo>
                    <a:lnTo>
                      <a:pt x="20" y="6"/>
                    </a:lnTo>
                    <a:lnTo>
                      <a:pt x="20" y="5"/>
                    </a:lnTo>
                    <a:lnTo>
                      <a:pt x="18" y="1"/>
                    </a:lnTo>
                    <a:lnTo>
                      <a:pt x="17" y="1"/>
                    </a:lnTo>
                    <a:lnTo>
                      <a:pt x="17" y="1"/>
                    </a:lnTo>
                    <a:lnTo>
                      <a:pt x="15" y="1"/>
                    </a:lnTo>
                    <a:lnTo>
                      <a:pt x="17" y="0"/>
                    </a:lnTo>
                    <a:lnTo>
                      <a:pt x="17" y="0"/>
                    </a:lnTo>
                    <a:lnTo>
                      <a:pt x="15" y="0"/>
                    </a:lnTo>
                    <a:lnTo>
                      <a:pt x="14" y="0"/>
                    </a:lnTo>
                    <a:lnTo>
                      <a:pt x="12" y="0"/>
                    </a:lnTo>
                    <a:lnTo>
                      <a:pt x="12" y="0"/>
                    </a:lnTo>
                    <a:lnTo>
                      <a:pt x="12" y="3"/>
                    </a:lnTo>
                    <a:lnTo>
                      <a:pt x="10" y="3"/>
                    </a:lnTo>
                    <a:lnTo>
                      <a:pt x="10" y="5"/>
                    </a:lnTo>
                    <a:lnTo>
                      <a:pt x="9" y="8"/>
                    </a:lnTo>
                    <a:lnTo>
                      <a:pt x="7" y="9"/>
                    </a:lnTo>
                    <a:lnTo>
                      <a:pt x="6" y="9"/>
                    </a:lnTo>
                    <a:lnTo>
                      <a:pt x="6" y="11"/>
                    </a:lnTo>
                    <a:lnTo>
                      <a:pt x="4" y="9"/>
                    </a:lnTo>
                    <a:lnTo>
                      <a:pt x="3" y="9"/>
                    </a:lnTo>
                    <a:lnTo>
                      <a:pt x="3" y="9"/>
                    </a:lnTo>
                    <a:lnTo>
                      <a:pt x="1" y="9"/>
                    </a:lnTo>
                    <a:lnTo>
                      <a:pt x="1" y="11"/>
                    </a:lnTo>
                    <a:lnTo>
                      <a:pt x="1" y="12"/>
                    </a:lnTo>
                    <a:lnTo>
                      <a:pt x="1" y="17"/>
                    </a:lnTo>
                    <a:lnTo>
                      <a:pt x="1" y="22"/>
                    </a:lnTo>
                    <a:lnTo>
                      <a:pt x="1" y="25"/>
                    </a:lnTo>
                    <a:lnTo>
                      <a:pt x="0" y="30"/>
                    </a:lnTo>
                    <a:lnTo>
                      <a:pt x="0" y="36"/>
                    </a:lnTo>
                    <a:lnTo>
                      <a:pt x="0" y="42"/>
                    </a:lnTo>
                    <a:lnTo>
                      <a:pt x="0" y="47"/>
                    </a:lnTo>
                    <a:lnTo>
                      <a:pt x="0" y="47"/>
                    </a:lnTo>
                    <a:lnTo>
                      <a:pt x="1" y="47"/>
                    </a:lnTo>
                    <a:lnTo>
                      <a:pt x="4" y="47"/>
                    </a:lnTo>
                    <a:lnTo>
                      <a:pt x="6" y="47"/>
                    </a:lnTo>
                    <a:lnTo>
                      <a:pt x="6" y="45"/>
                    </a:lnTo>
                    <a:lnTo>
                      <a:pt x="6" y="45"/>
                    </a:lnTo>
                    <a:lnTo>
                      <a:pt x="9" y="41"/>
                    </a:lnTo>
                    <a:lnTo>
                      <a:pt x="12" y="41"/>
                    </a:lnTo>
                    <a:lnTo>
                      <a:pt x="14" y="37"/>
                    </a:lnTo>
                    <a:lnTo>
                      <a:pt x="14" y="36"/>
                    </a:lnTo>
                    <a:lnTo>
                      <a:pt x="15" y="34"/>
                    </a:lnTo>
                    <a:lnTo>
                      <a:pt x="17" y="28"/>
                    </a:lnTo>
                    <a:lnTo>
                      <a:pt x="17" y="23"/>
                    </a:lnTo>
                    <a:lnTo>
                      <a:pt x="17" y="22"/>
                    </a:lnTo>
                    <a:lnTo>
                      <a:pt x="17" y="20"/>
                    </a:lnTo>
                    <a:lnTo>
                      <a:pt x="18" y="17"/>
                    </a:lnTo>
                    <a:lnTo>
                      <a:pt x="17" y="15"/>
                    </a:lnTo>
                    <a:lnTo>
                      <a:pt x="17" y="12"/>
                    </a:lnTo>
                    <a:lnTo>
                      <a:pt x="18"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1" name="Freeform 38">
                <a:extLst>
                  <a:ext uri="{FF2B5EF4-FFF2-40B4-BE49-F238E27FC236}">
                    <a16:creationId xmlns:a16="http://schemas.microsoft.com/office/drawing/2014/main" id="{37C3DAAE-CDD8-F430-D8D8-C65F7D9C2CC3}"/>
                  </a:ext>
                </a:extLst>
              </p:cNvPr>
              <p:cNvSpPr>
                <a:spLocks noEditPoints="1"/>
              </p:cNvSpPr>
              <p:nvPr/>
            </p:nvSpPr>
            <p:spPr bwMode="gray">
              <a:xfrm>
                <a:off x="200" y="19"/>
                <a:ext cx="1551" cy="754"/>
              </a:xfrm>
              <a:custGeom>
                <a:avLst/>
                <a:gdLst>
                  <a:gd name="T0" fmla="*/ 1182 w 1551"/>
                  <a:gd name="T1" fmla="*/ 662 h 754"/>
                  <a:gd name="T2" fmla="*/ 1030 w 1551"/>
                  <a:gd name="T3" fmla="*/ 659 h 754"/>
                  <a:gd name="T4" fmla="*/ 1407 w 1551"/>
                  <a:gd name="T5" fmla="*/ 651 h 754"/>
                  <a:gd name="T6" fmla="*/ 1356 w 1551"/>
                  <a:gd name="T7" fmla="*/ 643 h 754"/>
                  <a:gd name="T8" fmla="*/ 1342 w 1551"/>
                  <a:gd name="T9" fmla="*/ 599 h 754"/>
                  <a:gd name="T10" fmla="*/ 1348 w 1551"/>
                  <a:gd name="T11" fmla="*/ 645 h 754"/>
                  <a:gd name="T12" fmla="*/ 1217 w 1551"/>
                  <a:gd name="T13" fmla="*/ 634 h 754"/>
                  <a:gd name="T14" fmla="*/ 1282 w 1551"/>
                  <a:gd name="T15" fmla="*/ 621 h 754"/>
                  <a:gd name="T16" fmla="*/ 1346 w 1551"/>
                  <a:gd name="T17" fmla="*/ 656 h 754"/>
                  <a:gd name="T18" fmla="*/ 1359 w 1551"/>
                  <a:gd name="T19" fmla="*/ 687 h 754"/>
                  <a:gd name="T20" fmla="*/ 252 w 1551"/>
                  <a:gd name="T21" fmla="*/ 552 h 754"/>
                  <a:gd name="T22" fmla="*/ 271 w 1551"/>
                  <a:gd name="T23" fmla="*/ 537 h 754"/>
                  <a:gd name="T24" fmla="*/ 264 w 1551"/>
                  <a:gd name="T25" fmla="*/ 562 h 754"/>
                  <a:gd name="T26" fmla="*/ 1534 w 1551"/>
                  <a:gd name="T27" fmla="*/ 595 h 754"/>
                  <a:gd name="T28" fmla="*/ 1506 w 1551"/>
                  <a:gd name="T29" fmla="*/ 559 h 754"/>
                  <a:gd name="T30" fmla="*/ 1501 w 1551"/>
                  <a:gd name="T31" fmla="*/ 502 h 754"/>
                  <a:gd name="T32" fmla="*/ 1435 w 1551"/>
                  <a:gd name="T33" fmla="*/ 609 h 754"/>
                  <a:gd name="T34" fmla="*/ 1526 w 1551"/>
                  <a:gd name="T35" fmla="*/ 604 h 754"/>
                  <a:gd name="T36" fmla="*/ 174 w 1551"/>
                  <a:gd name="T37" fmla="*/ 487 h 754"/>
                  <a:gd name="T38" fmla="*/ 149 w 1551"/>
                  <a:gd name="T39" fmla="*/ 458 h 754"/>
                  <a:gd name="T40" fmla="*/ 180 w 1551"/>
                  <a:gd name="T41" fmla="*/ 435 h 754"/>
                  <a:gd name="T42" fmla="*/ 183 w 1551"/>
                  <a:gd name="T43" fmla="*/ 408 h 754"/>
                  <a:gd name="T44" fmla="*/ 1079 w 1551"/>
                  <a:gd name="T45" fmla="*/ 375 h 754"/>
                  <a:gd name="T46" fmla="*/ 1070 w 1551"/>
                  <a:gd name="T47" fmla="*/ 244 h 754"/>
                  <a:gd name="T48" fmla="*/ 1084 w 1551"/>
                  <a:gd name="T49" fmla="*/ 156 h 754"/>
                  <a:gd name="T50" fmla="*/ 1018 w 1551"/>
                  <a:gd name="T51" fmla="*/ 133 h 754"/>
                  <a:gd name="T52" fmla="*/ 1026 w 1551"/>
                  <a:gd name="T53" fmla="*/ 58 h 754"/>
                  <a:gd name="T54" fmla="*/ 1018 w 1551"/>
                  <a:gd name="T55" fmla="*/ 83 h 754"/>
                  <a:gd name="T56" fmla="*/ 1013 w 1551"/>
                  <a:gd name="T57" fmla="*/ 17 h 754"/>
                  <a:gd name="T58" fmla="*/ 1420 w 1551"/>
                  <a:gd name="T59" fmla="*/ 443 h 754"/>
                  <a:gd name="T60" fmla="*/ 1398 w 1551"/>
                  <a:gd name="T61" fmla="*/ 372 h 754"/>
                  <a:gd name="T62" fmla="*/ 1362 w 1551"/>
                  <a:gd name="T63" fmla="*/ 293 h 754"/>
                  <a:gd name="T64" fmla="*/ 1324 w 1551"/>
                  <a:gd name="T65" fmla="*/ 261 h 754"/>
                  <a:gd name="T66" fmla="*/ 1276 w 1551"/>
                  <a:gd name="T67" fmla="*/ 286 h 754"/>
                  <a:gd name="T68" fmla="*/ 1242 w 1551"/>
                  <a:gd name="T69" fmla="*/ 200 h 754"/>
                  <a:gd name="T70" fmla="*/ 1115 w 1551"/>
                  <a:gd name="T71" fmla="*/ 183 h 754"/>
                  <a:gd name="T72" fmla="*/ 1104 w 1551"/>
                  <a:gd name="T73" fmla="*/ 397 h 754"/>
                  <a:gd name="T74" fmla="*/ 1082 w 1551"/>
                  <a:gd name="T75" fmla="*/ 526 h 754"/>
                  <a:gd name="T76" fmla="*/ 968 w 1551"/>
                  <a:gd name="T77" fmla="*/ 382 h 754"/>
                  <a:gd name="T78" fmla="*/ 824 w 1551"/>
                  <a:gd name="T79" fmla="*/ 197 h 754"/>
                  <a:gd name="T80" fmla="*/ 859 w 1551"/>
                  <a:gd name="T81" fmla="*/ 103 h 754"/>
                  <a:gd name="T82" fmla="*/ 941 w 1551"/>
                  <a:gd name="T83" fmla="*/ 37 h 754"/>
                  <a:gd name="T84" fmla="*/ 149 w 1551"/>
                  <a:gd name="T85" fmla="*/ 322 h 754"/>
                  <a:gd name="T86" fmla="*/ 205 w 1551"/>
                  <a:gd name="T87" fmla="*/ 451 h 754"/>
                  <a:gd name="T88" fmla="*/ 242 w 1551"/>
                  <a:gd name="T89" fmla="*/ 477 h 754"/>
                  <a:gd name="T90" fmla="*/ 272 w 1551"/>
                  <a:gd name="T91" fmla="*/ 532 h 754"/>
                  <a:gd name="T92" fmla="*/ 313 w 1551"/>
                  <a:gd name="T93" fmla="*/ 569 h 754"/>
                  <a:gd name="T94" fmla="*/ 915 w 1551"/>
                  <a:gd name="T95" fmla="*/ 590 h 754"/>
                  <a:gd name="T96" fmla="*/ 973 w 1551"/>
                  <a:gd name="T97" fmla="*/ 601 h 754"/>
                  <a:gd name="T98" fmla="*/ 1038 w 1551"/>
                  <a:gd name="T99" fmla="*/ 648 h 754"/>
                  <a:gd name="T100" fmla="*/ 1076 w 1551"/>
                  <a:gd name="T101" fmla="*/ 679 h 754"/>
                  <a:gd name="T102" fmla="*/ 1043 w 1551"/>
                  <a:gd name="T103" fmla="*/ 693 h 754"/>
                  <a:gd name="T104" fmla="*/ 1090 w 1551"/>
                  <a:gd name="T105" fmla="*/ 726 h 754"/>
                  <a:gd name="T106" fmla="*/ 1118 w 1551"/>
                  <a:gd name="T107" fmla="*/ 696 h 754"/>
                  <a:gd name="T108" fmla="*/ 1251 w 1551"/>
                  <a:gd name="T109" fmla="*/ 595 h 754"/>
                  <a:gd name="T110" fmla="*/ 1132 w 1551"/>
                  <a:gd name="T111" fmla="*/ 696 h 754"/>
                  <a:gd name="T112" fmla="*/ 1018 w 1551"/>
                  <a:gd name="T113" fmla="*/ 652 h 754"/>
                  <a:gd name="T114" fmla="*/ 966 w 1551"/>
                  <a:gd name="T115" fmla="*/ 605 h 754"/>
                  <a:gd name="T116" fmla="*/ 1349 w 1551"/>
                  <a:gd name="T117" fmla="*/ 45 h 754"/>
                  <a:gd name="T118" fmla="*/ 1284 w 1551"/>
                  <a:gd name="T119" fmla="*/ 25 h 754"/>
                  <a:gd name="T120" fmla="*/ 1149 w 1551"/>
                  <a:gd name="T121" fmla="*/ 67 h 754"/>
                  <a:gd name="T122" fmla="*/ 1262 w 1551"/>
                  <a:gd name="T123" fmla="*/ 150 h 754"/>
                  <a:gd name="T124" fmla="*/ 1320 w 1551"/>
                  <a:gd name="T125" fmla="*/ 131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1" h="754">
                    <a:moveTo>
                      <a:pt x="1024" y="753"/>
                    </a:moveTo>
                    <a:lnTo>
                      <a:pt x="1024" y="753"/>
                    </a:lnTo>
                    <a:lnTo>
                      <a:pt x="1024" y="753"/>
                    </a:lnTo>
                    <a:lnTo>
                      <a:pt x="1024" y="754"/>
                    </a:lnTo>
                    <a:lnTo>
                      <a:pt x="1024" y="754"/>
                    </a:lnTo>
                    <a:lnTo>
                      <a:pt x="1024" y="754"/>
                    </a:lnTo>
                    <a:lnTo>
                      <a:pt x="1024" y="754"/>
                    </a:lnTo>
                    <a:lnTo>
                      <a:pt x="1024" y="753"/>
                    </a:lnTo>
                    <a:close/>
                    <a:moveTo>
                      <a:pt x="1425" y="701"/>
                    </a:moveTo>
                    <a:lnTo>
                      <a:pt x="1423" y="701"/>
                    </a:lnTo>
                    <a:lnTo>
                      <a:pt x="1420" y="701"/>
                    </a:lnTo>
                    <a:lnTo>
                      <a:pt x="1420" y="701"/>
                    </a:lnTo>
                    <a:lnTo>
                      <a:pt x="1421" y="702"/>
                    </a:lnTo>
                    <a:lnTo>
                      <a:pt x="1423" y="702"/>
                    </a:lnTo>
                    <a:lnTo>
                      <a:pt x="1426" y="701"/>
                    </a:lnTo>
                    <a:lnTo>
                      <a:pt x="1426" y="699"/>
                    </a:lnTo>
                    <a:lnTo>
                      <a:pt x="1425" y="701"/>
                    </a:lnTo>
                    <a:close/>
                    <a:moveTo>
                      <a:pt x="1129" y="695"/>
                    </a:moveTo>
                    <a:lnTo>
                      <a:pt x="1127" y="696"/>
                    </a:lnTo>
                    <a:lnTo>
                      <a:pt x="1127" y="696"/>
                    </a:lnTo>
                    <a:lnTo>
                      <a:pt x="1127" y="696"/>
                    </a:lnTo>
                    <a:lnTo>
                      <a:pt x="1127" y="696"/>
                    </a:lnTo>
                    <a:lnTo>
                      <a:pt x="1127" y="698"/>
                    </a:lnTo>
                    <a:lnTo>
                      <a:pt x="1129" y="696"/>
                    </a:lnTo>
                    <a:lnTo>
                      <a:pt x="1129" y="696"/>
                    </a:lnTo>
                    <a:lnTo>
                      <a:pt x="1129" y="695"/>
                    </a:lnTo>
                    <a:close/>
                    <a:moveTo>
                      <a:pt x="1135" y="695"/>
                    </a:moveTo>
                    <a:lnTo>
                      <a:pt x="1135" y="695"/>
                    </a:lnTo>
                    <a:lnTo>
                      <a:pt x="1134" y="695"/>
                    </a:lnTo>
                    <a:lnTo>
                      <a:pt x="1134" y="695"/>
                    </a:lnTo>
                    <a:lnTo>
                      <a:pt x="1132" y="696"/>
                    </a:lnTo>
                    <a:lnTo>
                      <a:pt x="1132" y="696"/>
                    </a:lnTo>
                    <a:lnTo>
                      <a:pt x="1132" y="696"/>
                    </a:lnTo>
                    <a:lnTo>
                      <a:pt x="1132" y="696"/>
                    </a:lnTo>
                    <a:lnTo>
                      <a:pt x="1132" y="698"/>
                    </a:lnTo>
                    <a:lnTo>
                      <a:pt x="1132" y="698"/>
                    </a:lnTo>
                    <a:lnTo>
                      <a:pt x="1134" y="698"/>
                    </a:lnTo>
                    <a:lnTo>
                      <a:pt x="1135" y="696"/>
                    </a:lnTo>
                    <a:lnTo>
                      <a:pt x="1135" y="696"/>
                    </a:lnTo>
                    <a:lnTo>
                      <a:pt x="1135" y="695"/>
                    </a:lnTo>
                    <a:lnTo>
                      <a:pt x="1137" y="695"/>
                    </a:lnTo>
                    <a:lnTo>
                      <a:pt x="1137" y="695"/>
                    </a:lnTo>
                    <a:lnTo>
                      <a:pt x="1135" y="695"/>
                    </a:lnTo>
                    <a:close/>
                    <a:moveTo>
                      <a:pt x="1312" y="692"/>
                    </a:moveTo>
                    <a:lnTo>
                      <a:pt x="1310" y="693"/>
                    </a:lnTo>
                    <a:lnTo>
                      <a:pt x="1310" y="695"/>
                    </a:lnTo>
                    <a:lnTo>
                      <a:pt x="1312" y="693"/>
                    </a:lnTo>
                    <a:lnTo>
                      <a:pt x="1313" y="690"/>
                    </a:lnTo>
                    <a:lnTo>
                      <a:pt x="1312" y="692"/>
                    </a:lnTo>
                    <a:close/>
                    <a:moveTo>
                      <a:pt x="1303" y="681"/>
                    </a:moveTo>
                    <a:lnTo>
                      <a:pt x="1301" y="682"/>
                    </a:lnTo>
                    <a:lnTo>
                      <a:pt x="1301" y="685"/>
                    </a:lnTo>
                    <a:lnTo>
                      <a:pt x="1303" y="684"/>
                    </a:lnTo>
                    <a:lnTo>
                      <a:pt x="1303" y="682"/>
                    </a:lnTo>
                    <a:lnTo>
                      <a:pt x="1304" y="681"/>
                    </a:lnTo>
                    <a:lnTo>
                      <a:pt x="1303" y="681"/>
                    </a:lnTo>
                    <a:close/>
                    <a:moveTo>
                      <a:pt x="1068" y="679"/>
                    </a:moveTo>
                    <a:lnTo>
                      <a:pt x="1066" y="679"/>
                    </a:lnTo>
                    <a:lnTo>
                      <a:pt x="1066" y="679"/>
                    </a:lnTo>
                    <a:lnTo>
                      <a:pt x="1066" y="679"/>
                    </a:lnTo>
                    <a:lnTo>
                      <a:pt x="1066" y="681"/>
                    </a:lnTo>
                    <a:lnTo>
                      <a:pt x="1068" y="681"/>
                    </a:lnTo>
                    <a:lnTo>
                      <a:pt x="1068" y="681"/>
                    </a:lnTo>
                    <a:lnTo>
                      <a:pt x="1068" y="679"/>
                    </a:lnTo>
                    <a:lnTo>
                      <a:pt x="1068" y="679"/>
                    </a:lnTo>
                    <a:close/>
                    <a:moveTo>
                      <a:pt x="1040" y="662"/>
                    </a:moveTo>
                    <a:lnTo>
                      <a:pt x="1038" y="663"/>
                    </a:lnTo>
                    <a:lnTo>
                      <a:pt x="1038" y="663"/>
                    </a:lnTo>
                    <a:lnTo>
                      <a:pt x="1038" y="663"/>
                    </a:lnTo>
                    <a:lnTo>
                      <a:pt x="1038" y="663"/>
                    </a:lnTo>
                    <a:lnTo>
                      <a:pt x="1040" y="663"/>
                    </a:lnTo>
                    <a:lnTo>
                      <a:pt x="1040" y="663"/>
                    </a:lnTo>
                    <a:lnTo>
                      <a:pt x="1040" y="662"/>
                    </a:lnTo>
                    <a:lnTo>
                      <a:pt x="1040" y="662"/>
                    </a:lnTo>
                    <a:close/>
                    <a:moveTo>
                      <a:pt x="1404" y="662"/>
                    </a:moveTo>
                    <a:lnTo>
                      <a:pt x="1403" y="662"/>
                    </a:lnTo>
                    <a:lnTo>
                      <a:pt x="1403" y="662"/>
                    </a:lnTo>
                    <a:lnTo>
                      <a:pt x="1404" y="663"/>
                    </a:lnTo>
                    <a:lnTo>
                      <a:pt x="1404" y="663"/>
                    </a:lnTo>
                    <a:lnTo>
                      <a:pt x="1404" y="663"/>
                    </a:lnTo>
                    <a:lnTo>
                      <a:pt x="1406" y="663"/>
                    </a:lnTo>
                    <a:lnTo>
                      <a:pt x="1406" y="662"/>
                    </a:lnTo>
                    <a:lnTo>
                      <a:pt x="1404" y="662"/>
                    </a:lnTo>
                    <a:close/>
                    <a:moveTo>
                      <a:pt x="1181" y="659"/>
                    </a:moveTo>
                    <a:lnTo>
                      <a:pt x="1179" y="662"/>
                    </a:lnTo>
                    <a:lnTo>
                      <a:pt x="1179" y="662"/>
                    </a:lnTo>
                    <a:lnTo>
                      <a:pt x="1182" y="662"/>
                    </a:lnTo>
                    <a:lnTo>
                      <a:pt x="1184" y="659"/>
                    </a:lnTo>
                    <a:lnTo>
                      <a:pt x="1181" y="659"/>
                    </a:lnTo>
                    <a:close/>
                    <a:moveTo>
                      <a:pt x="1184" y="659"/>
                    </a:moveTo>
                    <a:lnTo>
                      <a:pt x="1182" y="662"/>
                    </a:lnTo>
                    <a:lnTo>
                      <a:pt x="1179" y="663"/>
                    </a:lnTo>
                    <a:lnTo>
                      <a:pt x="1177" y="665"/>
                    </a:lnTo>
                    <a:lnTo>
                      <a:pt x="1177" y="665"/>
                    </a:lnTo>
                    <a:lnTo>
                      <a:pt x="1181" y="663"/>
                    </a:lnTo>
                    <a:lnTo>
                      <a:pt x="1182" y="665"/>
                    </a:lnTo>
                    <a:lnTo>
                      <a:pt x="1184" y="663"/>
                    </a:lnTo>
                    <a:lnTo>
                      <a:pt x="1184" y="663"/>
                    </a:lnTo>
                    <a:lnTo>
                      <a:pt x="1184" y="662"/>
                    </a:lnTo>
                    <a:lnTo>
                      <a:pt x="1185" y="659"/>
                    </a:lnTo>
                    <a:lnTo>
                      <a:pt x="1184" y="659"/>
                    </a:lnTo>
                    <a:close/>
                    <a:moveTo>
                      <a:pt x="1043" y="656"/>
                    </a:moveTo>
                    <a:lnTo>
                      <a:pt x="1041" y="656"/>
                    </a:lnTo>
                    <a:lnTo>
                      <a:pt x="1041" y="656"/>
                    </a:lnTo>
                    <a:lnTo>
                      <a:pt x="1041" y="654"/>
                    </a:lnTo>
                    <a:lnTo>
                      <a:pt x="1041" y="654"/>
                    </a:lnTo>
                    <a:lnTo>
                      <a:pt x="1041" y="654"/>
                    </a:lnTo>
                    <a:lnTo>
                      <a:pt x="1041" y="654"/>
                    </a:lnTo>
                    <a:lnTo>
                      <a:pt x="1040" y="654"/>
                    </a:lnTo>
                    <a:lnTo>
                      <a:pt x="1040" y="656"/>
                    </a:lnTo>
                    <a:lnTo>
                      <a:pt x="1040" y="657"/>
                    </a:lnTo>
                    <a:lnTo>
                      <a:pt x="1038" y="657"/>
                    </a:lnTo>
                    <a:lnTo>
                      <a:pt x="1038" y="656"/>
                    </a:lnTo>
                    <a:lnTo>
                      <a:pt x="1038" y="656"/>
                    </a:lnTo>
                    <a:lnTo>
                      <a:pt x="1038" y="654"/>
                    </a:lnTo>
                    <a:lnTo>
                      <a:pt x="1038" y="654"/>
                    </a:lnTo>
                    <a:lnTo>
                      <a:pt x="1038" y="654"/>
                    </a:lnTo>
                    <a:lnTo>
                      <a:pt x="1037" y="652"/>
                    </a:lnTo>
                    <a:lnTo>
                      <a:pt x="1037" y="652"/>
                    </a:lnTo>
                    <a:lnTo>
                      <a:pt x="1037" y="651"/>
                    </a:lnTo>
                    <a:lnTo>
                      <a:pt x="1037" y="651"/>
                    </a:lnTo>
                    <a:lnTo>
                      <a:pt x="1035" y="651"/>
                    </a:lnTo>
                    <a:lnTo>
                      <a:pt x="1035" y="652"/>
                    </a:lnTo>
                    <a:lnTo>
                      <a:pt x="1034" y="652"/>
                    </a:lnTo>
                    <a:lnTo>
                      <a:pt x="1034" y="654"/>
                    </a:lnTo>
                    <a:lnTo>
                      <a:pt x="1032" y="654"/>
                    </a:lnTo>
                    <a:lnTo>
                      <a:pt x="1032" y="652"/>
                    </a:lnTo>
                    <a:lnTo>
                      <a:pt x="1032" y="652"/>
                    </a:lnTo>
                    <a:lnTo>
                      <a:pt x="1030" y="652"/>
                    </a:lnTo>
                    <a:lnTo>
                      <a:pt x="1030" y="652"/>
                    </a:lnTo>
                    <a:lnTo>
                      <a:pt x="1030" y="651"/>
                    </a:lnTo>
                    <a:lnTo>
                      <a:pt x="1030" y="651"/>
                    </a:lnTo>
                    <a:lnTo>
                      <a:pt x="1029" y="651"/>
                    </a:lnTo>
                    <a:lnTo>
                      <a:pt x="1027" y="652"/>
                    </a:lnTo>
                    <a:lnTo>
                      <a:pt x="1027" y="652"/>
                    </a:lnTo>
                    <a:lnTo>
                      <a:pt x="1027" y="652"/>
                    </a:lnTo>
                    <a:lnTo>
                      <a:pt x="1027" y="652"/>
                    </a:lnTo>
                    <a:lnTo>
                      <a:pt x="1026" y="652"/>
                    </a:lnTo>
                    <a:lnTo>
                      <a:pt x="1026" y="652"/>
                    </a:lnTo>
                    <a:lnTo>
                      <a:pt x="1026" y="654"/>
                    </a:lnTo>
                    <a:lnTo>
                      <a:pt x="1026" y="654"/>
                    </a:lnTo>
                    <a:lnTo>
                      <a:pt x="1026" y="654"/>
                    </a:lnTo>
                    <a:lnTo>
                      <a:pt x="1026" y="654"/>
                    </a:lnTo>
                    <a:lnTo>
                      <a:pt x="1026" y="656"/>
                    </a:lnTo>
                    <a:lnTo>
                      <a:pt x="1026" y="656"/>
                    </a:lnTo>
                    <a:lnTo>
                      <a:pt x="1026" y="656"/>
                    </a:lnTo>
                    <a:lnTo>
                      <a:pt x="1026" y="654"/>
                    </a:lnTo>
                    <a:lnTo>
                      <a:pt x="1024" y="654"/>
                    </a:lnTo>
                    <a:lnTo>
                      <a:pt x="1024" y="654"/>
                    </a:lnTo>
                    <a:lnTo>
                      <a:pt x="1024" y="654"/>
                    </a:lnTo>
                    <a:lnTo>
                      <a:pt x="1024" y="654"/>
                    </a:lnTo>
                    <a:lnTo>
                      <a:pt x="1024" y="654"/>
                    </a:lnTo>
                    <a:lnTo>
                      <a:pt x="1023" y="654"/>
                    </a:lnTo>
                    <a:lnTo>
                      <a:pt x="1023" y="654"/>
                    </a:lnTo>
                    <a:lnTo>
                      <a:pt x="1023" y="654"/>
                    </a:lnTo>
                    <a:lnTo>
                      <a:pt x="1021" y="654"/>
                    </a:lnTo>
                    <a:lnTo>
                      <a:pt x="1021" y="652"/>
                    </a:lnTo>
                    <a:lnTo>
                      <a:pt x="1021" y="652"/>
                    </a:lnTo>
                    <a:lnTo>
                      <a:pt x="1021" y="651"/>
                    </a:lnTo>
                    <a:lnTo>
                      <a:pt x="1021" y="651"/>
                    </a:lnTo>
                    <a:lnTo>
                      <a:pt x="1020" y="651"/>
                    </a:lnTo>
                    <a:lnTo>
                      <a:pt x="1020" y="651"/>
                    </a:lnTo>
                    <a:lnTo>
                      <a:pt x="1018" y="652"/>
                    </a:lnTo>
                    <a:lnTo>
                      <a:pt x="1018" y="652"/>
                    </a:lnTo>
                    <a:lnTo>
                      <a:pt x="1018" y="652"/>
                    </a:lnTo>
                    <a:lnTo>
                      <a:pt x="1016" y="652"/>
                    </a:lnTo>
                    <a:lnTo>
                      <a:pt x="1016" y="652"/>
                    </a:lnTo>
                    <a:lnTo>
                      <a:pt x="1016" y="652"/>
                    </a:lnTo>
                    <a:lnTo>
                      <a:pt x="1015" y="651"/>
                    </a:lnTo>
                    <a:lnTo>
                      <a:pt x="1015" y="651"/>
                    </a:lnTo>
                    <a:lnTo>
                      <a:pt x="1015" y="652"/>
                    </a:lnTo>
                    <a:lnTo>
                      <a:pt x="1015" y="652"/>
                    </a:lnTo>
                    <a:lnTo>
                      <a:pt x="1015" y="652"/>
                    </a:lnTo>
                    <a:lnTo>
                      <a:pt x="1015" y="654"/>
                    </a:lnTo>
                    <a:lnTo>
                      <a:pt x="1018" y="656"/>
                    </a:lnTo>
                    <a:lnTo>
                      <a:pt x="1020" y="656"/>
                    </a:lnTo>
                    <a:lnTo>
                      <a:pt x="1023" y="656"/>
                    </a:lnTo>
                    <a:lnTo>
                      <a:pt x="1024" y="657"/>
                    </a:lnTo>
                    <a:lnTo>
                      <a:pt x="1027" y="657"/>
                    </a:lnTo>
                    <a:lnTo>
                      <a:pt x="1029" y="659"/>
                    </a:lnTo>
                    <a:lnTo>
                      <a:pt x="1030" y="659"/>
                    </a:lnTo>
                    <a:lnTo>
                      <a:pt x="1030" y="659"/>
                    </a:lnTo>
                    <a:lnTo>
                      <a:pt x="1032" y="660"/>
                    </a:lnTo>
                    <a:lnTo>
                      <a:pt x="1034" y="660"/>
                    </a:lnTo>
                    <a:lnTo>
                      <a:pt x="1034" y="662"/>
                    </a:lnTo>
                    <a:lnTo>
                      <a:pt x="1035" y="662"/>
                    </a:lnTo>
                    <a:lnTo>
                      <a:pt x="1035" y="662"/>
                    </a:lnTo>
                    <a:lnTo>
                      <a:pt x="1038" y="659"/>
                    </a:lnTo>
                    <a:lnTo>
                      <a:pt x="1040" y="659"/>
                    </a:lnTo>
                    <a:lnTo>
                      <a:pt x="1040" y="659"/>
                    </a:lnTo>
                    <a:lnTo>
                      <a:pt x="1038" y="660"/>
                    </a:lnTo>
                    <a:lnTo>
                      <a:pt x="1037" y="660"/>
                    </a:lnTo>
                    <a:lnTo>
                      <a:pt x="1037" y="660"/>
                    </a:lnTo>
                    <a:lnTo>
                      <a:pt x="1037" y="662"/>
                    </a:lnTo>
                    <a:lnTo>
                      <a:pt x="1037" y="662"/>
                    </a:lnTo>
                    <a:lnTo>
                      <a:pt x="1037" y="662"/>
                    </a:lnTo>
                    <a:lnTo>
                      <a:pt x="1037" y="662"/>
                    </a:lnTo>
                    <a:lnTo>
                      <a:pt x="1038" y="662"/>
                    </a:lnTo>
                    <a:lnTo>
                      <a:pt x="1038" y="662"/>
                    </a:lnTo>
                    <a:lnTo>
                      <a:pt x="1040" y="660"/>
                    </a:lnTo>
                    <a:lnTo>
                      <a:pt x="1041" y="659"/>
                    </a:lnTo>
                    <a:lnTo>
                      <a:pt x="1043" y="656"/>
                    </a:lnTo>
                    <a:lnTo>
                      <a:pt x="1043" y="656"/>
                    </a:lnTo>
                    <a:close/>
                    <a:moveTo>
                      <a:pt x="1013" y="651"/>
                    </a:moveTo>
                    <a:lnTo>
                      <a:pt x="1013" y="651"/>
                    </a:lnTo>
                    <a:lnTo>
                      <a:pt x="1012" y="651"/>
                    </a:lnTo>
                    <a:lnTo>
                      <a:pt x="1012" y="651"/>
                    </a:lnTo>
                    <a:lnTo>
                      <a:pt x="1010" y="651"/>
                    </a:lnTo>
                    <a:lnTo>
                      <a:pt x="1010" y="652"/>
                    </a:lnTo>
                    <a:lnTo>
                      <a:pt x="1010" y="652"/>
                    </a:lnTo>
                    <a:lnTo>
                      <a:pt x="1010" y="654"/>
                    </a:lnTo>
                    <a:lnTo>
                      <a:pt x="1012" y="654"/>
                    </a:lnTo>
                    <a:lnTo>
                      <a:pt x="1012" y="654"/>
                    </a:lnTo>
                    <a:lnTo>
                      <a:pt x="1013" y="652"/>
                    </a:lnTo>
                    <a:lnTo>
                      <a:pt x="1013" y="651"/>
                    </a:lnTo>
                    <a:close/>
                    <a:moveTo>
                      <a:pt x="1004" y="645"/>
                    </a:moveTo>
                    <a:lnTo>
                      <a:pt x="1002" y="643"/>
                    </a:lnTo>
                    <a:lnTo>
                      <a:pt x="1001" y="643"/>
                    </a:lnTo>
                    <a:lnTo>
                      <a:pt x="999" y="643"/>
                    </a:lnTo>
                    <a:lnTo>
                      <a:pt x="999" y="643"/>
                    </a:lnTo>
                    <a:lnTo>
                      <a:pt x="999" y="645"/>
                    </a:lnTo>
                    <a:lnTo>
                      <a:pt x="999" y="646"/>
                    </a:lnTo>
                    <a:lnTo>
                      <a:pt x="1001" y="648"/>
                    </a:lnTo>
                    <a:lnTo>
                      <a:pt x="1002" y="648"/>
                    </a:lnTo>
                    <a:lnTo>
                      <a:pt x="1002" y="648"/>
                    </a:lnTo>
                    <a:lnTo>
                      <a:pt x="1002" y="648"/>
                    </a:lnTo>
                    <a:lnTo>
                      <a:pt x="1002" y="646"/>
                    </a:lnTo>
                    <a:lnTo>
                      <a:pt x="1002" y="646"/>
                    </a:lnTo>
                    <a:lnTo>
                      <a:pt x="1004" y="646"/>
                    </a:lnTo>
                    <a:lnTo>
                      <a:pt x="1004" y="646"/>
                    </a:lnTo>
                    <a:lnTo>
                      <a:pt x="1004" y="645"/>
                    </a:lnTo>
                    <a:lnTo>
                      <a:pt x="1004" y="645"/>
                    </a:lnTo>
                    <a:close/>
                    <a:moveTo>
                      <a:pt x="1231" y="626"/>
                    </a:moveTo>
                    <a:lnTo>
                      <a:pt x="1229" y="626"/>
                    </a:lnTo>
                    <a:lnTo>
                      <a:pt x="1227" y="627"/>
                    </a:lnTo>
                    <a:lnTo>
                      <a:pt x="1226" y="629"/>
                    </a:lnTo>
                    <a:lnTo>
                      <a:pt x="1227" y="629"/>
                    </a:lnTo>
                    <a:lnTo>
                      <a:pt x="1231" y="627"/>
                    </a:lnTo>
                    <a:lnTo>
                      <a:pt x="1232" y="626"/>
                    </a:lnTo>
                    <a:lnTo>
                      <a:pt x="1231" y="626"/>
                    </a:lnTo>
                    <a:close/>
                    <a:moveTo>
                      <a:pt x="1423" y="651"/>
                    </a:moveTo>
                    <a:lnTo>
                      <a:pt x="1425" y="649"/>
                    </a:lnTo>
                    <a:lnTo>
                      <a:pt x="1425" y="648"/>
                    </a:lnTo>
                    <a:lnTo>
                      <a:pt x="1425" y="648"/>
                    </a:lnTo>
                    <a:lnTo>
                      <a:pt x="1425" y="646"/>
                    </a:lnTo>
                    <a:lnTo>
                      <a:pt x="1423" y="646"/>
                    </a:lnTo>
                    <a:lnTo>
                      <a:pt x="1420" y="646"/>
                    </a:lnTo>
                    <a:lnTo>
                      <a:pt x="1418" y="646"/>
                    </a:lnTo>
                    <a:lnTo>
                      <a:pt x="1417" y="645"/>
                    </a:lnTo>
                    <a:lnTo>
                      <a:pt x="1417" y="643"/>
                    </a:lnTo>
                    <a:lnTo>
                      <a:pt x="1415" y="643"/>
                    </a:lnTo>
                    <a:lnTo>
                      <a:pt x="1414" y="645"/>
                    </a:lnTo>
                    <a:lnTo>
                      <a:pt x="1414" y="646"/>
                    </a:lnTo>
                    <a:lnTo>
                      <a:pt x="1412" y="648"/>
                    </a:lnTo>
                    <a:lnTo>
                      <a:pt x="1412" y="649"/>
                    </a:lnTo>
                    <a:lnTo>
                      <a:pt x="1409" y="652"/>
                    </a:lnTo>
                    <a:lnTo>
                      <a:pt x="1409" y="652"/>
                    </a:lnTo>
                    <a:lnTo>
                      <a:pt x="1414" y="651"/>
                    </a:lnTo>
                    <a:lnTo>
                      <a:pt x="1414" y="652"/>
                    </a:lnTo>
                    <a:lnTo>
                      <a:pt x="1409" y="657"/>
                    </a:lnTo>
                    <a:lnTo>
                      <a:pt x="1409" y="657"/>
                    </a:lnTo>
                    <a:lnTo>
                      <a:pt x="1407" y="657"/>
                    </a:lnTo>
                    <a:lnTo>
                      <a:pt x="1406" y="657"/>
                    </a:lnTo>
                    <a:lnTo>
                      <a:pt x="1406" y="657"/>
                    </a:lnTo>
                    <a:lnTo>
                      <a:pt x="1403" y="659"/>
                    </a:lnTo>
                    <a:lnTo>
                      <a:pt x="1403" y="657"/>
                    </a:lnTo>
                    <a:lnTo>
                      <a:pt x="1403" y="656"/>
                    </a:lnTo>
                    <a:lnTo>
                      <a:pt x="1404" y="654"/>
                    </a:lnTo>
                    <a:lnTo>
                      <a:pt x="1404" y="654"/>
                    </a:lnTo>
                    <a:lnTo>
                      <a:pt x="1404" y="654"/>
                    </a:lnTo>
                    <a:lnTo>
                      <a:pt x="1404" y="652"/>
                    </a:lnTo>
                    <a:lnTo>
                      <a:pt x="1406" y="652"/>
                    </a:lnTo>
                    <a:lnTo>
                      <a:pt x="1407" y="651"/>
                    </a:lnTo>
                    <a:lnTo>
                      <a:pt x="1406" y="651"/>
                    </a:lnTo>
                    <a:lnTo>
                      <a:pt x="1403" y="652"/>
                    </a:lnTo>
                    <a:lnTo>
                      <a:pt x="1403" y="652"/>
                    </a:lnTo>
                    <a:lnTo>
                      <a:pt x="1406" y="649"/>
                    </a:lnTo>
                    <a:lnTo>
                      <a:pt x="1407" y="649"/>
                    </a:lnTo>
                    <a:lnTo>
                      <a:pt x="1409" y="648"/>
                    </a:lnTo>
                    <a:lnTo>
                      <a:pt x="1412" y="646"/>
                    </a:lnTo>
                    <a:lnTo>
                      <a:pt x="1412" y="645"/>
                    </a:lnTo>
                    <a:lnTo>
                      <a:pt x="1414" y="645"/>
                    </a:lnTo>
                    <a:lnTo>
                      <a:pt x="1414" y="643"/>
                    </a:lnTo>
                    <a:lnTo>
                      <a:pt x="1414" y="640"/>
                    </a:lnTo>
                    <a:lnTo>
                      <a:pt x="1415" y="635"/>
                    </a:lnTo>
                    <a:lnTo>
                      <a:pt x="1415" y="632"/>
                    </a:lnTo>
                    <a:lnTo>
                      <a:pt x="1417" y="631"/>
                    </a:lnTo>
                    <a:lnTo>
                      <a:pt x="1414" y="627"/>
                    </a:lnTo>
                    <a:lnTo>
                      <a:pt x="1414" y="626"/>
                    </a:lnTo>
                    <a:lnTo>
                      <a:pt x="1415" y="626"/>
                    </a:lnTo>
                    <a:lnTo>
                      <a:pt x="1414" y="624"/>
                    </a:lnTo>
                    <a:lnTo>
                      <a:pt x="1412" y="626"/>
                    </a:lnTo>
                    <a:lnTo>
                      <a:pt x="1410" y="626"/>
                    </a:lnTo>
                    <a:lnTo>
                      <a:pt x="1409" y="629"/>
                    </a:lnTo>
                    <a:lnTo>
                      <a:pt x="1406" y="631"/>
                    </a:lnTo>
                    <a:lnTo>
                      <a:pt x="1406" y="632"/>
                    </a:lnTo>
                    <a:lnTo>
                      <a:pt x="1404" y="634"/>
                    </a:lnTo>
                    <a:lnTo>
                      <a:pt x="1399" y="643"/>
                    </a:lnTo>
                    <a:lnTo>
                      <a:pt x="1399" y="645"/>
                    </a:lnTo>
                    <a:lnTo>
                      <a:pt x="1396" y="646"/>
                    </a:lnTo>
                    <a:lnTo>
                      <a:pt x="1396" y="649"/>
                    </a:lnTo>
                    <a:lnTo>
                      <a:pt x="1395" y="652"/>
                    </a:lnTo>
                    <a:lnTo>
                      <a:pt x="1396" y="657"/>
                    </a:lnTo>
                    <a:lnTo>
                      <a:pt x="1396" y="659"/>
                    </a:lnTo>
                    <a:lnTo>
                      <a:pt x="1398" y="660"/>
                    </a:lnTo>
                    <a:lnTo>
                      <a:pt x="1399" y="662"/>
                    </a:lnTo>
                    <a:lnTo>
                      <a:pt x="1399" y="662"/>
                    </a:lnTo>
                    <a:lnTo>
                      <a:pt x="1401" y="662"/>
                    </a:lnTo>
                    <a:lnTo>
                      <a:pt x="1403" y="662"/>
                    </a:lnTo>
                    <a:lnTo>
                      <a:pt x="1404" y="660"/>
                    </a:lnTo>
                    <a:lnTo>
                      <a:pt x="1406" y="660"/>
                    </a:lnTo>
                    <a:lnTo>
                      <a:pt x="1409" y="660"/>
                    </a:lnTo>
                    <a:lnTo>
                      <a:pt x="1410" y="660"/>
                    </a:lnTo>
                    <a:lnTo>
                      <a:pt x="1415" y="659"/>
                    </a:lnTo>
                    <a:lnTo>
                      <a:pt x="1418" y="657"/>
                    </a:lnTo>
                    <a:lnTo>
                      <a:pt x="1420" y="656"/>
                    </a:lnTo>
                    <a:lnTo>
                      <a:pt x="1421" y="654"/>
                    </a:lnTo>
                    <a:lnTo>
                      <a:pt x="1425" y="652"/>
                    </a:lnTo>
                    <a:lnTo>
                      <a:pt x="1425" y="651"/>
                    </a:lnTo>
                    <a:lnTo>
                      <a:pt x="1423" y="651"/>
                    </a:lnTo>
                    <a:close/>
                    <a:moveTo>
                      <a:pt x="1385" y="640"/>
                    </a:moveTo>
                    <a:lnTo>
                      <a:pt x="1385" y="638"/>
                    </a:lnTo>
                    <a:lnTo>
                      <a:pt x="1384" y="638"/>
                    </a:lnTo>
                    <a:lnTo>
                      <a:pt x="1379" y="638"/>
                    </a:lnTo>
                    <a:lnTo>
                      <a:pt x="1374" y="638"/>
                    </a:lnTo>
                    <a:lnTo>
                      <a:pt x="1374" y="640"/>
                    </a:lnTo>
                    <a:lnTo>
                      <a:pt x="1370" y="640"/>
                    </a:lnTo>
                    <a:lnTo>
                      <a:pt x="1367" y="640"/>
                    </a:lnTo>
                    <a:lnTo>
                      <a:pt x="1364" y="638"/>
                    </a:lnTo>
                    <a:lnTo>
                      <a:pt x="1362" y="638"/>
                    </a:lnTo>
                    <a:lnTo>
                      <a:pt x="1362" y="638"/>
                    </a:lnTo>
                    <a:lnTo>
                      <a:pt x="1360" y="638"/>
                    </a:lnTo>
                    <a:lnTo>
                      <a:pt x="1360" y="637"/>
                    </a:lnTo>
                    <a:lnTo>
                      <a:pt x="1357" y="637"/>
                    </a:lnTo>
                    <a:lnTo>
                      <a:pt x="1356" y="638"/>
                    </a:lnTo>
                    <a:lnTo>
                      <a:pt x="1356" y="640"/>
                    </a:lnTo>
                    <a:lnTo>
                      <a:pt x="1354" y="638"/>
                    </a:lnTo>
                    <a:lnTo>
                      <a:pt x="1354" y="638"/>
                    </a:lnTo>
                    <a:lnTo>
                      <a:pt x="1353" y="638"/>
                    </a:lnTo>
                    <a:lnTo>
                      <a:pt x="1354" y="637"/>
                    </a:lnTo>
                    <a:lnTo>
                      <a:pt x="1354" y="637"/>
                    </a:lnTo>
                    <a:lnTo>
                      <a:pt x="1354" y="635"/>
                    </a:lnTo>
                    <a:lnTo>
                      <a:pt x="1353" y="634"/>
                    </a:lnTo>
                    <a:lnTo>
                      <a:pt x="1349" y="631"/>
                    </a:lnTo>
                    <a:lnTo>
                      <a:pt x="1353" y="627"/>
                    </a:lnTo>
                    <a:lnTo>
                      <a:pt x="1351" y="626"/>
                    </a:lnTo>
                    <a:lnTo>
                      <a:pt x="1351" y="624"/>
                    </a:lnTo>
                    <a:lnTo>
                      <a:pt x="1349" y="626"/>
                    </a:lnTo>
                    <a:lnTo>
                      <a:pt x="1348" y="627"/>
                    </a:lnTo>
                    <a:lnTo>
                      <a:pt x="1346" y="629"/>
                    </a:lnTo>
                    <a:lnTo>
                      <a:pt x="1345" y="631"/>
                    </a:lnTo>
                    <a:lnTo>
                      <a:pt x="1345" y="634"/>
                    </a:lnTo>
                    <a:lnTo>
                      <a:pt x="1345" y="634"/>
                    </a:lnTo>
                    <a:lnTo>
                      <a:pt x="1348" y="635"/>
                    </a:lnTo>
                    <a:lnTo>
                      <a:pt x="1349" y="635"/>
                    </a:lnTo>
                    <a:lnTo>
                      <a:pt x="1349" y="637"/>
                    </a:lnTo>
                    <a:lnTo>
                      <a:pt x="1349" y="640"/>
                    </a:lnTo>
                    <a:lnTo>
                      <a:pt x="1351" y="640"/>
                    </a:lnTo>
                    <a:lnTo>
                      <a:pt x="1354" y="640"/>
                    </a:lnTo>
                    <a:lnTo>
                      <a:pt x="1356" y="640"/>
                    </a:lnTo>
                    <a:lnTo>
                      <a:pt x="1356" y="641"/>
                    </a:lnTo>
                    <a:lnTo>
                      <a:pt x="1356" y="641"/>
                    </a:lnTo>
                    <a:lnTo>
                      <a:pt x="1356" y="641"/>
                    </a:lnTo>
                    <a:lnTo>
                      <a:pt x="1356" y="643"/>
                    </a:lnTo>
                    <a:lnTo>
                      <a:pt x="1357" y="645"/>
                    </a:lnTo>
                    <a:lnTo>
                      <a:pt x="1359" y="645"/>
                    </a:lnTo>
                    <a:lnTo>
                      <a:pt x="1364" y="646"/>
                    </a:lnTo>
                    <a:lnTo>
                      <a:pt x="1365" y="646"/>
                    </a:lnTo>
                    <a:lnTo>
                      <a:pt x="1367" y="646"/>
                    </a:lnTo>
                    <a:lnTo>
                      <a:pt x="1365" y="646"/>
                    </a:lnTo>
                    <a:lnTo>
                      <a:pt x="1365" y="645"/>
                    </a:lnTo>
                    <a:lnTo>
                      <a:pt x="1367" y="645"/>
                    </a:lnTo>
                    <a:lnTo>
                      <a:pt x="1368" y="643"/>
                    </a:lnTo>
                    <a:lnTo>
                      <a:pt x="1370" y="643"/>
                    </a:lnTo>
                    <a:lnTo>
                      <a:pt x="1370" y="643"/>
                    </a:lnTo>
                    <a:lnTo>
                      <a:pt x="1368" y="645"/>
                    </a:lnTo>
                    <a:lnTo>
                      <a:pt x="1368" y="645"/>
                    </a:lnTo>
                    <a:lnTo>
                      <a:pt x="1368" y="646"/>
                    </a:lnTo>
                    <a:lnTo>
                      <a:pt x="1370" y="646"/>
                    </a:lnTo>
                    <a:lnTo>
                      <a:pt x="1371" y="648"/>
                    </a:lnTo>
                    <a:lnTo>
                      <a:pt x="1368" y="649"/>
                    </a:lnTo>
                    <a:lnTo>
                      <a:pt x="1370" y="649"/>
                    </a:lnTo>
                    <a:lnTo>
                      <a:pt x="1371" y="649"/>
                    </a:lnTo>
                    <a:lnTo>
                      <a:pt x="1371" y="651"/>
                    </a:lnTo>
                    <a:lnTo>
                      <a:pt x="1373" y="651"/>
                    </a:lnTo>
                    <a:lnTo>
                      <a:pt x="1373" y="651"/>
                    </a:lnTo>
                    <a:lnTo>
                      <a:pt x="1378" y="651"/>
                    </a:lnTo>
                    <a:lnTo>
                      <a:pt x="1378" y="651"/>
                    </a:lnTo>
                    <a:lnTo>
                      <a:pt x="1378" y="649"/>
                    </a:lnTo>
                    <a:lnTo>
                      <a:pt x="1378" y="649"/>
                    </a:lnTo>
                    <a:lnTo>
                      <a:pt x="1378" y="648"/>
                    </a:lnTo>
                    <a:lnTo>
                      <a:pt x="1378" y="646"/>
                    </a:lnTo>
                    <a:lnTo>
                      <a:pt x="1378" y="646"/>
                    </a:lnTo>
                    <a:lnTo>
                      <a:pt x="1381" y="643"/>
                    </a:lnTo>
                    <a:lnTo>
                      <a:pt x="1384" y="641"/>
                    </a:lnTo>
                    <a:lnTo>
                      <a:pt x="1387" y="640"/>
                    </a:lnTo>
                    <a:lnTo>
                      <a:pt x="1385" y="640"/>
                    </a:lnTo>
                    <a:close/>
                    <a:moveTo>
                      <a:pt x="1396" y="609"/>
                    </a:moveTo>
                    <a:lnTo>
                      <a:pt x="1395" y="609"/>
                    </a:lnTo>
                    <a:lnTo>
                      <a:pt x="1393" y="610"/>
                    </a:lnTo>
                    <a:lnTo>
                      <a:pt x="1390" y="613"/>
                    </a:lnTo>
                    <a:lnTo>
                      <a:pt x="1389" y="615"/>
                    </a:lnTo>
                    <a:lnTo>
                      <a:pt x="1387" y="620"/>
                    </a:lnTo>
                    <a:lnTo>
                      <a:pt x="1387" y="620"/>
                    </a:lnTo>
                    <a:lnTo>
                      <a:pt x="1390" y="620"/>
                    </a:lnTo>
                    <a:lnTo>
                      <a:pt x="1390" y="618"/>
                    </a:lnTo>
                    <a:lnTo>
                      <a:pt x="1390" y="618"/>
                    </a:lnTo>
                    <a:lnTo>
                      <a:pt x="1389" y="618"/>
                    </a:lnTo>
                    <a:lnTo>
                      <a:pt x="1389" y="618"/>
                    </a:lnTo>
                    <a:lnTo>
                      <a:pt x="1389" y="616"/>
                    </a:lnTo>
                    <a:lnTo>
                      <a:pt x="1390" y="615"/>
                    </a:lnTo>
                    <a:lnTo>
                      <a:pt x="1392" y="615"/>
                    </a:lnTo>
                    <a:lnTo>
                      <a:pt x="1392" y="612"/>
                    </a:lnTo>
                    <a:lnTo>
                      <a:pt x="1393" y="610"/>
                    </a:lnTo>
                    <a:lnTo>
                      <a:pt x="1396" y="610"/>
                    </a:lnTo>
                    <a:lnTo>
                      <a:pt x="1398" y="609"/>
                    </a:lnTo>
                    <a:lnTo>
                      <a:pt x="1396" y="609"/>
                    </a:lnTo>
                    <a:close/>
                    <a:moveTo>
                      <a:pt x="1525" y="610"/>
                    </a:moveTo>
                    <a:lnTo>
                      <a:pt x="1523" y="610"/>
                    </a:lnTo>
                    <a:lnTo>
                      <a:pt x="1523" y="610"/>
                    </a:lnTo>
                    <a:lnTo>
                      <a:pt x="1523" y="612"/>
                    </a:lnTo>
                    <a:lnTo>
                      <a:pt x="1523" y="612"/>
                    </a:lnTo>
                    <a:lnTo>
                      <a:pt x="1521" y="613"/>
                    </a:lnTo>
                    <a:lnTo>
                      <a:pt x="1521" y="615"/>
                    </a:lnTo>
                    <a:lnTo>
                      <a:pt x="1523" y="615"/>
                    </a:lnTo>
                    <a:lnTo>
                      <a:pt x="1523" y="613"/>
                    </a:lnTo>
                    <a:lnTo>
                      <a:pt x="1525" y="610"/>
                    </a:lnTo>
                    <a:lnTo>
                      <a:pt x="1525" y="609"/>
                    </a:lnTo>
                    <a:lnTo>
                      <a:pt x="1525" y="610"/>
                    </a:lnTo>
                    <a:close/>
                    <a:moveTo>
                      <a:pt x="971" y="605"/>
                    </a:moveTo>
                    <a:lnTo>
                      <a:pt x="970" y="604"/>
                    </a:lnTo>
                    <a:lnTo>
                      <a:pt x="968" y="604"/>
                    </a:lnTo>
                    <a:lnTo>
                      <a:pt x="968" y="605"/>
                    </a:lnTo>
                    <a:lnTo>
                      <a:pt x="966" y="605"/>
                    </a:lnTo>
                    <a:lnTo>
                      <a:pt x="966" y="605"/>
                    </a:lnTo>
                    <a:lnTo>
                      <a:pt x="966" y="605"/>
                    </a:lnTo>
                    <a:lnTo>
                      <a:pt x="968" y="607"/>
                    </a:lnTo>
                    <a:lnTo>
                      <a:pt x="971" y="605"/>
                    </a:lnTo>
                    <a:lnTo>
                      <a:pt x="973" y="605"/>
                    </a:lnTo>
                    <a:lnTo>
                      <a:pt x="973" y="605"/>
                    </a:lnTo>
                    <a:lnTo>
                      <a:pt x="971" y="605"/>
                    </a:lnTo>
                    <a:close/>
                    <a:moveTo>
                      <a:pt x="1342" y="602"/>
                    </a:moveTo>
                    <a:lnTo>
                      <a:pt x="1342" y="602"/>
                    </a:lnTo>
                    <a:lnTo>
                      <a:pt x="1340" y="602"/>
                    </a:lnTo>
                    <a:lnTo>
                      <a:pt x="1340" y="604"/>
                    </a:lnTo>
                    <a:lnTo>
                      <a:pt x="1340" y="605"/>
                    </a:lnTo>
                    <a:lnTo>
                      <a:pt x="1340" y="605"/>
                    </a:lnTo>
                    <a:lnTo>
                      <a:pt x="1340" y="605"/>
                    </a:lnTo>
                    <a:lnTo>
                      <a:pt x="1342" y="604"/>
                    </a:lnTo>
                    <a:lnTo>
                      <a:pt x="1343" y="602"/>
                    </a:lnTo>
                    <a:lnTo>
                      <a:pt x="1342" y="602"/>
                    </a:lnTo>
                    <a:close/>
                    <a:moveTo>
                      <a:pt x="1343" y="599"/>
                    </a:moveTo>
                    <a:lnTo>
                      <a:pt x="1343" y="599"/>
                    </a:lnTo>
                    <a:lnTo>
                      <a:pt x="1343" y="599"/>
                    </a:lnTo>
                    <a:lnTo>
                      <a:pt x="1342" y="599"/>
                    </a:lnTo>
                    <a:lnTo>
                      <a:pt x="1342" y="602"/>
                    </a:lnTo>
                    <a:lnTo>
                      <a:pt x="1343" y="601"/>
                    </a:lnTo>
                    <a:lnTo>
                      <a:pt x="1343" y="599"/>
                    </a:lnTo>
                    <a:close/>
                    <a:moveTo>
                      <a:pt x="937" y="579"/>
                    </a:moveTo>
                    <a:lnTo>
                      <a:pt x="937" y="577"/>
                    </a:lnTo>
                    <a:lnTo>
                      <a:pt x="935" y="577"/>
                    </a:lnTo>
                    <a:lnTo>
                      <a:pt x="935" y="577"/>
                    </a:lnTo>
                    <a:lnTo>
                      <a:pt x="935" y="577"/>
                    </a:lnTo>
                    <a:lnTo>
                      <a:pt x="935" y="577"/>
                    </a:lnTo>
                    <a:lnTo>
                      <a:pt x="935" y="579"/>
                    </a:lnTo>
                    <a:lnTo>
                      <a:pt x="935" y="579"/>
                    </a:lnTo>
                    <a:lnTo>
                      <a:pt x="935" y="579"/>
                    </a:lnTo>
                    <a:lnTo>
                      <a:pt x="935" y="579"/>
                    </a:lnTo>
                    <a:lnTo>
                      <a:pt x="935" y="579"/>
                    </a:lnTo>
                    <a:lnTo>
                      <a:pt x="937" y="579"/>
                    </a:lnTo>
                    <a:lnTo>
                      <a:pt x="937" y="579"/>
                    </a:lnTo>
                    <a:close/>
                    <a:moveTo>
                      <a:pt x="934" y="577"/>
                    </a:moveTo>
                    <a:lnTo>
                      <a:pt x="932" y="576"/>
                    </a:lnTo>
                    <a:lnTo>
                      <a:pt x="930" y="577"/>
                    </a:lnTo>
                    <a:lnTo>
                      <a:pt x="929" y="577"/>
                    </a:lnTo>
                    <a:lnTo>
                      <a:pt x="929" y="577"/>
                    </a:lnTo>
                    <a:lnTo>
                      <a:pt x="929" y="580"/>
                    </a:lnTo>
                    <a:lnTo>
                      <a:pt x="929" y="580"/>
                    </a:lnTo>
                    <a:lnTo>
                      <a:pt x="930" y="580"/>
                    </a:lnTo>
                    <a:lnTo>
                      <a:pt x="930" y="580"/>
                    </a:lnTo>
                    <a:lnTo>
                      <a:pt x="932" y="579"/>
                    </a:lnTo>
                    <a:lnTo>
                      <a:pt x="932" y="579"/>
                    </a:lnTo>
                    <a:lnTo>
                      <a:pt x="934" y="579"/>
                    </a:lnTo>
                    <a:lnTo>
                      <a:pt x="934" y="579"/>
                    </a:lnTo>
                    <a:lnTo>
                      <a:pt x="934" y="579"/>
                    </a:lnTo>
                    <a:lnTo>
                      <a:pt x="934" y="577"/>
                    </a:lnTo>
                    <a:lnTo>
                      <a:pt x="935" y="577"/>
                    </a:lnTo>
                    <a:lnTo>
                      <a:pt x="934" y="577"/>
                    </a:lnTo>
                    <a:close/>
                    <a:moveTo>
                      <a:pt x="308" y="579"/>
                    </a:moveTo>
                    <a:lnTo>
                      <a:pt x="308" y="577"/>
                    </a:lnTo>
                    <a:lnTo>
                      <a:pt x="308" y="576"/>
                    </a:lnTo>
                    <a:lnTo>
                      <a:pt x="307" y="574"/>
                    </a:lnTo>
                    <a:lnTo>
                      <a:pt x="305" y="574"/>
                    </a:lnTo>
                    <a:lnTo>
                      <a:pt x="307" y="579"/>
                    </a:lnTo>
                    <a:lnTo>
                      <a:pt x="307" y="580"/>
                    </a:lnTo>
                    <a:lnTo>
                      <a:pt x="308" y="580"/>
                    </a:lnTo>
                    <a:lnTo>
                      <a:pt x="308" y="579"/>
                    </a:lnTo>
                    <a:lnTo>
                      <a:pt x="308" y="579"/>
                    </a:lnTo>
                    <a:lnTo>
                      <a:pt x="308" y="579"/>
                    </a:lnTo>
                    <a:close/>
                    <a:moveTo>
                      <a:pt x="310" y="576"/>
                    </a:moveTo>
                    <a:lnTo>
                      <a:pt x="308" y="574"/>
                    </a:lnTo>
                    <a:lnTo>
                      <a:pt x="303" y="571"/>
                    </a:lnTo>
                    <a:lnTo>
                      <a:pt x="305" y="571"/>
                    </a:lnTo>
                    <a:lnTo>
                      <a:pt x="307" y="574"/>
                    </a:lnTo>
                    <a:lnTo>
                      <a:pt x="310" y="576"/>
                    </a:lnTo>
                    <a:lnTo>
                      <a:pt x="310" y="576"/>
                    </a:lnTo>
                    <a:lnTo>
                      <a:pt x="310" y="576"/>
                    </a:lnTo>
                    <a:close/>
                    <a:moveTo>
                      <a:pt x="1403" y="668"/>
                    </a:moveTo>
                    <a:lnTo>
                      <a:pt x="1403" y="666"/>
                    </a:lnTo>
                    <a:lnTo>
                      <a:pt x="1396" y="666"/>
                    </a:lnTo>
                    <a:lnTo>
                      <a:pt x="1398" y="665"/>
                    </a:lnTo>
                    <a:lnTo>
                      <a:pt x="1399" y="665"/>
                    </a:lnTo>
                    <a:lnTo>
                      <a:pt x="1399" y="663"/>
                    </a:lnTo>
                    <a:lnTo>
                      <a:pt x="1398" y="662"/>
                    </a:lnTo>
                    <a:lnTo>
                      <a:pt x="1396" y="660"/>
                    </a:lnTo>
                    <a:lnTo>
                      <a:pt x="1395" y="659"/>
                    </a:lnTo>
                    <a:lnTo>
                      <a:pt x="1393" y="660"/>
                    </a:lnTo>
                    <a:lnTo>
                      <a:pt x="1390" y="659"/>
                    </a:lnTo>
                    <a:lnTo>
                      <a:pt x="1389" y="657"/>
                    </a:lnTo>
                    <a:lnTo>
                      <a:pt x="1389" y="656"/>
                    </a:lnTo>
                    <a:lnTo>
                      <a:pt x="1389" y="654"/>
                    </a:lnTo>
                    <a:lnTo>
                      <a:pt x="1387" y="654"/>
                    </a:lnTo>
                    <a:lnTo>
                      <a:pt x="1382" y="657"/>
                    </a:lnTo>
                    <a:lnTo>
                      <a:pt x="1379" y="659"/>
                    </a:lnTo>
                    <a:lnTo>
                      <a:pt x="1379" y="660"/>
                    </a:lnTo>
                    <a:lnTo>
                      <a:pt x="1378" y="660"/>
                    </a:lnTo>
                    <a:lnTo>
                      <a:pt x="1376" y="659"/>
                    </a:lnTo>
                    <a:lnTo>
                      <a:pt x="1373" y="660"/>
                    </a:lnTo>
                    <a:lnTo>
                      <a:pt x="1374" y="659"/>
                    </a:lnTo>
                    <a:lnTo>
                      <a:pt x="1374" y="657"/>
                    </a:lnTo>
                    <a:lnTo>
                      <a:pt x="1371" y="656"/>
                    </a:lnTo>
                    <a:lnTo>
                      <a:pt x="1367" y="656"/>
                    </a:lnTo>
                    <a:lnTo>
                      <a:pt x="1365" y="657"/>
                    </a:lnTo>
                    <a:lnTo>
                      <a:pt x="1364" y="657"/>
                    </a:lnTo>
                    <a:lnTo>
                      <a:pt x="1364" y="656"/>
                    </a:lnTo>
                    <a:lnTo>
                      <a:pt x="1364" y="656"/>
                    </a:lnTo>
                    <a:lnTo>
                      <a:pt x="1360" y="654"/>
                    </a:lnTo>
                    <a:lnTo>
                      <a:pt x="1359" y="654"/>
                    </a:lnTo>
                    <a:lnTo>
                      <a:pt x="1357" y="654"/>
                    </a:lnTo>
                    <a:lnTo>
                      <a:pt x="1354" y="652"/>
                    </a:lnTo>
                    <a:lnTo>
                      <a:pt x="1351" y="651"/>
                    </a:lnTo>
                    <a:lnTo>
                      <a:pt x="1354" y="648"/>
                    </a:lnTo>
                    <a:lnTo>
                      <a:pt x="1354" y="648"/>
                    </a:lnTo>
                    <a:lnTo>
                      <a:pt x="1353" y="646"/>
                    </a:lnTo>
                    <a:lnTo>
                      <a:pt x="1349" y="646"/>
                    </a:lnTo>
                    <a:lnTo>
                      <a:pt x="1348" y="645"/>
                    </a:lnTo>
                    <a:lnTo>
                      <a:pt x="1342" y="645"/>
                    </a:lnTo>
                    <a:lnTo>
                      <a:pt x="1342" y="643"/>
                    </a:lnTo>
                    <a:lnTo>
                      <a:pt x="1340" y="641"/>
                    </a:lnTo>
                    <a:lnTo>
                      <a:pt x="1340" y="640"/>
                    </a:lnTo>
                    <a:lnTo>
                      <a:pt x="1340" y="638"/>
                    </a:lnTo>
                    <a:lnTo>
                      <a:pt x="1339" y="634"/>
                    </a:lnTo>
                    <a:lnTo>
                      <a:pt x="1337" y="634"/>
                    </a:lnTo>
                    <a:lnTo>
                      <a:pt x="1335" y="631"/>
                    </a:lnTo>
                    <a:lnTo>
                      <a:pt x="1335" y="627"/>
                    </a:lnTo>
                    <a:lnTo>
                      <a:pt x="1337" y="626"/>
                    </a:lnTo>
                    <a:lnTo>
                      <a:pt x="1337" y="624"/>
                    </a:lnTo>
                    <a:lnTo>
                      <a:pt x="1335" y="623"/>
                    </a:lnTo>
                    <a:lnTo>
                      <a:pt x="1334" y="623"/>
                    </a:lnTo>
                    <a:lnTo>
                      <a:pt x="1331" y="624"/>
                    </a:lnTo>
                    <a:lnTo>
                      <a:pt x="1329" y="623"/>
                    </a:lnTo>
                    <a:lnTo>
                      <a:pt x="1329" y="623"/>
                    </a:lnTo>
                    <a:lnTo>
                      <a:pt x="1332" y="620"/>
                    </a:lnTo>
                    <a:lnTo>
                      <a:pt x="1335" y="616"/>
                    </a:lnTo>
                    <a:lnTo>
                      <a:pt x="1337" y="610"/>
                    </a:lnTo>
                    <a:lnTo>
                      <a:pt x="1339" y="609"/>
                    </a:lnTo>
                    <a:lnTo>
                      <a:pt x="1339" y="607"/>
                    </a:lnTo>
                    <a:lnTo>
                      <a:pt x="1337" y="604"/>
                    </a:lnTo>
                    <a:lnTo>
                      <a:pt x="1334" y="605"/>
                    </a:lnTo>
                    <a:lnTo>
                      <a:pt x="1334" y="604"/>
                    </a:lnTo>
                    <a:lnTo>
                      <a:pt x="1331" y="604"/>
                    </a:lnTo>
                    <a:lnTo>
                      <a:pt x="1328" y="605"/>
                    </a:lnTo>
                    <a:lnTo>
                      <a:pt x="1326" y="607"/>
                    </a:lnTo>
                    <a:lnTo>
                      <a:pt x="1323" y="609"/>
                    </a:lnTo>
                    <a:lnTo>
                      <a:pt x="1323" y="607"/>
                    </a:lnTo>
                    <a:lnTo>
                      <a:pt x="1321" y="602"/>
                    </a:lnTo>
                    <a:lnTo>
                      <a:pt x="1320" y="602"/>
                    </a:lnTo>
                    <a:lnTo>
                      <a:pt x="1313" y="599"/>
                    </a:lnTo>
                    <a:lnTo>
                      <a:pt x="1310" y="598"/>
                    </a:lnTo>
                    <a:lnTo>
                      <a:pt x="1309" y="598"/>
                    </a:lnTo>
                    <a:lnTo>
                      <a:pt x="1306" y="599"/>
                    </a:lnTo>
                    <a:lnTo>
                      <a:pt x="1304" y="599"/>
                    </a:lnTo>
                    <a:lnTo>
                      <a:pt x="1309" y="596"/>
                    </a:lnTo>
                    <a:lnTo>
                      <a:pt x="1310" y="596"/>
                    </a:lnTo>
                    <a:lnTo>
                      <a:pt x="1312" y="596"/>
                    </a:lnTo>
                    <a:lnTo>
                      <a:pt x="1315" y="596"/>
                    </a:lnTo>
                    <a:lnTo>
                      <a:pt x="1317" y="596"/>
                    </a:lnTo>
                    <a:lnTo>
                      <a:pt x="1318" y="595"/>
                    </a:lnTo>
                    <a:lnTo>
                      <a:pt x="1321" y="596"/>
                    </a:lnTo>
                    <a:lnTo>
                      <a:pt x="1326" y="599"/>
                    </a:lnTo>
                    <a:lnTo>
                      <a:pt x="1328" y="599"/>
                    </a:lnTo>
                    <a:lnTo>
                      <a:pt x="1329" y="599"/>
                    </a:lnTo>
                    <a:lnTo>
                      <a:pt x="1334" y="596"/>
                    </a:lnTo>
                    <a:lnTo>
                      <a:pt x="1335" y="595"/>
                    </a:lnTo>
                    <a:lnTo>
                      <a:pt x="1337" y="595"/>
                    </a:lnTo>
                    <a:lnTo>
                      <a:pt x="1339" y="593"/>
                    </a:lnTo>
                    <a:lnTo>
                      <a:pt x="1339" y="591"/>
                    </a:lnTo>
                    <a:lnTo>
                      <a:pt x="1340" y="590"/>
                    </a:lnTo>
                    <a:lnTo>
                      <a:pt x="1345" y="588"/>
                    </a:lnTo>
                    <a:lnTo>
                      <a:pt x="1348" y="585"/>
                    </a:lnTo>
                    <a:lnTo>
                      <a:pt x="1348" y="580"/>
                    </a:lnTo>
                    <a:lnTo>
                      <a:pt x="1345" y="579"/>
                    </a:lnTo>
                    <a:lnTo>
                      <a:pt x="1343" y="577"/>
                    </a:lnTo>
                    <a:lnTo>
                      <a:pt x="1345" y="577"/>
                    </a:lnTo>
                    <a:lnTo>
                      <a:pt x="1348" y="577"/>
                    </a:lnTo>
                    <a:lnTo>
                      <a:pt x="1348" y="576"/>
                    </a:lnTo>
                    <a:lnTo>
                      <a:pt x="1346" y="574"/>
                    </a:lnTo>
                    <a:lnTo>
                      <a:pt x="1342" y="569"/>
                    </a:lnTo>
                    <a:lnTo>
                      <a:pt x="1337" y="568"/>
                    </a:lnTo>
                    <a:lnTo>
                      <a:pt x="1328" y="566"/>
                    </a:lnTo>
                    <a:lnTo>
                      <a:pt x="1324" y="566"/>
                    </a:lnTo>
                    <a:lnTo>
                      <a:pt x="1318" y="566"/>
                    </a:lnTo>
                    <a:lnTo>
                      <a:pt x="1313" y="568"/>
                    </a:lnTo>
                    <a:lnTo>
                      <a:pt x="1306" y="569"/>
                    </a:lnTo>
                    <a:lnTo>
                      <a:pt x="1296" y="574"/>
                    </a:lnTo>
                    <a:lnTo>
                      <a:pt x="1288" y="577"/>
                    </a:lnTo>
                    <a:lnTo>
                      <a:pt x="1284" y="580"/>
                    </a:lnTo>
                    <a:lnTo>
                      <a:pt x="1278" y="584"/>
                    </a:lnTo>
                    <a:lnTo>
                      <a:pt x="1274" y="585"/>
                    </a:lnTo>
                    <a:lnTo>
                      <a:pt x="1271" y="587"/>
                    </a:lnTo>
                    <a:lnTo>
                      <a:pt x="1268" y="590"/>
                    </a:lnTo>
                    <a:lnTo>
                      <a:pt x="1267" y="590"/>
                    </a:lnTo>
                    <a:lnTo>
                      <a:pt x="1263" y="591"/>
                    </a:lnTo>
                    <a:lnTo>
                      <a:pt x="1259" y="598"/>
                    </a:lnTo>
                    <a:lnTo>
                      <a:pt x="1256" y="601"/>
                    </a:lnTo>
                    <a:lnTo>
                      <a:pt x="1254" y="604"/>
                    </a:lnTo>
                    <a:lnTo>
                      <a:pt x="1249" y="609"/>
                    </a:lnTo>
                    <a:lnTo>
                      <a:pt x="1246" y="613"/>
                    </a:lnTo>
                    <a:lnTo>
                      <a:pt x="1245" y="615"/>
                    </a:lnTo>
                    <a:lnTo>
                      <a:pt x="1243" y="618"/>
                    </a:lnTo>
                    <a:lnTo>
                      <a:pt x="1240" y="623"/>
                    </a:lnTo>
                    <a:lnTo>
                      <a:pt x="1237" y="624"/>
                    </a:lnTo>
                    <a:lnTo>
                      <a:pt x="1229" y="629"/>
                    </a:lnTo>
                    <a:lnTo>
                      <a:pt x="1226" y="631"/>
                    </a:lnTo>
                    <a:lnTo>
                      <a:pt x="1224" y="632"/>
                    </a:lnTo>
                    <a:lnTo>
                      <a:pt x="1221" y="632"/>
                    </a:lnTo>
                    <a:lnTo>
                      <a:pt x="1217" y="634"/>
                    </a:lnTo>
                    <a:lnTo>
                      <a:pt x="1213" y="635"/>
                    </a:lnTo>
                    <a:lnTo>
                      <a:pt x="1209" y="637"/>
                    </a:lnTo>
                    <a:lnTo>
                      <a:pt x="1207" y="638"/>
                    </a:lnTo>
                    <a:lnTo>
                      <a:pt x="1207" y="640"/>
                    </a:lnTo>
                    <a:lnTo>
                      <a:pt x="1204" y="640"/>
                    </a:lnTo>
                    <a:lnTo>
                      <a:pt x="1202" y="641"/>
                    </a:lnTo>
                    <a:lnTo>
                      <a:pt x="1198" y="646"/>
                    </a:lnTo>
                    <a:lnTo>
                      <a:pt x="1193" y="648"/>
                    </a:lnTo>
                    <a:lnTo>
                      <a:pt x="1192" y="651"/>
                    </a:lnTo>
                    <a:lnTo>
                      <a:pt x="1188" y="654"/>
                    </a:lnTo>
                    <a:lnTo>
                      <a:pt x="1187" y="657"/>
                    </a:lnTo>
                    <a:lnTo>
                      <a:pt x="1185" y="660"/>
                    </a:lnTo>
                    <a:lnTo>
                      <a:pt x="1185" y="660"/>
                    </a:lnTo>
                    <a:lnTo>
                      <a:pt x="1184" y="665"/>
                    </a:lnTo>
                    <a:lnTo>
                      <a:pt x="1184" y="665"/>
                    </a:lnTo>
                    <a:lnTo>
                      <a:pt x="1181" y="666"/>
                    </a:lnTo>
                    <a:lnTo>
                      <a:pt x="1176" y="670"/>
                    </a:lnTo>
                    <a:lnTo>
                      <a:pt x="1171" y="671"/>
                    </a:lnTo>
                    <a:lnTo>
                      <a:pt x="1167" y="674"/>
                    </a:lnTo>
                    <a:lnTo>
                      <a:pt x="1163" y="676"/>
                    </a:lnTo>
                    <a:lnTo>
                      <a:pt x="1184" y="676"/>
                    </a:lnTo>
                    <a:lnTo>
                      <a:pt x="1190" y="676"/>
                    </a:lnTo>
                    <a:lnTo>
                      <a:pt x="1220" y="676"/>
                    </a:lnTo>
                    <a:lnTo>
                      <a:pt x="1221" y="671"/>
                    </a:lnTo>
                    <a:lnTo>
                      <a:pt x="1223" y="668"/>
                    </a:lnTo>
                    <a:lnTo>
                      <a:pt x="1223" y="668"/>
                    </a:lnTo>
                    <a:lnTo>
                      <a:pt x="1226" y="670"/>
                    </a:lnTo>
                    <a:lnTo>
                      <a:pt x="1226" y="670"/>
                    </a:lnTo>
                    <a:lnTo>
                      <a:pt x="1227" y="668"/>
                    </a:lnTo>
                    <a:lnTo>
                      <a:pt x="1229" y="666"/>
                    </a:lnTo>
                    <a:lnTo>
                      <a:pt x="1229" y="668"/>
                    </a:lnTo>
                    <a:lnTo>
                      <a:pt x="1231" y="668"/>
                    </a:lnTo>
                    <a:lnTo>
                      <a:pt x="1231" y="670"/>
                    </a:lnTo>
                    <a:lnTo>
                      <a:pt x="1231" y="670"/>
                    </a:lnTo>
                    <a:lnTo>
                      <a:pt x="1232" y="668"/>
                    </a:lnTo>
                    <a:lnTo>
                      <a:pt x="1232" y="666"/>
                    </a:lnTo>
                    <a:lnTo>
                      <a:pt x="1232" y="666"/>
                    </a:lnTo>
                    <a:lnTo>
                      <a:pt x="1232" y="665"/>
                    </a:lnTo>
                    <a:lnTo>
                      <a:pt x="1234" y="665"/>
                    </a:lnTo>
                    <a:lnTo>
                      <a:pt x="1234" y="665"/>
                    </a:lnTo>
                    <a:lnTo>
                      <a:pt x="1234" y="665"/>
                    </a:lnTo>
                    <a:lnTo>
                      <a:pt x="1234" y="665"/>
                    </a:lnTo>
                    <a:lnTo>
                      <a:pt x="1234" y="663"/>
                    </a:lnTo>
                    <a:lnTo>
                      <a:pt x="1234" y="662"/>
                    </a:lnTo>
                    <a:lnTo>
                      <a:pt x="1234" y="662"/>
                    </a:lnTo>
                    <a:lnTo>
                      <a:pt x="1235" y="660"/>
                    </a:lnTo>
                    <a:lnTo>
                      <a:pt x="1238" y="659"/>
                    </a:lnTo>
                    <a:lnTo>
                      <a:pt x="1238" y="657"/>
                    </a:lnTo>
                    <a:lnTo>
                      <a:pt x="1238" y="656"/>
                    </a:lnTo>
                    <a:lnTo>
                      <a:pt x="1238" y="656"/>
                    </a:lnTo>
                    <a:lnTo>
                      <a:pt x="1240" y="654"/>
                    </a:lnTo>
                    <a:lnTo>
                      <a:pt x="1240" y="654"/>
                    </a:lnTo>
                    <a:lnTo>
                      <a:pt x="1242" y="652"/>
                    </a:lnTo>
                    <a:lnTo>
                      <a:pt x="1242" y="652"/>
                    </a:lnTo>
                    <a:lnTo>
                      <a:pt x="1242" y="651"/>
                    </a:lnTo>
                    <a:lnTo>
                      <a:pt x="1242" y="649"/>
                    </a:lnTo>
                    <a:lnTo>
                      <a:pt x="1242" y="648"/>
                    </a:lnTo>
                    <a:lnTo>
                      <a:pt x="1242" y="645"/>
                    </a:lnTo>
                    <a:lnTo>
                      <a:pt x="1242" y="645"/>
                    </a:lnTo>
                    <a:lnTo>
                      <a:pt x="1243" y="641"/>
                    </a:lnTo>
                    <a:lnTo>
                      <a:pt x="1245" y="640"/>
                    </a:lnTo>
                    <a:lnTo>
                      <a:pt x="1246" y="637"/>
                    </a:lnTo>
                    <a:lnTo>
                      <a:pt x="1246" y="635"/>
                    </a:lnTo>
                    <a:lnTo>
                      <a:pt x="1246" y="632"/>
                    </a:lnTo>
                    <a:lnTo>
                      <a:pt x="1246" y="632"/>
                    </a:lnTo>
                    <a:lnTo>
                      <a:pt x="1248" y="629"/>
                    </a:lnTo>
                    <a:lnTo>
                      <a:pt x="1251" y="626"/>
                    </a:lnTo>
                    <a:lnTo>
                      <a:pt x="1253" y="623"/>
                    </a:lnTo>
                    <a:lnTo>
                      <a:pt x="1253" y="623"/>
                    </a:lnTo>
                    <a:lnTo>
                      <a:pt x="1256" y="620"/>
                    </a:lnTo>
                    <a:lnTo>
                      <a:pt x="1257" y="616"/>
                    </a:lnTo>
                    <a:lnTo>
                      <a:pt x="1259" y="615"/>
                    </a:lnTo>
                    <a:lnTo>
                      <a:pt x="1259" y="615"/>
                    </a:lnTo>
                    <a:lnTo>
                      <a:pt x="1259" y="613"/>
                    </a:lnTo>
                    <a:lnTo>
                      <a:pt x="1262" y="613"/>
                    </a:lnTo>
                    <a:lnTo>
                      <a:pt x="1263" y="615"/>
                    </a:lnTo>
                    <a:lnTo>
                      <a:pt x="1263" y="615"/>
                    </a:lnTo>
                    <a:lnTo>
                      <a:pt x="1262" y="616"/>
                    </a:lnTo>
                    <a:lnTo>
                      <a:pt x="1263" y="618"/>
                    </a:lnTo>
                    <a:lnTo>
                      <a:pt x="1263" y="620"/>
                    </a:lnTo>
                    <a:lnTo>
                      <a:pt x="1265" y="620"/>
                    </a:lnTo>
                    <a:lnTo>
                      <a:pt x="1265" y="620"/>
                    </a:lnTo>
                    <a:lnTo>
                      <a:pt x="1267" y="620"/>
                    </a:lnTo>
                    <a:lnTo>
                      <a:pt x="1270" y="618"/>
                    </a:lnTo>
                    <a:lnTo>
                      <a:pt x="1273" y="618"/>
                    </a:lnTo>
                    <a:lnTo>
                      <a:pt x="1274" y="616"/>
                    </a:lnTo>
                    <a:lnTo>
                      <a:pt x="1274" y="616"/>
                    </a:lnTo>
                    <a:lnTo>
                      <a:pt x="1276" y="616"/>
                    </a:lnTo>
                    <a:lnTo>
                      <a:pt x="1278" y="616"/>
                    </a:lnTo>
                    <a:lnTo>
                      <a:pt x="1279" y="618"/>
                    </a:lnTo>
                    <a:lnTo>
                      <a:pt x="1282" y="621"/>
                    </a:lnTo>
                    <a:lnTo>
                      <a:pt x="1285" y="623"/>
                    </a:lnTo>
                    <a:lnTo>
                      <a:pt x="1285" y="623"/>
                    </a:lnTo>
                    <a:lnTo>
                      <a:pt x="1285" y="627"/>
                    </a:lnTo>
                    <a:lnTo>
                      <a:pt x="1285" y="631"/>
                    </a:lnTo>
                    <a:lnTo>
                      <a:pt x="1285" y="635"/>
                    </a:lnTo>
                    <a:lnTo>
                      <a:pt x="1285" y="638"/>
                    </a:lnTo>
                    <a:lnTo>
                      <a:pt x="1285" y="641"/>
                    </a:lnTo>
                    <a:lnTo>
                      <a:pt x="1285" y="646"/>
                    </a:lnTo>
                    <a:lnTo>
                      <a:pt x="1285" y="649"/>
                    </a:lnTo>
                    <a:lnTo>
                      <a:pt x="1285" y="652"/>
                    </a:lnTo>
                    <a:lnTo>
                      <a:pt x="1285" y="652"/>
                    </a:lnTo>
                    <a:lnTo>
                      <a:pt x="1285" y="652"/>
                    </a:lnTo>
                    <a:lnTo>
                      <a:pt x="1285" y="654"/>
                    </a:lnTo>
                    <a:lnTo>
                      <a:pt x="1285" y="654"/>
                    </a:lnTo>
                    <a:lnTo>
                      <a:pt x="1285" y="654"/>
                    </a:lnTo>
                    <a:lnTo>
                      <a:pt x="1285" y="654"/>
                    </a:lnTo>
                    <a:lnTo>
                      <a:pt x="1285" y="656"/>
                    </a:lnTo>
                    <a:lnTo>
                      <a:pt x="1285" y="656"/>
                    </a:lnTo>
                    <a:lnTo>
                      <a:pt x="1285" y="656"/>
                    </a:lnTo>
                    <a:lnTo>
                      <a:pt x="1285" y="657"/>
                    </a:lnTo>
                    <a:lnTo>
                      <a:pt x="1285" y="657"/>
                    </a:lnTo>
                    <a:lnTo>
                      <a:pt x="1285" y="659"/>
                    </a:lnTo>
                    <a:lnTo>
                      <a:pt x="1285" y="659"/>
                    </a:lnTo>
                    <a:lnTo>
                      <a:pt x="1285" y="659"/>
                    </a:lnTo>
                    <a:lnTo>
                      <a:pt x="1287" y="659"/>
                    </a:lnTo>
                    <a:lnTo>
                      <a:pt x="1287" y="660"/>
                    </a:lnTo>
                    <a:lnTo>
                      <a:pt x="1288" y="660"/>
                    </a:lnTo>
                    <a:lnTo>
                      <a:pt x="1290" y="660"/>
                    </a:lnTo>
                    <a:lnTo>
                      <a:pt x="1290" y="660"/>
                    </a:lnTo>
                    <a:lnTo>
                      <a:pt x="1292" y="660"/>
                    </a:lnTo>
                    <a:lnTo>
                      <a:pt x="1292" y="660"/>
                    </a:lnTo>
                    <a:lnTo>
                      <a:pt x="1292" y="662"/>
                    </a:lnTo>
                    <a:lnTo>
                      <a:pt x="1292" y="662"/>
                    </a:lnTo>
                    <a:lnTo>
                      <a:pt x="1292" y="662"/>
                    </a:lnTo>
                    <a:lnTo>
                      <a:pt x="1292" y="663"/>
                    </a:lnTo>
                    <a:lnTo>
                      <a:pt x="1290" y="663"/>
                    </a:lnTo>
                    <a:lnTo>
                      <a:pt x="1290" y="663"/>
                    </a:lnTo>
                    <a:lnTo>
                      <a:pt x="1290" y="663"/>
                    </a:lnTo>
                    <a:lnTo>
                      <a:pt x="1290" y="665"/>
                    </a:lnTo>
                    <a:lnTo>
                      <a:pt x="1292" y="665"/>
                    </a:lnTo>
                    <a:lnTo>
                      <a:pt x="1292" y="665"/>
                    </a:lnTo>
                    <a:lnTo>
                      <a:pt x="1292" y="666"/>
                    </a:lnTo>
                    <a:lnTo>
                      <a:pt x="1292" y="666"/>
                    </a:lnTo>
                    <a:lnTo>
                      <a:pt x="1292" y="666"/>
                    </a:lnTo>
                    <a:lnTo>
                      <a:pt x="1290" y="668"/>
                    </a:lnTo>
                    <a:lnTo>
                      <a:pt x="1290" y="668"/>
                    </a:lnTo>
                    <a:lnTo>
                      <a:pt x="1290" y="670"/>
                    </a:lnTo>
                    <a:lnTo>
                      <a:pt x="1292" y="670"/>
                    </a:lnTo>
                    <a:lnTo>
                      <a:pt x="1292" y="671"/>
                    </a:lnTo>
                    <a:lnTo>
                      <a:pt x="1292" y="671"/>
                    </a:lnTo>
                    <a:lnTo>
                      <a:pt x="1293" y="671"/>
                    </a:lnTo>
                    <a:lnTo>
                      <a:pt x="1293" y="671"/>
                    </a:lnTo>
                    <a:lnTo>
                      <a:pt x="1293" y="671"/>
                    </a:lnTo>
                    <a:lnTo>
                      <a:pt x="1295" y="671"/>
                    </a:lnTo>
                    <a:lnTo>
                      <a:pt x="1295" y="671"/>
                    </a:lnTo>
                    <a:lnTo>
                      <a:pt x="1295" y="671"/>
                    </a:lnTo>
                    <a:lnTo>
                      <a:pt x="1295" y="671"/>
                    </a:lnTo>
                    <a:lnTo>
                      <a:pt x="1296" y="671"/>
                    </a:lnTo>
                    <a:lnTo>
                      <a:pt x="1296" y="671"/>
                    </a:lnTo>
                    <a:lnTo>
                      <a:pt x="1298" y="673"/>
                    </a:lnTo>
                    <a:lnTo>
                      <a:pt x="1299" y="671"/>
                    </a:lnTo>
                    <a:lnTo>
                      <a:pt x="1301" y="673"/>
                    </a:lnTo>
                    <a:lnTo>
                      <a:pt x="1301" y="673"/>
                    </a:lnTo>
                    <a:lnTo>
                      <a:pt x="1301" y="674"/>
                    </a:lnTo>
                    <a:lnTo>
                      <a:pt x="1304" y="674"/>
                    </a:lnTo>
                    <a:lnTo>
                      <a:pt x="1307" y="673"/>
                    </a:lnTo>
                    <a:lnTo>
                      <a:pt x="1309" y="673"/>
                    </a:lnTo>
                    <a:lnTo>
                      <a:pt x="1310" y="673"/>
                    </a:lnTo>
                    <a:lnTo>
                      <a:pt x="1312" y="671"/>
                    </a:lnTo>
                    <a:lnTo>
                      <a:pt x="1313" y="670"/>
                    </a:lnTo>
                    <a:lnTo>
                      <a:pt x="1315" y="670"/>
                    </a:lnTo>
                    <a:lnTo>
                      <a:pt x="1313" y="668"/>
                    </a:lnTo>
                    <a:lnTo>
                      <a:pt x="1315" y="666"/>
                    </a:lnTo>
                    <a:lnTo>
                      <a:pt x="1315" y="665"/>
                    </a:lnTo>
                    <a:lnTo>
                      <a:pt x="1317" y="665"/>
                    </a:lnTo>
                    <a:lnTo>
                      <a:pt x="1315" y="666"/>
                    </a:lnTo>
                    <a:lnTo>
                      <a:pt x="1315" y="668"/>
                    </a:lnTo>
                    <a:lnTo>
                      <a:pt x="1317" y="670"/>
                    </a:lnTo>
                    <a:lnTo>
                      <a:pt x="1318" y="670"/>
                    </a:lnTo>
                    <a:lnTo>
                      <a:pt x="1324" y="668"/>
                    </a:lnTo>
                    <a:lnTo>
                      <a:pt x="1329" y="663"/>
                    </a:lnTo>
                    <a:lnTo>
                      <a:pt x="1332" y="662"/>
                    </a:lnTo>
                    <a:lnTo>
                      <a:pt x="1335" y="660"/>
                    </a:lnTo>
                    <a:lnTo>
                      <a:pt x="1339" y="660"/>
                    </a:lnTo>
                    <a:lnTo>
                      <a:pt x="1342" y="656"/>
                    </a:lnTo>
                    <a:lnTo>
                      <a:pt x="1340" y="652"/>
                    </a:lnTo>
                    <a:lnTo>
                      <a:pt x="1340" y="652"/>
                    </a:lnTo>
                    <a:lnTo>
                      <a:pt x="1342" y="654"/>
                    </a:lnTo>
                    <a:lnTo>
                      <a:pt x="1343" y="656"/>
                    </a:lnTo>
                    <a:lnTo>
                      <a:pt x="1345" y="656"/>
                    </a:lnTo>
                    <a:lnTo>
                      <a:pt x="1346" y="656"/>
                    </a:lnTo>
                    <a:lnTo>
                      <a:pt x="1345" y="656"/>
                    </a:lnTo>
                    <a:lnTo>
                      <a:pt x="1345" y="657"/>
                    </a:lnTo>
                    <a:lnTo>
                      <a:pt x="1342" y="660"/>
                    </a:lnTo>
                    <a:lnTo>
                      <a:pt x="1337" y="663"/>
                    </a:lnTo>
                    <a:lnTo>
                      <a:pt x="1335" y="666"/>
                    </a:lnTo>
                    <a:lnTo>
                      <a:pt x="1337" y="666"/>
                    </a:lnTo>
                    <a:lnTo>
                      <a:pt x="1337" y="666"/>
                    </a:lnTo>
                    <a:lnTo>
                      <a:pt x="1339" y="668"/>
                    </a:lnTo>
                    <a:lnTo>
                      <a:pt x="1340" y="666"/>
                    </a:lnTo>
                    <a:lnTo>
                      <a:pt x="1342" y="665"/>
                    </a:lnTo>
                    <a:lnTo>
                      <a:pt x="1346" y="666"/>
                    </a:lnTo>
                    <a:lnTo>
                      <a:pt x="1349" y="665"/>
                    </a:lnTo>
                    <a:lnTo>
                      <a:pt x="1353" y="666"/>
                    </a:lnTo>
                    <a:lnTo>
                      <a:pt x="1359" y="666"/>
                    </a:lnTo>
                    <a:lnTo>
                      <a:pt x="1362" y="666"/>
                    </a:lnTo>
                    <a:lnTo>
                      <a:pt x="1360" y="668"/>
                    </a:lnTo>
                    <a:lnTo>
                      <a:pt x="1356" y="668"/>
                    </a:lnTo>
                    <a:lnTo>
                      <a:pt x="1349" y="670"/>
                    </a:lnTo>
                    <a:lnTo>
                      <a:pt x="1348" y="673"/>
                    </a:lnTo>
                    <a:lnTo>
                      <a:pt x="1349" y="674"/>
                    </a:lnTo>
                    <a:lnTo>
                      <a:pt x="1348" y="673"/>
                    </a:lnTo>
                    <a:lnTo>
                      <a:pt x="1345" y="673"/>
                    </a:lnTo>
                    <a:lnTo>
                      <a:pt x="1345" y="671"/>
                    </a:lnTo>
                    <a:lnTo>
                      <a:pt x="1345" y="670"/>
                    </a:lnTo>
                    <a:lnTo>
                      <a:pt x="1346" y="670"/>
                    </a:lnTo>
                    <a:lnTo>
                      <a:pt x="1346" y="668"/>
                    </a:lnTo>
                    <a:lnTo>
                      <a:pt x="1343" y="666"/>
                    </a:lnTo>
                    <a:lnTo>
                      <a:pt x="1345" y="668"/>
                    </a:lnTo>
                    <a:lnTo>
                      <a:pt x="1343" y="670"/>
                    </a:lnTo>
                    <a:lnTo>
                      <a:pt x="1339" y="671"/>
                    </a:lnTo>
                    <a:lnTo>
                      <a:pt x="1335" y="673"/>
                    </a:lnTo>
                    <a:lnTo>
                      <a:pt x="1323" y="682"/>
                    </a:lnTo>
                    <a:lnTo>
                      <a:pt x="1321" y="682"/>
                    </a:lnTo>
                    <a:lnTo>
                      <a:pt x="1321" y="684"/>
                    </a:lnTo>
                    <a:lnTo>
                      <a:pt x="1324" y="682"/>
                    </a:lnTo>
                    <a:lnTo>
                      <a:pt x="1324" y="682"/>
                    </a:lnTo>
                    <a:lnTo>
                      <a:pt x="1324" y="682"/>
                    </a:lnTo>
                    <a:lnTo>
                      <a:pt x="1323" y="684"/>
                    </a:lnTo>
                    <a:lnTo>
                      <a:pt x="1321" y="684"/>
                    </a:lnTo>
                    <a:lnTo>
                      <a:pt x="1320" y="684"/>
                    </a:lnTo>
                    <a:lnTo>
                      <a:pt x="1318" y="685"/>
                    </a:lnTo>
                    <a:lnTo>
                      <a:pt x="1317" y="687"/>
                    </a:lnTo>
                    <a:lnTo>
                      <a:pt x="1315" y="688"/>
                    </a:lnTo>
                    <a:lnTo>
                      <a:pt x="1313" y="688"/>
                    </a:lnTo>
                    <a:lnTo>
                      <a:pt x="1313" y="690"/>
                    </a:lnTo>
                    <a:lnTo>
                      <a:pt x="1318" y="687"/>
                    </a:lnTo>
                    <a:lnTo>
                      <a:pt x="1318" y="687"/>
                    </a:lnTo>
                    <a:lnTo>
                      <a:pt x="1315" y="692"/>
                    </a:lnTo>
                    <a:lnTo>
                      <a:pt x="1313" y="696"/>
                    </a:lnTo>
                    <a:lnTo>
                      <a:pt x="1313" y="698"/>
                    </a:lnTo>
                    <a:lnTo>
                      <a:pt x="1313" y="704"/>
                    </a:lnTo>
                    <a:lnTo>
                      <a:pt x="1315" y="707"/>
                    </a:lnTo>
                    <a:lnTo>
                      <a:pt x="1317" y="706"/>
                    </a:lnTo>
                    <a:lnTo>
                      <a:pt x="1317" y="704"/>
                    </a:lnTo>
                    <a:lnTo>
                      <a:pt x="1318" y="706"/>
                    </a:lnTo>
                    <a:lnTo>
                      <a:pt x="1320" y="707"/>
                    </a:lnTo>
                    <a:lnTo>
                      <a:pt x="1321" y="710"/>
                    </a:lnTo>
                    <a:lnTo>
                      <a:pt x="1323" y="712"/>
                    </a:lnTo>
                    <a:lnTo>
                      <a:pt x="1324" y="710"/>
                    </a:lnTo>
                    <a:lnTo>
                      <a:pt x="1326" y="712"/>
                    </a:lnTo>
                    <a:lnTo>
                      <a:pt x="1326" y="712"/>
                    </a:lnTo>
                    <a:lnTo>
                      <a:pt x="1326" y="710"/>
                    </a:lnTo>
                    <a:lnTo>
                      <a:pt x="1328" y="710"/>
                    </a:lnTo>
                    <a:lnTo>
                      <a:pt x="1328" y="712"/>
                    </a:lnTo>
                    <a:lnTo>
                      <a:pt x="1328" y="709"/>
                    </a:lnTo>
                    <a:lnTo>
                      <a:pt x="1329" y="707"/>
                    </a:lnTo>
                    <a:lnTo>
                      <a:pt x="1331" y="707"/>
                    </a:lnTo>
                    <a:lnTo>
                      <a:pt x="1332" y="707"/>
                    </a:lnTo>
                    <a:lnTo>
                      <a:pt x="1337" y="704"/>
                    </a:lnTo>
                    <a:lnTo>
                      <a:pt x="1337" y="702"/>
                    </a:lnTo>
                    <a:lnTo>
                      <a:pt x="1340" y="699"/>
                    </a:lnTo>
                    <a:lnTo>
                      <a:pt x="1342" y="696"/>
                    </a:lnTo>
                    <a:lnTo>
                      <a:pt x="1343" y="696"/>
                    </a:lnTo>
                    <a:lnTo>
                      <a:pt x="1345" y="693"/>
                    </a:lnTo>
                    <a:lnTo>
                      <a:pt x="1346" y="693"/>
                    </a:lnTo>
                    <a:lnTo>
                      <a:pt x="1346" y="692"/>
                    </a:lnTo>
                    <a:lnTo>
                      <a:pt x="1346" y="690"/>
                    </a:lnTo>
                    <a:lnTo>
                      <a:pt x="1346" y="690"/>
                    </a:lnTo>
                    <a:lnTo>
                      <a:pt x="1346" y="687"/>
                    </a:lnTo>
                    <a:lnTo>
                      <a:pt x="1348" y="685"/>
                    </a:lnTo>
                    <a:lnTo>
                      <a:pt x="1349" y="688"/>
                    </a:lnTo>
                    <a:lnTo>
                      <a:pt x="1351" y="687"/>
                    </a:lnTo>
                    <a:lnTo>
                      <a:pt x="1351" y="685"/>
                    </a:lnTo>
                    <a:lnTo>
                      <a:pt x="1351" y="684"/>
                    </a:lnTo>
                    <a:lnTo>
                      <a:pt x="1353" y="685"/>
                    </a:lnTo>
                    <a:lnTo>
                      <a:pt x="1354" y="687"/>
                    </a:lnTo>
                    <a:lnTo>
                      <a:pt x="1354" y="688"/>
                    </a:lnTo>
                    <a:lnTo>
                      <a:pt x="1356" y="688"/>
                    </a:lnTo>
                    <a:lnTo>
                      <a:pt x="1359" y="688"/>
                    </a:lnTo>
                    <a:lnTo>
                      <a:pt x="1359" y="687"/>
                    </a:lnTo>
                    <a:lnTo>
                      <a:pt x="1359" y="687"/>
                    </a:lnTo>
                    <a:lnTo>
                      <a:pt x="1359" y="685"/>
                    </a:lnTo>
                    <a:lnTo>
                      <a:pt x="1359" y="684"/>
                    </a:lnTo>
                    <a:lnTo>
                      <a:pt x="1359" y="684"/>
                    </a:lnTo>
                    <a:lnTo>
                      <a:pt x="1360" y="685"/>
                    </a:lnTo>
                    <a:lnTo>
                      <a:pt x="1362" y="684"/>
                    </a:lnTo>
                    <a:lnTo>
                      <a:pt x="1364" y="684"/>
                    </a:lnTo>
                    <a:lnTo>
                      <a:pt x="1367" y="682"/>
                    </a:lnTo>
                    <a:lnTo>
                      <a:pt x="1368" y="682"/>
                    </a:lnTo>
                    <a:lnTo>
                      <a:pt x="1368" y="682"/>
                    </a:lnTo>
                    <a:lnTo>
                      <a:pt x="1373" y="681"/>
                    </a:lnTo>
                    <a:lnTo>
                      <a:pt x="1378" y="679"/>
                    </a:lnTo>
                    <a:lnTo>
                      <a:pt x="1382" y="677"/>
                    </a:lnTo>
                    <a:lnTo>
                      <a:pt x="1385" y="676"/>
                    </a:lnTo>
                    <a:lnTo>
                      <a:pt x="1390" y="674"/>
                    </a:lnTo>
                    <a:lnTo>
                      <a:pt x="1392" y="673"/>
                    </a:lnTo>
                    <a:lnTo>
                      <a:pt x="1393" y="673"/>
                    </a:lnTo>
                    <a:lnTo>
                      <a:pt x="1395" y="671"/>
                    </a:lnTo>
                    <a:lnTo>
                      <a:pt x="1395" y="671"/>
                    </a:lnTo>
                    <a:lnTo>
                      <a:pt x="1398" y="671"/>
                    </a:lnTo>
                    <a:lnTo>
                      <a:pt x="1399" y="670"/>
                    </a:lnTo>
                    <a:lnTo>
                      <a:pt x="1401" y="670"/>
                    </a:lnTo>
                    <a:lnTo>
                      <a:pt x="1403" y="670"/>
                    </a:lnTo>
                    <a:lnTo>
                      <a:pt x="1403" y="670"/>
                    </a:lnTo>
                    <a:lnTo>
                      <a:pt x="1404" y="668"/>
                    </a:lnTo>
                    <a:lnTo>
                      <a:pt x="1403" y="668"/>
                    </a:lnTo>
                    <a:close/>
                    <a:moveTo>
                      <a:pt x="261" y="563"/>
                    </a:moveTo>
                    <a:lnTo>
                      <a:pt x="261" y="563"/>
                    </a:lnTo>
                    <a:lnTo>
                      <a:pt x="260" y="563"/>
                    </a:lnTo>
                    <a:lnTo>
                      <a:pt x="260" y="563"/>
                    </a:lnTo>
                    <a:lnTo>
                      <a:pt x="260" y="565"/>
                    </a:lnTo>
                    <a:lnTo>
                      <a:pt x="260" y="565"/>
                    </a:lnTo>
                    <a:lnTo>
                      <a:pt x="263" y="566"/>
                    </a:lnTo>
                    <a:lnTo>
                      <a:pt x="261" y="563"/>
                    </a:lnTo>
                    <a:close/>
                    <a:moveTo>
                      <a:pt x="1517" y="555"/>
                    </a:moveTo>
                    <a:lnTo>
                      <a:pt x="1517" y="555"/>
                    </a:lnTo>
                    <a:lnTo>
                      <a:pt x="1514" y="559"/>
                    </a:lnTo>
                    <a:lnTo>
                      <a:pt x="1514" y="559"/>
                    </a:lnTo>
                    <a:lnTo>
                      <a:pt x="1514" y="557"/>
                    </a:lnTo>
                    <a:lnTo>
                      <a:pt x="1514" y="557"/>
                    </a:lnTo>
                    <a:lnTo>
                      <a:pt x="1512" y="557"/>
                    </a:lnTo>
                    <a:lnTo>
                      <a:pt x="1512" y="557"/>
                    </a:lnTo>
                    <a:lnTo>
                      <a:pt x="1512" y="557"/>
                    </a:lnTo>
                    <a:lnTo>
                      <a:pt x="1512" y="559"/>
                    </a:lnTo>
                    <a:lnTo>
                      <a:pt x="1514" y="560"/>
                    </a:lnTo>
                    <a:lnTo>
                      <a:pt x="1514" y="559"/>
                    </a:lnTo>
                    <a:lnTo>
                      <a:pt x="1515" y="559"/>
                    </a:lnTo>
                    <a:lnTo>
                      <a:pt x="1517" y="557"/>
                    </a:lnTo>
                    <a:lnTo>
                      <a:pt x="1518" y="557"/>
                    </a:lnTo>
                    <a:lnTo>
                      <a:pt x="1517" y="555"/>
                    </a:lnTo>
                    <a:close/>
                    <a:moveTo>
                      <a:pt x="1526" y="554"/>
                    </a:moveTo>
                    <a:lnTo>
                      <a:pt x="1526" y="552"/>
                    </a:lnTo>
                    <a:lnTo>
                      <a:pt x="1525" y="552"/>
                    </a:lnTo>
                    <a:lnTo>
                      <a:pt x="1523" y="554"/>
                    </a:lnTo>
                    <a:lnTo>
                      <a:pt x="1523" y="554"/>
                    </a:lnTo>
                    <a:lnTo>
                      <a:pt x="1521" y="554"/>
                    </a:lnTo>
                    <a:lnTo>
                      <a:pt x="1521" y="555"/>
                    </a:lnTo>
                    <a:lnTo>
                      <a:pt x="1521" y="557"/>
                    </a:lnTo>
                    <a:lnTo>
                      <a:pt x="1523" y="557"/>
                    </a:lnTo>
                    <a:lnTo>
                      <a:pt x="1523" y="557"/>
                    </a:lnTo>
                    <a:lnTo>
                      <a:pt x="1528" y="555"/>
                    </a:lnTo>
                    <a:lnTo>
                      <a:pt x="1526" y="554"/>
                    </a:lnTo>
                    <a:close/>
                    <a:moveTo>
                      <a:pt x="296" y="559"/>
                    </a:moveTo>
                    <a:lnTo>
                      <a:pt x="293" y="555"/>
                    </a:lnTo>
                    <a:lnTo>
                      <a:pt x="291" y="554"/>
                    </a:lnTo>
                    <a:lnTo>
                      <a:pt x="289" y="552"/>
                    </a:lnTo>
                    <a:lnTo>
                      <a:pt x="288" y="552"/>
                    </a:lnTo>
                    <a:lnTo>
                      <a:pt x="286" y="552"/>
                    </a:lnTo>
                    <a:lnTo>
                      <a:pt x="288" y="552"/>
                    </a:lnTo>
                    <a:lnTo>
                      <a:pt x="289" y="554"/>
                    </a:lnTo>
                    <a:lnTo>
                      <a:pt x="289" y="555"/>
                    </a:lnTo>
                    <a:lnTo>
                      <a:pt x="291" y="555"/>
                    </a:lnTo>
                    <a:lnTo>
                      <a:pt x="293" y="557"/>
                    </a:lnTo>
                    <a:lnTo>
                      <a:pt x="296" y="559"/>
                    </a:lnTo>
                    <a:lnTo>
                      <a:pt x="296" y="559"/>
                    </a:lnTo>
                    <a:close/>
                    <a:moveTo>
                      <a:pt x="252" y="552"/>
                    </a:moveTo>
                    <a:lnTo>
                      <a:pt x="250" y="551"/>
                    </a:lnTo>
                    <a:lnTo>
                      <a:pt x="250" y="551"/>
                    </a:lnTo>
                    <a:lnTo>
                      <a:pt x="249" y="549"/>
                    </a:lnTo>
                    <a:lnTo>
                      <a:pt x="247" y="551"/>
                    </a:lnTo>
                    <a:lnTo>
                      <a:pt x="247" y="552"/>
                    </a:lnTo>
                    <a:lnTo>
                      <a:pt x="247" y="552"/>
                    </a:lnTo>
                    <a:lnTo>
                      <a:pt x="247" y="552"/>
                    </a:lnTo>
                    <a:lnTo>
                      <a:pt x="247" y="554"/>
                    </a:lnTo>
                    <a:lnTo>
                      <a:pt x="247" y="554"/>
                    </a:lnTo>
                    <a:lnTo>
                      <a:pt x="249" y="555"/>
                    </a:lnTo>
                    <a:lnTo>
                      <a:pt x="250" y="557"/>
                    </a:lnTo>
                    <a:lnTo>
                      <a:pt x="252" y="557"/>
                    </a:lnTo>
                    <a:lnTo>
                      <a:pt x="252" y="557"/>
                    </a:lnTo>
                    <a:lnTo>
                      <a:pt x="252" y="555"/>
                    </a:lnTo>
                    <a:lnTo>
                      <a:pt x="252" y="555"/>
                    </a:lnTo>
                    <a:lnTo>
                      <a:pt x="252" y="552"/>
                    </a:lnTo>
                    <a:close/>
                    <a:moveTo>
                      <a:pt x="1392" y="568"/>
                    </a:moveTo>
                    <a:lnTo>
                      <a:pt x="1390" y="565"/>
                    </a:lnTo>
                    <a:lnTo>
                      <a:pt x="1385" y="562"/>
                    </a:lnTo>
                    <a:lnTo>
                      <a:pt x="1384" y="562"/>
                    </a:lnTo>
                    <a:lnTo>
                      <a:pt x="1376" y="555"/>
                    </a:lnTo>
                    <a:lnTo>
                      <a:pt x="1371" y="554"/>
                    </a:lnTo>
                    <a:lnTo>
                      <a:pt x="1368" y="552"/>
                    </a:lnTo>
                    <a:lnTo>
                      <a:pt x="1364" y="551"/>
                    </a:lnTo>
                    <a:lnTo>
                      <a:pt x="1356" y="549"/>
                    </a:lnTo>
                    <a:lnTo>
                      <a:pt x="1349" y="548"/>
                    </a:lnTo>
                    <a:lnTo>
                      <a:pt x="1348" y="548"/>
                    </a:lnTo>
                    <a:lnTo>
                      <a:pt x="1345" y="548"/>
                    </a:lnTo>
                    <a:lnTo>
                      <a:pt x="1343" y="549"/>
                    </a:lnTo>
                    <a:lnTo>
                      <a:pt x="1343" y="551"/>
                    </a:lnTo>
                    <a:lnTo>
                      <a:pt x="1354" y="555"/>
                    </a:lnTo>
                    <a:lnTo>
                      <a:pt x="1356" y="557"/>
                    </a:lnTo>
                    <a:lnTo>
                      <a:pt x="1357" y="559"/>
                    </a:lnTo>
                    <a:lnTo>
                      <a:pt x="1359" y="560"/>
                    </a:lnTo>
                    <a:lnTo>
                      <a:pt x="1359" y="562"/>
                    </a:lnTo>
                    <a:lnTo>
                      <a:pt x="1368" y="566"/>
                    </a:lnTo>
                    <a:lnTo>
                      <a:pt x="1373" y="568"/>
                    </a:lnTo>
                    <a:lnTo>
                      <a:pt x="1378" y="569"/>
                    </a:lnTo>
                    <a:lnTo>
                      <a:pt x="1382" y="571"/>
                    </a:lnTo>
                    <a:lnTo>
                      <a:pt x="1390" y="571"/>
                    </a:lnTo>
                    <a:lnTo>
                      <a:pt x="1392" y="569"/>
                    </a:lnTo>
                    <a:lnTo>
                      <a:pt x="1392" y="569"/>
                    </a:lnTo>
                    <a:lnTo>
                      <a:pt x="1392" y="568"/>
                    </a:lnTo>
                    <a:close/>
                    <a:moveTo>
                      <a:pt x="282" y="543"/>
                    </a:moveTo>
                    <a:lnTo>
                      <a:pt x="282" y="541"/>
                    </a:lnTo>
                    <a:lnTo>
                      <a:pt x="282" y="540"/>
                    </a:lnTo>
                    <a:lnTo>
                      <a:pt x="282" y="541"/>
                    </a:lnTo>
                    <a:lnTo>
                      <a:pt x="282" y="541"/>
                    </a:lnTo>
                    <a:lnTo>
                      <a:pt x="280" y="543"/>
                    </a:lnTo>
                    <a:lnTo>
                      <a:pt x="282" y="546"/>
                    </a:lnTo>
                    <a:lnTo>
                      <a:pt x="282" y="544"/>
                    </a:lnTo>
                    <a:lnTo>
                      <a:pt x="283" y="544"/>
                    </a:lnTo>
                    <a:lnTo>
                      <a:pt x="283" y="543"/>
                    </a:lnTo>
                    <a:lnTo>
                      <a:pt x="282" y="543"/>
                    </a:lnTo>
                    <a:close/>
                    <a:moveTo>
                      <a:pt x="280" y="538"/>
                    </a:moveTo>
                    <a:lnTo>
                      <a:pt x="278" y="537"/>
                    </a:lnTo>
                    <a:lnTo>
                      <a:pt x="278" y="537"/>
                    </a:lnTo>
                    <a:lnTo>
                      <a:pt x="277" y="535"/>
                    </a:lnTo>
                    <a:lnTo>
                      <a:pt x="277" y="535"/>
                    </a:lnTo>
                    <a:lnTo>
                      <a:pt x="275" y="535"/>
                    </a:lnTo>
                    <a:lnTo>
                      <a:pt x="275" y="537"/>
                    </a:lnTo>
                    <a:lnTo>
                      <a:pt x="275" y="537"/>
                    </a:lnTo>
                    <a:lnTo>
                      <a:pt x="277" y="543"/>
                    </a:lnTo>
                    <a:lnTo>
                      <a:pt x="277" y="544"/>
                    </a:lnTo>
                    <a:lnTo>
                      <a:pt x="277" y="543"/>
                    </a:lnTo>
                    <a:lnTo>
                      <a:pt x="278" y="541"/>
                    </a:lnTo>
                    <a:lnTo>
                      <a:pt x="280" y="540"/>
                    </a:lnTo>
                    <a:lnTo>
                      <a:pt x="280" y="538"/>
                    </a:lnTo>
                    <a:close/>
                    <a:moveTo>
                      <a:pt x="1500" y="524"/>
                    </a:moveTo>
                    <a:lnTo>
                      <a:pt x="1500" y="524"/>
                    </a:lnTo>
                    <a:lnTo>
                      <a:pt x="1498" y="526"/>
                    </a:lnTo>
                    <a:lnTo>
                      <a:pt x="1498" y="526"/>
                    </a:lnTo>
                    <a:lnTo>
                      <a:pt x="1500" y="526"/>
                    </a:lnTo>
                    <a:lnTo>
                      <a:pt x="1500" y="526"/>
                    </a:lnTo>
                    <a:lnTo>
                      <a:pt x="1500" y="526"/>
                    </a:lnTo>
                    <a:lnTo>
                      <a:pt x="1501" y="526"/>
                    </a:lnTo>
                    <a:lnTo>
                      <a:pt x="1501" y="524"/>
                    </a:lnTo>
                    <a:lnTo>
                      <a:pt x="1501" y="524"/>
                    </a:lnTo>
                    <a:lnTo>
                      <a:pt x="1500" y="524"/>
                    </a:lnTo>
                    <a:close/>
                    <a:moveTo>
                      <a:pt x="310" y="584"/>
                    </a:moveTo>
                    <a:lnTo>
                      <a:pt x="310" y="582"/>
                    </a:lnTo>
                    <a:lnTo>
                      <a:pt x="308" y="580"/>
                    </a:lnTo>
                    <a:lnTo>
                      <a:pt x="308" y="580"/>
                    </a:lnTo>
                    <a:lnTo>
                      <a:pt x="308" y="582"/>
                    </a:lnTo>
                    <a:lnTo>
                      <a:pt x="308" y="584"/>
                    </a:lnTo>
                    <a:lnTo>
                      <a:pt x="307" y="584"/>
                    </a:lnTo>
                    <a:lnTo>
                      <a:pt x="305" y="577"/>
                    </a:lnTo>
                    <a:lnTo>
                      <a:pt x="303" y="574"/>
                    </a:lnTo>
                    <a:lnTo>
                      <a:pt x="302" y="571"/>
                    </a:lnTo>
                    <a:lnTo>
                      <a:pt x="300" y="569"/>
                    </a:lnTo>
                    <a:lnTo>
                      <a:pt x="299" y="568"/>
                    </a:lnTo>
                    <a:lnTo>
                      <a:pt x="299" y="566"/>
                    </a:lnTo>
                    <a:lnTo>
                      <a:pt x="296" y="565"/>
                    </a:lnTo>
                    <a:lnTo>
                      <a:pt x="289" y="563"/>
                    </a:lnTo>
                    <a:lnTo>
                      <a:pt x="288" y="562"/>
                    </a:lnTo>
                    <a:lnTo>
                      <a:pt x="283" y="559"/>
                    </a:lnTo>
                    <a:lnTo>
                      <a:pt x="282" y="555"/>
                    </a:lnTo>
                    <a:lnTo>
                      <a:pt x="282" y="555"/>
                    </a:lnTo>
                    <a:lnTo>
                      <a:pt x="283" y="554"/>
                    </a:lnTo>
                    <a:lnTo>
                      <a:pt x="282" y="554"/>
                    </a:lnTo>
                    <a:lnTo>
                      <a:pt x="280" y="551"/>
                    </a:lnTo>
                    <a:lnTo>
                      <a:pt x="277" y="546"/>
                    </a:lnTo>
                    <a:lnTo>
                      <a:pt x="275" y="543"/>
                    </a:lnTo>
                    <a:lnTo>
                      <a:pt x="274" y="538"/>
                    </a:lnTo>
                    <a:lnTo>
                      <a:pt x="272" y="537"/>
                    </a:lnTo>
                    <a:lnTo>
                      <a:pt x="272" y="537"/>
                    </a:lnTo>
                    <a:lnTo>
                      <a:pt x="271" y="537"/>
                    </a:lnTo>
                    <a:lnTo>
                      <a:pt x="266" y="535"/>
                    </a:lnTo>
                    <a:lnTo>
                      <a:pt x="260" y="533"/>
                    </a:lnTo>
                    <a:lnTo>
                      <a:pt x="250" y="532"/>
                    </a:lnTo>
                    <a:lnTo>
                      <a:pt x="242" y="529"/>
                    </a:lnTo>
                    <a:lnTo>
                      <a:pt x="233" y="523"/>
                    </a:lnTo>
                    <a:lnTo>
                      <a:pt x="230" y="523"/>
                    </a:lnTo>
                    <a:lnTo>
                      <a:pt x="227" y="523"/>
                    </a:lnTo>
                    <a:lnTo>
                      <a:pt x="224" y="523"/>
                    </a:lnTo>
                    <a:lnTo>
                      <a:pt x="224" y="524"/>
                    </a:lnTo>
                    <a:lnTo>
                      <a:pt x="222" y="526"/>
                    </a:lnTo>
                    <a:lnTo>
                      <a:pt x="222" y="527"/>
                    </a:lnTo>
                    <a:lnTo>
                      <a:pt x="224" y="529"/>
                    </a:lnTo>
                    <a:lnTo>
                      <a:pt x="225" y="532"/>
                    </a:lnTo>
                    <a:lnTo>
                      <a:pt x="227" y="532"/>
                    </a:lnTo>
                    <a:lnTo>
                      <a:pt x="228" y="532"/>
                    </a:lnTo>
                    <a:lnTo>
                      <a:pt x="230" y="532"/>
                    </a:lnTo>
                    <a:lnTo>
                      <a:pt x="233" y="532"/>
                    </a:lnTo>
                    <a:lnTo>
                      <a:pt x="233" y="530"/>
                    </a:lnTo>
                    <a:lnTo>
                      <a:pt x="233" y="529"/>
                    </a:lnTo>
                    <a:lnTo>
                      <a:pt x="236" y="529"/>
                    </a:lnTo>
                    <a:lnTo>
                      <a:pt x="238" y="530"/>
                    </a:lnTo>
                    <a:lnTo>
                      <a:pt x="236" y="530"/>
                    </a:lnTo>
                    <a:lnTo>
                      <a:pt x="236" y="532"/>
                    </a:lnTo>
                    <a:lnTo>
                      <a:pt x="238" y="533"/>
                    </a:lnTo>
                    <a:lnTo>
                      <a:pt x="238" y="535"/>
                    </a:lnTo>
                    <a:lnTo>
                      <a:pt x="236" y="533"/>
                    </a:lnTo>
                    <a:lnTo>
                      <a:pt x="235" y="533"/>
                    </a:lnTo>
                    <a:lnTo>
                      <a:pt x="232" y="533"/>
                    </a:lnTo>
                    <a:lnTo>
                      <a:pt x="230" y="533"/>
                    </a:lnTo>
                    <a:lnTo>
                      <a:pt x="230" y="533"/>
                    </a:lnTo>
                    <a:lnTo>
                      <a:pt x="228" y="537"/>
                    </a:lnTo>
                    <a:lnTo>
                      <a:pt x="228" y="537"/>
                    </a:lnTo>
                    <a:lnTo>
                      <a:pt x="232" y="537"/>
                    </a:lnTo>
                    <a:lnTo>
                      <a:pt x="232" y="538"/>
                    </a:lnTo>
                    <a:lnTo>
                      <a:pt x="232" y="540"/>
                    </a:lnTo>
                    <a:lnTo>
                      <a:pt x="230" y="541"/>
                    </a:lnTo>
                    <a:lnTo>
                      <a:pt x="230" y="543"/>
                    </a:lnTo>
                    <a:lnTo>
                      <a:pt x="232" y="543"/>
                    </a:lnTo>
                    <a:lnTo>
                      <a:pt x="232" y="543"/>
                    </a:lnTo>
                    <a:lnTo>
                      <a:pt x="235" y="541"/>
                    </a:lnTo>
                    <a:lnTo>
                      <a:pt x="238" y="541"/>
                    </a:lnTo>
                    <a:lnTo>
                      <a:pt x="238" y="543"/>
                    </a:lnTo>
                    <a:lnTo>
                      <a:pt x="239" y="543"/>
                    </a:lnTo>
                    <a:lnTo>
                      <a:pt x="239" y="544"/>
                    </a:lnTo>
                    <a:lnTo>
                      <a:pt x="241" y="544"/>
                    </a:lnTo>
                    <a:lnTo>
                      <a:pt x="241" y="543"/>
                    </a:lnTo>
                    <a:lnTo>
                      <a:pt x="241" y="543"/>
                    </a:lnTo>
                    <a:lnTo>
                      <a:pt x="241" y="541"/>
                    </a:lnTo>
                    <a:lnTo>
                      <a:pt x="242" y="543"/>
                    </a:lnTo>
                    <a:lnTo>
                      <a:pt x="242" y="543"/>
                    </a:lnTo>
                    <a:lnTo>
                      <a:pt x="242" y="544"/>
                    </a:lnTo>
                    <a:lnTo>
                      <a:pt x="242" y="544"/>
                    </a:lnTo>
                    <a:lnTo>
                      <a:pt x="242" y="546"/>
                    </a:lnTo>
                    <a:lnTo>
                      <a:pt x="242" y="548"/>
                    </a:lnTo>
                    <a:lnTo>
                      <a:pt x="242" y="548"/>
                    </a:lnTo>
                    <a:lnTo>
                      <a:pt x="244" y="549"/>
                    </a:lnTo>
                    <a:lnTo>
                      <a:pt x="246" y="549"/>
                    </a:lnTo>
                    <a:lnTo>
                      <a:pt x="246" y="549"/>
                    </a:lnTo>
                    <a:lnTo>
                      <a:pt x="247" y="549"/>
                    </a:lnTo>
                    <a:lnTo>
                      <a:pt x="247" y="548"/>
                    </a:lnTo>
                    <a:lnTo>
                      <a:pt x="247" y="548"/>
                    </a:lnTo>
                    <a:lnTo>
                      <a:pt x="249" y="548"/>
                    </a:lnTo>
                    <a:lnTo>
                      <a:pt x="250" y="549"/>
                    </a:lnTo>
                    <a:lnTo>
                      <a:pt x="252" y="549"/>
                    </a:lnTo>
                    <a:lnTo>
                      <a:pt x="253" y="552"/>
                    </a:lnTo>
                    <a:lnTo>
                      <a:pt x="253" y="554"/>
                    </a:lnTo>
                    <a:lnTo>
                      <a:pt x="253" y="554"/>
                    </a:lnTo>
                    <a:lnTo>
                      <a:pt x="255" y="554"/>
                    </a:lnTo>
                    <a:lnTo>
                      <a:pt x="257" y="554"/>
                    </a:lnTo>
                    <a:lnTo>
                      <a:pt x="257" y="555"/>
                    </a:lnTo>
                    <a:lnTo>
                      <a:pt x="261" y="555"/>
                    </a:lnTo>
                    <a:lnTo>
                      <a:pt x="261" y="555"/>
                    </a:lnTo>
                    <a:lnTo>
                      <a:pt x="255" y="557"/>
                    </a:lnTo>
                    <a:lnTo>
                      <a:pt x="253" y="557"/>
                    </a:lnTo>
                    <a:lnTo>
                      <a:pt x="253" y="557"/>
                    </a:lnTo>
                    <a:lnTo>
                      <a:pt x="253" y="559"/>
                    </a:lnTo>
                    <a:lnTo>
                      <a:pt x="253" y="562"/>
                    </a:lnTo>
                    <a:lnTo>
                      <a:pt x="255" y="562"/>
                    </a:lnTo>
                    <a:lnTo>
                      <a:pt x="255" y="562"/>
                    </a:lnTo>
                    <a:lnTo>
                      <a:pt x="255" y="560"/>
                    </a:lnTo>
                    <a:lnTo>
                      <a:pt x="257" y="560"/>
                    </a:lnTo>
                    <a:lnTo>
                      <a:pt x="258" y="563"/>
                    </a:lnTo>
                    <a:lnTo>
                      <a:pt x="258" y="562"/>
                    </a:lnTo>
                    <a:lnTo>
                      <a:pt x="258" y="562"/>
                    </a:lnTo>
                    <a:lnTo>
                      <a:pt x="260" y="562"/>
                    </a:lnTo>
                    <a:lnTo>
                      <a:pt x="260" y="562"/>
                    </a:lnTo>
                    <a:lnTo>
                      <a:pt x="261" y="562"/>
                    </a:lnTo>
                    <a:lnTo>
                      <a:pt x="261" y="562"/>
                    </a:lnTo>
                    <a:lnTo>
                      <a:pt x="263" y="563"/>
                    </a:lnTo>
                    <a:lnTo>
                      <a:pt x="263" y="563"/>
                    </a:lnTo>
                    <a:lnTo>
                      <a:pt x="264" y="562"/>
                    </a:lnTo>
                    <a:lnTo>
                      <a:pt x="264" y="563"/>
                    </a:lnTo>
                    <a:lnTo>
                      <a:pt x="264" y="565"/>
                    </a:lnTo>
                    <a:lnTo>
                      <a:pt x="264" y="566"/>
                    </a:lnTo>
                    <a:lnTo>
                      <a:pt x="264" y="566"/>
                    </a:lnTo>
                    <a:lnTo>
                      <a:pt x="266" y="565"/>
                    </a:lnTo>
                    <a:lnTo>
                      <a:pt x="267" y="566"/>
                    </a:lnTo>
                    <a:lnTo>
                      <a:pt x="267" y="568"/>
                    </a:lnTo>
                    <a:lnTo>
                      <a:pt x="269" y="568"/>
                    </a:lnTo>
                    <a:lnTo>
                      <a:pt x="269" y="568"/>
                    </a:lnTo>
                    <a:lnTo>
                      <a:pt x="269" y="568"/>
                    </a:lnTo>
                    <a:lnTo>
                      <a:pt x="269" y="569"/>
                    </a:lnTo>
                    <a:lnTo>
                      <a:pt x="266" y="569"/>
                    </a:lnTo>
                    <a:lnTo>
                      <a:pt x="266" y="571"/>
                    </a:lnTo>
                    <a:lnTo>
                      <a:pt x="269" y="573"/>
                    </a:lnTo>
                    <a:lnTo>
                      <a:pt x="271" y="574"/>
                    </a:lnTo>
                    <a:lnTo>
                      <a:pt x="272" y="574"/>
                    </a:lnTo>
                    <a:lnTo>
                      <a:pt x="272" y="574"/>
                    </a:lnTo>
                    <a:lnTo>
                      <a:pt x="274" y="573"/>
                    </a:lnTo>
                    <a:lnTo>
                      <a:pt x="278" y="573"/>
                    </a:lnTo>
                    <a:lnTo>
                      <a:pt x="282" y="573"/>
                    </a:lnTo>
                    <a:lnTo>
                      <a:pt x="283" y="573"/>
                    </a:lnTo>
                    <a:lnTo>
                      <a:pt x="283" y="571"/>
                    </a:lnTo>
                    <a:lnTo>
                      <a:pt x="283" y="569"/>
                    </a:lnTo>
                    <a:lnTo>
                      <a:pt x="285" y="568"/>
                    </a:lnTo>
                    <a:lnTo>
                      <a:pt x="285" y="568"/>
                    </a:lnTo>
                    <a:lnTo>
                      <a:pt x="285" y="569"/>
                    </a:lnTo>
                    <a:lnTo>
                      <a:pt x="285" y="571"/>
                    </a:lnTo>
                    <a:lnTo>
                      <a:pt x="283" y="573"/>
                    </a:lnTo>
                    <a:lnTo>
                      <a:pt x="282" y="574"/>
                    </a:lnTo>
                    <a:lnTo>
                      <a:pt x="278" y="577"/>
                    </a:lnTo>
                    <a:lnTo>
                      <a:pt x="278" y="579"/>
                    </a:lnTo>
                    <a:lnTo>
                      <a:pt x="278" y="579"/>
                    </a:lnTo>
                    <a:lnTo>
                      <a:pt x="280" y="580"/>
                    </a:lnTo>
                    <a:lnTo>
                      <a:pt x="283" y="582"/>
                    </a:lnTo>
                    <a:lnTo>
                      <a:pt x="286" y="584"/>
                    </a:lnTo>
                    <a:lnTo>
                      <a:pt x="293" y="585"/>
                    </a:lnTo>
                    <a:lnTo>
                      <a:pt x="296" y="588"/>
                    </a:lnTo>
                    <a:lnTo>
                      <a:pt x="300" y="590"/>
                    </a:lnTo>
                    <a:lnTo>
                      <a:pt x="305" y="590"/>
                    </a:lnTo>
                    <a:lnTo>
                      <a:pt x="307" y="591"/>
                    </a:lnTo>
                    <a:lnTo>
                      <a:pt x="307" y="590"/>
                    </a:lnTo>
                    <a:lnTo>
                      <a:pt x="308" y="588"/>
                    </a:lnTo>
                    <a:lnTo>
                      <a:pt x="308" y="588"/>
                    </a:lnTo>
                    <a:lnTo>
                      <a:pt x="310" y="588"/>
                    </a:lnTo>
                    <a:lnTo>
                      <a:pt x="311" y="588"/>
                    </a:lnTo>
                    <a:lnTo>
                      <a:pt x="311" y="587"/>
                    </a:lnTo>
                    <a:lnTo>
                      <a:pt x="310" y="584"/>
                    </a:lnTo>
                    <a:close/>
                    <a:moveTo>
                      <a:pt x="1550" y="609"/>
                    </a:moveTo>
                    <a:lnTo>
                      <a:pt x="1550" y="607"/>
                    </a:lnTo>
                    <a:lnTo>
                      <a:pt x="1550" y="605"/>
                    </a:lnTo>
                    <a:lnTo>
                      <a:pt x="1550" y="605"/>
                    </a:lnTo>
                    <a:lnTo>
                      <a:pt x="1548" y="605"/>
                    </a:lnTo>
                    <a:lnTo>
                      <a:pt x="1548" y="607"/>
                    </a:lnTo>
                    <a:lnTo>
                      <a:pt x="1546" y="609"/>
                    </a:lnTo>
                    <a:lnTo>
                      <a:pt x="1545" y="610"/>
                    </a:lnTo>
                    <a:lnTo>
                      <a:pt x="1543" y="613"/>
                    </a:lnTo>
                    <a:lnTo>
                      <a:pt x="1542" y="613"/>
                    </a:lnTo>
                    <a:lnTo>
                      <a:pt x="1542" y="613"/>
                    </a:lnTo>
                    <a:lnTo>
                      <a:pt x="1542" y="612"/>
                    </a:lnTo>
                    <a:lnTo>
                      <a:pt x="1542" y="609"/>
                    </a:lnTo>
                    <a:lnTo>
                      <a:pt x="1542" y="605"/>
                    </a:lnTo>
                    <a:lnTo>
                      <a:pt x="1543" y="604"/>
                    </a:lnTo>
                    <a:lnTo>
                      <a:pt x="1545" y="599"/>
                    </a:lnTo>
                    <a:lnTo>
                      <a:pt x="1545" y="599"/>
                    </a:lnTo>
                    <a:lnTo>
                      <a:pt x="1546" y="596"/>
                    </a:lnTo>
                    <a:lnTo>
                      <a:pt x="1546" y="596"/>
                    </a:lnTo>
                    <a:lnTo>
                      <a:pt x="1546" y="596"/>
                    </a:lnTo>
                    <a:lnTo>
                      <a:pt x="1546" y="596"/>
                    </a:lnTo>
                    <a:lnTo>
                      <a:pt x="1543" y="598"/>
                    </a:lnTo>
                    <a:lnTo>
                      <a:pt x="1540" y="599"/>
                    </a:lnTo>
                    <a:lnTo>
                      <a:pt x="1536" y="605"/>
                    </a:lnTo>
                    <a:lnTo>
                      <a:pt x="1534" y="609"/>
                    </a:lnTo>
                    <a:lnTo>
                      <a:pt x="1532" y="609"/>
                    </a:lnTo>
                    <a:lnTo>
                      <a:pt x="1531" y="609"/>
                    </a:lnTo>
                    <a:lnTo>
                      <a:pt x="1531" y="607"/>
                    </a:lnTo>
                    <a:lnTo>
                      <a:pt x="1529" y="607"/>
                    </a:lnTo>
                    <a:lnTo>
                      <a:pt x="1529" y="605"/>
                    </a:lnTo>
                    <a:lnTo>
                      <a:pt x="1529" y="604"/>
                    </a:lnTo>
                    <a:lnTo>
                      <a:pt x="1532" y="601"/>
                    </a:lnTo>
                    <a:lnTo>
                      <a:pt x="1532" y="601"/>
                    </a:lnTo>
                    <a:lnTo>
                      <a:pt x="1534" y="599"/>
                    </a:lnTo>
                    <a:lnTo>
                      <a:pt x="1532" y="599"/>
                    </a:lnTo>
                    <a:lnTo>
                      <a:pt x="1531" y="599"/>
                    </a:lnTo>
                    <a:lnTo>
                      <a:pt x="1529" y="599"/>
                    </a:lnTo>
                    <a:lnTo>
                      <a:pt x="1531" y="598"/>
                    </a:lnTo>
                    <a:lnTo>
                      <a:pt x="1532" y="598"/>
                    </a:lnTo>
                    <a:lnTo>
                      <a:pt x="1532" y="598"/>
                    </a:lnTo>
                    <a:lnTo>
                      <a:pt x="1534" y="598"/>
                    </a:lnTo>
                    <a:lnTo>
                      <a:pt x="1536" y="596"/>
                    </a:lnTo>
                    <a:lnTo>
                      <a:pt x="1536" y="595"/>
                    </a:lnTo>
                    <a:lnTo>
                      <a:pt x="1534" y="595"/>
                    </a:lnTo>
                    <a:lnTo>
                      <a:pt x="1536" y="593"/>
                    </a:lnTo>
                    <a:lnTo>
                      <a:pt x="1537" y="591"/>
                    </a:lnTo>
                    <a:lnTo>
                      <a:pt x="1539" y="590"/>
                    </a:lnTo>
                    <a:lnTo>
                      <a:pt x="1539" y="590"/>
                    </a:lnTo>
                    <a:lnTo>
                      <a:pt x="1540" y="590"/>
                    </a:lnTo>
                    <a:lnTo>
                      <a:pt x="1542" y="590"/>
                    </a:lnTo>
                    <a:lnTo>
                      <a:pt x="1542" y="588"/>
                    </a:lnTo>
                    <a:lnTo>
                      <a:pt x="1543" y="587"/>
                    </a:lnTo>
                    <a:lnTo>
                      <a:pt x="1543" y="585"/>
                    </a:lnTo>
                    <a:lnTo>
                      <a:pt x="1545" y="584"/>
                    </a:lnTo>
                    <a:lnTo>
                      <a:pt x="1543" y="582"/>
                    </a:lnTo>
                    <a:lnTo>
                      <a:pt x="1543" y="582"/>
                    </a:lnTo>
                    <a:lnTo>
                      <a:pt x="1543" y="582"/>
                    </a:lnTo>
                    <a:lnTo>
                      <a:pt x="1542" y="582"/>
                    </a:lnTo>
                    <a:lnTo>
                      <a:pt x="1540" y="584"/>
                    </a:lnTo>
                    <a:lnTo>
                      <a:pt x="1540" y="585"/>
                    </a:lnTo>
                    <a:lnTo>
                      <a:pt x="1539" y="584"/>
                    </a:lnTo>
                    <a:lnTo>
                      <a:pt x="1537" y="585"/>
                    </a:lnTo>
                    <a:lnTo>
                      <a:pt x="1536" y="587"/>
                    </a:lnTo>
                    <a:lnTo>
                      <a:pt x="1534" y="585"/>
                    </a:lnTo>
                    <a:lnTo>
                      <a:pt x="1532" y="587"/>
                    </a:lnTo>
                    <a:lnTo>
                      <a:pt x="1531" y="587"/>
                    </a:lnTo>
                    <a:lnTo>
                      <a:pt x="1529" y="587"/>
                    </a:lnTo>
                    <a:lnTo>
                      <a:pt x="1528" y="588"/>
                    </a:lnTo>
                    <a:lnTo>
                      <a:pt x="1525" y="590"/>
                    </a:lnTo>
                    <a:lnTo>
                      <a:pt x="1525" y="588"/>
                    </a:lnTo>
                    <a:lnTo>
                      <a:pt x="1526" y="588"/>
                    </a:lnTo>
                    <a:lnTo>
                      <a:pt x="1529" y="587"/>
                    </a:lnTo>
                    <a:lnTo>
                      <a:pt x="1531" y="585"/>
                    </a:lnTo>
                    <a:lnTo>
                      <a:pt x="1531" y="584"/>
                    </a:lnTo>
                    <a:lnTo>
                      <a:pt x="1532" y="582"/>
                    </a:lnTo>
                    <a:lnTo>
                      <a:pt x="1532" y="582"/>
                    </a:lnTo>
                    <a:lnTo>
                      <a:pt x="1531" y="580"/>
                    </a:lnTo>
                    <a:lnTo>
                      <a:pt x="1529" y="582"/>
                    </a:lnTo>
                    <a:lnTo>
                      <a:pt x="1528" y="580"/>
                    </a:lnTo>
                    <a:lnTo>
                      <a:pt x="1528" y="580"/>
                    </a:lnTo>
                    <a:lnTo>
                      <a:pt x="1528" y="580"/>
                    </a:lnTo>
                    <a:lnTo>
                      <a:pt x="1529" y="579"/>
                    </a:lnTo>
                    <a:lnTo>
                      <a:pt x="1529" y="579"/>
                    </a:lnTo>
                    <a:lnTo>
                      <a:pt x="1529" y="577"/>
                    </a:lnTo>
                    <a:lnTo>
                      <a:pt x="1528" y="577"/>
                    </a:lnTo>
                    <a:lnTo>
                      <a:pt x="1525" y="579"/>
                    </a:lnTo>
                    <a:lnTo>
                      <a:pt x="1525" y="579"/>
                    </a:lnTo>
                    <a:lnTo>
                      <a:pt x="1529" y="576"/>
                    </a:lnTo>
                    <a:lnTo>
                      <a:pt x="1529" y="574"/>
                    </a:lnTo>
                    <a:lnTo>
                      <a:pt x="1531" y="574"/>
                    </a:lnTo>
                    <a:lnTo>
                      <a:pt x="1531" y="573"/>
                    </a:lnTo>
                    <a:lnTo>
                      <a:pt x="1531" y="573"/>
                    </a:lnTo>
                    <a:lnTo>
                      <a:pt x="1532" y="571"/>
                    </a:lnTo>
                    <a:lnTo>
                      <a:pt x="1534" y="569"/>
                    </a:lnTo>
                    <a:lnTo>
                      <a:pt x="1536" y="568"/>
                    </a:lnTo>
                    <a:lnTo>
                      <a:pt x="1534" y="566"/>
                    </a:lnTo>
                    <a:lnTo>
                      <a:pt x="1534" y="565"/>
                    </a:lnTo>
                    <a:lnTo>
                      <a:pt x="1531" y="563"/>
                    </a:lnTo>
                    <a:lnTo>
                      <a:pt x="1529" y="562"/>
                    </a:lnTo>
                    <a:lnTo>
                      <a:pt x="1528" y="562"/>
                    </a:lnTo>
                    <a:lnTo>
                      <a:pt x="1523" y="562"/>
                    </a:lnTo>
                    <a:lnTo>
                      <a:pt x="1521" y="562"/>
                    </a:lnTo>
                    <a:lnTo>
                      <a:pt x="1521" y="562"/>
                    </a:lnTo>
                    <a:lnTo>
                      <a:pt x="1520" y="562"/>
                    </a:lnTo>
                    <a:lnTo>
                      <a:pt x="1520" y="565"/>
                    </a:lnTo>
                    <a:lnTo>
                      <a:pt x="1518" y="563"/>
                    </a:lnTo>
                    <a:lnTo>
                      <a:pt x="1518" y="562"/>
                    </a:lnTo>
                    <a:lnTo>
                      <a:pt x="1518" y="560"/>
                    </a:lnTo>
                    <a:lnTo>
                      <a:pt x="1518" y="559"/>
                    </a:lnTo>
                    <a:lnTo>
                      <a:pt x="1518" y="559"/>
                    </a:lnTo>
                    <a:lnTo>
                      <a:pt x="1517" y="560"/>
                    </a:lnTo>
                    <a:lnTo>
                      <a:pt x="1515" y="562"/>
                    </a:lnTo>
                    <a:lnTo>
                      <a:pt x="1515" y="562"/>
                    </a:lnTo>
                    <a:lnTo>
                      <a:pt x="1514" y="563"/>
                    </a:lnTo>
                    <a:lnTo>
                      <a:pt x="1512" y="563"/>
                    </a:lnTo>
                    <a:lnTo>
                      <a:pt x="1510" y="565"/>
                    </a:lnTo>
                    <a:lnTo>
                      <a:pt x="1510" y="566"/>
                    </a:lnTo>
                    <a:lnTo>
                      <a:pt x="1509" y="566"/>
                    </a:lnTo>
                    <a:lnTo>
                      <a:pt x="1509" y="565"/>
                    </a:lnTo>
                    <a:lnTo>
                      <a:pt x="1509" y="565"/>
                    </a:lnTo>
                    <a:lnTo>
                      <a:pt x="1509" y="565"/>
                    </a:lnTo>
                    <a:lnTo>
                      <a:pt x="1506" y="566"/>
                    </a:lnTo>
                    <a:lnTo>
                      <a:pt x="1506" y="568"/>
                    </a:lnTo>
                    <a:lnTo>
                      <a:pt x="1506" y="568"/>
                    </a:lnTo>
                    <a:lnTo>
                      <a:pt x="1506" y="569"/>
                    </a:lnTo>
                    <a:lnTo>
                      <a:pt x="1506" y="569"/>
                    </a:lnTo>
                    <a:lnTo>
                      <a:pt x="1504" y="571"/>
                    </a:lnTo>
                    <a:lnTo>
                      <a:pt x="1503" y="571"/>
                    </a:lnTo>
                    <a:lnTo>
                      <a:pt x="1504" y="569"/>
                    </a:lnTo>
                    <a:lnTo>
                      <a:pt x="1504" y="568"/>
                    </a:lnTo>
                    <a:lnTo>
                      <a:pt x="1504" y="566"/>
                    </a:lnTo>
                    <a:lnTo>
                      <a:pt x="1506" y="563"/>
                    </a:lnTo>
                    <a:lnTo>
                      <a:pt x="1506" y="562"/>
                    </a:lnTo>
                    <a:lnTo>
                      <a:pt x="1506" y="560"/>
                    </a:lnTo>
                    <a:lnTo>
                      <a:pt x="1506" y="559"/>
                    </a:lnTo>
                    <a:lnTo>
                      <a:pt x="1504" y="559"/>
                    </a:lnTo>
                    <a:lnTo>
                      <a:pt x="1504" y="559"/>
                    </a:lnTo>
                    <a:lnTo>
                      <a:pt x="1504" y="562"/>
                    </a:lnTo>
                    <a:lnTo>
                      <a:pt x="1504" y="562"/>
                    </a:lnTo>
                    <a:lnTo>
                      <a:pt x="1503" y="563"/>
                    </a:lnTo>
                    <a:lnTo>
                      <a:pt x="1503" y="563"/>
                    </a:lnTo>
                    <a:lnTo>
                      <a:pt x="1503" y="562"/>
                    </a:lnTo>
                    <a:lnTo>
                      <a:pt x="1503" y="560"/>
                    </a:lnTo>
                    <a:lnTo>
                      <a:pt x="1503" y="560"/>
                    </a:lnTo>
                    <a:lnTo>
                      <a:pt x="1501" y="560"/>
                    </a:lnTo>
                    <a:lnTo>
                      <a:pt x="1498" y="562"/>
                    </a:lnTo>
                    <a:lnTo>
                      <a:pt x="1495" y="559"/>
                    </a:lnTo>
                    <a:lnTo>
                      <a:pt x="1492" y="560"/>
                    </a:lnTo>
                    <a:lnTo>
                      <a:pt x="1490" y="560"/>
                    </a:lnTo>
                    <a:lnTo>
                      <a:pt x="1493" y="557"/>
                    </a:lnTo>
                    <a:lnTo>
                      <a:pt x="1493" y="555"/>
                    </a:lnTo>
                    <a:lnTo>
                      <a:pt x="1495" y="555"/>
                    </a:lnTo>
                    <a:lnTo>
                      <a:pt x="1493" y="554"/>
                    </a:lnTo>
                    <a:lnTo>
                      <a:pt x="1492" y="555"/>
                    </a:lnTo>
                    <a:lnTo>
                      <a:pt x="1492" y="555"/>
                    </a:lnTo>
                    <a:lnTo>
                      <a:pt x="1490" y="555"/>
                    </a:lnTo>
                    <a:lnTo>
                      <a:pt x="1490" y="557"/>
                    </a:lnTo>
                    <a:lnTo>
                      <a:pt x="1492" y="554"/>
                    </a:lnTo>
                    <a:lnTo>
                      <a:pt x="1496" y="551"/>
                    </a:lnTo>
                    <a:lnTo>
                      <a:pt x="1500" y="549"/>
                    </a:lnTo>
                    <a:lnTo>
                      <a:pt x="1500" y="548"/>
                    </a:lnTo>
                    <a:lnTo>
                      <a:pt x="1501" y="546"/>
                    </a:lnTo>
                    <a:lnTo>
                      <a:pt x="1500" y="546"/>
                    </a:lnTo>
                    <a:lnTo>
                      <a:pt x="1498" y="546"/>
                    </a:lnTo>
                    <a:lnTo>
                      <a:pt x="1496" y="548"/>
                    </a:lnTo>
                    <a:lnTo>
                      <a:pt x="1495" y="546"/>
                    </a:lnTo>
                    <a:lnTo>
                      <a:pt x="1493" y="546"/>
                    </a:lnTo>
                    <a:lnTo>
                      <a:pt x="1490" y="546"/>
                    </a:lnTo>
                    <a:lnTo>
                      <a:pt x="1489" y="548"/>
                    </a:lnTo>
                    <a:lnTo>
                      <a:pt x="1489" y="548"/>
                    </a:lnTo>
                    <a:lnTo>
                      <a:pt x="1490" y="546"/>
                    </a:lnTo>
                    <a:lnTo>
                      <a:pt x="1490" y="544"/>
                    </a:lnTo>
                    <a:lnTo>
                      <a:pt x="1489" y="543"/>
                    </a:lnTo>
                    <a:lnTo>
                      <a:pt x="1489" y="543"/>
                    </a:lnTo>
                    <a:lnTo>
                      <a:pt x="1487" y="543"/>
                    </a:lnTo>
                    <a:lnTo>
                      <a:pt x="1487" y="546"/>
                    </a:lnTo>
                    <a:lnTo>
                      <a:pt x="1485" y="548"/>
                    </a:lnTo>
                    <a:lnTo>
                      <a:pt x="1484" y="549"/>
                    </a:lnTo>
                    <a:lnTo>
                      <a:pt x="1484" y="549"/>
                    </a:lnTo>
                    <a:lnTo>
                      <a:pt x="1481" y="552"/>
                    </a:lnTo>
                    <a:lnTo>
                      <a:pt x="1479" y="555"/>
                    </a:lnTo>
                    <a:lnTo>
                      <a:pt x="1478" y="557"/>
                    </a:lnTo>
                    <a:lnTo>
                      <a:pt x="1478" y="555"/>
                    </a:lnTo>
                    <a:lnTo>
                      <a:pt x="1478" y="554"/>
                    </a:lnTo>
                    <a:lnTo>
                      <a:pt x="1478" y="554"/>
                    </a:lnTo>
                    <a:lnTo>
                      <a:pt x="1478" y="552"/>
                    </a:lnTo>
                    <a:lnTo>
                      <a:pt x="1478" y="552"/>
                    </a:lnTo>
                    <a:lnTo>
                      <a:pt x="1478" y="551"/>
                    </a:lnTo>
                    <a:lnTo>
                      <a:pt x="1479" y="549"/>
                    </a:lnTo>
                    <a:lnTo>
                      <a:pt x="1479" y="549"/>
                    </a:lnTo>
                    <a:lnTo>
                      <a:pt x="1479" y="546"/>
                    </a:lnTo>
                    <a:lnTo>
                      <a:pt x="1479" y="546"/>
                    </a:lnTo>
                    <a:lnTo>
                      <a:pt x="1479" y="544"/>
                    </a:lnTo>
                    <a:lnTo>
                      <a:pt x="1482" y="540"/>
                    </a:lnTo>
                    <a:lnTo>
                      <a:pt x="1484" y="538"/>
                    </a:lnTo>
                    <a:lnTo>
                      <a:pt x="1484" y="537"/>
                    </a:lnTo>
                    <a:lnTo>
                      <a:pt x="1484" y="535"/>
                    </a:lnTo>
                    <a:lnTo>
                      <a:pt x="1485" y="535"/>
                    </a:lnTo>
                    <a:lnTo>
                      <a:pt x="1489" y="530"/>
                    </a:lnTo>
                    <a:lnTo>
                      <a:pt x="1490" y="529"/>
                    </a:lnTo>
                    <a:lnTo>
                      <a:pt x="1490" y="526"/>
                    </a:lnTo>
                    <a:lnTo>
                      <a:pt x="1490" y="526"/>
                    </a:lnTo>
                    <a:lnTo>
                      <a:pt x="1490" y="524"/>
                    </a:lnTo>
                    <a:lnTo>
                      <a:pt x="1493" y="523"/>
                    </a:lnTo>
                    <a:lnTo>
                      <a:pt x="1495" y="521"/>
                    </a:lnTo>
                    <a:lnTo>
                      <a:pt x="1495" y="518"/>
                    </a:lnTo>
                    <a:lnTo>
                      <a:pt x="1496" y="516"/>
                    </a:lnTo>
                    <a:lnTo>
                      <a:pt x="1496" y="515"/>
                    </a:lnTo>
                    <a:lnTo>
                      <a:pt x="1495" y="513"/>
                    </a:lnTo>
                    <a:lnTo>
                      <a:pt x="1495" y="513"/>
                    </a:lnTo>
                    <a:lnTo>
                      <a:pt x="1495" y="513"/>
                    </a:lnTo>
                    <a:lnTo>
                      <a:pt x="1495" y="513"/>
                    </a:lnTo>
                    <a:lnTo>
                      <a:pt x="1493" y="513"/>
                    </a:lnTo>
                    <a:lnTo>
                      <a:pt x="1492" y="513"/>
                    </a:lnTo>
                    <a:lnTo>
                      <a:pt x="1492" y="512"/>
                    </a:lnTo>
                    <a:lnTo>
                      <a:pt x="1492" y="512"/>
                    </a:lnTo>
                    <a:lnTo>
                      <a:pt x="1492" y="508"/>
                    </a:lnTo>
                    <a:lnTo>
                      <a:pt x="1493" y="508"/>
                    </a:lnTo>
                    <a:lnTo>
                      <a:pt x="1496" y="508"/>
                    </a:lnTo>
                    <a:lnTo>
                      <a:pt x="1498" y="508"/>
                    </a:lnTo>
                    <a:lnTo>
                      <a:pt x="1500" y="507"/>
                    </a:lnTo>
                    <a:lnTo>
                      <a:pt x="1500" y="505"/>
                    </a:lnTo>
                    <a:lnTo>
                      <a:pt x="1501" y="504"/>
                    </a:lnTo>
                    <a:lnTo>
                      <a:pt x="1501" y="502"/>
                    </a:lnTo>
                    <a:lnTo>
                      <a:pt x="1501" y="502"/>
                    </a:lnTo>
                    <a:lnTo>
                      <a:pt x="1501" y="502"/>
                    </a:lnTo>
                    <a:lnTo>
                      <a:pt x="1498" y="502"/>
                    </a:lnTo>
                    <a:lnTo>
                      <a:pt x="1496" y="502"/>
                    </a:lnTo>
                    <a:lnTo>
                      <a:pt x="1498" y="504"/>
                    </a:lnTo>
                    <a:lnTo>
                      <a:pt x="1498" y="505"/>
                    </a:lnTo>
                    <a:lnTo>
                      <a:pt x="1495" y="504"/>
                    </a:lnTo>
                    <a:lnTo>
                      <a:pt x="1493" y="502"/>
                    </a:lnTo>
                    <a:lnTo>
                      <a:pt x="1492" y="502"/>
                    </a:lnTo>
                    <a:lnTo>
                      <a:pt x="1489" y="505"/>
                    </a:lnTo>
                    <a:lnTo>
                      <a:pt x="1482" y="507"/>
                    </a:lnTo>
                    <a:lnTo>
                      <a:pt x="1481" y="508"/>
                    </a:lnTo>
                    <a:lnTo>
                      <a:pt x="1479" y="508"/>
                    </a:lnTo>
                    <a:lnTo>
                      <a:pt x="1479" y="510"/>
                    </a:lnTo>
                    <a:lnTo>
                      <a:pt x="1478" y="515"/>
                    </a:lnTo>
                    <a:lnTo>
                      <a:pt x="1478" y="515"/>
                    </a:lnTo>
                    <a:lnTo>
                      <a:pt x="1475" y="518"/>
                    </a:lnTo>
                    <a:lnTo>
                      <a:pt x="1475" y="518"/>
                    </a:lnTo>
                    <a:lnTo>
                      <a:pt x="1473" y="518"/>
                    </a:lnTo>
                    <a:lnTo>
                      <a:pt x="1475" y="519"/>
                    </a:lnTo>
                    <a:lnTo>
                      <a:pt x="1475" y="519"/>
                    </a:lnTo>
                    <a:lnTo>
                      <a:pt x="1473" y="523"/>
                    </a:lnTo>
                    <a:lnTo>
                      <a:pt x="1471" y="524"/>
                    </a:lnTo>
                    <a:lnTo>
                      <a:pt x="1470" y="526"/>
                    </a:lnTo>
                    <a:lnTo>
                      <a:pt x="1470" y="526"/>
                    </a:lnTo>
                    <a:lnTo>
                      <a:pt x="1470" y="527"/>
                    </a:lnTo>
                    <a:lnTo>
                      <a:pt x="1470" y="527"/>
                    </a:lnTo>
                    <a:lnTo>
                      <a:pt x="1470" y="529"/>
                    </a:lnTo>
                    <a:lnTo>
                      <a:pt x="1471" y="529"/>
                    </a:lnTo>
                    <a:lnTo>
                      <a:pt x="1470" y="529"/>
                    </a:lnTo>
                    <a:lnTo>
                      <a:pt x="1468" y="529"/>
                    </a:lnTo>
                    <a:lnTo>
                      <a:pt x="1468" y="530"/>
                    </a:lnTo>
                    <a:lnTo>
                      <a:pt x="1467" y="532"/>
                    </a:lnTo>
                    <a:lnTo>
                      <a:pt x="1467" y="533"/>
                    </a:lnTo>
                    <a:lnTo>
                      <a:pt x="1464" y="540"/>
                    </a:lnTo>
                    <a:lnTo>
                      <a:pt x="1462" y="544"/>
                    </a:lnTo>
                    <a:lnTo>
                      <a:pt x="1459" y="554"/>
                    </a:lnTo>
                    <a:lnTo>
                      <a:pt x="1457" y="555"/>
                    </a:lnTo>
                    <a:lnTo>
                      <a:pt x="1459" y="557"/>
                    </a:lnTo>
                    <a:lnTo>
                      <a:pt x="1460" y="559"/>
                    </a:lnTo>
                    <a:lnTo>
                      <a:pt x="1460" y="560"/>
                    </a:lnTo>
                    <a:lnTo>
                      <a:pt x="1459" y="560"/>
                    </a:lnTo>
                    <a:lnTo>
                      <a:pt x="1457" y="559"/>
                    </a:lnTo>
                    <a:lnTo>
                      <a:pt x="1456" y="559"/>
                    </a:lnTo>
                    <a:lnTo>
                      <a:pt x="1454" y="560"/>
                    </a:lnTo>
                    <a:lnTo>
                      <a:pt x="1454" y="562"/>
                    </a:lnTo>
                    <a:lnTo>
                      <a:pt x="1453" y="563"/>
                    </a:lnTo>
                    <a:lnTo>
                      <a:pt x="1453" y="565"/>
                    </a:lnTo>
                    <a:lnTo>
                      <a:pt x="1454" y="566"/>
                    </a:lnTo>
                    <a:lnTo>
                      <a:pt x="1456" y="566"/>
                    </a:lnTo>
                    <a:lnTo>
                      <a:pt x="1457" y="566"/>
                    </a:lnTo>
                    <a:lnTo>
                      <a:pt x="1457" y="568"/>
                    </a:lnTo>
                    <a:lnTo>
                      <a:pt x="1456" y="568"/>
                    </a:lnTo>
                    <a:lnTo>
                      <a:pt x="1456" y="571"/>
                    </a:lnTo>
                    <a:lnTo>
                      <a:pt x="1456" y="571"/>
                    </a:lnTo>
                    <a:lnTo>
                      <a:pt x="1456" y="573"/>
                    </a:lnTo>
                    <a:lnTo>
                      <a:pt x="1457" y="573"/>
                    </a:lnTo>
                    <a:lnTo>
                      <a:pt x="1457" y="573"/>
                    </a:lnTo>
                    <a:lnTo>
                      <a:pt x="1456" y="573"/>
                    </a:lnTo>
                    <a:lnTo>
                      <a:pt x="1454" y="571"/>
                    </a:lnTo>
                    <a:lnTo>
                      <a:pt x="1451" y="571"/>
                    </a:lnTo>
                    <a:lnTo>
                      <a:pt x="1451" y="569"/>
                    </a:lnTo>
                    <a:lnTo>
                      <a:pt x="1450" y="571"/>
                    </a:lnTo>
                    <a:lnTo>
                      <a:pt x="1448" y="573"/>
                    </a:lnTo>
                    <a:lnTo>
                      <a:pt x="1448" y="576"/>
                    </a:lnTo>
                    <a:lnTo>
                      <a:pt x="1445" y="579"/>
                    </a:lnTo>
                    <a:lnTo>
                      <a:pt x="1445" y="584"/>
                    </a:lnTo>
                    <a:lnTo>
                      <a:pt x="1445" y="584"/>
                    </a:lnTo>
                    <a:lnTo>
                      <a:pt x="1442" y="584"/>
                    </a:lnTo>
                    <a:lnTo>
                      <a:pt x="1442" y="584"/>
                    </a:lnTo>
                    <a:lnTo>
                      <a:pt x="1442" y="582"/>
                    </a:lnTo>
                    <a:lnTo>
                      <a:pt x="1442" y="580"/>
                    </a:lnTo>
                    <a:lnTo>
                      <a:pt x="1442" y="579"/>
                    </a:lnTo>
                    <a:lnTo>
                      <a:pt x="1442" y="579"/>
                    </a:lnTo>
                    <a:lnTo>
                      <a:pt x="1439" y="582"/>
                    </a:lnTo>
                    <a:lnTo>
                      <a:pt x="1437" y="585"/>
                    </a:lnTo>
                    <a:lnTo>
                      <a:pt x="1437" y="585"/>
                    </a:lnTo>
                    <a:lnTo>
                      <a:pt x="1440" y="585"/>
                    </a:lnTo>
                    <a:lnTo>
                      <a:pt x="1445" y="585"/>
                    </a:lnTo>
                    <a:lnTo>
                      <a:pt x="1446" y="585"/>
                    </a:lnTo>
                    <a:lnTo>
                      <a:pt x="1448" y="585"/>
                    </a:lnTo>
                    <a:lnTo>
                      <a:pt x="1451" y="585"/>
                    </a:lnTo>
                    <a:lnTo>
                      <a:pt x="1451" y="585"/>
                    </a:lnTo>
                    <a:lnTo>
                      <a:pt x="1448" y="588"/>
                    </a:lnTo>
                    <a:lnTo>
                      <a:pt x="1446" y="588"/>
                    </a:lnTo>
                    <a:lnTo>
                      <a:pt x="1445" y="591"/>
                    </a:lnTo>
                    <a:lnTo>
                      <a:pt x="1440" y="595"/>
                    </a:lnTo>
                    <a:lnTo>
                      <a:pt x="1434" y="599"/>
                    </a:lnTo>
                    <a:lnTo>
                      <a:pt x="1434" y="601"/>
                    </a:lnTo>
                    <a:lnTo>
                      <a:pt x="1432" y="602"/>
                    </a:lnTo>
                    <a:lnTo>
                      <a:pt x="1432" y="602"/>
                    </a:lnTo>
                    <a:lnTo>
                      <a:pt x="1434" y="605"/>
                    </a:lnTo>
                    <a:lnTo>
                      <a:pt x="1435" y="609"/>
                    </a:lnTo>
                    <a:lnTo>
                      <a:pt x="1435" y="610"/>
                    </a:lnTo>
                    <a:lnTo>
                      <a:pt x="1437" y="610"/>
                    </a:lnTo>
                    <a:lnTo>
                      <a:pt x="1440" y="610"/>
                    </a:lnTo>
                    <a:lnTo>
                      <a:pt x="1446" y="609"/>
                    </a:lnTo>
                    <a:lnTo>
                      <a:pt x="1448" y="609"/>
                    </a:lnTo>
                    <a:lnTo>
                      <a:pt x="1450" y="607"/>
                    </a:lnTo>
                    <a:lnTo>
                      <a:pt x="1451" y="607"/>
                    </a:lnTo>
                    <a:lnTo>
                      <a:pt x="1451" y="607"/>
                    </a:lnTo>
                    <a:lnTo>
                      <a:pt x="1451" y="607"/>
                    </a:lnTo>
                    <a:lnTo>
                      <a:pt x="1453" y="609"/>
                    </a:lnTo>
                    <a:lnTo>
                      <a:pt x="1459" y="607"/>
                    </a:lnTo>
                    <a:lnTo>
                      <a:pt x="1459" y="609"/>
                    </a:lnTo>
                    <a:lnTo>
                      <a:pt x="1462" y="609"/>
                    </a:lnTo>
                    <a:lnTo>
                      <a:pt x="1467" y="609"/>
                    </a:lnTo>
                    <a:lnTo>
                      <a:pt x="1475" y="610"/>
                    </a:lnTo>
                    <a:lnTo>
                      <a:pt x="1478" y="610"/>
                    </a:lnTo>
                    <a:lnTo>
                      <a:pt x="1479" y="610"/>
                    </a:lnTo>
                    <a:lnTo>
                      <a:pt x="1484" y="609"/>
                    </a:lnTo>
                    <a:lnTo>
                      <a:pt x="1485" y="609"/>
                    </a:lnTo>
                    <a:lnTo>
                      <a:pt x="1487" y="609"/>
                    </a:lnTo>
                    <a:lnTo>
                      <a:pt x="1489" y="609"/>
                    </a:lnTo>
                    <a:lnTo>
                      <a:pt x="1489" y="605"/>
                    </a:lnTo>
                    <a:lnTo>
                      <a:pt x="1490" y="605"/>
                    </a:lnTo>
                    <a:lnTo>
                      <a:pt x="1490" y="605"/>
                    </a:lnTo>
                    <a:lnTo>
                      <a:pt x="1492" y="605"/>
                    </a:lnTo>
                    <a:lnTo>
                      <a:pt x="1493" y="605"/>
                    </a:lnTo>
                    <a:lnTo>
                      <a:pt x="1495" y="604"/>
                    </a:lnTo>
                    <a:lnTo>
                      <a:pt x="1495" y="605"/>
                    </a:lnTo>
                    <a:lnTo>
                      <a:pt x="1495" y="610"/>
                    </a:lnTo>
                    <a:lnTo>
                      <a:pt x="1490" y="612"/>
                    </a:lnTo>
                    <a:lnTo>
                      <a:pt x="1490" y="612"/>
                    </a:lnTo>
                    <a:lnTo>
                      <a:pt x="1490" y="612"/>
                    </a:lnTo>
                    <a:lnTo>
                      <a:pt x="1495" y="612"/>
                    </a:lnTo>
                    <a:lnTo>
                      <a:pt x="1495" y="612"/>
                    </a:lnTo>
                    <a:lnTo>
                      <a:pt x="1496" y="612"/>
                    </a:lnTo>
                    <a:lnTo>
                      <a:pt x="1500" y="613"/>
                    </a:lnTo>
                    <a:lnTo>
                      <a:pt x="1501" y="613"/>
                    </a:lnTo>
                    <a:lnTo>
                      <a:pt x="1501" y="613"/>
                    </a:lnTo>
                    <a:lnTo>
                      <a:pt x="1501" y="612"/>
                    </a:lnTo>
                    <a:lnTo>
                      <a:pt x="1503" y="612"/>
                    </a:lnTo>
                    <a:lnTo>
                      <a:pt x="1503" y="609"/>
                    </a:lnTo>
                    <a:lnTo>
                      <a:pt x="1503" y="609"/>
                    </a:lnTo>
                    <a:lnTo>
                      <a:pt x="1506" y="609"/>
                    </a:lnTo>
                    <a:lnTo>
                      <a:pt x="1509" y="609"/>
                    </a:lnTo>
                    <a:lnTo>
                      <a:pt x="1509" y="609"/>
                    </a:lnTo>
                    <a:lnTo>
                      <a:pt x="1510" y="609"/>
                    </a:lnTo>
                    <a:lnTo>
                      <a:pt x="1512" y="609"/>
                    </a:lnTo>
                    <a:lnTo>
                      <a:pt x="1514" y="609"/>
                    </a:lnTo>
                    <a:lnTo>
                      <a:pt x="1514" y="609"/>
                    </a:lnTo>
                    <a:lnTo>
                      <a:pt x="1512" y="610"/>
                    </a:lnTo>
                    <a:lnTo>
                      <a:pt x="1510" y="612"/>
                    </a:lnTo>
                    <a:lnTo>
                      <a:pt x="1506" y="613"/>
                    </a:lnTo>
                    <a:lnTo>
                      <a:pt x="1503" y="618"/>
                    </a:lnTo>
                    <a:lnTo>
                      <a:pt x="1503" y="620"/>
                    </a:lnTo>
                    <a:lnTo>
                      <a:pt x="1501" y="621"/>
                    </a:lnTo>
                    <a:lnTo>
                      <a:pt x="1500" y="623"/>
                    </a:lnTo>
                    <a:lnTo>
                      <a:pt x="1496" y="623"/>
                    </a:lnTo>
                    <a:lnTo>
                      <a:pt x="1495" y="623"/>
                    </a:lnTo>
                    <a:lnTo>
                      <a:pt x="1493" y="624"/>
                    </a:lnTo>
                    <a:lnTo>
                      <a:pt x="1493" y="626"/>
                    </a:lnTo>
                    <a:lnTo>
                      <a:pt x="1493" y="626"/>
                    </a:lnTo>
                    <a:lnTo>
                      <a:pt x="1493" y="627"/>
                    </a:lnTo>
                    <a:lnTo>
                      <a:pt x="1493" y="627"/>
                    </a:lnTo>
                    <a:lnTo>
                      <a:pt x="1495" y="629"/>
                    </a:lnTo>
                    <a:lnTo>
                      <a:pt x="1495" y="629"/>
                    </a:lnTo>
                    <a:lnTo>
                      <a:pt x="1498" y="629"/>
                    </a:lnTo>
                    <a:lnTo>
                      <a:pt x="1500" y="627"/>
                    </a:lnTo>
                    <a:lnTo>
                      <a:pt x="1501" y="627"/>
                    </a:lnTo>
                    <a:lnTo>
                      <a:pt x="1503" y="627"/>
                    </a:lnTo>
                    <a:lnTo>
                      <a:pt x="1504" y="627"/>
                    </a:lnTo>
                    <a:lnTo>
                      <a:pt x="1504" y="627"/>
                    </a:lnTo>
                    <a:lnTo>
                      <a:pt x="1507" y="624"/>
                    </a:lnTo>
                    <a:lnTo>
                      <a:pt x="1507" y="623"/>
                    </a:lnTo>
                    <a:lnTo>
                      <a:pt x="1507" y="621"/>
                    </a:lnTo>
                    <a:lnTo>
                      <a:pt x="1512" y="615"/>
                    </a:lnTo>
                    <a:lnTo>
                      <a:pt x="1514" y="615"/>
                    </a:lnTo>
                    <a:lnTo>
                      <a:pt x="1514" y="615"/>
                    </a:lnTo>
                    <a:lnTo>
                      <a:pt x="1515" y="615"/>
                    </a:lnTo>
                    <a:lnTo>
                      <a:pt x="1517" y="613"/>
                    </a:lnTo>
                    <a:lnTo>
                      <a:pt x="1518" y="612"/>
                    </a:lnTo>
                    <a:lnTo>
                      <a:pt x="1518" y="612"/>
                    </a:lnTo>
                    <a:lnTo>
                      <a:pt x="1517" y="615"/>
                    </a:lnTo>
                    <a:lnTo>
                      <a:pt x="1517" y="615"/>
                    </a:lnTo>
                    <a:lnTo>
                      <a:pt x="1518" y="615"/>
                    </a:lnTo>
                    <a:lnTo>
                      <a:pt x="1518" y="615"/>
                    </a:lnTo>
                    <a:lnTo>
                      <a:pt x="1520" y="613"/>
                    </a:lnTo>
                    <a:lnTo>
                      <a:pt x="1520" y="610"/>
                    </a:lnTo>
                    <a:lnTo>
                      <a:pt x="1523" y="605"/>
                    </a:lnTo>
                    <a:lnTo>
                      <a:pt x="1523" y="604"/>
                    </a:lnTo>
                    <a:lnTo>
                      <a:pt x="1523" y="602"/>
                    </a:lnTo>
                    <a:lnTo>
                      <a:pt x="1526" y="604"/>
                    </a:lnTo>
                    <a:lnTo>
                      <a:pt x="1528" y="605"/>
                    </a:lnTo>
                    <a:lnTo>
                      <a:pt x="1528" y="609"/>
                    </a:lnTo>
                    <a:lnTo>
                      <a:pt x="1529" y="612"/>
                    </a:lnTo>
                    <a:lnTo>
                      <a:pt x="1529" y="613"/>
                    </a:lnTo>
                    <a:lnTo>
                      <a:pt x="1529" y="613"/>
                    </a:lnTo>
                    <a:lnTo>
                      <a:pt x="1529" y="615"/>
                    </a:lnTo>
                    <a:lnTo>
                      <a:pt x="1528" y="618"/>
                    </a:lnTo>
                    <a:lnTo>
                      <a:pt x="1526" y="623"/>
                    </a:lnTo>
                    <a:lnTo>
                      <a:pt x="1525" y="626"/>
                    </a:lnTo>
                    <a:lnTo>
                      <a:pt x="1525" y="627"/>
                    </a:lnTo>
                    <a:lnTo>
                      <a:pt x="1525" y="629"/>
                    </a:lnTo>
                    <a:lnTo>
                      <a:pt x="1525" y="629"/>
                    </a:lnTo>
                    <a:lnTo>
                      <a:pt x="1525" y="629"/>
                    </a:lnTo>
                    <a:lnTo>
                      <a:pt x="1526" y="631"/>
                    </a:lnTo>
                    <a:lnTo>
                      <a:pt x="1526" y="629"/>
                    </a:lnTo>
                    <a:lnTo>
                      <a:pt x="1529" y="627"/>
                    </a:lnTo>
                    <a:lnTo>
                      <a:pt x="1531" y="624"/>
                    </a:lnTo>
                    <a:lnTo>
                      <a:pt x="1532" y="623"/>
                    </a:lnTo>
                    <a:lnTo>
                      <a:pt x="1534" y="621"/>
                    </a:lnTo>
                    <a:lnTo>
                      <a:pt x="1534" y="621"/>
                    </a:lnTo>
                    <a:lnTo>
                      <a:pt x="1534" y="621"/>
                    </a:lnTo>
                    <a:lnTo>
                      <a:pt x="1534" y="623"/>
                    </a:lnTo>
                    <a:lnTo>
                      <a:pt x="1534" y="624"/>
                    </a:lnTo>
                    <a:lnTo>
                      <a:pt x="1534" y="626"/>
                    </a:lnTo>
                    <a:lnTo>
                      <a:pt x="1534" y="627"/>
                    </a:lnTo>
                    <a:lnTo>
                      <a:pt x="1534" y="634"/>
                    </a:lnTo>
                    <a:lnTo>
                      <a:pt x="1534" y="635"/>
                    </a:lnTo>
                    <a:lnTo>
                      <a:pt x="1534" y="635"/>
                    </a:lnTo>
                    <a:lnTo>
                      <a:pt x="1536" y="635"/>
                    </a:lnTo>
                    <a:lnTo>
                      <a:pt x="1539" y="632"/>
                    </a:lnTo>
                    <a:lnTo>
                      <a:pt x="1539" y="632"/>
                    </a:lnTo>
                    <a:lnTo>
                      <a:pt x="1540" y="632"/>
                    </a:lnTo>
                    <a:lnTo>
                      <a:pt x="1540" y="634"/>
                    </a:lnTo>
                    <a:lnTo>
                      <a:pt x="1540" y="634"/>
                    </a:lnTo>
                    <a:lnTo>
                      <a:pt x="1542" y="634"/>
                    </a:lnTo>
                    <a:lnTo>
                      <a:pt x="1543" y="634"/>
                    </a:lnTo>
                    <a:lnTo>
                      <a:pt x="1543" y="634"/>
                    </a:lnTo>
                    <a:lnTo>
                      <a:pt x="1543" y="632"/>
                    </a:lnTo>
                    <a:lnTo>
                      <a:pt x="1545" y="631"/>
                    </a:lnTo>
                    <a:lnTo>
                      <a:pt x="1546" y="626"/>
                    </a:lnTo>
                    <a:lnTo>
                      <a:pt x="1546" y="624"/>
                    </a:lnTo>
                    <a:lnTo>
                      <a:pt x="1546" y="624"/>
                    </a:lnTo>
                    <a:lnTo>
                      <a:pt x="1546" y="623"/>
                    </a:lnTo>
                    <a:lnTo>
                      <a:pt x="1550" y="615"/>
                    </a:lnTo>
                    <a:lnTo>
                      <a:pt x="1551" y="613"/>
                    </a:lnTo>
                    <a:lnTo>
                      <a:pt x="1551" y="612"/>
                    </a:lnTo>
                    <a:lnTo>
                      <a:pt x="1550" y="609"/>
                    </a:lnTo>
                    <a:close/>
                    <a:moveTo>
                      <a:pt x="230" y="501"/>
                    </a:moveTo>
                    <a:lnTo>
                      <a:pt x="228" y="499"/>
                    </a:lnTo>
                    <a:lnTo>
                      <a:pt x="228" y="499"/>
                    </a:lnTo>
                    <a:lnTo>
                      <a:pt x="228" y="499"/>
                    </a:lnTo>
                    <a:lnTo>
                      <a:pt x="225" y="499"/>
                    </a:lnTo>
                    <a:lnTo>
                      <a:pt x="225" y="501"/>
                    </a:lnTo>
                    <a:lnTo>
                      <a:pt x="225" y="501"/>
                    </a:lnTo>
                    <a:lnTo>
                      <a:pt x="227" y="504"/>
                    </a:lnTo>
                    <a:lnTo>
                      <a:pt x="227" y="505"/>
                    </a:lnTo>
                    <a:lnTo>
                      <a:pt x="228" y="505"/>
                    </a:lnTo>
                    <a:lnTo>
                      <a:pt x="230" y="505"/>
                    </a:lnTo>
                    <a:lnTo>
                      <a:pt x="230" y="505"/>
                    </a:lnTo>
                    <a:lnTo>
                      <a:pt x="230" y="504"/>
                    </a:lnTo>
                    <a:lnTo>
                      <a:pt x="230" y="502"/>
                    </a:lnTo>
                    <a:lnTo>
                      <a:pt x="230" y="501"/>
                    </a:lnTo>
                    <a:close/>
                    <a:moveTo>
                      <a:pt x="1503" y="491"/>
                    </a:moveTo>
                    <a:lnTo>
                      <a:pt x="1503" y="491"/>
                    </a:lnTo>
                    <a:lnTo>
                      <a:pt x="1503" y="493"/>
                    </a:lnTo>
                    <a:lnTo>
                      <a:pt x="1503" y="493"/>
                    </a:lnTo>
                    <a:lnTo>
                      <a:pt x="1503" y="493"/>
                    </a:lnTo>
                    <a:lnTo>
                      <a:pt x="1504" y="493"/>
                    </a:lnTo>
                    <a:lnTo>
                      <a:pt x="1504" y="490"/>
                    </a:lnTo>
                    <a:lnTo>
                      <a:pt x="1503" y="491"/>
                    </a:lnTo>
                    <a:close/>
                    <a:moveTo>
                      <a:pt x="1084" y="488"/>
                    </a:moveTo>
                    <a:lnTo>
                      <a:pt x="1082" y="488"/>
                    </a:lnTo>
                    <a:lnTo>
                      <a:pt x="1077" y="490"/>
                    </a:lnTo>
                    <a:lnTo>
                      <a:pt x="1077" y="491"/>
                    </a:lnTo>
                    <a:lnTo>
                      <a:pt x="1079" y="491"/>
                    </a:lnTo>
                    <a:lnTo>
                      <a:pt x="1081" y="491"/>
                    </a:lnTo>
                    <a:lnTo>
                      <a:pt x="1082" y="491"/>
                    </a:lnTo>
                    <a:lnTo>
                      <a:pt x="1082" y="491"/>
                    </a:lnTo>
                    <a:lnTo>
                      <a:pt x="1082" y="490"/>
                    </a:lnTo>
                    <a:lnTo>
                      <a:pt x="1082" y="490"/>
                    </a:lnTo>
                    <a:lnTo>
                      <a:pt x="1084" y="488"/>
                    </a:lnTo>
                    <a:lnTo>
                      <a:pt x="1084" y="488"/>
                    </a:lnTo>
                    <a:close/>
                    <a:moveTo>
                      <a:pt x="174" y="487"/>
                    </a:moveTo>
                    <a:lnTo>
                      <a:pt x="174" y="487"/>
                    </a:lnTo>
                    <a:lnTo>
                      <a:pt x="174" y="487"/>
                    </a:lnTo>
                    <a:lnTo>
                      <a:pt x="174" y="490"/>
                    </a:lnTo>
                    <a:lnTo>
                      <a:pt x="174" y="491"/>
                    </a:lnTo>
                    <a:lnTo>
                      <a:pt x="175" y="491"/>
                    </a:lnTo>
                    <a:lnTo>
                      <a:pt x="175" y="491"/>
                    </a:lnTo>
                    <a:lnTo>
                      <a:pt x="175" y="488"/>
                    </a:lnTo>
                    <a:lnTo>
                      <a:pt x="174" y="487"/>
                    </a:lnTo>
                    <a:close/>
                    <a:moveTo>
                      <a:pt x="222" y="468"/>
                    </a:moveTo>
                    <a:lnTo>
                      <a:pt x="221" y="471"/>
                    </a:lnTo>
                    <a:lnTo>
                      <a:pt x="221" y="474"/>
                    </a:lnTo>
                    <a:lnTo>
                      <a:pt x="221" y="476"/>
                    </a:lnTo>
                    <a:lnTo>
                      <a:pt x="221" y="477"/>
                    </a:lnTo>
                    <a:lnTo>
                      <a:pt x="221" y="477"/>
                    </a:lnTo>
                    <a:lnTo>
                      <a:pt x="221" y="479"/>
                    </a:lnTo>
                    <a:lnTo>
                      <a:pt x="222" y="479"/>
                    </a:lnTo>
                    <a:lnTo>
                      <a:pt x="222" y="479"/>
                    </a:lnTo>
                    <a:lnTo>
                      <a:pt x="222" y="477"/>
                    </a:lnTo>
                    <a:lnTo>
                      <a:pt x="224" y="474"/>
                    </a:lnTo>
                    <a:lnTo>
                      <a:pt x="224" y="469"/>
                    </a:lnTo>
                    <a:lnTo>
                      <a:pt x="224" y="468"/>
                    </a:lnTo>
                    <a:lnTo>
                      <a:pt x="222" y="468"/>
                    </a:lnTo>
                    <a:close/>
                    <a:moveTo>
                      <a:pt x="211" y="472"/>
                    </a:moveTo>
                    <a:lnTo>
                      <a:pt x="211" y="471"/>
                    </a:lnTo>
                    <a:lnTo>
                      <a:pt x="208" y="468"/>
                    </a:lnTo>
                    <a:lnTo>
                      <a:pt x="207" y="468"/>
                    </a:lnTo>
                    <a:lnTo>
                      <a:pt x="207" y="466"/>
                    </a:lnTo>
                    <a:lnTo>
                      <a:pt x="207" y="468"/>
                    </a:lnTo>
                    <a:lnTo>
                      <a:pt x="207" y="468"/>
                    </a:lnTo>
                    <a:lnTo>
                      <a:pt x="207" y="469"/>
                    </a:lnTo>
                    <a:lnTo>
                      <a:pt x="208" y="472"/>
                    </a:lnTo>
                    <a:lnTo>
                      <a:pt x="210" y="474"/>
                    </a:lnTo>
                    <a:lnTo>
                      <a:pt x="211" y="477"/>
                    </a:lnTo>
                    <a:lnTo>
                      <a:pt x="211" y="476"/>
                    </a:lnTo>
                    <a:lnTo>
                      <a:pt x="211" y="472"/>
                    </a:lnTo>
                    <a:close/>
                    <a:moveTo>
                      <a:pt x="205" y="460"/>
                    </a:moveTo>
                    <a:lnTo>
                      <a:pt x="203" y="457"/>
                    </a:lnTo>
                    <a:lnTo>
                      <a:pt x="202" y="457"/>
                    </a:lnTo>
                    <a:lnTo>
                      <a:pt x="202" y="455"/>
                    </a:lnTo>
                    <a:lnTo>
                      <a:pt x="202" y="457"/>
                    </a:lnTo>
                    <a:lnTo>
                      <a:pt x="202" y="458"/>
                    </a:lnTo>
                    <a:lnTo>
                      <a:pt x="202" y="458"/>
                    </a:lnTo>
                    <a:lnTo>
                      <a:pt x="203" y="460"/>
                    </a:lnTo>
                    <a:lnTo>
                      <a:pt x="203" y="462"/>
                    </a:lnTo>
                    <a:lnTo>
                      <a:pt x="205" y="462"/>
                    </a:lnTo>
                    <a:lnTo>
                      <a:pt x="205" y="462"/>
                    </a:lnTo>
                    <a:lnTo>
                      <a:pt x="205" y="460"/>
                    </a:lnTo>
                    <a:close/>
                    <a:moveTo>
                      <a:pt x="1057" y="463"/>
                    </a:moveTo>
                    <a:lnTo>
                      <a:pt x="1056" y="460"/>
                    </a:lnTo>
                    <a:lnTo>
                      <a:pt x="1051" y="455"/>
                    </a:lnTo>
                    <a:lnTo>
                      <a:pt x="1048" y="455"/>
                    </a:lnTo>
                    <a:lnTo>
                      <a:pt x="1038" y="455"/>
                    </a:lnTo>
                    <a:lnTo>
                      <a:pt x="1037" y="457"/>
                    </a:lnTo>
                    <a:lnTo>
                      <a:pt x="1037" y="457"/>
                    </a:lnTo>
                    <a:lnTo>
                      <a:pt x="1035" y="460"/>
                    </a:lnTo>
                    <a:lnTo>
                      <a:pt x="1035" y="462"/>
                    </a:lnTo>
                    <a:lnTo>
                      <a:pt x="1038" y="463"/>
                    </a:lnTo>
                    <a:lnTo>
                      <a:pt x="1048" y="466"/>
                    </a:lnTo>
                    <a:lnTo>
                      <a:pt x="1051" y="468"/>
                    </a:lnTo>
                    <a:lnTo>
                      <a:pt x="1052" y="468"/>
                    </a:lnTo>
                    <a:lnTo>
                      <a:pt x="1057" y="469"/>
                    </a:lnTo>
                    <a:lnTo>
                      <a:pt x="1059" y="469"/>
                    </a:lnTo>
                    <a:lnTo>
                      <a:pt x="1059" y="468"/>
                    </a:lnTo>
                    <a:lnTo>
                      <a:pt x="1059" y="466"/>
                    </a:lnTo>
                    <a:lnTo>
                      <a:pt x="1057" y="463"/>
                    </a:lnTo>
                    <a:close/>
                    <a:moveTo>
                      <a:pt x="174" y="482"/>
                    </a:moveTo>
                    <a:lnTo>
                      <a:pt x="171" y="482"/>
                    </a:lnTo>
                    <a:lnTo>
                      <a:pt x="171" y="482"/>
                    </a:lnTo>
                    <a:lnTo>
                      <a:pt x="171" y="482"/>
                    </a:lnTo>
                    <a:lnTo>
                      <a:pt x="171" y="479"/>
                    </a:lnTo>
                    <a:lnTo>
                      <a:pt x="171" y="479"/>
                    </a:lnTo>
                    <a:lnTo>
                      <a:pt x="171" y="479"/>
                    </a:lnTo>
                    <a:lnTo>
                      <a:pt x="169" y="479"/>
                    </a:lnTo>
                    <a:lnTo>
                      <a:pt x="167" y="479"/>
                    </a:lnTo>
                    <a:lnTo>
                      <a:pt x="167" y="477"/>
                    </a:lnTo>
                    <a:lnTo>
                      <a:pt x="166" y="474"/>
                    </a:lnTo>
                    <a:lnTo>
                      <a:pt x="166" y="472"/>
                    </a:lnTo>
                    <a:lnTo>
                      <a:pt x="167" y="469"/>
                    </a:lnTo>
                    <a:lnTo>
                      <a:pt x="164" y="469"/>
                    </a:lnTo>
                    <a:lnTo>
                      <a:pt x="163" y="468"/>
                    </a:lnTo>
                    <a:lnTo>
                      <a:pt x="161" y="466"/>
                    </a:lnTo>
                    <a:lnTo>
                      <a:pt x="160" y="465"/>
                    </a:lnTo>
                    <a:lnTo>
                      <a:pt x="158" y="465"/>
                    </a:lnTo>
                    <a:lnTo>
                      <a:pt x="160" y="465"/>
                    </a:lnTo>
                    <a:lnTo>
                      <a:pt x="160" y="465"/>
                    </a:lnTo>
                    <a:lnTo>
                      <a:pt x="161" y="465"/>
                    </a:lnTo>
                    <a:lnTo>
                      <a:pt x="164" y="463"/>
                    </a:lnTo>
                    <a:lnTo>
                      <a:pt x="164" y="462"/>
                    </a:lnTo>
                    <a:lnTo>
                      <a:pt x="164" y="458"/>
                    </a:lnTo>
                    <a:lnTo>
                      <a:pt x="163" y="455"/>
                    </a:lnTo>
                    <a:lnTo>
                      <a:pt x="161" y="455"/>
                    </a:lnTo>
                    <a:lnTo>
                      <a:pt x="160" y="455"/>
                    </a:lnTo>
                    <a:lnTo>
                      <a:pt x="158" y="455"/>
                    </a:lnTo>
                    <a:lnTo>
                      <a:pt x="158" y="457"/>
                    </a:lnTo>
                    <a:lnTo>
                      <a:pt x="155" y="457"/>
                    </a:lnTo>
                    <a:lnTo>
                      <a:pt x="152" y="457"/>
                    </a:lnTo>
                    <a:lnTo>
                      <a:pt x="149" y="457"/>
                    </a:lnTo>
                    <a:lnTo>
                      <a:pt x="149" y="457"/>
                    </a:lnTo>
                    <a:lnTo>
                      <a:pt x="149" y="458"/>
                    </a:lnTo>
                    <a:lnTo>
                      <a:pt x="150" y="460"/>
                    </a:lnTo>
                    <a:lnTo>
                      <a:pt x="155" y="462"/>
                    </a:lnTo>
                    <a:lnTo>
                      <a:pt x="155" y="463"/>
                    </a:lnTo>
                    <a:lnTo>
                      <a:pt x="153" y="463"/>
                    </a:lnTo>
                    <a:lnTo>
                      <a:pt x="153" y="463"/>
                    </a:lnTo>
                    <a:lnTo>
                      <a:pt x="153" y="465"/>
                    </a:lnTo>
                    <a:lnTo>
                      <a:pt x="153" y="465"/>
                    </a:lnTo>
                    <a:lnTo>
                      <a:pt x="155" y="468"/>
                    </a:lnTo>
                    <a:lnTo>
                      <a:pt x="156" y="469"/>
                    </a:lnTo>
                    <a:lnTo>
                      <a:pt x="161" y="474"/>
                    </a:lnTo>
                    <a:lnTo>
                      <a:pt x="164" y="477"/>
                    </a:lnTo>
                    <a:lnTo>
                      <a:pt x="166" y="479"/>
                    </a:lnTo>
                    <a:lnTo>
                      <a:pt x="166" y="480"/>
                    </a:lnTo>
                    <a:lnTo>
                      <a:pt x="167" y="483"/>
                    </a:lnTo>
                    <a:lnTo>
                      <a:pt x="172" y="487"/>
                    </a:lnTo>
                    <a:lnTo>
                      <a:pt x="174" y="483"/>
                    </a:lnTo>
                    <a:lnTo>
                      <a:pt x="174" y="482"/>
                    </a:lnTo>
                    <a:close/>
                    <a:moveTo>
                      <a:pt x="219" y="463"/>
                    </a:moveTo>
                    <a:lnTo>
                      <a:pt x="217" y="458"/>
                    </a:lnTo>
                    <a:lnTo>
                      <a:pt x="216" y="457"/>
                    </a:lnTo>
                    <a:lnTo>
                      <a:pt x="213" y="455"/>
                    </a:lnTo>
                    <a:lnTo>
                      <a:pt x="211" y="454"/>
                    </a:lnTo>
                    <a:lnTo>
                      <a:pt x="210" y="454"/>
                    </a:lnTo>
                    <a:lnTo>
                      <a:pt x="210" y="454"/>
                    </a:lnTo>
                    <a:lnTo>
                      <a:pt x="210" y="457"/>
                    </a:lnTo>
                    <a:lnTo>
                      <a:pt x="208" y="458"/>
                    </a:lnTo>
                    <a:lnTo>
                      <a:pt x="208" y="462"/>
                    </a:lnTo>
                    <a:lnTo>
                      <a:pt x="208" y="462"/>
                    </a:lnTo>
                    <a:lnTo>
                      <a:pt x="208" y="463"/>
                    </a:lnTo>
                    <a:lnTo>
                      <a:pt x="210" y="465"/>
                    </a:lnTo>
                    <a:lnTo>
                      <a:pt x="210" y="466"/>
                    </a:lnTo>
                    <a:lnTo>
                      <a:pt x="210" y="468"/>
                    </a:lnTo>
                    <a:lnTo>
                      <a:pt x="213" y="471"/>
                    </a:lnTo>
                    <a:lnTo>
                      <a:pt x="214" y="471"/>
                    </a:lnTo>
                    <a:lnTo>
                      <a:pt x="214" y="469"/>
                    </a:lnTo>
                    <a:lnTo>
                      <a:pt x="214" y="468"/>
                    </a:lnTo>
                    <a:lnTo>
                      <a:pt x="214" y="472"/>
                    </a:lnTo>
                    <a:lnTo>
                      <a:pt x="214" y="474"/>
                    </a:lnTo>
                    <a:lnTo>
                      <a:pt x="216" y="477"/>
                    </a:lnTo>
                    <a:lnTo>
                      <a:pt x="216" y="480"/>
                    </a:lnTo>
                    <a:lnTo>
                      <a:pt x="216" y="482"/>
                    </a:lnTo>
                    <a:lnTo>
                      <a:pt x="217" y="480"/>
                    </a:lnTo>
                    <a:lnTo>
                      <a:pt x="217" y="477"/>
                    </a:lnTo>
                    <a:lnTo>
                      <a:pt x="219" y="476"/>
                    </a:lnTo>
                    <a:lnTo>
                      <a:pt x="219" y="472"/>
                    </a:lnTo>
                    <a:lnTo>
                      <a:pt x="219" y="463"/>
                    </a:lnTo>
                    <a:close/>
                    <a:moveTo>
                      <a:pt x="208" y="454"/>
                    </a:moveTo>
                    <a:lnTo>
                      <a:pt x="207" y="452"/>
                    </a:lnTo>
                    <a:lnTo>
                      <a:pt x="207" y="452"/>
                    </a:lnTo>
                    <a:lnTo>
                      <a:pt x="207" y="452"/>
                    </a:lnTo>
                    <a:lnTo>
                      <a:pt x="207" y="454"/>
                    </a:lnTo>
                    <a:lnTo>
                      <a:pt x="205" y="455"/>
                    </a:lnTo>
                    <a:lnTo>
                      <a:pt x="205" y="457"/>
                    </a:lnTo>
                    <a:lnTo>
                      <a:pt x="205" y="457"/>
                    </a:lnTo>
                    <a:lnTo>
                      <a:pt x="205" y="458"/>
                    </a:lnTo>
                    <a:lnTo>
                      <a:pt x="207" y="458"/>
                    </a:lnTo>
                    <a:lnTo>
                      <a:pt x="208" y="458"/>
                    </a:lnTo>
                    <a:lnTo>
                      <a:pt x="208" y="458"/>
                    </a:lnTo>
                    <a:lnTo>
                      <a:pt x="208" y="454"/>
                    </a:lnTo>
                    <a:close/>
                    <a:moveTo>
                      <a:pt x="1071" y="451"/>
                    </a:moveTo>
                    <a:lnTo>
                      <a:pt x="1070" y="451"/>
                    </a:lnTo>
                    <a:lnTo>
                      <a:pt x="1070" y="452"/>
                    </a:lnTo>
                    <a:lnTo>
                      <a:pt x="1070" y="452"/>
                    </a:lnTo>
                    <a:lnTo>
                      <a:pt x="1070" y="452"/>
                    </a:lnTo>
                    <a:lnTo>
                      <a:pt x="1071" y="454"/>
                    </a:lnTo>
                    <a:lnTo>
                      <a:pt x="1071" y="454"/>
                    </a:lnTo>
                    <a:lnTo>
                      <a:pt x="1071" y="452"/>
                    </a:lnTo>
                    <a:lnTo>
                      <a:pt x="1071" y="451"/>
                    </a:lnTo>
                    <a:close/>
                    <a:moveTo>
                      <a:pt x="194" y="449"/>
                    </a:moveTo>
                    <a:lnTo>
                      <a:pt x="192" y="447"/>
                    </a:lnTo>
                    <a:lnTo>
                      <a:pt x="189" y="446"/>
                    </a:lnTo>
                    <a:lnTo>
                      <a:pt x="186" y="443"/>
                    </a:lnTo>
                    <a:lnTo>
                      <a:pt x="185" y="443"/>
                    </a:lnTo>
                    <a:lnTo>
                      <a:pt x="185" y="446"/>
                    </a:lnTo>
                    <a:lnTo>
                      <a:pt x="186" y="447"/>
                    </a:lnTo>
                    <a:lnTo>
                      <a:pt x="188" y="449"/>
                    </a:lnTo>
                    <a:lnTo>
                      <a:pt x="191" y="451"/>
                    </a:lnTo>
                    <a:lnTo>
                      <a:pt x="194" y="457"/>
                    </a:lnTo>
                    <a:lnTo>
                      <a:pt x="196" y="457"/>
                    </a:lnTo>
                    <a:lnTo>
                      <a:pt x="196" y="457"/>
                    </a:lnTo>
                    <a:lnTo>
                      <a:pt x="197" y="455"/>
                    </a:lnTo>
                    <a:lnTo>
                      <a:pt x="197" y="454"/>
                    </a:lnTo>
                    <a:lnTo>
                      <a:pt x="194" y="449"/>
                    </a:lnTo>
                    <a:close/>
                    <a:moveTo>
                      <a:pt x="188" y="430"/>
                    </a:moveTo>
                    <a:lnTo>
                      <a:pt x="188" y="430"/>
                    </a:lnTo>
                    <a:lnTo>
                      <a:pt x="186" y="429"/>
                    </a:lnTo>
                    <a:lnTo>
                      <a:pt x="185" y="429"/>
                    </a:lnTo>
                    <a:lnTo>
                      <a:pt x="185" y="430"/>
                    </a:lnTo>
                    <a:lnTo>
                      <a:pt x="182" y="432"/>
                    </a:lnTo>
                    <a:lnTo>
                      <a:pt x="182" y="433"/>
                    </a:lnTo>
                    <a:lnTo>
                      <a:pt x="180" y="435"/>
                    </a:lnTo>
                    <a:lnTo>
                      <a:pt x="182" y="435"/>
                    </a:lnTo>
                    <a:lnTo>
                      <a:pt x="182" y="436"/>
                    </a:lnTo>
                    <a:lnTo>
                      <a:pt x="182" y="436"/>
                    </a:lnTo>
                    <a:lnTo>
                      <a:pt x="182" y="436"/>
                    </a:lnTo>
                    <a:lnTo>
                      <a:pt x="182" y="436"/>
                    </a:lnTo>
                    <a:lnTo>
                      <a:pt x="182" y="435"/>
                    </a:lnTo>
                    <a:lnTo>
                      <a:pt x="182" y="435"/>
                    </a:lnTo>
                    <a:lnTo>
                      <a:pt x="182" y="433"/>
                    </a:lnTo>
                    <a:lnTo>
                      <a:pt x="183" y="433"/>
                    </a:lnTo>
                    <a:lnTo>
                      <a:pt x="183" y="435"/>
                    </a:lnTo>
                    <a:lnTo>
                      <a:pt x="185" y="436"/>
                    </a:lnTo>
                    <a:lnTo>
                      <a:pt x="186" y="436"/>
                    </a:lnTo>
                    <a:lnTo>
                      <a:pt x="186" y="436"/>
                    </a:lnTo>
                    <a:lnTo>
                      <a:pt x="188" y="436"/>
                    </a:lnTo>
                    <a:lnTo>
                      <a:pt x="188" y="435"/>
                    </a:lnTo>
                    <a:lnTo>
                      <a:pt x="189" y="433"/>
                    </a:lnTo>
                    <a:lnTo>
                      <a:pt x="188" y="430"/>
                    </a:lnTo>
                    <a:close/>
                    <a:moveTo>
                      <a:pt x="163" y="427"/>
                    </a:moveTo>
                    <a:lnTo>
                      <a:pt x="161" y="430"/>
                    </a:lnTo>
                    <a:lnTo>
                      <a:pt x="160" y="430"/>
                    </a:lnTo>
                    <a:lnTo>
                      <a:pt x="155" y="430"/>
                    </a:lnTo>
                    <a:lnTo>
                      <a:pt x="155" y="432"/>
                    </a:lnTo>
                    <a:lnTo>
                      <a:pt x="156" y="435"/>
                    </a:lnTo>
                    <a:lnTo>
                      <a:pt x="156" y="436"/>
                    </a:lnTo>
                    <a:lnTo>
                      <a:pt x="155" y="438"/>
                    </a:lnTo>
                    <a:lnTo>
                      <a:pt x="155" y="441"/>
                    </a:lnTo>
                    <a:lnTo>
                      <a:pt x="155" y="441"/>
                    </a:lnTo>
                    <a:lnTo>
                      <a:pt x="150" y="443"/>
                    </a:lnTo>
                    <a:lnTo>
                      <a:pt x="149" y="443"/>
                    </a:lnTo>
                    <a:lnTo>
                      <a:pt x="149" y="441"/>
                    </a:lnTo>
                    <a:lnTo>
                      <a:pt x="149" y="441"/>
                    </a:lnTo>
                    <a:lnTo>
                      <a:pt x="149" y="441"/>
                    </a:lnTo>
                    <a:lnTo>
                      <a:pt x="155" y="438"/>
                    </a:lnTo>
                    <a:lnTo>
                      <a:pt x="155" y="436"/>
                    </a:lnTo>
                    <a:lnTo>
                      <a:pt x="155" y="435"/>
                    </a:lnTo>
                    <a:lnTo>
                      <a:pt x="155" y="433"/>
                    </a:lnTo>
                    <a:lnTo>
                      <a:pt x="155" y="432"/>
                    </a:lnTo>
                    <a:lnTo>
                      <a:pt x="153" y="430"/>
                    </a:lnTo>
                    <a:lnTo>
                      <a:pt x="153" y="429"/>
                    </a:lnTo>
                    <a:lnTo>
                      <a:pt x="152" y="429"/>
                    </a:lnTo>
                    <a:lnTo>
                      <a:pt x="149" y="430"/>
                    </a:lnTo>
                    <a:lnTo>
                      <a:pt x="147" y="429"/>
                    </a:lnTo>
                    <a:lnTo>
                      <a:pt x="142" y="427"/>
                    </a:lnTo>
                    <a:lnTo>
                      <a:pt x="141" y="427"/>
                    </a:lnTo>
                    <a:lnTo>
                      <a:pt x="139" y="427"/>
                    </a:lnTo>
                    <a:lnTo>
                      <a:pt x="139" y="427"/>
                    </a:lnTo>
                    <a:lnTo>
                      <a:pt x="139" y="432"/>
                    </a:lnTo>
                    <a:lnTo>
                      <a:pt x="139" y="435"/>
                    </a:lnTo>
                    <a:lnTo>
                      <a:pt x="139" y="436"/>
                    </a:lnTo>
                    <a:lnTo>
                      <a:pt x="139" y="438"/>
                    </a:lnTo>
                    <a:lnTo>
                      <a:pt x="142" y="443"/>
                    </a:lnTo>
                    <a:lnTo>
                      <a:pt x="142" y="444"/>
                    </a:lnTo>
                    <a:lnTo>
                      <a:pt x="142" y="444"/>
                    </a:lnTo>
                    <a:lnTo>
                      <a:pt x="142" y="446"/>
                    </a:lnTo>
                    <a:lnTo>
                      <a:pt x="146" y="447"/>
                    </a:lnTo>
                    <a:lnTo>
                      <a:pt x="150" y="451"/>
                    </a:lnTo>
                    <a:lnTo>
                      <a:pt x="150" y="452"/>
                    </a:lnTo>
                    <a:lnTo>
                      <a:pt x="150" y="452"/>
                    </a:lnTo>
                    <a:lnTo>
                      <a:pt x="149" y="451"/>
                    </a:lnTo>
                    <a:lnTo>
                      <a:pt x="147" y="451"/>
                    </a:lnTo>
                    <a:lnTo>
                      <a:pt x="146" y="451"/>
                    </a:lnTo>
                    <a:lnTo>
                      <a:pt x="146" y="452"/>
                    </a:lnTo>
                    <a:lnTo>
                      <a:pt x="146" y="454"/>
                    </a:lnTo>
                    <a:lnTo>
                      <a:pt x="149" y="455"/>
                    </a:lnTo>
                    <a:lnTo>
                      <a:pt x="152" y="455"/>
                    </a:lnTo>
                    <a:lnTo>
                      <a:pt x="158" y="454"/>
                    </a:lnTo>
                    <a:lnTo>
                      <a:pt x="158" y="452"/>
                    </a:lnTo>
                    <a:lnTo>
                      <a:pt x="160" y="451"/>
                    </a:lnTo>
                    <a:lnTo>
                      <a:pt x="160" y="444"/>
                    </a:lnTo>
                    <a:lnTo>
                      <a:pt x="160" y="441"/>
                    </a:lnTo>
                    <a:lnTo>
                      <a:pt x="161" y="436"/>
                    </a:lnTo>
                    <a:lnTo>
                      <a:pt x="163" y="432"/>
                    </a:lnTo>
                    <a:lnTo>
                      <a:pt x="163" y="432"/>
                    </a:lnTo>
                    <a:lnTo>
                      <a:pt x="164" y="427"/>
                    </a:lnTo>
                    <a:lnTo>
                      <a:pt x="163" y="427"/>
                    </a:lnTo>
                    <a:close/>
                    <a:moveTo>
                      <a:pt x="180" y="413"/>
                    </a:moveTo>
                    <a:lnTo>
                      <a:pt x="180" y="413"/>
                    </a:lnTo>
                    <a:lnTo>
                      <a:pt x="177" y="413"/>
                    </a:lnTo>
                    <a:lnTo>
                      <a:pt x="177" y="413"/>
                    </a:lnTo>
                    <a:lnTo>
                      <a:pt x="177" y="416"/>
                    </a:lnTo>
                    <a:lnTo>
                      <a:pt x="177" y="418"/>
                    </a:lnTo>
                    <a:lnTo>
                      <a:pt x="177" y="418"/>
                    </a:lnTo>
                    <a:lnTo>
                      <a:pt x="177" y="418"/>
                    </a:lnTo>
                    <a:lnTo>
                      <a:pt x="178" y="416"/>
                    </a:lnTo>
                    <a:lnTo>
                      <a:pt x="180" y="415"/>
                    </a:lnTo>
                    <a:lnTo>
                      <a:pt x="180" y="415"/>
                    </a:lnTo>
                    <a:lnTo>
                      <a:pt x="180" y="413"/>
                    </a:lnTo>
                    <a:close/>
                    <a:moveTo>
                      <a:pt x="189" y="400"/>
                    </a:moveTo>
                    <a:lnTo>
                      <a:pt x="188" y="404"/>
                    </a:lnTo>
                    <a:lnTo>
                      <a:pt x="185" y="407"/>
                    </a:lnTo>
                    <a:lnTo>
                      <a:pt x="183" y="408"/>
                    </a:lnTo>
                    <a:lnTo>
                      <a:pt x="183" y="410"/>
                    </a:lnTo>
                    <a:lnTo>
                      <a:pt x="188" y="407"/>
                    </a:lnTo>
                    <a:lnTo>
                      <a:pt x="189" y="404"/>
                    </a:lnTo>
                    <a:lnTo>
                      <a:pt x="189" y="400"/>
                    </a:lnTo>
                    <a:close/>
                    <a:moveTo>
                      <a:pt x="1406" y="368"/>
                    </a:moveTo>
                    <a:lnTo>
                      <a:pt x="1404" y="368"/>
                    </a:lnTo>
                    <a:lnTo>
                      <a:pt x="1403" y="366"/>
                    </a:lnTo>
                    <a:lnTo>
                      <a:pt x="1403" y="366"/>
                    </a:lnTo>
                    <a:lnTo>
                      <a:pt x="1401" y="368"/>
                    </a:lnTo>
                    <a:lnTo>
                      <a:pt x="1401" y="368"/>
                    </a:lnTo>
                    <a:lnTo>
                      <a:pt x="1401" y="369"/>
                    </a:lnTo>
                    <a:lnTo>
                      <a:pt x="1401" y="369"/>
                    </a:lnTo>
                    <a:lnTo>
                      <a:pt x="1401" y="369"/>
                    </a:lnTo>
                    <a:lnTo>
                      <a:pt x="1404" y="371"/>
                    </a:lnTo>
                    <a:lnTo>
                      <a:pt x="1404" y="369"/>
                    </a:lnTo>
                    <a:lnTo>
                      <a:pt x="1406" y="368"/>
                    </a:lnTo>
                    <a:close/>
                    <a:moveTo>
                      <a:pt x="1095" y="357"/>
                    </a:moveTo>
                    <a:lnTo>
                      <a:pt x="1093" y="357"/>
                    </a:lnTo>
                    <a:lnTo>
                      <a:pt x="1093" y="358"/>
                    </a:lnTo>
                    <a:lnTo>
                      <a:pt x="1091" y="358"/>
                    </a:lnTo>
                    <a:lnTo>
                      <a:pt x="1091" y="360"/>
                    </a:lnTo>
                    <a:lnTo>
                      <a:pt x="1091" y="361"/>
                    </a:lnTo>
                    <a:lnTo>
                      <a:pt x="1091" y="363"/>
                    </a:lnTo>
                    <a:lnTo>
                      <a:pt x="1090" y="366"/>
                    </a:lnTo>
                    <a:lnTo>
                      <a:pt x="1090" y="366"/>
                    </a:lnTo>
                    <a:lnTo>
                      <a:pt x="1090" y="366"/>
                    </a:lnTo>
                    <a:lnTo>
                      <a:pt x="1091" y="366"/>
                    </a:lnTo>
                    <a:lnTo>
                      <a:pt x="1093" y="366"/>
                    </a:lnTo>
                    <a:lnTo>
                      <a:pt x="1093" y="364"/>
                    </a:lnTo>
                    <a:lnTo>
                      <a:pt x="1095" y="363"/>
                    </a:lnTo>
                    <a:lnTo>
                      <a:pt x="1095" y="361"/>
                    </a:lnTo>
                    <a:lnTo>
                      <a:pt x="1095" y="357"/>
                    </a:lnTo>
                    <a:close/>
                    <a:moveTo>
                      <a:pt x="1077" y="357"/>
                    </a:moveTo>
                    <a:lnTo>
                      <a:pt x="1076" y="358"/>
                    </a:lnTo>
                    <a:lnTo>
                      <a:pt x="1076" y="358"/>
                    </a:lnTo>
                    <a:lnTo>
                      <a:pt x="1074" y="358"/>
                    </a:lnTo>
                    <a:lnTo>
                      <a:pt x="1073" y="360"/>
                    </a:lnTo>
                    <a:lnTo>
                      <a:pt x="1073" y="360"/>
                    </a:lnTo>
                    <a:lnTo>
                      <a:pt x="1071" y="361"/>
                    </a:lnTo>
                    <a:lnTo>
                      <a:pt x="1070" y="361"/>
                    </a:lnTo>
                    <a:lnTo>
                      <a:pt x="1070" y="364"/>
                    </a:lnTo>
                    <a:lnTo>
                      <a:pt x="1070" y="364"/>
                    </a:lnTo>
                    <a:lnTo>
                      <a:pt x="1071" y="364"/>
                    </a:lnTo>
                    <a:lnTo>
                      <a:pt x="1076" y="360"/>
                    </a:lnTo>
                    <a:lnTo>
                      <a:pt x="1077" y="358"/>
                    </a:lnTo>
                    <a:lnTo>
                      <a:pt x="1077" y="357"/>
                    </a:lnTo>
                    <a:lnTo>
                      <a:pt x="1077" y="357"/>
                    </a:lnTo>
                    <a:close/>
                    <a:moveTo>
                      <a:pt x="1090" y="360"/>
                    </a:moveTo>
                    <a:lnTo>
                      <a:pt x="1090" y="360"/>
                    </a:lnTo>
                    <a:lnTo>
                      <a:pt x="1090" y="360"/>
                    </a:lnTo>
                    <a:lnTo>
                      <a:pt x="1088" y="358"/>
                    </a:lnTo>
                    <a:lnTo>
                      <a:pt x="1088" y="357"/>
                    </a:lnTo>
                    <a:lnTo>
                      <a:pt x="1087" y="357"/>
                    </a:lnTo>
                    <a:lnTo>
                      <a:pt x="1087" y="355"/>
                    </a:lnTo>
                    <a:lnTo>
                      <a:pt x="1087" y="355"/>
                    </a:lnTo>
                    <a:lnTo>
                      <a:pt x="1085" y="354"/>
                    </a:lnTo>
                    <a:lnTo>
                      <a:pt x="1085" y="354"/>
                    </a:lnTo>
                    <a:lnTo>
                      <a:pt x="1084" y="354"/>
                    </a:lnTo>
                    <a:lnTo>
                      <a:pt x="1084" y="352"/>
                    </a:lnTo>
                    <a:lnTo>
                      <a:pt x="1084" y="352"/>
                    </a:lnTo>
                    <a:lnTo>
                      <a:pt x="1084" y="357"/>
                    </a:lnTo>
                    <a:lnTo>
                      <a:pt x="1082" y="358"/>
                    </a:lnTo>
                    <a:lnTo>
                      <a:pt x="1082" y="361"/>
                    </a:lnTo>
                    <a:lnTo>
                      <a:pt x="1081" y="364"/>
                    </a:lnTo>
                    <a:lnTo>
                      <a:pt x="1079" y="364"/>
                    </a:lnTo>
                    <a:lnTo>
                      <a:pt x="1079" y="364"/>
                    </a:lnTo>
                    <a:lnTo>
                      <a:pt x="1079" y="363"/>
                    </a:lnTo>
                    <a:lnTo>
                      <a:pt x="1081" y="361"/>
                    </a:lnTo>
                    <a:lnTo>
                      <a:pt x="1081" y="357"/>
                    </a:lnTo>
                    <a:lnTo>
                      <a:pt x="1081" y="355"/>
                    </a:lnTo>
                    <a:lnTo>
                      <a:pt x="1081" y="354"/>
                    </a:lnTo>
                    <a:lnTo>
                      <a:pt x="1081" y="354"/>
                    </a:lnTo>
                    <a:lnTo>
                      <a:pt x="1081" y="354"/>
                    </a:lnTo>
                    <a:lnTo>
                      <a:pt x="1081" y="357"/>
                    </a:lnTo>
                    <a:lnTo>
                      <a:pt x="1081" y="358"/>
                    </a:lnTo>
                    <a:lnTo>
                      <a:pt x="1079" y="360"/>
                    </a:lnTo>
                    <a:lnTo>
                      <a:pt x="1077" y="363"/>
                    </a:lnTo>
                    <a:lnTo>
                      <a:pt x="1074" y="368"/>
                    </a:lnTo>
                    <a:lnTo>
                      <a:pt x="1071" y="372"/>
                    </a:lnTo>
                    <a:lnTo>
                      <a:pt x="1071" y="374"/>
                    </a:lnTo>
                    <a:lnTo>
                      <a:pt x="1071" y="374"/>
                    </a:lnTo>
                    <a:lnTo>
                      <a:pt x="1073" y="375"/>
                    </a:lnTo>
                    <a:lnTo>
                      <a:pt x="1074" y="372"/>
                    </a:lnTo>
                    <a:lnTo>
                      <a:pt x="1079" y="368"/>
                    </a:lnTo>
                    <a:lnTo>
                      <a:pt x="1079" y="366"/>
                    </a:lnTo>
                    <a:lnTo>
                      <a:pt x="1079" y="368"/>
                    </a:lnTo>
                    <a:lnTo>
                      <a:pt x="1079" y="368"/>
                    </a:lnTo>
                    <a:lnTo>
                      <a:pt x="1074" y="377"/>
                    </a:lnTo>
                    <a:lnTo>
                      <a:pt x="1077" y="375"/>
                    </a:lnTo>
                    <a:lnTo>
                      <a:pt x="1079" y="375"/>
                    </a:lnTo>
                    <a:lnTo>
                      <a:pt x="1079" y="375"/>
                    </a:lnTo>
                    <a:lnTo>
                      <a:pt x="1081" y="374"/>
                    </a:lnTo>
                    <a:lnTo>
                      <a:pt x="1081" y="372"/>
                    </a:lnTo>
                    <a:lnTo>
                      <a:pt x="1084" y="366"/>
                    </a:lnTo>
                    <a:lnTo>
                      <a:pt x="1085" y="364"/>
                    </a:lnTo>
                    <a:lnTo>
                      <a:pt x="1085" y="364"/>
                    </a:lnTo>
                    <a:lnTo>
                      <a:pt x="1085" y="366"/>
                    </a:lnTo>
                    <a:lnTo>
                      <a:pt x="1085" y="366"/>
                    </a:lnTo>
                    <a:lnTo>
                      <a:pt x="1084" y="374"/>
                    </a:lnTo>
                    <a:lnTo>
                      <a:pt x="1084" y="374"/>
                    </a:lnTo>
                    <a:lnTo>
                      <a:pt x="1085" y="374"/>
                    </a:lnTo>
                    <a:lnTo>
                      <a:pt x="1087" y="369"/>
                    </a:lnTo>
                    <a:lnTo>
                      <a:pt x="1088" y="366"/>
                    </a:lnTo>
                    <a:lnTo>
                      <a:pt x="1090" y="363"/>
                    </a:lnTo>
                    <a:lnTo>
                      <a:pt x="1090" y="361"/>
                    </a:lnTo>
                    <a:lnTo>
                      <a:pt x="1090" y="360"/>
                    </a:lnTo>
                    <a:close/>
                    <a:moveTo>
                      <a:pt x="1079" y="347"/>
                    </a:moveTo>
                    <a:lnTo>
                      <a:pt x="1079" y="346"/>
                    </a:lnTo>
                    <a:lnTo>
                      <a:pt x="1079" y="346"/>
                    </a:lnTo>
                    <a:lnTo>
                      <a:pt x="1079" y="346"/>
                    </a:lnTo>
                    <a:lnTo>
                      <a:pt x="1077" y="346"/>
                    </a:lnTo>
                    <a:lnTo>
                      <a:pt x="1077" y="347"/>
                    </a:lnTo>
                    <a:lnTo>
                      <a:pt x="1079" y="347"/>
                    </a:lnTo>
                    <a:lnTo>
                      <a:pt x="1077" y="350"/>
                    </a:lnTo>
                    <a:lnTo>
                      <a:pt x="1079" y="350"/>
                    </a:lnTo>
                    <a:lnTo>
                      <a:pt x="1079" y="350"/>
                    </a:lnTo>
                    <a:lnTo>
                      <a:pt x="1079" y="350"/>
                    </a:lnTo>
                    <a:lnTo>
                      <a:pt x="1081" y="349"/>
                    </a:lnTo>
                    <a:lnTo>
                      <a:pt x="1081" y="349"/>
                    </a:lnTo>
                    <a:lnTo>
                      <a:pt x="1079" y="347"/>
                    </a:lnTo>
                    <a:close/>
                    <a:moveTo>
                      <a:pt x="1073" y="344"/>
                    </a:moveTo>
                    <a:lnTo>
                      <a:pt x="1073" y="343"/>
                    </a:lnTo>
                    <a:lnTo>
                      <a:pt x="1071" y="344"/>
                    </a:lnTo>
                    <a:lnTo>
                      <a:pt x="1071" y="346"/>
                    </a:lnTo>
                    <a:lnTo>
                      <a:pt x="1073" y="347"/>
                    </a:lnTo>
                    <a:lnTo>
                      <a:pt x="1073" y="346"/>
                    </a:lnTo>
                    <a:lnTo>
                      <a:pt x="1074" y="346"/>
                    </a:lnTo>
                    <a:lnTo>
                      <a:pt x="1074" y="344"/>
                    </a:lnTo>
                    <a:lnTo>
                      <a:pt x="1073" y="344"/>
                    </a:lnTo>
                    <a:close/>
                    <a:moveTo>
                      <a:pt x="1393" y="322"/>
                    </a:moveTo>
                    <a:lnTo>
                      <a:pt x="1392" y="321"/>
                    </a:lnTo>
                    <a:lnTo>
                      <a:pt x="1389" y="321"/>
                    </a:lnTo>
                    <a:lnTo>
                      <a:pt x="1389" y="321"/>
                    </a:lnTo>
                    <a:lnTo>
                      <a:pt x="1387" y="321"/>
                    </a:lnTo>
                    <a:lnTo>
                      <a:pt x="1387" y="321"/>
                    </a:lnTo>
                    <a:lnTo>
                      <a:pt x="1387" y="321"/>
                    </a:lnTo>
                    <a:lnTo>
                      <a:pt x="1387" y="321"/>
                    </a:lnTo>
                    <a:lnTo>
                      <a:pt x="1387" y="322"/>
                    </a:lnTo>
                    <a:lnTo>
                      <a:pt x="1390" y="325"/>
                    </a:lnTo>
                    <a:lnTo>
                      <a:pt x="1393" y="325"/>
                    </a:lnTo>
                    <a:lnTo>
                      <a:pt x="1393" y="322"/>
                    </a:lnTo>
                    <a:close/>
                    <a:moveTo>
                      <a:pt x="1076" y="319"/>
                    </a:moveTo>
                    <a:lnTo>
                      <a:pt x="1076" y="319"/>
                    </a:lnTo>
                    <a:lnTo>
                      <a:pt x="1074" y="319"/>
                    </a:lnTo>
                    <a:lnTo>
                      <a:pt x="1074" y="321"/>
                    </a:lnTo>
                    <a:lnTo>
                      <a:pt x="1074" y="322"/>
                    </a:lnTo>
                    <a:lnTo>
                      <a:pt x="1074" y="322"/>
                    </a:lnTo>
                    <a:lnTo>
                      <a:pt x="1074" y="324"/>
                    </a:lnTo>
                    <a:lnTo>
                      <a:pt x="1074" y="325"/>
                    </a:lnTo>
                    <a:lnTo>
                      <a:pt x="1074" y="324"/>
                    </a:lnTo>
                    <a:lnTo>
                      <a:pt x="1074" y="322"/>
                    </a:lnTo>
                    <a:lnTo>
                      <a:pt x="1076" y="322"/>
                    </a:lnTo>
                    <a:lnTo>
                      <a:pt x="1076" y="322"/>
                    </a:lnTo>
                    <a:lnTo>
                      <a:pt x="1076" y="321"/>
                    </a:lnTo>
                    <a:lnTo>
                      <a:pt x="1076" y="319"/>
                    </a:lnTo>
                    <a:close/>
                    <a:moveTo>
                      <a:pt x="1260" y="271"/>
                    </a:moveTo>
                    <a:lnTo>
                      <a:pt x="1260" y="269"/>
                    </a:lnTo>
                    <a:lnTo>
                      <a:pt x="1260" y="267"/>
                    </a:lnTo>
                    <a:lnTo>
                      <a:pt x="1259" y="267"/>
                    </a:lnTo>
                    <a:lnTo>
                      <a:pt x="1259" y="269"/>
                    </a:lnTo>
                    <a:lnTo>
                      <a:pt x="1259" y="271"/>
                    </a:lnTo>
                    <a:lnTo>
                      <a:pt x="1259" y="272"/>
                    </a:lnTo>
                    <a:lnTo>
                      <a:pt x="1257" y="274"/>
                    </a:lnTo>
                    <a:lnTo>
                      <a:pt x="1257" y="274"/>
                    </a:lnTo>
                    <a:lnTo>
                      <a:pt x="1259" y="274"/>
                    </a:lnTo>
                    <a:lnTo>
                      <a:pt x="1260" y="274"/>
                    </a:lnTo>
                    <a:lnTo>
                      <a:pt x="1260" y="272"/>
                    </a:lnTo>
                    <a:lnTo>
                      <a:pt x="1260" y="271"/>
                    </a:lnTo>
                    <a:lnTo>
                      <a:pt x="1260" y="271"/>
                    </a:lnTo>
                    <a:close/>
                    <a:moveTo>
                      <a:pt x="1066" y="249"/>
                    </a:moveTo>
                    <a:lnTo>
                      <a:pt x="1066" y="250"/>
                    </a:lnTo>
                    <a:lnTo>
                      <a:pt x="1065" y="250"/>
                    </a:lnTo>
                    <a:lnTo>
                      <a:pt x="1065" y="252"/>
                    </a:lnTo>
                    <a:lnTo>
                      <a:pt x="1065" y="252"/>
                    </a:lnTo>
                    <a:lnTo>
                      <a:pt x="1066" y="252"/>
                    </a:lnTo>
                    <a:lnTo>
                      <a:pt x="1066" y="250"/>
                    </a:lnTo>
                    <a:lnTo>
                      <a:pt x="1068" y="249"/>
                    </a:lnTo>
                    <a:lnTo>
                      <a:pt x="1068" y="249"/>
                    </a:lnTo>
                    <a:lnTo>
                      <a:pt x="1066" y="249"/>
                    </a:lnTo>
                    <a:close/>
                    <a:moveTo>
                      <a:pt x="1071" y="242"/>
                    </a:moveTo>
                    <a:lnTo>
                      <a:pt x="1070" y="242"/>
                    </a:lnTo>
                    <a:lnTo>
                      <a:pt x="1070" y="244"/>
                    </a:lnTo>
                    <a:lnTo>
                      <a:pt x="1068" y="244"/>
                    </a:lnTo>
                    <a:lnTo>
                      <a:pt x="1068" y="247"/>
                    </a:lnTo>
                    <a:lnTo>
                      <a:pt x="1070" y="246"/>
                    </a:lnTo>
                    <a:lnTo>
                      <a:pt x="1071" y="246"/>
                    </a:lnTo>
                    <a:lnTo>
                      <a:pt x="1073" y="244"/>
                    </a:lnTo>
                    <a:lnTo>
                      <a:pt x="1071" y="242"/>
                    </a:lnTo>
                    <a:close/>
                    <a:moveTo>
                      <a:pt x="1343" y="224"/>
                    </a:moveTo>
                    <a:lnTo>
                      <a:pt x="1342" y="222"/>
                    </a:lnTo>
                    <a:lnTo>
                      <a:pt x="1340" y="221"/>
                    </a:lnTo>
                    <a:lnTo>
                      <a:pt x="1339" y="221"/>
                    </a:lnTo>
                    <a:lnTo>
                      <a:pt x="1337" y="221"/>
                    </a:lnTo>
                    <a:lnTo>
                      <a:pt x="1337" y="222"/>
                    </a:lnTo>
                    <a:lnTo>
                      <a:pt x="1337" y="224"/>
                    </a:lnTo>
                    <a:lnTo>
                      <a:pt x="1339" y="225"/>
                    </a:lnTo>
                    <a:lnTo>
                      <a:pt x="1342" y="227"/>
                    </a:lnTo>
                    <a:lnTo>
                      <a:pt x="1343" y="228"/>
                    </a:lnTo>
                    <a:lnTo>
                      <a:pt x="1345" y="225"/>
                    </a:lnTo>
                    <a:lnTo>
                      <a:pt x="1343" y="224"/>
                    </a:lnTo>
                    <a:close/>
                    <a:moveTo>
                      <a:pt x="1284" y="221"/>
                    </a:moveTo>
                    <a:lnTo>
                      <a:pt x="1282" y="219"/>
                    </a:lnTo>
                    <a:lnTo>
                      <a:pt x="1282" y="217"/>
                    </a:lnTo>
                    <a:lnTo>
                      <a:pt x="1279" y="217"/>
                    </a:lnTo>
                    <a:lnTo>
                      <a:pt x="1279" y="219"/>
                    </a:lnTo>
                    <a:lnTo>
                      <a:pt x="1278" y="222"/>
                    </a:lnTo>
                    <a:lnTo>
                      <a:pt x="1276" y="225"/>
                    </a:lnTo>
                    <a:lnTo>
                      <a:pt x="1274" y="227"/>
                    </a:lnTo>
                    <a:lnTo>
                      <a:pt x="1274" y="230"/>
                    </a:lnTo>
                    <a:lnTo>
                      <a:pt x="1276" y="230"/>
                    </a:lnTo>
                    <a:lnTo>
                      <a:pt x="1278" y="230"/>
                    </a:lnTo>
                    <a:lnTo>
                      <a:pt x="1281" y="227"/>
                    </a:lnTo>
                    <a:lnTo>
                      <a:pt x="1282" y="227"/>
                    </a:lnTo>
                    <a:lnTo>
                      <a:pt x="1284" y="225"/>
                    </a:lnTo>
                    <a:lnTo>
                      <a:pt x="1284" y="222"/>
                    </a:lnTo>
                    <a:lnTo>
                      <a:pt x="1284" y="221"/>
                    </a:lnTo>
                    <a:close/>
                    <a:moveTo>
                      <a:pt x="1099" y="210"/>
                    </a:moveTo>
                    <a:lnTo>
                      <a:pt x="1095" y="211"/>
                    </a:lnTo>
                    <a:lnTo>
                      <a:pt x="1095" y="213"/>
                    </a:lnTo>
                    <a:lnTo>
                      <a:pt x="1095" y="213"/>
                    </a:lnTo>
                    <a:lnTo>
                      <a:pt x="1096" y="213"/>
                    </a:lnTo>
                    <a:lnTo>
                      <a:pt x="1099" y="211"/>
                    </a:lnTo>
                    <a:lnTo>
                      <a:pt x="1101" y="211"/>
                    </a:lnTo>
                    <a:lnTo>
                      <a:pt x="1101" y="210"/>
                    </a:lnTo>
                    <a:lnTo>
                      <a:pt x="1099" y="210"/>
                    </a:lnTo>
                    <a:close/>
                    <a:moveTo>
                      <a:pt x="1339" y="180"/>
                    </a:moveTo>
                    <a:lnTo>
                      <a:pt x="1337" y="178"/>
                    </a:lnTo>
                    <a:lnTo>
                      <a:pt x="1335" y="178"/>
                    </a:lnTo>
                    <a:lnTo>
                      <a:pt x="1332" y="178"/>
                    </a:lnTo>
                    <a:lnTo>
                      <a:pt x="1328" y="178"/>
                    </a:lnTo>
                    <a:lnTo>
                      <a:pt x="1326" y="178"/>
                    </a:lnTo>
                    <a:lnTo>
                      <a:pt x="1326" y="180"/>
                    </a:lnTo>
                    <a:lnTo>
                      <a:pt x="1328" y="181"/>
                    </a:lnTo>
                    <a:lnTo>
                      <a:pt x="1332" y="186"/>
                    </a:lnTo>
                    <a:lnTo>
                      <a:pt x="1334" y="188"/>
                    </a:lnTo>
                    <a:lnTo>
                      <a:pt x="1335" y="188"/>
                    </a:lnTo>
                    <a:lnTo>
                      <a:pt x="1335" y="189"/>
                    </a:lnTo>
                    <a:lnTo>
                      <a:pt x="1337" y="189"/>
                    </a:lnTo>
                    <a:lnTo>
                      <a:pt x="1337" y="189"/>
                    </a:lnTo>
                    <a:lnTo>
                      <a:pt x="1337" y="188"/>
                    </a:lnTo>
                    <a:lnTo>
                      <a:pt x="1339" y="186"/>
                    </a:lnTo>
                    <a:lnTo>
                      <a:pt x="1340" y="186"/>
                    </a:lnTo>
                    <a:lnTo>
                      <a:pt x="1340" y="183"/>
                    </a:lnTo>
                    <a:lnTo>
                      <a:pt x="1340" y="181"/>
                    </a:lnTo>
                    <a:lnTo>
                      <a:pt x="1339" y="180"/>
                    </a:lnTo>
                    <a:close/>
                    <a:moveTo>
                      <a:pt x="841" y="169"/>
                    </a:moveTo>
                    <a:lnTo>
                      <a:pt x="840" y="169"/>
                    </a:lnTo>
                    <a:lnTo>
                      <a:pt x="840" y="170"/>
                    </a:lnTo>
                    <a:lnTo>
                      <a:pt x="841" y="172"/>
                    </a:lnTo>
                    <a:lnTo>
                      <a:pt x="841" y="172"/>
                    </a:lnTo>
                    <a:lnTo>
                      <a:pt x="843" y="170"/>
                    </a:lnTo>
                    <a:lnTo>
                      <a:pt x="843" y="170"/>
                    </a:lnTo>
                    <a:lnTo>
                      <a:pt x="841" y="169"/>
                    </a:lnTo>
                    <a:close/>
                    <a:moveTo>
                      <a:pt x="1337" y="174"/>
                    </a:moveTo>
                    <a:lnTo>
                      <a:pt x="1335" y="172"/>
                    </a:lnTo>
                    <a:lnTo>
                      <a:pt x="1335" y="172"/>
                    </a:lnTo>
                    <a:lnTo>
                      <a:pt x="1335" y="170"/>
                    </a:lnTo>
                    <a:lnTo>
                      <a:pt x="1334" y="170"/>
                    </a:lnTo>
                    <a:lnTo>
                      <a:pt x="1334" y="170"/>
                    </a:lnTo>
                    <a:lnTo>
                      <a:pt x="1334" y="170"/>
                    </a:lnTo>
                    <a:lnTo>
                      <a:pt x="1332" y="169"/>
                    </a:lnTo>
                    <a:lnTo>
                      <a:pt x="1332" y="167"/>
                    </a:lnTo>
                    <a:lnTo>
                      <a:pt x="1331" y="167"/>
                    </a:lnTo>
                    <a:lnTo>
                      <a:pt x="1331" y="169"/>
                    </a:lnTo>
                    <a:lnTo>
                      <a:pt x="1329" y="170"/>
                    </a:lnTo>
                    <a:lnTo>
                      <a:pt x="1331" y="170"/>
                    </a:lnTo>
                    <a:lnTo>
                      <a:pt x="1331" y="174"/>
                    </a:lnTo>
                    <a:lnTo>
                      <a:pt x="1335" y="175"/>
                    </a:lnTo>
                    <a:lnTo>
                      <a:pt x="1335" y="175"/>
                    </a:lnTo>
                    <a:lnTo>
                      <a:pt x="1337" y="175"/>
                    </a:lnTo>
                    <a:lnTo>
                      <a:pt x="1337" y="174"/>
                    </a:lnTo>
                    <a:lnTo>
                      <a:pt x="1337" y="174"/>
                    </a:lnTo>
                    <a:close/>
                    <a:moveTo>
                      <a:pt x="1084" y="156"/>
                    </a:moveTo>
                    <a:lnTo>
                      <a:pt x="1082" y="155"/>
                    </a:lnTo>
                    <a:lnTo>
                      <a:pt x="1081" y="152"/>
                    </a:lnTo>
                    <a:lnTo>
                      <a:pt x="1079" y="150"/>
                    </a:lnTo>
                    <a:lnTo>
                      <a:pt x="1077" y="150"/>
                    </a:lnTo>
                    <a:lnTo>
                      <a:pt x="1077" y="152"/>
                    </a:lnTo>
                    <a:lnTo>
                      <a:pt x="1076" y="152"/>
                    </a:lnTo>
                    <a:lnTo>
                      <a:pt x="1073" y="150"/>
                    </a:lnTo>
                    <a:lnTo>
                      <a:pt x="1073" y="152"/>
                    </a:lnTo>
                    <a:lnTo>
                      <a:pt x="1070" y="153"/>
                    </a:lnTo>
                    <a:lnTo>
                      <a:pt x="1068" y="158"/>
                    </a:lnTo>
                    <a:lnTo>
                      <a:pt x="1066" y="159"/>
                    </a:lnTo>
                    <a:lnTo>
                      <a:pt x="1066" y="161"/>
                    </a:lnTo>
                    <a:lnTo>
                      <a:pt x="1066" y="164"/>
                    </a:lnTo>
                    <a:lnTo>
                      <a:pt x="1066" y="166"/>
                    </a:lnTo>
                    <a:lnTo>
                      <a:pt x="1066" y="170"/>
                    </a:lnTo>
                    <a:lnTo>
                      <a:pt x="1066" y="172"/>
                    </a:lnTo>
                    <a:lnTo>
                      <a:pt x="1066" y="174"/>
                    </a:lnTo>
                    <a:lnTo>
                      <a:pt x="1070" y="175"/>
                    </a:lnTo>
                    <a:lnTo>
                      <a:pt x="1071" y="177"/>
                    </a:lnTo>
                    <a:lnTo>
                      <a:pt x="1073" y="180"/>
                    </a:lnTo>
                    <a:lnTo>
                      <a:pt x="1074" y="181"/>
                    </a:lnTo>
                    <a:lnTo>
                      <a:pt x="1074" y="181"/>
                    </a:lnTo>
                    <a:lnTo>
                      <a:pt x="1076" y="180"/>
                    </a:lnTo>
                    <a:lnTo>
                      <a:pt x="1076" y="180"/>
                    </a:lnTo>
                    <a:lnTo>
                      <a:pt x="1077" y="177"/>
                    </a:lnTo>
                    <a:lnTo>
                      <a:pt x="1079" y="174"/>
                    </a:lnTo>
                    <a:lnTo>
                      <a:pt x="1081" y="170"/>
                    </a:lnTo>
                    <a:lnTo>
                      <a:pt x="1082" y="167"/>
                    </a:lnTo>
                    <a:lnTo>
                      <a:pt x="1082" y="164"/>
                    </a:lnTo>
                    <a:lnTo>
                      <a:pt x="1084" y="163"/>
                    </a:lnTo>
                    <a:lnTo>
                      <a:pt x="1084" y="159"/>
                    </a:lnTo>
                    <a:lnTo>
                      <a:pt x="1084" y="156"/>
                    </a:lnTo>
                    <a:close/>
                    <a:moveTo>
                      <a:pt x="1343" y="145"/>
                    </a:moveTo>
                    <a:lnTo>
                      <a:pt x="1343" y="145"/>
                    </a:lnTo>
                    <a:lnTo>
                      <a:pt x="1340" y="145"/>
                    </a:lnTo>
                    <a:lnTo>
                      <a:pt x="1337" y="145"/>
                    </a:lnTo>
                    <a:lnTo>
                      <a:pt x="1337" y="145"/>
                    </a:lnTo>
                    <a:lnTo>
                      <a:pt x="1337" y="145"/>
                    </a:lnTo>
                    <a:lnTo>
                      <a:pt x="1337" y="147"/>
                    </a:lnTo>
                    <a:lnTo>
                      <a:pt x="1337" y="147"/>
                    </a:lnTo>
                    <a:lnTo>
                      <a:pt x="1335" y="147"/>
                    </a:lnTo>
                    <a:lnTo>
                      <a:pt x="1335" y="149"/>
                    </a:lnTo>
                    <a:lnTo>
                      <a:pt x="1335" y="150"/>
                    </a:lnTo>
                    <a:lnTo>
                      <a:pt x="1337" y="150"/>
                    </a:lnTo>
                    <a:lnTo>
                      <a:pt x="1340" y="152"/>
                    </a:lnTo>
                    <a:lnTo>
                      <a:pt x="1342" y="152"/>
                    </a:lnTo>
                    <a:lnTo>
                      <a:pt x="1343" y="150"/>
                    </a:lnTo>
                    <a:lnTo>
                      <a:pt x="1345" y="147"/>
                    </a:lnTo>
                    <a:lnTo>
                      <a:pt x="1343" y="145"/>
                    </a:lnTo>
                    <a:close/>
                    <a:moveTo>
                      <a:pt x="1176" y="141"/>
                    </a:moveTo>
                    <a:lnTo>
                      <a:pt x="1174" y="141"/>
                    </a:lnTo>
                    <a:lnTo>
                      <a:pt x="1170" y="139"/>
                    </a:lnTo>
                    <a:lnTo>
                      <a:pt x="1167" y="139"/>
                    </a:lnTo>
                    <a:lnTo>
                      <a:pt x="1167" y="138"/>
                    </a:lnTo>
                    <a:lnTo>
                      <a:pt x="1165" y="139"/>
                    </a:lnTo>
                    <a:lnTo>
                      <a:pt x="1165" y="139"/>
                    </a:lnTo>
                    <a:lnTo>
                      <a:pt x="1167" y="141"/>
                    </a:lnTo>
                    <a:lnTo>
                      <a:pt x="1171" y="142"/>
                    </a:lnTo>
                    <a:lnTo>
                      <a:pt x="1174" y="142"/>
                    </a:lnTo>
                    <a:lnTo>
                      <a:pt x="1176" y="142"/>
                    </a:lnTo>
                    <a:lnTo>
                      <a:pt x="1176" y="142"/>
                    </a:lnTo>
                    <a:lnTo>
                      <a:pt x="1176" y="141"/>
                    </a:lnTo>
                    <a:close/>
                    <a:moveTo>
                      <a:pt x="1242" y="142"/>
                    </a:moveTo>
                    <a:lnTo>
                      <a:pt x="1240" y="141"/>
                    </a:lnTo>
                    <a:lnTo>
                      <a:pt x="1238" y="138"/>
                    </a:lnTo>
                    <a:lnTo>
                      <a:pt x="1234" y="136"/>
                    </a:lnTo>
                    <a:lnTo>
                      <a:pt x="1232" y="134"/>
                    </a:lnTo>
                    <a:lnTo>
                      <a:pt x="1229" y="133"/>
                    </a:lnTo>
                    <a:lnTo>
                      <a:pt x="1226" y="133"/>
                    </a:lnTo>
                    <a:lnTo>
                      <a:pt x="1224" y="133"/>
                    </a:lnTo>
                    <a:lnTo>
                      <a:pt x="1226" y="134"/>
                    </a:lnTo>
                    <a:lnTo>
                      <a:pt x="1229" y="136"/>
                    </a:lnTo>
                    <a:lnTo>
                      <a:pt x="1231" y="139"/>
                    </a:lnTo>
                    <a:lnTo>
                      <a:pt x="1232" y="141"/>
                    </a:lnTo>
                    <a:lnTo>
                      <a:pt x="1232" y="144"/>
                    </a:lnTo>
                    <a:lnTo>
                      <a:pt x="1234" y="144"/>
                    </a:lnTo>
                    <a:lnTo>
                      <a:pt x="1237" y="145"/>
                    </a:lnTo>
                    <a:lnTo>
                      <a:pt x="1238" y="145"/>
                    </a:lnTo>
                    <a:lnTo>
                      <a:pt x="1240" y="145"/>
                    </a:lnTo>
                    <a:lnTo>
                      <a:pt x="1242" y="145"/>
                    </a:lnTo>
                    <a:lnTo>
                      <a:pt x="1242" y="144"/>
                    </a:lnTo>
                    <a:lnTo>
                      <a:pt x="1242" y="142"/>
                    </a:lnTo>
                    <a:close/>
                    <a:moveTo>
                      <a:pt x="1037" y="131"/>
                    </a:moveTo>
                    <a:lnTo>
                      <a:pt x="1035" y="130"/>
                    </a:lnTo>
                    <a:lnTo>
                      <a:pt x="1035" y="130"/>
                    </a:lnTo>
                    <a:lnTo>
                      <a:pt x="1034" y="128"/>
                    </a:lnTo>
                    <a:lnTo>
                      <a:pt x="1032" y="128"/>
                    </a:lnTo>
                    <a:lnTo>
                      <a:pt x="1027" y="130"/>
                    </a:lnTo>
                    <a:lnTo>
                      <a:pt x="1023" y="130"/>
                    </a:lnTo>
                    <a:lnTo>
                      <a:pt x="1018" y="133"/>
                    </a:lnTo>
                    <a:lnTo>
                      <a:pt x="1018" y="133"/>
                    </a:lnTo>
                    <a:lnTo>
                      <a:pt x="1016" y="133"/>
                    </a:lnTo>
                    <a:lnTo>
                      <a:pt x="1013" y="131"/>
                    </a:lnTo>
                    <a:lnTo>
                      <a:pt x="1012" y="131"/>
                    </a:lnTo>
                    <a:lnTo>
                      <a:pt x="1005" y="144"/>
                    </a:lnTo>
                    <a:lnTo>
                      <a:pt x="1002" y="149"/>
                    </a:lnTo>
                    <a:lnTo>
                      <a:pt x="1002" y="149"/>
                    </a:lnTo>
                    <a:lnTo>
                      <a:pt x="1002" y="150"/>
                    </a:lnTo>
                    <a:lnTo>
                      <a:pt x="1002" y="150"/>
                    </a:lnTo>
                    <a:lnTo>
                      <a:pt x="1004" y="155"/>
                    </a:lnTo>
                    <a:lnTo>
                      <a:pt x="1005" y="156"/>
                    </a:lnTo>
                    <a:lnTo>
                      <a:pt x="1005" y="159"/>
                    </a:lnTo>
                    <a:lnTo>
                      <a:pt x="1005" y="159"/>
                    </a:lnTo>
                    <a:lnTo>
                      <a:pt x="1012" y="156"/>
                    </a:lnTo>
                    <a:lnTo>
                      <a:pt x="1013" y="158"/>
                    </a:lnTo>
                    <a:lnTo>
                      <a:pt x="1016" y="158"/>
                    </a:lnTo>
                    <a:lnTo>
                      <a:pt x="1016" y="158"/>
                    </a:lnTo>
                    <a:lnTo>
                      <a:pt x="1018" y="158"/>
                    </a:lnTo>
                    <a:lnTo>
                      <a:pt x="1026" y="150"/>
                    </a:lnTo>
                    <a:lnTo>
                      <a:pt x="1027" y="149"/>
                    </a:lnTo>
                    <a:lnTo>
                      <a:pt x="1029" y="147"/>
                    </a:lnTo>
                    <a:lnTo>
                      <a:pt x="1034" y="141"/>
                    </a:lnTo>
                    <a:lnTo>
                      <a:pt x="1035" y="138"/>
                    </a:lnTo>
                    <a:lnTo>
                      <a:pt x="1035" y="136"/>
                    </a:lnTo>
                    <a:lnTo>
                      <a:pt x="1037" y="134"/>
                    </a:lnTo>
                    <a:lnTo>
                      <a:pt x="1037" y="133"/>
                    </a:lnTo>
                    <a:lnTo>
                      <a:pt x="1037" y="131"/>
                    </a:lnTo>
                    <a:close/>
                    <a:moveTo>
                      <a:pt x="1113" y="117"/>
                    </a:moveTo>
                    <a:lnTo>
                      <a:pt x="1112" y="113"/>
                    </a:lnTo>
                    <a:lnTo>
                      <a:pt x="1110" y="111"/>
                    </a:lnTo>
                    <a:lnTo>
                      <a:pt x="1110" y="111"/>
                    </a:lnTo>
                    <a:lnTo>
                      <a:pt x="1109" y="109"/>
                    </a:lnTo>
                    <a:lnTo>
                      <a:pt x="1107" y="109"/>
                    </a:lnTo>
                    <a:lnTo>
                      <a:pt x="1102" y="109"/>
                    </a:lnTo>
                    <a:lnTo>
                      <a:pt x="1098" y="109"/>
                    </a:lnTo>
                    <a:lnTo>
                      <a:pt x="1096" y="111"/>
                    </a:lnTo>
                    <a:lnTo>
                      <a:pt x="1096" y="111"/>
                    </a:lnTo>
                    <a:lnTo>
                      <a:pt x="1098" y="114"/>
                    </a:lnTo>
                    <a:lnTo>
                      <a:pt x="1101" y="119"/>
                    </a:lnTo>
                    <a:lnTo>
                      <a:pt x="1106" y="122"/>
                    </a:lnTo>
                    <a:lnTo>
                      <a:pt x="1107" y="124"/>
                    </a:lnTo>
                    <a:lnTo>
                      <a:pt x="1110" y="124"/>
                    </a:lnTo>
                    <a:lnTo>
                      <a:pt x="1112" y="122"/>
                    </a:lnTo>
                    <a:lnTo>
                      <a:pt x="1113" y="120"/>
                    </a:lnTo>
                    <a:lnTo>
                      <a:pt x="1113" y="119"/>
                    </a:lnTo>
                    <a:lnTo>
                      <a:pt x="1113" y="117"/>
                    </a:lnTo>
                    <a:lnTo>
                      <a:pt x="1113" y="117"/>
                    </a:lnTo>
                    <a:close/>
                    <a:moveTo>
                      <a:pt x="1127" y="106"/>
                    </a:moveTo>
                    <a:lnTo>
                      <a:pt x="1121" y="102"/>
                    </a:lnTo>
                    <a:lnTo>
                      <a:pt x="1116" y="105"/>
                    </a:lnTo>
                    <a:lnTo>
                      <a:pt x="1123" y="111"/>
                    </a:lnTo>
                    <a:lnTo>
                      <a:pt x="1124" y="113"/>
                    </a:lnTo>
                    <a:lnTo>
                      <a:pt x="1127" y="113"/>
                    </a:lnTo>
                    <a:lnTo>
                      <a:pt x="1129" y="113"/>
                    </a:lnTo>
                    <a:lnTo>
                      <a:pt x="1129" y="108"/>
                    </a:lnTo>
                    <a:lnTo>
                      <a:pt x="1127" y="106"/>
                    </a:lnTo>
                    <a:close/>
                    <a:moveTo>
                      <a:pt x="1113" y="88"/>
                    </a:moveTo>
                    <a:lnTo>
                      <a:pt x="1112" y="88"/>
                    </a:lnTo>
                    <a:lnTo>
                      <a:pt x="1110" y="88"/>
                    </a:lnTo>
                    <a:lnTo>
                      <a:pt x="1107" y="88"/>
                    </a:lnTo>
                    <a:lnTo>
                      <a:pt x="1107" y="89"/>
                    </a:lnTo>
                    <a:lnTo>
                      <a:pt x="1107" y="89"/>
                    </a:lnTo>
                    <a:lnTo>
                      <a:pt x="1107" y="91"/>
                    </a:lnTo>
                    <a:lnTo>
                      <a:pt x="1110" y="91"/>
                    </a:lnTo>
                    <a:lnTo>
                      <a:pt x="1112" y="89"/>
                    </a:lnTo>
                    <a:lnTo>
                      <a:pt x="1113" y="88"/>
                    </a:lnTo>
                    <a:lnTo>
                      <a:pt x="1113" y="88"/>
                    </a:lnTo>
                    <a:close/>
                    <a:moveTo>
                      <a:pt x="1063" y="94"/>
                    </a:moveTo>
                    <a:lnTo>
                      <a:pt x="1059" y="92"/>
                    </a:lnTo>
                    <a:lnTo>
                      <a:pt x="1060" y="92"/>
                    </a:lnTo>
                    <a:lnTo>
                      <a:pt x="1060" y="91"/>
                    </a:lnTo>
                    <a:lnTo>
                      <a:pt x="1060" y="89"/>
                    </a:lnTo>
                    <a:lnTo>
                      <a:pt x="1059" y="88"/>
                    </a:lnTo>
                    <a:lnTo>
                      <a:pt x="1056" y="84"/>
                    </a:lnTo>
                    <a:lnTo>
                      <a:pt x="1054" y="84"/>
                    </a:lnTo>
                    <a:lnTo>
                      <a:pt x="1052" y="88"/>
                    </a:lnTo>
                    <a:lnTo>
                      <a:pt x="1052" y="88"/>
                    </a:lnTo>
                    <a:lnTo>
                      <a:pt x="1051" y="88"/>
                    </a:lnTo>
                    <a:lnTo>
                      <a:pt x="1048" y="86"/>
                    </a:lnTo>
                    <a:lnTo>
                      <a:pt x="1040" y="88"/>
                    </a:lnTo>
                    <a:lnTo>
                      <a:pt x="1038" y="88"/>
                    </a:lnTo>
                    <a:lnTo>
                      <a:pt x="1037" y="88"/>
                    </a:lnTo>
                    <a:lnTo>
                      <a:pt x="1040" y="84"/>
                    </a:lnTo>
                    <a:lnTo>
                      <a:pt x="1041" y="83"/>
                    </a:lnTo>
                    <a:lnTo>
                      <a:pt x="1041" y="81"/>
                    </a:lnTo>
                    <a:lnTo>
                      <a:pt x="1041" y="80"/>
                    </a:lnTo>
                    <a:lnTo>
                      <a:pt x="1040" y="72"/>
                    </a:lnTo>
                    <a:lnTo>
                      <a:pt x="1037" y="66"/>
                    </a:lnTo>
                    <a:lnTo>
                      <a:pt x="1035" y="62"/>
                    </a:lnTo>
                    <a:lnTo>
                      <a:pt x="1032" y="61"/>
                    </a:lnTo>
                    <a:lnTo>
                      <a:pt x="1030" y="59"/>
                    </a:lnTo>
                    <a:lnTo>
                      <a:pt x="1026" y="58"/>
                    </a:lnTo>
                    <a:lnTo>
                      <a:pt x="1024" y="56"/>
                    </a:lnTo>
                    <a:lnTo>
                      <a:pt x="1018" y="52"/>
                    </a:lnTo>
                    <a:lnTo>
                      <a:pt x="1015" y="50"/>
                    </a:lnTo>
                    <a:lnTo>
                      <a:pt x="1015" y="48"/>
                    </a:lnTo>
                    <a:lnTo>
                      <a:pt x="1010" y="44"/>
                    </a:lnTo>
                    <a:lnTo>
                      <a:pt x="1010" y="42"/>
                    </a:lnTo>
                    <a:lnTo>
                      <a:pt x="1005" y="41"/>
                    </a:lnTo>
                    <a:lnTo>
                      <a:pt x="1002" y="41"/>
                    </a:lnTo>
                    <a:lnTo>
                      <a:pt x="999" y="39"/>
                    </a:lnTo>
                    <a:lnTo>
                      <a:pt x="998" y="37"/>
                    </a:lnTo>
                    <a:lnTo>
                      <a:pt x="998" y="34"/>
                    </a:lnTo>
                    <a:lnTo>
                      <a:pt x="996" y="33"/>
                    </a:lnTo>
                    <a:lnTo>
                      <a:pt x="991" y="28"/>
                    </a:lnTo>
                    <a:lnTo>
                      <a:pt x="990" y="28"/>
                    </a:lnTo>
                    <a:lnTo>
                      <a:pt x="990" y="30"/>
                    </a:lnTo>
                    <a:lnTo>
                      <a:pt x="987" y="34"/>
                    </a:lnTo>
                    <a:lnTo>
                      <a:pt x="985" y="37"/>
                    </a:lnTo>
                    <a:lnTo>
                      <a:pt x="985" y="37"/>
                    </a:lnTo>
                    <a:lnTo>
                      <a:pt x="984" y="37"/>
                    </a:lnTo>
                    <a:lnTo>
                      <a:pt x="982" y="30"/>
                    </a:lnTo>
                    <a:lnTo>
                      <a:pt x="979" y="26"/>
                    </a:lnTo>
                    <a:lnTo>
                      <a:pt x="979" y="26"/>
                    </a:lnTo>
                    <a:lnTo>
                      <a:pt x="979" y="25"/>
                    </a:lnTo>
                    <a:lnTo>
                      <a:pt x="980" y="23"/>
                    </a:lnTo>
                    <a:lnTo>
                      <a:pt x="980" y="22"/>
                    </a:lnTo>
                    <a:lnTo>
                      <a:pt x="980" y="19"/>
                    </a:lnTo>
                    <a:lnTo>
                      <a:pt x="980" y="17"/>
                    </a:lnTo>
                    <a:lnTo>
                      <a:pt x="979" y="14"/>
                    </a:lnTo>
                    <a:lnTo>
                      <a:pt x="976" y="12"/>
                    </a:lnTo>
                    <a:lnTo>
                      <a:pt x="974" y="9"/>
                    </a:lnTo>
                    <a:lnTo>
                      <a:pt x="974" y="9"/>
                    </a:lnTo>
                    <a:lnTo>
                      <a:pt x="973" y="9"/>
                    </a:lnTo>
                    <a:lnTo>
                      <a:pt x="971" y="11"/>
                    </a:lnTo>
                    <a:lnTo>
                      <a:pt x="968" y="12"/>
                    </a:lnTo>
                    <a:lnTo>
                      <a:pt x="968" y="14"/>
                    </a:lnTo>
                    <a:lnTo>
                      <a:pt x="966" y="19"/>
                    </a:lnTo>
                    <a:lnTo>
                      <a:pt x="965" y="20"/>
                    </a:lnTo>
                    <a:lnTo>
                      <a:pt x="965" y="25"/>
                    </a:lnTo>
                    <a:lnTo>
                      <a:pt x="963" y="30"/>
                    </a:lnTo>
                    <a:lnTo>
                      <a:pt x="962" y="47"/>
                    </a:lnTo>
                    <a:lnTo>
                      <a:pt x="962" y="52"/>
                    </a:lnTo>
                    <a:lnTo>
                      <a:pt x="960" y="62"/>
                    </a:lnTo>
                    <a:lnTo>
                      <a:pt x="959" y="66"/>
                    </a:lnTo>
                    <a:lnTo>
                      <a:pt x="959" y="69"/>
                    </a:lnTo>
                    <a:lnTo>
                      <a:pt x="959" y="73"/>
                    </a:lnTo>
                    <a:lnTo>
                      <a:pt x="960" y="80"/>
                    </a:lnTo>
                    <a:lnTo>
                      <a:pt x="962" y="81"/>
                    </a:lnTo>
                    <a:lnTo>
                      <a:pt x="962" y="83"/>
                    </a:lnTo>
                    <a:lnTo>
                      <a:pt x="960" y="84"/>
                    </a:lnTo>
                    <a:lnTo>
                      <a:pt x="959" y="86"/>
                    </a:lnTo>
                    <a:lnTo>
                      <a:pt x="949" y="92"/>
                    </a:lnTo>
                    <a:lnTo>
                      <a:pt x="949" y="92"/>
                    </a:lnTo>
                    <a:lnTo>
                      <a:pt x="948" y="95"/>
                    </a:lnTo>
                    <a:lnTo>
                      <a:pt x="945" y="100"/>
                    </a:lnTo>
                    <a:lnTo>
                      <a:pt x="945" y="102"/>
                    </a:lnTo>
                    <a:lnTo>
                      <a:pt x="945" y="103"/>
                    </a:lnTo>
                    <a:lnTo>
                      <a:pt x="945" y="105"/>
                    </a:lnTo>
                    <a:lnTo>
                      <a:pt x="945" y="105"/>
                    </a:lnTo>
                    <a:lnTo>
                      <a:pt x="948" y="106"/>
                    </a:lnTo>
                    <a:lnTo>
                      <a:pt x="949" y="106"/>
                    </a:lnTo>
                    <a:lnTo>
                      <a:pt x="951" y="105"/>
                    </a:lnTo>
                    <a:lnTo>
                      <a:pt x="955" y="102"/>
                    </a:lnTo>
                    <a:lnTo>
                      <a:pt x="960" y="102"/>
                    </a:lnTo>
                    <a:lnTo>
                      <a:pt x="970" y="100"/>
                    </a:lnTo>
                    <a:lnTo>
                      <a:pt x="970" y="100"/>
                    </a:lnTo>
                    <a:lnTo>
                      <a:pt x="970" y="102"/>
                    </a:lnTo>
                    <a:lnTo>
                      <a:pt x="971" y="102"/>
                    </a:lnTo>
                    <a:lnTo>
                      <a:pt x="973" y="117"/>
                    </a:lnTo>
                    <a:lnTo>
                      <a:pt x="974" y="122"/>
                    </a:lnTo>
                    <a:lnTo>
                      <a:pt x="976" y="124"/>
                    </a:lnTo>
                    <a:lnTo>
                      <a:pt x="979" y="122"/>
                    </a:lnTo>
                    <a:lnTo>
                      <a:pt x="984" y="120"/>
                    </a:lnTo>
                    <a:lnTo>
                      <a:pt x="987" y="119"/>
                    </a:lnTo>
                    <a:lnTo>
                      <a:pt x="990" y="116"/>
                    </a:lnTo>
                    <a:lnTo>
                      <a:pt x="991" y="114"/>
                    </a:lnTo>
                    <a:lnTo>
                      <a:pt x="991" y="113"/>
                    </a:lnTo>
                    <a:lnTo>
                      <a:pt x="993" y="108"/>
                    </a:lnTo>
                    <a:lnTo>
                      <a:pt x="995" y="105"/>
                    </a:lnTo>
                    <a:lnTo>
                      <a:pt x="996" y="105"/>
                    </a:lnTo>
                    <a:lnTo>
                      <a:pt x="998" y="105"/>
                    </a:lnTo>
                    <a:lnTo>
                      <a:pt x="1001" y="102"/>
                    </a:lnTo>
                    <a:lnTo>
                      <a:pt x="1005" y="95"/>
                    </a:lnTo>
                    <a:lnTo>
                      <a:pt x="1007" y="94"/>
                    </a:lnTo>
                    <a:lnTo>
                      <a:pt x="1007" y="92"/>
                    </a:lnTo>
                    <a:lnTo>
                      <a:pt x="1007" y="88"/>
                    </a:lnTo>
                    <a:lnTo>
                      <a:pt x="1007" y="86"/>
                    </a:lnTo>
                    <a:lnTo>
                      <a:pt x="1009" y="84"/>
                    </a:lnTo>
                    <a:lnTo>
                      <a:pt x="1013" y="83"/>
                    </a:lnTo>
                    <a:lnTo>
                      <a:pt x="1015" y="83"/>
                    </a:lnTo>
                    <a:lnTo>
                      <a:pt x="1016" y="83"/>
                    </a:lnTo>
                    <a:lnTo>
                      <a:pt x="1018" y="83"/>
                    </a:lnTo>
                    <a:lnTo>
                      <a:pt x="1018" y="86"/>
                    </a:lnTo>
                    <a:lnTo>
                      <a:pt x="1018" y="88"/>
                    </a:lnTo>
                    <a:lnTo>
                      <a:pt x="1020" y="89"/>
                    </a:lnTo>
                    <a:lnTo>
                      <a:pt x="1026" y="91"/>
                    </a:lnTo>
                    <a:lnTo>
                      <a:pt x="1027" y="92"/>
                    </a:lnTo>
                    <a:lnTo>
                      <a:pt x="1029" y="98"/>
                    </a:lnTo>
                    <a:lnTo>
                      <a:pt x="1029" y="100"/>
                    </a:lnTo>
                    <a:lnTo>
                      <a:pt x="1034" y="102"/>
                    </a:lnTo>
                    <a:lnTo>
                      <a:pt x="1037" y="102"/>
                    </a:lnTo>
                    <a:lnTo>
                      <a:pt x="1046" y="106"/>
                    </a:lnTo>
                    <a:lnTo>
                      <a:pt x="1049" y="109"/>
                    </a:lnTo>
                    <a:lnTo>
                      <a:pt x="1052" y="109"/>
                    </a:lnTo>
                    <a:lnTo>
                      <a:pt x="1052" y="109"/>
                    </a:lnTo>
                    <a:lnTo>
                      <a:pt x="1054" y="109"/>
                    </a:lnTo>
                    <a:lnTo>
                      <a:pt x="1059" y="105"/>
                    </a:lnTo>
                    <a:lnTo>
                      <a:pt x="1062" y="102"/>
                    </a:lnTo>
                    <a:lnTo>
                      <a:pt x="1065" y="98"/>
                    </a:lnTo>
                    <a:lnTo>
                      <a:pt x="1066" y="97"/>
                    </a:lnTo>
                    <a:lnTo>
                      <a:pt x="1063" y="94"/>
                    </a:lnTo>
                    <a:close/>
                    <a:moveTo>
                      <a:pt x="988" y="14"/>
                    </a:moveTo>
                    <a:lnTo>
                      <a:pt x="988" y="14"/>
                    </a:lnTo>
                    <a:lnTo>
                      <a:pt x="987" y="11"/>
                    </a:lnTo>
                    <a:lnTo>
                      <a:pt x="985" y="8"/>
                    </a:lnTo>
                    <a:lnTo>
                      <a:pt x="985" y="6"/>
                    </a:lnTo>
                    <a:lnTo>
                      <a:pt x="985" y="6"/>
                    </a:lnTo>
                    <a:lnTo>
                      <a:pt x="984" y="5"/>
                    </a:lnTo>
                    <a:lnTo>
                      <a:pt x="982" y="5"/>
                    </a:lnTo>
                    <a:lnTo>
                      <a:pt x="980" y="5"/>
                    </a:lnTo>
                    <a:lnTo>
                      <a:pt x="980" y="6"/>
                    </a:lnTo>
                    <a:lnTo>
                      <a:pt x="980" y="8"/>
                    </a:lnTo>
                    <a:lnTo>
                      <a:pt x="980" y="11"/>
                    </a:lnTo>
                    <a:lnTo>
                      <a:pt x="980" y="14"/>
                    </a:lnTo>
                    <a:lnTo>
                      <a:pt x="980" y="14"/>
                    </a:lnTo>
                    <a:lnTo>
                      <a:pt x="982" y="16"/>
                    </a:lnTo>
                    <a:lnTo>
                      <a:pt x="982" y="17"/>
                    </a:lnTo>
                    <a:lnTo>
                      <a:pt x="984" y="19"/>
                    </a:lnTo>
                    <a:lnTo>
                      <a:pt x="985" y="20"/>
                    </a:lnTo>
                    <a:lnTo>
                      <a:pt x="987" y="23"/>
                    </a:lnTo>
                    <a:lnTo>
                      <a:pt x="987" y="23"/>
                    </a:lnTo>
                    <a:lnTo>
                      <a:pt x="988" y="25"/>
                    </a:lnTo>
                    <a:lnTo>
                      <a:pt x="988" y="23"/>
                    </a:lnTo>
                    <a:lnTo>
                      <a:pt x="990" y="22"/>
                    </a:lnTo>
                    <a:lnTo>
                      <a:pt x="990" y="22"/>
                    </a:lnTo>
                    <a:lnTo>
                      <a:pt x="990" y="20"/>
                    </a:lnTo>
                    <a:lnTo>
                      <a:pt x="988" y="14"/>
                    </a:lnTo>
                    <a:close/>
                    <a:moveTo>
                      <a:pt x="1013" y="17"/>
                    </a:moveTo>
                    <a:lnTo>
                      <a:pt x="1010" y="17"/>
                    </a:lnTo>
                    <a:lnTo>
                      <a:pt x="1007" y="16"/>
                    </a:lnTo>
                    <a:lnTo>
                      <a:pt x="1005" y="14"/>
                    </a:lnTo>
                    <a:lnTo>
                      <a:pt x="1005" y="14"/>
                    </a:lnTo>
                    <a:lnTo>
                      <a:pt x="1004" y="12"/>
                    </a:lnTo>
                    <a:lnTo>
                      <a:pt x="1005" y="11"/>
                    </a:lnTo>
                    <a:lnTo>
                      <a:pt x="1005" y="11"/>
                    </a:lnTo>
                    <a:lnTo>
                      <a:pt x="1005" y="9"/>
                    </a:lnTo>
                    <a:lnTo>
                      <a:pt x="1004" y="8"/>
                    </a:lnTo>
                    <a:lnTo>
                      <a:pt x="1001" y="5"/>
                    </a:lnTo>
                    <a:lnTo>
                      <a:pt x="998" y="1"/>
                    </a:lnTo>
                    <a:lnTo>
                      <a:pt x="993" y="0"/>
                    </a:lnTo>
                    <a:lnTo>
                      <a:pt x="993" y="1"/>
                    </a:lnTo>
                    <a:lnTo>
                      <a:pt x="993" y="1"/>
                    </a:lnTo>
                    <a:lnTo>
                      <a:pt x="993" y="3"/>
                    </a:lnTo>
                    <a:lnTo>
                      <a:pt x="995" y="5"/>
                    </a:lnTo>
                    <a:lnTo>
                      <a:pt x="996" y="6"/>
                    </a:lnTo>
                    <a:lnTo>
                      <a:pt x="996" y="6"/>
                    </a:lnTo>
                    <a:lnTo>
                      <a:pt x="998" y="8"/>
                    </a:lnTo>
                    <a:lnTo>
                      <a:pt x="998" y="9"/>
                    </a:lnTo>
                    <a:lnTo>
                      <a:pt x="998" y="11"/>
                    </a:lnTo>
                    <a:lnTo>
                      <a:pt x="998" y="14"/>
                    </a:lnTo>
                    <a:lnTo>
                      <a:pt x="998" y="16"/>
                    </a:lnTo>
                    <a:lnTo>
                      <a:pt x="1001" y="16"/>
                    </a:lnTo>
                    <a:lnTo>
                      <a:pt x="1002" y="16"/>
                    </a:lnTo>
                    <a:lnTo>
                      <a:pt x="1004" y="14"/>
                    </a:lnTo>
                    <a:lnTo>
                      <a:pt x="1004" y="16"/>
                    </a:lnTo>
                    <a:lnTo>
                      <a:pt x="1005" y="16"/>
                    </a:lnTo>
                    <a:lnTo>
                      <a:pt x="1004" y="19"/>
                    </a:lnTo>
                    <a:lnTo>
                      <a:pt x="1004" y="19"/>
                    </a:lnTo>
                    <a:lnTo>
                      <a:pt x="1004" y="20"/>
                    </a:lnTo>
                    <a:lnTo>
                      <a:pt x="1007" y="20"/>
                    </a:lnTo>
                    <a:lnTo>
                      <a:pt x="1007" y="20"/>
                    </a:lnTo>
                    <a:lnTo>
                      <a:pt x="1007" y="19"/>
                    </a:lnTo>
                    <a:lnTo>
                      <a:pt x="1007" y="19"/>
                    </a:lnTo>
                    <a:lnTo>
                      <a:pt x="1007" y="19"/>
                    </a:lnTo>
                    <a:lnTo>
                      <a:pt x="1009" y="19"/>
                    </a:lnTo>
                    <a:lnTo>
                      <a:pt x="1009" y="20"/>
                    </a:lnTo>
                    <a:lnTo>
                      <a:pt x="1009" y="20"/>
                    </a:lnTo>
                    <a:lnTo>
                      <a:pt x="1012" y="22"/>
                    </a:lnTo>
                    <a:lnTo>
                      <a:pt x="1012" y="22"/>
                    </a:lnTo>
                    <a:lnTo>
                      <a:pt x="1013" y="20"/>
                    </a:lnTo>
                    <a:lnTo>
                      <a:pt x="1013" y="19"/>
                    </a:lnTo>
                    <a:lnTo>
                      <a:pt x="1013" y="17"/>
                    </a:lnTo>
                    <a:lnTo>
                      <a:pt x="1013" y="17"/>
                    </a:lnTo>
                    <a:close/>
                    <a:moveTo>
                      <a:pt x="1498" y="483"/>
                    </a:moveTo>
                    <a:lnTo>
                      <a:pt x="1496" y="482"/>
                    </a:lnTo>
                    <a:lnTo>
                      <a:pt x="1495" y="482"/>
                    </a:lnTo>
                    <a:lnTo>
                      <a:pt x="1492" y="480"/>
                    </a:lnTo>
                    <a:lnTo>
                      <a:pt x="1492" y="479"/>
                    </a:lnTo>
                    <a:lnTo>
                      <a:pt x="1493" y="480"/>
                    </a:lnTo>
                    <a:lnTo>
                      <a:pt x="1496" y="480"/>
                    </a:lnTo>
                    <a:lnTo>
                      <a:pt x="1496" y="479"/>
                    </a:lnTo>
                    <a:lnTo>
                      <a:pt x="1496" y="477"/>
                    </a:lnTo>
                    <a:lnTo>
                      <a:pt x="1496" y="477"/>
                    </a:lnTo>
                    <a:lnTo>
                      <a:pt x="1495" y="476"/>
                    </a:lnTo>
                    <a:lnTo>
                      <a:pt x="1492" y="474"/>
                    </a:lnTo>
                    <a:lnTo>
                      <a:pt x="1489" y="474"/>
                    </a:lnTo>
                    <a:lnTo>
                      <a:pt x="1485" y="474"/>
                    </a:lnTo>
                    <a:lnTo>
                      <a:pt x="1487" y="474"/>
                    </a:lnTo>
                    <a:lnTo>
                      <a:pt x="1489" y="474"/>
                    </a:lnTo>
                    <a:lnTo>
                      <a:pt x="1495" y="472"/>
                    </a:lnTo>
                    <a:lnTo>
                      <a:pt x="1495" y="472"/>
                    </a:lnTo>
                    <a:lnTo>
                      <a:pt x="1495" y="471"/>
                    </a:lnTo>
                    <a:lnTo>
                      <a:pt x="1495" y="469"/>
                    </a:lnTo>
                    <a:lnTo>
                      <a:pt x="1495" y="466"/>
                    </a:lnTo>
                    <a:lnTo>
                      <a:pt x="1495" y="465"/>
                    </a:lnTo>
                    <a:lnTo>
                      <a:pt x="1493" y="462"/>
                    </a:lnTo>
                    <a:lnTo>
                      <a:pt x="1495" y="457"/>
                    </a:lnTo>
                    <a:lnTo>
                      <a:pt x="1495" y="455"/>
                    </a:lnTo>
                    <a:lnTo>
                      <a:pt x="1495" y="454"/>
                    </a:lnTo>
                    <a:lnTo>
                      <a:pt x="1495" y="454"/>
                    </a:lnTo>
                    <a:lnTo>
                      <a:pt x="1495" y="452"/>
                    </a:lnTo>
                    <a:lnTo>
                      <a:pt x="1495" y="451"/>
                    </a:lnTo>
                    <a:lnTo>
                      <a:pt x="1493" y="451"/>
                    </a:lnTo>
                    <a:lnTo>
                      <a:pt x="1493" y="447"/>
                    </a:lnTo>
                    <a:lnTo>
                      <a:pt x="1490" y="444"/>
                    </a:lnTo>
                    <a:lnTo>
                      <a:pt x="1487" y="444"/>
                    </a:lnTo>
                    <a:lnTo>
                      <a:pt x="1485" y="443"/>
                    </a:lnTo>
                    <a:lnTo>
                      <a:pt x="1484" y="440"/>
                    </a:lnTo>
                    <a:lnTo>
                      <a:pt x="1484" y="440"/>
                    </a:lnTo>
                    <a:lnTo>
                      <a:pt x="1482" y="440"/>
                    </a:lnTo>
                    <a:lnTo>
                      <a:pt x="1479" y="440"/>
                    </a:lnTo>
                    <a:lnTo>
                      <a:pt x="1478" y="440"/>
                    </a:lnTo>
                    <a:lnTo>
                      <a:pt x="1475" y="441"/>
                    </a:lnTo>
                    <a:lnTo>
                      <a:pt x="1470" y="446"/>
                    </a:lnTo>
                    <a:lnTo>
                      <a:pt x="1468" y="447"/>
                    </a:lnTo>
                    <a:lnTo>
                      <a:pt x="1468" y="444"/>
                    </a:lnTo>
                    <a:lnTo>
                      <a:pt x="1467" y="444"/>
                    </a:lnTo>
                    <a:lnTo>
                      <a:pt x="1465" y="444"/>
                    </a:lnTo>
                    <a:lnTo>
                      <a:pt x="1465" y="443"/>
                    </a:lnTo>
                    <a:lnTo>
                      <a:pt x="1465" y="443"/>
                    </a:lnTo>
                    <a:lnTo>
                      <a:pt x="1470" y="440"/>
                    </a:lnTo>
                    <a:lnTo>
                      <a:pt x="1471" y="440"/>
                    </a:lnTo>
                    <a:lnTo>
                      <a:pt x="1471" y="438"/>
                    </a:lnTo>
                    <a:lnTo>
                      <a:pt x="1471" y="436"/>
                    </a:lnTo>
                    <a:lnTo>
                      <a:pt x="1471" y="435"/>
                    </a:lnTo>
                    <a:lnTo>
                      <a:pt x="1467" y="427"/>
                    </a:lnTo>
                    <a:lnTo>
                      <a:pt x="1464" y="426"/>
                    </a:lnTo>
                    <a:lnTo>
                      <a:pt x="1454" y="426"/>
                    </a:lnTo>
                    <a:lnTo>
                      <a:pt x="1451" y="426"/>
                    </a:lnTo>
                    <a:lnTo>
                      <a:pt x="1451" y="427"/>
                    </a:lnTo>
                    <a:lnTo>
                      <a:pt x="1451" y="427"/>
                    </a:lnTo>
                    <a:lnTo>
                      <a:pt x="1451" y="429"/>
                    </a:lnTo>
                    <a:lnTo>
                      <a:pt x="1454" y="429"/>
                    </a:lnTo>
                    <a:lnTo>
                      <a:pt x="1456" y="429"/>
                    </a:lnTo>
                    <a:lnTo>
                      <a:pt x="1457" y="429"/>
                    </a:lnTo>
                    <a:lnTo>
                      <a:pt x="1457" y="429"/>
                    </a:lnTo>
                    <a:lnTo>
                      <a:pt x="1456" y="429"/>
                    </a:lnTo>
                    <a:lnTo>
                      <a:pt x="1451" y="430"/>
                    </a:lnTo>
                    <a:lnTo>
                      <a:pt x="1445" y="432"/>
                    </a:lnTo>
                    <a:lnTo>
                      <a:pt x="1440" y="435"/>
                    </a:lnTo>
                    <a:lnTo>
                      <a:pt x="1437" y="440"/>
                    </a:lnTo>
                    <a:lnTo>
                      <a:pt x="1434" y="443"/>
                    </a:lnTo>
                    <a:lnTo>
                      <a:pt x="1431" y="444"/>
                    </a:lnTo>
                    <a:lnTo>
                      <a:pt x="1428" y="446"/>
                    </a:lnTo>
                    <a:lnTo>
                      <a:pt x="1425" y="446"/>
                    </a:lnTo>
                    <a:lnTo>
                      <a:pt x="1425" y="447"/>
                    </a:lnTo>
                    <a:lnTo>
                      <a:pt x="1421" y="451"/>
                    </a:lnTo>
                    <a:lnTo>
                      <a:pt x="1420" y="452"/>
                    </a:lnTo>
                    <a:lnTo>
                      <a:pt x="1417" y="454"/>
                    </a:lnTo>
                    <a:lnTo>
                      <a:pt x="1415" y="454"/>
                    </a:lnTo>
                    <a:lnTo>
                      <a:pt x="1415" y="454"/>
                    </a:lnTo>
                    <a:lnTo>
                      <a:pt x="1417" y="452"/>
                    </a:lnTo>
                    <a:lnTo>
                      <a:pt x="1417" y="451"/>
                    </a:lnTo>
                    <a:lnTo>
                      <a:pt x="1417" y="451"/>
                    </a:lnTo>
                    <a:lnTo>
                      <a:pt x="1417" y="451"/>
                    </a:lnTo>
                    <a:lnTo>
                      <a:pt x="1418" y="447"/>
                    </a:lnTo>
                    <a:lnTo>
                      <a:pt x="1420" y="447"/>
                    </a:lnTo>
                    <a:lnTo>
                      <a:pt x="1418" y="446"/>
                    </a:lnTo>
                    <a:lnTo>
                      <a:pt x="1415" y="444"/>
                    </a:lnTo>
                    <a:lnTo>
                      <a:pt x="1415" y="443"/>
                    </a:lnTo>
                    <a:lnTo>
                      <a:pt x="1417" y="443"/>
                    </a:lnTo>
                    <a:lnTo>
                      <a:pt x="1420" y="444"/>
                    </a:lnTo>
                    <a:lnTo>
                      <a:pt x="1420" y="443"/>
                    </a:lnTo>
                    <a:lnTo>
                      <a:pt x="1420" y="443"/>
                    </a:lnTo>
                    <a:lnTo>
                      <a:pt x="1420" y="441"/>
                    </a:lnTo>
                    <a:lnTo>
                      <a:pt x="1421" y="440"/>
                    </a:lnTo>
                    <a:lnTo>
                      <a:pt x="1421" y="440"/>
                    </a:lnTo>
                    <a:lnTo>
                      <a:pt x="1425" y="438"/>
                    </a:lnTo>
                    <a:lnTo>
                      <a:pt x="1425" y="436"/>
                    </a:lnTo>
                    <a:lnTo>
                      <a:pt x="1426" y="436"/>
                    </a:lnTo>
                    <a:lnTo>
                      <a:pt x="1428" y="436"/>
                    </a:lnTo>
                    <a:lnTo>
                      <a:pt x="1431" y="436"/>
                    </a:lnTo>
                    <a:lnTo>
                      <a:pt x="1435" y="433"/>
                    </a:lnTo>
                    <a:lnTo>
                      <a:pt x="1439" y="433"/>
                    </a:lnTo>
                    <a:lnTo>
                      <a:pt x="1439" y="433"/>
                    </a:lnTo>
                    <a:lnTo>
                      <a:pt x="1440" y="432"/>
                    </a:lnTo>
                    <a:lnTo>
                      <a:pt x="1440" y="430"/>
                    </a:lnTo>
                    <a:lnTo>
                      <a:pt x="1442" y="430"/>
                    </a:lnTo>
                    <a:lnTo>
                      <a:pt x="1445" y="430"/>
                    </a:lnTo>
                    <a:lnTo>
                      <a:pt x="1446" y="430"/>
                    </a:lnTo>
                    <a:lnTo>
                      <a:pt x="1446" y="429"/>
                    </a:lnTo>
                    <a:lnTo>
                      <a:pt x="1450" y="426"/>
                    </a:lnTo>
                    <a:lnTo>
                      <a:pt x="1451" y="424"/>
                    </a:lnTo>
                    <a:lnTo>
                      <a:pt x="1453" y="424"/>
                    </a:lnTo>
                    <a:lnTo>
                      <a:pt x="1454" y="422"/>
                    </a:lnTo>
                    <a:lnTo>
                      <a:pt x="1454" y="421"/>
                    </a:lnTo>
                    <a:lnTo>
                      <a:pt x="1459" y="421"/>
                    </a:lnTo>
                    <a:lnTo>
                      <a:pt x="1462" y="421"/>
                    </a:lnTo>
                    <a:lnTo>
                      <a:pt x="1465" y="419"/>
                    </a:lnTo>
                    <a:lnTo>
                      <a:pt x="1465" y="416"/>
                    </a:lnTo>
                    <a:lnTo>
                      <a:pt x="1467" y="415"/>
                    </a:lnTo>
                    <a:lnTo>
                      <a:pt x="1467" y="415"/>
                    </a:lnTo>
                    <a:lnTo>
                      <a:pt x="1465" y="413"/>
                    </a:lnTo>
                    <a:lnTo>
                      <a:pt x="1464" y="413"/>
                    </a:lnTo>
                    <a:lnTo>
                      <a:pt x="1462" y="411"/>
                    </a:lnTo>
                    <a:lnTo>
                      <a:pt x="1460" y="410"/>
                    </a:lnTo>
                    <a:lnTo>
                      <a:pt x="1457" y="408"/>
                    </a:lnTo>
                    <a:lnTo>
                      <a:pt x="1457" y="405"/>
                    </a:lnTo>
                    <a:lnTo>
                      <a:pt x="1456" y="405"/>
                    </a:lnTo>
                    <a:lnTo>
                      <a:pt x="1453" y="405"/>
                    </a:lnTo>
                    <a:lnTo>
                      <a:pt x="1453" y="407"/>
                    </a:lnTo>
                    <a:lnTo>
                      <a:pt x="1450" y="408"/>
                    </a:lnTo>
                    <a:lnTo>
                      <a:pt x="1448" y="408"/>
                    </a:lnTo>
                    <a:lnTo>
                      <a:pt x="1443" y="407"/>
                    </a:lnTo>
                    <a:lnTo>
                      <a:pt x="1442" y="404"/>
                    </a:lnTo>
                    <a:lnTo>
                      <a:pt x="1440" y="400"/>
                    </a:lnTo>
                    <a:lnTo>
                      <a:pt x="1439" y="397"/>
                    </a:lnTo>
                    <a:lnTo>
                      <a:pt x="1437" y="396"/>
                    </a:lnTo>
                    <a:lnTo>
                      <a:pt x="1435" y="396"/>
                    </a:lnTo>
                    <a:lnTo>
                      <a:pt x="1434" y="397"/>
                    </a:lnTo>
                    <a:lnTo>
                      <a:pt x="1432" y="399"/>
                    </a:lnTo>
                    <a:lnTo>
                      <a:pt x="1432" y="400"/>
                    </a:lnTo>
                    <a:lnTo>
                      <a:pt x="1426" y="405"/>
                    </a:lnTo>
                    <a:lnTo>
                      <a:pt x="1425" y="407"/>
                    </a:lnTo>
                    <a:lnTo>
                      <a:pt x="1425" y="405"/>
                    </a:lnTo>
                    <a:lnTo>
                      <a:pt x="1426" y="404"/>
                    </a:lnTo>
                    <a:lnTo>
                      <a:pt x="1431" y="397"/>
                    </a:lnTo>
                    <a:lnTo>
                      <a:pt x="1432" y="396"/>
                    </a:lnTo>
                    <a:lnTo>
                      <a:pt x="1431" y="396"/>
                    </a:lnTo>
                    <a:lnTo>
                      <a:pt x="1429" y="396"/>
                    </a:lnTo>
                    <a:lnTo>
                      <a:pt x="1428" y="396"/>
                    </a:lnTo>
                    <a:lnTo>
                      <a:pt x="1428" y="394"/>
                    </a:lnTo>
                    <a:lnTo>
                      <a:pt x="1426" y="393"/>
                    </a:lnTo>
                    <a:lnTo>
                      <a:pt x="1425" y="393"/>
                    </a:lnTo>
                    <a:lnTo>
                      <a:pt x="1423" y="394"/>
                    </a:lnTo>
                    <a:lnTo>
                      <a:pt x="1418" y="394"/>
                    </a:lnTo>
                    <a:lnTo>
                      <a:pt x="1415" y="396"/>
                    </a:lnTo>
                    <a:lnTo>
                      <a:pt x="1412" y="399"/>
                    </a:lnTo>
                    <a:lnTo>
                      <a:pt x="1410" y="400"/>
                    </a:lnTo>
                    <a:lnTo>
                      <a:pt x="1412" y="397"/>
                    </a:lnTo>
                    <a:lnTo>
                      <a:pt x="1414" y="396"/>
                    </a:lnTo>
                    <a:lnTo>
                      <a:pt x="1414" y="394"/>
                    </a:lnTo>
                    <a:lnTo>
                      <a:pt x="1415" y="391"/>
                    </a:lnTo>
                    <a:lnTo>
                      <a:pt x="1418" y="388"/>
                    </a:lnTo>
                    <a:lnTo>
                      <a:pt x="1418" y="386"/>
                    </a:lnTo>
                    <a:lnTo>
                      <a:pt x="1417" y="385"/>
                    </a:lnTo>
                    <a:lnTo>
                      <a:pt x="1415" y="383"/>
                    </a:lnTo>
                    <a:lnTo>
                      <a:pt x="1415" y="382"/>
                    </a:lnTo>
                    <a:lnTo>
                      <a:pt x="1415" y="380"/>
                    </a:lnTo>
                    <a:lnTo>
                      <a:pt x="1415" y="377"/>
                    </a:lnTo>
                    <a:lnTo>
                      <a:pt x="1415" y="377"/>
                    </a:lnTo>
                    <a:lnTo>
                      <a:pt x="1414" y="377"/>
                    </a:lnTo>
                    <a:lnTo>
                      <a:pt x="1412" y="379"/>
                    </a:lnTo>
                    <a:lnTo>
                      <a:pt x="1412" y="377"/>
                    </a:lnTo>
                    <a:lnTo>
                      <a:pt x="1410" y="377"/>
                    </a:lnTo>
                    <a:lnTo>
                      <a:pt x="1409" y="374"/>
                    </a:lnTo>
                    <a:lnTo>
                      <a:pt x="1409" y="372"/>
                    </a:lnTo>
                    <a:lnTo>
                      <a:pt x="1407" y="372"/>
                    </a:lnTo>
                    <a:lnTo>
                      <a:pt x="1406" y="374"/>
                    </a:lnTo>
                    <a:lnTo>
                      <a:pt x="1404" y="375"/>
                    </a:lnTo>
                    <a:lnTo>
                      <a:pt x="1403" y="375"/>
                    </a:lnTo>
                    <a:lnTo>
                      <a:pt x="1403" y="374"/>
                    </a:lnTo>
                    <a:lnTo>
                      <a:pt x="1401" y="372"/>
                    </a:lnTo>
                    <a:lnTo>
                      <a:pt x="1401" y="372"/>
                    </a:lnTo>
                    <a:lnTo>
                      <a:pt x="1398" y="372"/>
                    </a:lnTo>
                    <a:lnTo>
                      <a:pt x="1396" y="371"/>
                    </a:lnTo>
                    <a:lnTo>
                      <a:pt x="1396" y="371"/>
                    </a:lnTo>
                    <a:lnTo>
                      <a:pt x="1399" y="369"/>
                    </a:lnTo>
                    <a:lnTo>
                      <a:pt x="1398" y="368"/>
                    </a:lnTo>
                    <a:lnTo>
                      <a:pt x="1398" y="364"/>
                    </a:lnTo>
                    <a:lnTo>
                      <a:pt x="1396" y="364"/>
                    </a:lnTo>
                    <a:lnTo>
                      <a:pt x="1395" y="364"/>
                    </a:lnTo>
                    <a:lnTo>
                      <a:pt x="1392" y="363"/>
                    </a:lnTo>
                    <a:lnTo>
                      <a:pt x="1392" y="361"/>
                    </a:lnTo>
                    <a:lnTo>
                      <a:pt x="1395" y="360"/>
                    </a:lnTo>
                    <a:lnTo>
                      <a:pt x="1396" y="360"/>
                    </a:lnTo>
                    <a:lnTo>
                      <a:pt x="1395" y="358"/>
                    </a:lnTo>
                    <a:lnTo>
                      <a:pt x="1392" y="358"/>
                    </a:lnTo>
                    <a:lnTo>
                      <a:pt x="1387" y="357"/>
                    </a:lnTo>
                    <a:lnTo>
                      <a:pt x="1387" y="357"/>
                    </a:lnTo>
                    <a:lnTo>
                      <a:pt x="1389" y="355"/>
                    </a:lnTo>
                    <a:lnTo>
                      <a:pt x="1390" y="355"/>
                    </a:lnTo>
                    <a:lnTo>
                      <a:pt x="1392" y="354"/>
                    </a:lnTo>
                    <a:lnTo>
                      <a:pt x="1390" y="352"/>
                    </a:lnTo>
                    <a:lnTo>
                      <a:pt x="1389" y="352"/>
                    </a:lnTo>
                    <a:lnTo>
                      <a:pt x="1387" y="352"/>
                    </a:lnTo>
                    <a:lnTo>
                      <a:pt x="1384" y="350"/>
                    </a:lnTo>
                    <a:lnTo>
                      <a:pt x="1379" y="347"/>
                    </a:lnTo>
                    <a:lnTo>
                      <a:pt x="1378" y="346"/>
                    </a:lnTo>
                    <a:lnTo>
                      <a:pt x="1379" y="344"/>
                    </a:lnTo>
                    <a:lnTo>
                      <a:pt x="1381" y="344"/>
                    </a:lnTo>
                    <a:lnTo>
                      <a:pt x="1381" y="344"/>
                    </a:lnTo>
                    <a:lnTo>
                      <a:pt x="1381" y="346"/>
                    </a:lnTo>
                    <a:lnTo>
                      <a:pt x="1381" y="346"/>
                    </a:lnTo>
                    <a:lnTo>
                      <a:pt x="1385" y="349"/>
                    </a:lnTo>
                    <a:lnTo>
                      <a:pt x="1395" y="350"/>
                    </a:lnTo>
                    <a:lnTo>
                      <a:pt x="1398" y="349"/>
                    </a:lnTo>
                    <a:lnTo>
                      <a:pt x="1398" y="346"/>
                    </a:lnTo>
                    <a:lnTo>
                      <a:pt x="1398" y="344"/>
                    </a:lnTo>
                    <a:lnTo>
                      <a:pt x="1398" y="341"/>
                    </a:lnTo>
                    <a:lnTo>
                      <a:pt x="1398" y="338"/>
                    </a:lnTo>
                    <a:lnTo>
                      <a:pt x="1393" y="333"/>
                    </a:lnTo>
                    <a:lnTo>
                      <a:pt x="1392" y="333"/>
                    </a:lnTo>
                    <a:lnTo>
                      <a:pt x="1390" y="333"/>
                    </a:lnTo>
                    <a:lnTo>
                      <a:pt x="1389" y="333"/>
                    </a:lnTo>
                    <a:lnTo>
                      <a:pt x="1387" y="332"/>
                    </a:lnTo>
                    <a:lnTo>
                      <a:pt x="1387" y="332"/>
                    </a:lnTo>
                    <a:lnTo>
                      <a:pt x="1387" y="330"/>
                    </a:lnTo>
                    <a:lnTo>
                      <a:pt x="1389" y="328"/>
                    </a:lnTo>
                    <a:lnTo>
                      <a:pt x="1389" y="327"/>
                    </a:lnTo>
                    <a:lnTo>
                      <a:pt x="1389" y="327"/>
                    </a:lnTo>
                    <a:lnTo>
                      <a:pt x="1389" y="325"/>
                    </a:lnTo>
                    <a:lnTo>
                      <a:pt x="1385" y="324"/>
                    </a:lnTo>
                    <a:lnTo>
                      <a:pt x="1384" y="324"/>
                    </a:lnTo>
                    <a:lnTo>
                      <a:pt x="1381" y="325"/>
                    </a:lnTo>
                    <a:lnTo>
                      <a:pt x="1379" y="324"/>
                    </a:lnTo>
                    <a:lnTo>
                      <a:pt x="1379" y="324"/>
                    </a:lnTo>
                    <a:lnTo>
                      <a:pt x="1378" y="324"/>
                    </a:lnTo>
                    <a:lnTo>
                      <a:pt x="1381" y="324"/>
                    </a:lnTo>
                    <a:lnTo>
                      <a:pt x="1381" y="324"/>
                    </a:lnTo>
                    <a:lnTo>
                      <a:pt x="1382" y="322"/>
                    </a:lnTo>
                    <a:lnTo>
                      <a:pt x="1384" y="322"/>
                    </a:lnTo>
                    <a:lnTo>
                      <a:pt x="1385" y="321"/>
                    </a:lnTo>
                    <a:lnTo>
                      <a:pt x="1387" y="319"/>
                    </a:lnTo>
                    <a:lnTo>
                      <a:pt x="1389" y="318"/>
                    </a:lnTo>
                    <a:lnTo>
                      <a:pt x="1387" y="314"/>
                    </a:lnTo>
                    <a:lnTo>
                      <a:pt x="1387" y="313"/>
                    </a:lnTo>
                    <a:lnTo>
                      <a:pt x="1389" y="313"/>
                    </a:lnTo>
                    <a:lnTo>
                      <a:pt x="1389" y="311"/>
                    </a:lnTo>
                    <a:lnTo>
                      <a:pt x="1387" y="310"/>
                    </a:lnTo>
                    <a:lnTo>
                      <a:pt x="1384" y="308"/>
                    </a:lnTo>
                    <a:lnTo>
                      <a:pt x="1384" y="308"/>
                    </a:lnTo>
                    <a:lnTo>
                      <a:pt x="1381" y="307"/>
                    </a:lnTo>
                    <a:lnTo>
                      <a:pt x="1378" y="302"/>
                    </a:lnTo>
                    <a:lnTo>
                      <a:pt x="1376" y="302"/>
                    </a:lnTo>
                    <a:lnTo>
                      <a:pt x="1373" y="302"/>
                    </a:lnTo>
                    <a:lnTo>
                      <a:pt x="1370" y="303"/>
                    </a:lnTo>
                    <a:lnTo>
                      <a:pt x="1365" y="307"/>
                    </a:lnTo>
                    <a:lnTo>
                      <a:pt x="1365" y="307"/>
                    </a:lnTo>
                    <a:lnTo>
                      <a:pt x="1367" y="303"/>
                    </a:lnTo>
                    <a:lnTo>
                      <a:pt x="1368" y="302"/>
                    </a:lnTo>
                    <a:lnTo>
                      <a:pt x="1373" y="300"/>
                    </a:lnTo>
                    <a:lnTo>
                      <a:pt x="1374" y="296"/>
                    </a:lnTo>
                    <a:lnTo>
                      <a:pt x="1376" y="291"/>
                    </a:lnTo>
                    <a:lnTo>
                      <a:pt x="1376" y="289"/>
                    </a:lnTo>
                    <a:lnTo>
                      <a:pt x="1374" y="289"/>
                    </a:lnTo>
                    <a:lnTo>
                      <a:pt x="1371" y="291"/>
                    </a:lnTo>
                    <a:lnTo>
                      <a:pt x="1368" y="293"/>
                    </a:lnTo>
                    <a:lnTo>
                      <a:pt x="1367" y="293"/>
                    </a:lnTo>
                    <a:lnTo>
                      <a:pt x="1367" y="291"/>
                    </a:lnTo>
                    <a:lnTo>
                      <a:pt x="1367" y="291"/>
                    </a:lnTo>
                    <a:lnTo>
                      <a:pt x="1365" y="291"/>
                    </a:lnTo>
                    <a:lnTo>
                      <a:pt x="1364" y="291"/>
                    </a:lnTo>
                    <a:lnTo>
                      <a:pt x="1360" y="296"/>
                    </a:lnTo>
                    <a:lnTo>
                      <a:pt x="1360" y="296"/>
                    </a:lnTo>
                    <a:lnTo>
                      <a:pt x="1362" y="293"/>
                    </a:lnTo>
                    <a:lnTo>
                      <a:pt x="1362" y="291"/>
                    </a:lnTo>
                    <a:lnTo>
                      <a:pt x="1365" y="289"/>
                    </a:lnTo>
                    <a:lnTo>
                      <a:pt x="1367" y="288"/>
                    </a:lnTo>
                    <a:lnTo>
                      <a:pt x="1371" y="285"/>
                    </a:lnTo>
                    <a:lnTo>
                      <a:pt x="1370" y="282"/>
                    </a:lnTo>
                    <a:lnTo>
                      <a:pt x="1368" y="278"/>
                    </a:lnTo>
                    <a:lnTo>
                      <a:pt x="1368" y="277"/>
                    </a:lnTo>
                    <a:lnTo>
                      <a:pt x="1365" y="277"/>
                    </a:lnTo>
                    <a:lnTo>
                      <a:pt x="1364" y="277"/>
                    </a:lnTo>
                    <a:lnTo>
                      <a:pt x="1365" y="275"/>
                    </a:lnTo>
                    <a:lnTo>
                      <a:pt x="1365" y="275"/>
                    </a:lnTo>
                    <a:lnTo>
                      <a:pt x="1364" y="272"/>
                    </a:lnTo>
                    <a:lnTo>
                      <a:pt x="1364" y="272"/>
                    </a:lnTo>
                    <a:lnTo>
                      <a:pt x="1364" y="272"/>
                    </a:lnTo>
                    <a:lnTo>
                      <a:pt x="1365" y="271"/>
                    </a:lnTo>
                    <a:lnTo>
                      <a:pt x="1365" y="271"/>
                    </a:lnTo>
                    <a:lnTo>
                      <a:pt x="1364" y="271"/>
                    </a:lnTo>
                    <a:lnTo>
                      <a:pt x="1362" y="271"/>
                    </a:lnTo>
                    <a:lnTo>
                      <a:pt x="1359" y="271"/>
                    </a:lnTo>
                    <a:lnTo>
                      <a:pt x="1356" y="272"/>
                    </a:lnTo>
                    <a:lnTo>
                      <a:pt x="1353" y="272"/>
                    </a:lnTo>
                    <a:lnTo>
                      <a:pt x="1353" y="271"/>
                    </a:lnTo>
                    <a:lnTo>
                      <a:pt x="1353" y="271"/>
                    </a:lnTo>
                    <a:lnTo>
                      <a:pt x="1356" y="271"/>
                    </a:lnTo>
                    <a:lnTo>
                      <a:pt x="1357" y="271"/>
                    </a:lnTo>
                    <a:lnTo>
                      <a:pt x="1360" y="269"/>
                    </a:lnTo>
                    <a:lnTo>
                      <a:pt x="1362" y="266"/>
                    </a:lnTo>
                    <a:lnTo>
                      <a:pt x="1360" y="261"/>
                    </a:lnTo>
                    <a:lnTo>
                      <a:pt x="1357" y="261"/>
                    </a:lnTo>
                    <a:lnTo>
                      <a:pt x="1356" y="263"/>
                    </a:lnTo>
                    <a:lnTo>
                      <a:pt x="1356" y="263"/>
                    </a:lnTo>
                    <a:lnTo>
                      <a:pt x="1356" y="261"/>
                    </a:lnTo>
                    <a:lnTo>
                      <a:pt x="1356" y="261"/>
                    </a:lnTo>
                    <a:lnTo>
                      <a:pt x="1353" y="260"/>
                    </a:lnTo>
                    <a:lnTo>
                      <a:pt x="1353" y="258"/>
                    </a:lnTo>
                    <a:lnTo>
                      <a:pt x="1354" y="258"/>
                    </a:lnTo>
                    <a:lnTo>
                      <a:pt x="1356" y="255"/>
                    </a:lnTo>
                    <a:lnTo>
                      <a:pt x="1354" y="253"/>
                    </a:lnTo>
                    <a:lnTo>
                      <a:pt x="1353" y="250"/>
                    </a:lnTo>
                    <a:lnTo>
                      <a:pt x="1353" y="249"/>
                    </a:lnTo>
                    <a:lnTo>
                      <a:pt x="1353" y="247"/>
                    </a:lnTo>
                    <a:lnTo>
                      <a:pt x="1351" y="244"/>
                    </a:lnTo>
                    <a:lnTo>
                      <a:pt x="1349" y="246"/>
                    </a:lnTo>
                    <a:lnTo>
                      <a:pt x="1348" y="247"/>
                    </a:lnTo>
                    <a:lnTo>
                      <a:pt x="1348" y="244"/>
                    </a:lnTo>
                    <a:lnTo>
                      <a:pt x="1348" y="239"/>
                    </a:lnTo>
                    <a:lnTo>
                      <a:pt x="1346" y="236"/>
                    </a:lnTo>
                    <a:lnTo>
                      <a:pt x="1345" y="236"/>
                    </a:lnTo>
                    <a:lnTo>
                      <a:pt x="1342" y="236"/>
                    </a:lnTo>
                    <a:lnTo>
                      <a:pt x="1339" y="238"/>
                    </a:lnTo>
                    <a:lnTo>
                      <a:pt x="1339" y="238"/>
                    </a:lnTo>
                    <a:lnTo>
                      <a:pt x="1339" y="236"/>
                    </a:lnTo>
                    <a:lnTo>
                      <a:pt x="1342" y="235"/>
                    </a:lnTo>
                    <a:lnTo>
                      <a:pt x="1345" y="231"/>
                    </a:lnTo>
                    <a:lnTo>
                      <a:pt x="1343" y="230"/>
                    </a:lnTo>
                    <a:lnTo>
                      <a:pt x="1343" y="228"/>
                    </a:lnTo>
                    <a:lnTo>
                      <a:pt x="1339" y="227"/>
                    </a:lnTo>
                    <a:lnTo>
                      <a:pt x="1337" y="227"/>
                    </a:lnTo>
                    <a:lnTo>
                      <a:pt x="1337" y="227"/>
                    </a:lnTo>
                    <a:lnTo>
                      <a:pt x="1335" y="228"/>
                    </a:lnTo>
                    <a:lnTo>
                      <a:pt x="1335" y="230"/>
                    </a:lnTo>
                    <a:lnTo>
                      <a:pt x="1332" y="236"/>
                    </a:lnTo>
                    <a:lnTo>
                      <a:pt x="1332" y="238"/>
                    </a:lnTo>
                    <a:lnTo>
                      <a:pt x="1331" y="241"/>
                    </a:lnTo>
                    <a:lnTo>
                      <a:pt x="1331" y="242"/>
                    </a:lnTo>
                    <a:lnTo>
                      <a:pt x="1331" y="244"/>
                    </a:lnTo>
                    <a:lnTo>
                      <a:pt x="1332" y="246"/>
                    </a:lnTo>
                    <a:lnTo>
                      <a:pt x="1334" y="246"/>
                    </a:lnTo>
                    <a:lnTo>
                      <a:pt x="1332" y="247"/>
                    </a:lnTo>
                    <a:lnTo>
                      <a:pt x="1331" y="246"/>
                    </a:lnTo>
                    <a:lnTo>
                      <a:pt x="1329" y="244"/>
                    </a:lnTo>
                    <a:lnTo>
                      <a:pt x="1328" y="246"/>
                    </a:lnTo>
                    <a:lnTo>
                      <a:pt x="1328" y="246"/>
                    </a:lnTo>
                    <a:lnTo>
                      <a:pt x="1326" y="246"/>
                    </a:lnTo>
                    <a:lnTo>
                      <a:pt x="1326" y="249"/>
                    </a:lnTo>
                    <a:lnTo>
                      <a:pt x="1326" y="250"/>
                    </a:lnTo>
                    <a:lnTo>
                      <a:pt x="1326" y="252"/>
                    </a:lnTo>
                    <a:lnTo>
                      <a:pt x="1328" y="255"/>
                    </a:lnTo>
                    <a:lnTo>
                      <a:pt x="1328" y="255"/>
                    </a:lnTo>
                    <a:lnTo>
                      <a:pt x="1329" y="257"/>
                    </a:lnTo>
                    <a:lnTo>
                      <a:pt x="1331" y="257"/>
                    </a:lnTo>
                    <a:lnTo>
                      <a:pt x="1332" y="258"/>
                    </a:lnTo>
                    <a:lnTo>
                      <a:pt x="1334" y="260"/>
                    </a:lnTo>
                    <a:lnTo>
                      <a:pt x="1332" y="260"/>
                    </a:lnTo>
                    <a:lnTo>
                      <a:pt x="1329" y="257"/>
                    </a:lnTo>
                    <a:lnTo>
                      <a:pt x="1328" y="257"/>
                    </a:lnTo>
                    <a:lnTo>
                      <a:pt x="1326" y="257"/>
                    </a:lnTo>
                    <a:lnTo>
                      <a:pt x="1326" y="258"/>
                    </a:lnTo>
                    <a:lnTo>
                      <a:pt x="1328" y="261"/>
                    </a:lnTo>
                    <a:lnTo>
                      <a:pt x="1326" y="263"/>
                    </a:lnTo>
                    <a:lnTo>
                      <a:pt x="1324" y="261"/>
                    </a:lnTo>
                    <a:lnTo>
                      <a:pt x="1324" y="261"/>
                    </a:lnTo>
                    <a:lnTo>
                      <a:pt x="1324" y="264"/>
                    </a:lnTo>
                    <a:lnTo>
                      <a:pt x="1323" y="266"/>
                    </a:lnTo>
                    <a:lnTo>
                      <a:pt x="1323" y="264"/>
                    </a:lnTo>
                    <a:lnTo>
                      <a:pt x="1321" y="264"/>
                    </a:lnTo>
                    <a:lnTo>
                      <a:pt x="1321" y="266"/>
                    </a:lnTo>
                    <a:lnTo>
                      <a:pt x="1323" y="267"/>
                    </a:lnTo>
                    <a:lnTo>
                      <a:pt x="1323" y="269"/>
                    </a:lnTo>
                    <a:lnTo>
                      <a:pt x="1323" y="269"/>
                    </a:lnTo>
                    <a:lnTo>
                      <a:pt x="1326" y="269"/>
                    </a:lnTo>
                    <a:lnTo>
                      <a:pt x="1328" y="271"/>
                    </a:lnTo>
                    <a:lnTo>
                      <a:pt x="1328" y="272"/>
                    </a:lnTo>
                    <a:lnTo>
                      <a:pt x="1324" y="272"/>
                    </a:lnTo>
                    <a:lnTo>
                      <a:pt x="1324" y="272"/>
                    </a:lnTo>
                    <a:lnTo>
                      <a:pt x="1321" y="272"/>
                    </a:lnTo>
                    <a:lnTo>
                      <a:pt x="1321" y="272"/>
                    </a:lnTo>
                    <a:lnTo>
                      <a:pt x="1321" y="272"/>
                    </a:lnTo>
                    <a:lnTo>
                      <a:pt x="1321" y="274"/>
                    </a:lnTo>
                    <a:lnTo>
                      <a:pt x="1320" y="274"/>
                    </a:lnTo>
                    <a:lnTo>
                      <a:pt x="1320" y="274"/>
                    </a:lnTo>
                    <a:lnTo>
                      <a:pt x="1318" y="275"/>
                    </a:lnTo>
                    <a:lnTo>
                      <a:pt x="1318" y="277"/>
                    </a:lnTo>
                    <a:lnTo>
                      <a:pt x="1320" y="277"/>
                    </a:lnTo>
                    <a:lnTo>
                      <a:pt x="1318" y="278"/>
                    </a:lnTo>
                    <a:lnTo>
                      <a:pt x="1317" y="278"/>
                    </a:lnTo>
                    <a:lnTo>
                      <a:pt x="1315" y="278"/>
                    </a:lnTo>
                    <a:lnTo>
                      <a:pt x="1315" y="280"/>
                    </a:lnTo>
                    <a:lnTo>
                      <a:pt x="1317" y="282"/>
                    </a:lnTo>
                    <a:lnTo>
                      <a:pt x="1317" y="285"/>
                    </a:lnTo>
                    <a:lnTo>
                      <a:pt x="1318" y="286"/>
                    </a:lnTo>
                    <a:lnTo>
                      <a:pt x="1318" y="288"/>
                    </a:lnTo>
                    <a:lnTo>
                      <a:pt x="1318" y="288"/>
                    </a:lnTo>
                    <a:lnTo>
                      <a:pt x="1317" y="293"/>
                    </a:lnTo>
                    <a:lnTo>
                      <a:pt x="1317" y="293"/>
                    </a:lnTo>
                    <a:lnTo>
                      <a:pt x="1317" y="288"/>
                    </a:lnTo>
                    <a:lnTo>
                      <a:pt x="1315" y="286"/>
                    </a:lnTo>
                    <a:lnTo>
                      <a:pt x="1315" y="285"/>
                    </a:lnTo>
                    <a:lnTo>
                      <a:pt x="1313" y="282"/>
                    </a:lnTo>
                    <a:lnTo>
                      <a:pt x="1312" y="280"/>
                    </a:lnTo>
                    <a:lnTo>
                      <a:pt x="1312" y="280"/>
                    </a:lnTo>
                    <a:lnTo>
                      <a:pt x="1310" y="280"/>
                    </a:lnTo>
                    <a:lnTo>
                      <a:pt x="1307" y="282"/>
                    </a:lnTo>
                    <a:lnTo>
                      <a:pt x="1307" y="283"/>
                    </a:lnTo>
                    <a:lnTo>
                      <a:pt x="1307" y="285"/>
                    </a:lnTo>
                    <a:lnTo>
                      <a:pt x="1306" y="288"/>
                    </a:lnTo>
                    <a:lnTo>
                      <a:pt x="1304" y="289"/>
                    </a:lnTo>
                    <a:lnTo>
                      <a:pt x="1301" y="291"/>
                    </a:lnTo>
                    <a:lnTo>
                      <a:pt x="1298" y="293"/>
                    </a:lnTo>
                    <a:lnTo>
                      <a:pt x="1296" y="294"/>
                    </a:lnTo>
                    <a:lnTo>
                      <a:pt x="1292" y="296"/>
                    </a:lnTo>
                    <a:lnTo>
                      <a:pt x="1288" y="299"/>
                    </a:lnTo>
                    <a:lnTo>
                      <a:pt x="1288" y="300"/>
                    </a:lnTo>
                    <a:lnTo>
                      <a:pt x="1288" y="302"/>
                    </a:lnTo>
                    <a:lnTo>
                      <a:pt x="1288" y="303"/>
                    </a:lnTo>
                    <a:lnTo>
                      <a:pt x="1287" y="307"/>
                    </a:lnTo>
                    <a:lnTo>
                      <a:pt x="1287" y="307"/>
                    </a:lnTo>
                    <a:lnTo>
                      <a:pt x="1287" y="303"/>
                    </a:lnTo>
                    <a:lnTo>
                      <a:pt x="1287" y="302"/>
                    </a:lnTo>
                    <a:lnTo>
                      <a:pt x="1287" y="299"/>
                    </a:lnTo>
                    <a:lnTo>
                      <a:pt x="1285" y="294"/>
                    </a:lnTo>
                    <a:lnTo>
                      <a:pt x="1285" y="293"/>
                    </a:lnTo>
                    <a:lnTo>
                      <a:pt x="1285" y="294"/>
                    </a:lnTo>
                    <a:lnTo>
                      <a:pt x="1284" y="296"/>
                    </a:lnTo>
                    <a:lnTo>
                      <a:pt x="1284" y="297"/>
                    </a:lnTo>
                    <a:lnTo>
                      <a:pt x="1281" y="302"/>
                    </a:lnTo>
                    <a:lnTo>
                      <a:pt x="1281" y="302"/>
                    </a:lnTo>
                    <a:lnTo>
                      <a:pt x="1282" y="297"/>
                    </a:lnTo>
                    <a:lnTo>
                      <a:pt x="1284" y="297"/>
                    </a:lnTo>
                    <a:lnTo>
                      <a:pt x="1284" y="296"/>
                    </a:lnTo>
                    <a:lnTo>
                      <a:pt x="1282" y="291"/>
                    </a:lnTo>
                    <a:lnTo>
                      <a:pt x="1281" y="291"/>
                    </a:lnTo>
                    <a:lnTo>
                      <a:pt x="1279" y="291"/>
                    </a:lnTo>
                    <a:lnTo>
                      <a:pt x="1278" y="293"/>
                    </a:lnTo>
                    <a:lnTo>
                      <a:pt x="1276" y="300"/>
                    </a:lnTo>
                    <a:lnTo>
                      <a:pt x="1274" y="303"/>
                    </a:lnTo>
                    <a:lnTo>
                      <a:pt x="1274" y="305"/>
                    </a:lnTo>
                    <a:lnTo>
                      <a:pt x="1273" y="307"/>
                    </a:lnTo>
                    <a:lnTo>
                      <a:pt x="1268" y="307"/>
                    </a:lnTo>
                    <a:lnTo>
                      <a:pt x="1263" y="310"/>
                    </a:lnTo>
                    <a:lnTo>
                      <a:pt x="1263" y="308"/>
                    </a:lnTo>
                    <a:lnTo>
                      <a:pt x="1265" y="308"/>
                    </a:lnTo>
                    <a:lnTo>
                      <a:pt x="1267" y="307"/>
                    </a:lnTo>
                    <a:lnTo>
                      <a:pt x="1271" y="305"/>
                    </a:lnTo>
                    <a:lnTo>
                      <a:pt x="1273" y="303"/>
                    </a:lnTo>
                    <a:lnTo>
                      <a:pt x="1274" y="300"/>
                    </a:lnTo>
                    <a:lnTo>
                      <a:pt x="1276" y="299"/>
                    </a:lnTo>
                    <a:lnTo>
                      <a:pt x="1278" y="293"/>
                    </a:lnTo>
                    <a:lnTo>
                      <a:pt x="1278" y="291"/>
                    </a:lnTo>
                    <a:lnTo>
                      <a:pt x="1278" y="289"/>
                    </a:lnTo>
                    <a:lnTo>
                      <a:pt x="1278" y="288"/>
                    </a:lnTo>
                    <a:lnTo>
                      <a:pt x="1276" y="286"/>
                    </a:lnTo>
                    <a:lnTo>
                      <a:pt x="1274" y="282"/>
                    </a:lnTo>
                    <a:lnTo>
                      <a:pt x="1274" y="280"/>
                    </a:lnTo>
                    <a:lnTo>
                      <a:pt x="1273" y="278"/>
                    </a:lnTo>
                    <a:lnTo>
                      <a:pt x="1271" y="277"/>
                    </a:lnTo>
                    <a:lnTo>
                      <a:pt x="1270" y="277"/>
                    </a:lnTo>
                    <a:lnTo>
                      <a:pt x="1270" y="275"/>
                    </a:lnTo>
                    <a:lnTo>
                      <a:pt x="1265" y="277"/>
                    </a:lnTo>
                    <a:lnTo>
                      <a:pt x="1262" y="277"/>
                    </a:lnTo>
                    <a:lnTo>
                      <a:pt x="1260" y="277"/>
                    </a:lnTo>
                    <a:lnTo>
                      <a:pt x="1259" y="277"/>
                    </a:lnTo>
                    <a:lnTo>
                      <a:pt x="1257" y="278"/>
                    </a:lnTo>
                    <a:lnTo>
                      <a:pt x="1253" y="282"/>
                    </a:lnTo>
                    <a:lnTo>
                      <a:pt x="1249" y="283"/>
                    </a:lnTo>
                    <a:lnTo>
                      <a:pt x="1248" y="283"/>
                    </a:lnTo>
                    <a:lnTo>
                      <a:pt x="1246" y="282"/>
                    </a:lnTo>
                    <a:lnTo>
                      <a:pt x="1243" y="282"/>
                    </a:lnTo>
                    <a:lnTo>
                      <a:pt x="1243" y="280"/>
                    </a:lnTo>
                    <a:lnTo>
                      <a:pt x="1246" y="278"/>
                    </a:lnTo>
                    <a:lnTo>
                      <a:pt x="1248" y="278"/>
                    </a:lnTo>
                    <a:lnTo>
                      <a:pt x="1249" y="277"/>
                    </a:lnTo>
                    <a:lnTo>
                      <a:pt x="1249" y="275"/>
                    </a:lnTo>
                    <a:lnTo>
                      <a:pt x="1249" y="275"/>
                    </a:lnTo>
                    <a:lnTo>
                      <a:pt x="1249" y="275"/>
                    </a:lnTo>
                    <a:lnTo>
                      <a:pt x="1249" y="274"/>
                    </a:lnTo>
                    <a:lnTo>
                      <a:pt x="1251" y="275"/>
                    </a:lnTo>
                    <a:lnTo>
                      <a:pt x="1253" y="278"/>
                    </a:lnTo>
                    <a:lnTo>
                      <a:pt x="1253" y="278"/>
                    </a:lnTo>
                    <a:lnTo>
                      <a:pt x="1253" y="278"/>
                    </a:lnTo>
                    <a:lnTo>
                      <a:pt x="1254" y="277"/>
                    </a:lnTo>
                    <a:lnTo>
                      <a:pt x="1256" y="275"/>
                    </a:lnTo>
                    <a:lnTo>
                      <a:pt x="1256" y="272"/>
                    </a:lnTo>
                    <a:lnTo>
                      <a:pt x="1256" y="271"/>
                    </a:lnTo>
                    <a:lnTo>
                      <a:pt x="1256" y="271"/>
                    </a:lnTo>
                    <a:lnTo>
                      <a:pt x="1257" y="271"/>
                    </a:lnTo>
                    <a:lnTo>
                      <a:pt x="1256" y="267"/>
                    </a:lnTo>
                    <a:lnTo>
                      <a:pt x="1256" y="266"/>
                    </a:lnTo>
                    <a:lnTo>
                      <a:pt x="1257" y="263"/>
                    </a:lnTo>
                    <a:lnTo>
                      <a:pt x="1257" y="263"/>
                    </a:lnTo>
                    <a:lnTo>
                      <a:pt x="1257" y="261"/>
                    </a:lnTo>
                    <a:lnTo>
                      <a:pt x="1253" y="261"/>
                    </a:lnTo>
                    <a:lnTo>
                      <a:pt x="1251" y="260"/>
                    </a:lnTo>
                    <a:lnTo>
                      <a:pt x="1251" y="257"/>
                    </a:lnTo>
                    <a:lnTo>
                      <a:pt x="1253" y="253"/>
                    </a:lnTo>
                    <a:lnTo>
                      <a:pt x="1253" y="252"/>
                    </a:lnTo>
                    <a:lnTo>
                      <a:pt x="1254" y="250"/>
                    </a:lnTo>
                    <a:lnTo>
                      <a:pt x="1254" y="249"/>
                    </a:lnTo>
                    <a:lnTo>
                      <a:pt x="1253" y="244"/>
                    </a:lnTo>
                    <a:lnTo>
                      <a:pt x="1253" y="242"/>
                    </a:lnTo>
                    <a:lnTo>
                      <a:pt x="1251" y="241"/>
                    </a:lnTo>
                    <a:lnTo>
                      <a:pt x="1249" y="241"/>
                    </a:lnTo>
                    <a:lnTo>
                      <a:pt x="1240" y="239"/>
                    </a:lnTo>
                    <a:lnTo>
                      <a:pt x="1238" y="239"/>
                    </a:lnTo>
                    <a:lnTo>
                      <a:pt x="1235" y="239"/>
                    </a:lnTo>
                    <a:lnTo>
                      <a:pt x="1235" y="238"/>
                    </a:lnTo>
                    <a:lnTo>
                      <a:pt x="1237" y="238"/>
                    </a:lnTo>
                    <a:lnTo>
                      <a:pt x="1246" y="238"/>
                    </a:lnTo>
                    <a:lnTo>
                      <a:pt x="1249" y="238"/>
                    </a:lnTo>
                    <a:lnTo>
                      <a:pt x="1253" y="236"/>
                    </a:lnTo>
                    <a:lnTo>
                      <a:pt x="1253" y="235"/>
                    </a:lnTo>
                    <a:lnTo>
                      <a:pt x="1253" y="233"/>
                    </a:lnTo>
                    <a:lnTo>
                      <a:pt x="1253" y="231"/>
                    </a:lnTo>
                    <a:lnTo>
                      <a:pt x="1253" y="230"/>
                    </a:lnTo>
                    <a:lnTo>
                      <a:pt x="1251" y="228"/>
                    </a:lnTo>
                    <a:lnTo>
                      <a:pt x="1251" y="227"/>
                    </a:lnTo>
                    <a:lnTo>
                      <a:pt x="1251" y="225"/>
                    </a:lnTo>
                    <a:lnTo>
                      <a:pt x="1251" y="222"/>
                    </a:lnTo>
                    <a:lnTo>
                      <a:pt x="1251" y="221"/>
                    </a:lnTo>
                    <a:lnTo>
                      <a:pt x="1251" y="217"/>
                    </a:lnTo>
                    <a:lnTo>
                      <a:pt x="1253" y="214"/>
                    </a:lnTo>
                    <a:lnTo>
                      <a:pt x="1254" y="211"/>
                    </a:lnTo>
                    <a:lnTo>
                      <a:pt x="1256" y="211"/>
                    </a:lnTo>
                    <a:lnTo>
                      <a:pt x="1256" y="210"/>
                    </a:lnTo>
                    <a:lnTo>
                      <a:pt x="1257" y="208"/>
                    </a:lnTo>
                    <a:lnTo>
                      <a:pt x="1257" y="206"/>
                    </a:lnTo>
                    <a:lnTo>
                      <a:pt x="1257" y="205"/>
                    </a:lnTo>
                    <a:lnTo>
                      <a:pt x="1256" y="202"/>
                    </a:lnTo>
                    <a:lnTo>
                      <a:pt x="1256" y="202"/>
                    </a:lnTo>
                    <a:lnTo>
                      <a:pt x="1254" y="200"/>
                    </a:lnTo>
                    <a:lnTo>
                      <a:pt x="1253" y="200"/>
                    </a:lnTo>
                    <a:lnTo>
                      <a:pt x="1253" y="202"/>
                    </a:lnTo>
                    <a:lnTo>
                      <a:pt x="1253" y="205"/>
                    </a:lnTo>
                    <a:lnTo>
                      <a:pt x="1251" y="206"/>
                    </a:lnTo>
                    <a:lnTo>
                      <a:pt x="1249" y="206"/>
                    </a:lnTo>
                    <a:lnTo>
                      <a:pt x="1248" y="208"/>
                    </a:lnTo>
                    <a:lnTo>
                      <a:pt x="1246" y="208"/>
                    </a:lnTo>
                    <a:lnTo>
                      <a:pt x="1245" y="206"/>
                    </a:lnTo>
                    <a:lnTo>
                      <a:pt x="1243" y="205"/>
                    </a:lnTo>
                    <a:lnTo>
                      <a:pt x="1243" y="203"/>
                    </a:lnTo>
                    <a:lnTo>
                      <a:pt x="1243" y="202"/>
                    </a:lnTo>
                    <a:lnTo>
                      <a:pt x="1243" y="202"/>
                    </a:lnTo>
                    <a:lnTo>
                      <a:pt x="1242" y="200"/>
                    </a:lnTo>
                    <a:lnTo>
                      <a:pt x="1240" y="200"/>
                    </a:lnTo>
                    <a:lnTo>
                      <a:pt x="1237" y="202"/>
                    </a:lnTo>
                    <a:lnTo>
                      <a:pt x="1234" y="200"/>
                    </a:lnTo>
                    <a:lnTo>
                      <a:pt x="1227" y="199"/>
                    </a:lnTo>
                    <a:lnTo>
                      <a:pt x="1226" y="197"/>
                    </a:lnTo>
                    <a:lnTo>
                      <a:pt x="1223" y="197"/>
                    </a:lnTo>
                    <a:lnTo>
                      <a:pt x="1221" y="197"/>
                    </a:lnTo>
                    <a:lnTo>
                      <a:pt x="1220" y="195"/>
                    </a:lnTo>
                    <a:lnTo>
                      <a:pt x="1215" y="191"/>
                    </a:lnTo>
                    <a:lnTo>
                      <a:pt x="1217" y="189"/>
                    </a:lnTo>
                    <a:lnTo>
                      <a:pt x="1217" y="188"/>
                    </a:lnTo>
                    <a:lnTo>
                      <a:pt x="1217" y="188"/>
                    </a:lnTo>
                    <a:lnTo>
                      <a:pt x="1215" y="188"/>
                    </a:lnTo>
                    <a:lnTo>
                      <a:pt x="1213" y="186"/>
                    </a:lnTo>
                    <a:lnTo>
                      <a:pt x="1213" y="186"/>
                    </a:lnTo>
                    <a:lnTo>
                      <a:pt x="1215" y="183"/>
                    </a:lnTo>
                    <a:lnTo>
                      <a:pt x="1217" y="183"/>
                    </a:lnTo>
                    <a:lnTo>
                      <a:pt x="1218" y="181"/>
                    </a:lnTo>
                    <a:lnTo>
                      <a:pt x="1218" y="181"/>
                    </a:lnTo>
                    <a:lnTo>
                      <a:pt x="1218" y="180"/>
                    </a:lnTo>
                    <a:lnTo>
                      <a:pt x="1213" y="177"/>
                    </a:lnTo>
                    <a:lnTo>
                      <a:pt x="1212" y="178"/>
                    </a:lnTo>
                    <a:lnTo>
                      <a:pt x="1212" y="180"/>
                    </a:lnTo>
                    <a:lnTo>
                      <a:pt x="1210" y="180"/>
                    </a:lnTo>
                    <a:lnTo>
                      <a:pt x="1207" y="181"/>
                    </a:lnTo>
                    <a:lnTo>
                      <a:pt x="1207" y="181"/>
                    </a:lnTo>
                    <a:lnTo>
                      <a:pt x="1210" y="180"/>
                    </a:lnTo>
                    <a:lnTo>
                      <a:pt x="1210" y="178"/>
                    </a:lnTo>
                    <a:lnTo>
                      <a:pt x="1210" y="178"/>
                    </a:lnTo>
                    <a:lnTo>
                      <a:pt x="1210" y="177"/>
                    </a:lnTo>
                    <a:lnTo>
                      <a:pt x="1209" y="175"/>
                    </a:lnTo>
                    <a:lnTo>
                      <a:pt x="1209" y="174"/>
                    </a:lnTo>
                    <a:lnTo>
                      <a:pt x="1207" y="172"/>
                    </a:lnTo>
                    <a:lnTo>
                      <a:pt x="1204" y="170"/>
                    </a:lnTo>
                    <a:lnTo>
                      <a:pt x="1202" y="169"/>
                    </a:lnTo>
                    <a:lnTo>
                      <a:pt x="1201" y="169"/>
                    </a:lnTo>
                    <a:lnTo>
                      <a:pt x="1199" y="170"/>
                    </a:lnTo>
                    <a:lnTo>
                      <a:pt x="1198" y="172"/>
                    </a:lnTo>
                    <a:lnTo>
                      <a:pt x="1198" y="172"/>
                    </a:lnTo>
                    <a:lnTo>
                      <a:pt x="1199" y="167"/>
                    </a:lnTo>
                    <a:lnTo>
                      <a:pt x="1199" y="164"/>
                    </a:lnTo>
                    <a:lnTo>
                      <a:pt x="1199" y="164"/>
                    </a:lnTo>
                    <a:lnTo>
                      <a:pt x="1199" y="163"/>
                    </a:lnTo>
                    <a:lnTo>
                      <a:pt x="1199" y="161"/>
                    </a:lnTo>
                    <a:lnTo>
                      <a:pt x="1199" y="161"/>
                    </a:lnTo>
                    <a:lnTo>
                      <a:pt x="1198" y="161"/>
                    </a:lnTo>
                    <a:lnTo>
                      <a:pt x="1196" y="161"/>
                    </a:lnTo>
                    <a:lnTo>
                      <a:pt x="1193" y="159"/>
                    </a:lnTo>
                    <a:lnTo>
                      <a:pt x="1193" y="158"/>
                    </a:lnTo>
                    <a:lnTo>
                      <a:pt x="1190" y="155"/>
                    </a:lnTo>
                    <a:lnTo>
                      <a:pt x="1188" y="153"/>
                    </a:lnTo>
                    <a:lnTo>
                      <a:pt x="1185" y="152"/>
                    </a:lnTo>
                    <a:lnTo>
                      <a:pt x="1182" y="149"/>
                    </a:lnTo>
                    <a:lnTo>
                      <a:pt x="1181" y="149"/>
                    </a:lnTo>
                    <a:lnTo>
                      <a:pt x="1181" y="149"/>
                    </a:lnTo>
                    <a:lnTo>
                      <a:pt x="1177" y="150"/>
                    </a:lnTo>
                    <a:lnTo>
                      <a:pt x="1176" y="152"/>
                    </a:lnTo>
                    <a:lnTo>
                      <a:pt x="1173" y="153"/>
                    </a:lnTo>
                    <a:lnTo>
                      <a:pt x="1168" y="156"/>
                    </a:lnTo>
                    <a:lnTo>
                      <a:pt x="1165" y="158"/>
                    </a:lnTo>
                    <a:lnTo>
                      <a:pt x="1163" y="159"/>
                    </a:lnTo>
                    <a:lnTo>
                      <a:pt x="1165" y="161"/>
                    </a:lnTo>
                    <a:lnTo>
                      <a:pt x="1165" y="161"/>
                    </a:lnTo>
                    <a:lnTo>
                      <a:pt x="1160" y="158"/>
                    </a:lnTo>
                    <a:lnTo>
                      <a:pt x="1159" y="156"/>
                    </a:lnTo>
                    <a:lnTo>
                      <a:pt x="1157" y="156"/>
                    </a:lnTo>
                    <a:lnTo>
                      <a:pt x="1152" y="155"/>
                    </a:lnTo>
                    <a:lnTo>
                      <a:pt x="1151" y="155"/>
                    </a:lnTo>
                    <a:lnTo>
                      <a:pt x="1149" y="155"/>
                    </a:lnTo>
                    <a:lnTo>
                      <a:pt x="1145" y="159"/>
                    </a:lnTo>
                    <a:lnTo>
                      <a:pt x="1145" y="158"/>
                    </a:lnTo>
                    <a:lnTo>
                      <a:pt x="1146" y="156"/>
                    </a:lnTo>
                    <a:lnTo>
                      <a:pt x="1145" y="153"/>
                    </a:lnTo>
                    <a:lnTo>
                      <a:pt x="1131" y="149"/>
                    </a:lnTo>
                    <a:lnTo>
                      <a:pt x="1126" y="145"/>
                    </a:lnTo>
                    <a:lnTo>
                      <a:pt x="1120" y="145"/>
                    </a:lnTo>
                    <a:lnTo>
                      <a:pt x="1116" y="144"/>
                    </a:lnTo>
                    <a:lnTo>
                      <a:pt x="1113" y="145"/>
                    </a:lnTo>
                    <a:lnTo>
                      <a:pt x="1107" y="150"/>
                    </a:lnTo>
                    <a:lnTo>
                      <a:pt x="1104" y="153"/>
                    </a:lnTo>
                    <a:lnTo>
                      <a:pt x="1104" y="153"/>
                    </a:lnTo>
                    <a:lnTo>
                      <a:pt x="1104" y="155"/>
                    </a:lnTo>
                    <a:lnTo>
                      <a:pt x="1104" y="158"/>
                    </a:lnTo>
                    <a:lnTo>
                      <a:pt x="1104" y="161"/>
                    </a:lnTo>
                    <a:lnTo>
                      <a:pt x="1104" y="169"/>
                    </a:lnTo>
                    <a:lnTo>
                      <a:pt x="1106" y="172"/>
                    </a:lnTo>
                    <a:lnTo>
                      <a:pt x="1107" y="175"/>
                    </a:lnTo>
                    <a:lnTo>
                      <a:pt x="1107" y="177"/>
                    </a:lnTo>
                    <a:lnTo>
                      <a:pt x="1109" y="177"/>
                    </a:lnTo>
                    <a:lnTo>
                      <a:pt x="1112" y="180"/>
                    </a:lnTo>
                    <a:lnTo>
                      <a:pt x="1115" y="183"/>
                    </a:lnTo>
                    <a:lnTo>
                      <a:pt x="1112" y="185"/>
                    </a:lnTo>
                    <a:lnTo>
                      <a:pt x="1110" y="186"/>
                    </a:lnTo>
                    <a:lnTo>
                      <a:pt x="1110" y="188"/>
                    </a:lnTo>
                    <a:lnTo>
                      <a:pt x="1110" y="194"/>
                    </a:lnTo>
                    <a:lnTo>
                      <a:pt x="1110" y="195"/>
                    </a:lnTo>
                    <a:lnTo>
                      <a:pt x="1110" y="197"/>
                    </a:lnTo>
                    <a:lnTo>
                      <a:pt x="1109" y="200"/>
                    </a:lnTo>
                    <a:lnTo>
                      <a:pt x="1107" y="202"/>
                    </a:lnTo>
                    <a:lnTo>
                      <a:pt x="1102" y="208"/>
                    </a:lnTo>
                    <a:lnTo>
                      <a:pt x="1102" y="210"/>
                    </a:lnTo>
                    <a:lnTo>
                      <a:pt x="1104" y="210"/>
                    </a:lnTo>
                    <a:lnTo>
                      <a:pt x="1106" y="210"/>
                    </a:lnTo>
                    <a:lnTo>
                      <a:pt x="1109" y="210"/>
                    </a:lnTo>
                    <a:lnTo>
                      <a:pt x="1113" y="210"/>
                    </a:lnTo>
                    <a:lnTo>
                      <a:pt x="1113" y="210"/>
                    </a:lnTo>
                    <a:lnTo>
                      <a:pt x="1112" y="210"/>
                    </a:lnTo>
                    <a:lnTo>
                      <a:pt x="1110" y="214"/>
                    </a:lnTo>
                    <a:lnTo>
                      <a:pt x="1110" y="214"/>
                    </a:lnTo>
                    <a:lnTo>
                      <a:pt x="1110" y="216"/>
                    </a:lnTo>
                    <a:lnTo>
                      <a:pt x="1110" y="217"/>
                    </a:lnTo>
                    <a:lnTo>
                      <a:pt x="1112" y="219"/>
                    </a:lnTo>
                    <a:lnTo>
                      <a:pt x="1115" y="219"/>
                    </a:lnTo>
                    <a:lnTo>
                      <a:pt x="1115" y="219"/>
                    </a:lnTo>
                    <a:lnTo>
                      <a:pt x="1113" y="221"/>
                    </a:lnTo>
                    <a:lnTo>
                      <a:pt x="1112" y="224"/>
                    </a:lnTo>
                    <a:lnTo>
                      <a:pt x="1112" y="225"/>
                    </a:lnTo>
                    <a:lnTo>
                      <a:pt x="1115" y="233"/>
                    </a:lnTo>
                    <a:lnTo>
                      <a:pt x="1115" y="233"/>
                    </a:lnTo>
                    <a:lnTo>
                      <a:pt x="1113" y="235"/>
                    </a:lnTo>
                    <a:lnTo>
                      <a:pt x="1113" y="235"/>
                    </a:lnTo>
                    <a:lnTo>
                      <a:pt x="1113" y="236"/>
                    </a:lnTo>
                    <a:lnTo>
                      <a:pt x="1118" y="236"/>
                    </a:lnTo>
                    <a:lnTo>
                      <a:pt x="1118" y="238"/>
                    </a:lnTo>
                    <a:lnTo>
                      <a:pt x="1116" y="241"/>
                    </a:lnTo>
                    <a:lnTo>
                      <a:pt x="1116" y="242"/>
                    </a:lnTo>
                    <a:lnTo>
                      <a:pt x="1118" y="244"/>
                    </a:lnTo>
                    <a:lnTo>
                      <a:pt x="1118" y="246"/>
                    </a:lnTo>
                    <a:lnTo>
                      <a:pt x="1115" y="249"/>
                    </a:lnTo>
                    <a:lnTo>
                      <a:pt x="1115" y="249"/>
                    </a:lnTo>
                    <a:lnTo>
                      <a:pt x="1116" y="252"/>
                    </a:lnTo>
                    <a:lnTo>
                      <a:pt x="1116" y="253"/>
                    </a:lnTo>
                    <a:lnTo>
                      <a:pt x="1116" y="253"/>
                    </a:lnTo>
                    <a:lnTo>
                      <a:pt x="1113" y="249"/>
                    </a:lnTo>
                    <a:lnTo>
                      <a:pt x="1110" y="250"/>
                    </a:lnTo>
                    <a:lnTo>
                      <a:pt x="1110" y="250"/>
                    </a:lnTo>
                    <a:lnTo>
                      <a:pt x="1110" y="253"/>
                    </a:lnTo>
                    <a:lnTo>
                      <a:pt x="1110" y="253"/>
                    </a:lnTo>
                    <a:lnTo>
                      <a:pt x="1109" y="257"/>
                    </a:lnTo>
                    <a:lnTo>
                      <a:pt x="1109" y="258"/>
                    </a:lnTo>
                    <a:lnTo>
                      <a:pt x="1110" y="258"/>
                    </a:lnTo>
                    <a:lnTo>
                      <a:pt x="1110" y="260"/>
                    </a:lnTo>
                    <a:lnTo>
                      <a:pt x="1109" y="263"/>
                    </a:lnTo>
                    <a:lnTo>
                      <a:pt x="1106" y="264"/>
                    </a:lnTo>
                    <a:lnTo>
                      <a:pt x="1104" y="266"/>
                    </a:lnTo>
                    <a:lnTo>
                      <a:pt x="1104" y="267"/>
                    </a:lnTo>
                    <a:lnTo>
                      <a:pt x="1101" y="272"/>
                    </a:lnTo>
                    <a:lnTo>
                      <a:pt x="1098" y="277"/>
                    </a:lnTo>
                    <a:lnTo>
                      <a:pt x="1098" y="277"/>
                    </a:lnTo>
                    <a:lnTo>
                      <a:pt x="1098" y="278"/>
                    </a:lnTo>
                    <a:lnTo>
                      <a:pt x="1098" y="280"/>
                    </a:lnTo>
                    <a:lnTo>
                      <a:pt x="1096" y="283"/>
                    </a:lnTo>
                    <a:lnTo>
                      <a:pt x="1096" y="285"/>
                    </a:lnTo>
                    <a:lnTo>
                      <a:pt x="1098" y="286"/>
                    </a:lnTo>
                    <a:lnTo>
                      <a:pt x="1099" y="286"/>
                    </a:lnTo>
                    <a:lnTo>
                      <a:pt x="1106" y="293"/>
                    </a:lnTo>
                    <a:lnTo>
                      <a:pt x="1107" y="294"/>
                    </a:lnTo>
                    <a:lnTo>
                      <a:pt x="1112" y="297"/>
                    </a:lnTo>
                    <a:lnTo>
                      <a:pt x="1113" y="299"/>
                    </a:lnTo>
                    <a:lnTo>
                      <a:pt x="1115" y="300"/>
                    </a:lnTo>
                    <a:lnTo>
                      <a:pt x="1121" y="305"/>
                    </a:lnTo>
                    <a:lnTo>
                      <a:pt x="1126" y="314"/>
                    </a:lnTo>
                    <a:lnTo>
                      <a:pt x="1127" y="318"/>
                    </a:lnTo>
                    <a:lnTo>
                      <a:pt x="1127" y="319"/>
                    </a:lnTo>
                    <a:lnTo>
                      <a:pt x="1129" y="327"/>
                    </a:lnTo>
                    <a:lnTo>
                      <a:pt x="1131" y="330"/>
                    </a:lnTo>
                    <a:lnTo>
                      <a:pt x="1131" y="333"/>
                    </a:lnTo>
                    <a:lnTo>
                      <a:pt x="1132" y="343"/>
                    </a:lnTo>
                    <a:lnTo>
                      <a:pt x="1132" y="349"/>
                    </a:lnTo>
                    <a:lnTo>
                      <a:pt x="1132" y="355"/>
                    </a:lnTo>
                    <a:lnTo>
                      <a:pt x="1131" y="360"/>
                    </a:lnTo>
                    <a:lnTo>
                      <a:pt x="1131" y="364"/>
                    </a:lnTo>
                    <a:lnTo>
                      <a:pt x="1129" y="368"/>
                    </a:lnTo>
                    <a:lnTo>
                      <a:pt x="1127" y="371"/>
                    </a:lnTo>
                    <a:lnTo>
                      <a:pt x="1124" y="375"/>
                    </a:lnTo>
                    <a:lnTo>
                      <a:pt x="1123" y="379"/>
                    </a:lnTo>
                    <a:lnTo>
                      <a:pt x="1121" y="382"/>
                    </a:lnTo>
                    <a:lnTo>
                      <a:pt x="1118" y="385"/>
                    </a:lnTo>
                    <a:lnTo>
                      <a:pt x="1112" y="391"/>
                    </a:lnTo>
                    <a:lnTo>
                      <a:pt x="1110" y="393"/>
                    </a:lnTo>
                    <a:lnTo>
                      <a:pt x="1107" y="394"/>
                    </a:lnTo>
                    <a:lnTo>
                      <a:pt x="1104" y="397"/>
                    </a:lnTo>
                    <a:lnTo>
                      <a:pt x="1101" y="399"/>
                    </a:lnTo>
                    <a:lnTo>
                      <a:pt x="1098" y="402"/>
                    </a:lnTo>
                    <a:lnTo>
                      <a:pt x="1091" y="405"/>
                    </a:lnTo>
                    <a:lnTo>
                      <a:pt x="1090" y="405"/>
                    </a:lnTo>
                    <a:lnTo>
                      <a:pt x="1076" y="411"/>
                    </a:lnTo>
                    <a:lnTo>
                      <a:pt x="1076" y="411"/>
                    </a:lnTo>
                    <a:lnTo>
                      <a:pt x="1076" y="411"/>
                    </a:lnTo>
                    <a:lnTo>
                      <a:pt x="1076" y="413"/>
                    </a:lnTo>
                    <a:lnTo>
                      <a:pt x="1077" y="413"/>
                    </a:lnTo>
                    <a:lnTo>
                      <a:pt x="1077" y="415"/>
                    </a:lnTo>
                    <a:lnTo>
                      <a:pt x="1079" y="418"/>
                    </a:lnTo>
                    <a:lnTo>
                      <a:pt x="1081" y="421"/>
                    </a:lnTo>
                    <a:lnTo>
                      <a:pt x="1081" y="422"/>
                    </a:lnTo>
                    <a:lnTo>
                      <a:pt x="1082" y="424"/>
                    </a:lnTo>
                    <a:lnTo>
                      <a:pt x="1084" y="426"/>
                    </a:lnTo>
                    <a:lnTo>
                      <a:pt x="1085" y="427"/>
                    </a:lnTo>
                    <a:lnTo>
                      <a:pt x="1085" y="427"/>
                    </a:lnTo>
                    <a:lnTo>
                      <a:pt x="1085" y="427"/>
                    </a:lnTo>
                    <a:lnTo>
                      <a:pt x="1085" y="429"/>
                    </a:lnTo>
                    <a:lnTo>
                      <a:pt x="1084" y="429"/>
                    </a:lnTo>
                    <a:lnTo>
                      <a:pt x="1087" y="430"/>
                    </a:lnTo>
                    <a:lnTo>
                      <a:pt x="1088" y="432"/>
                    </a:lnTo>
                    <a:lnTo>
                      <a:pt x="1088" y="432"/>
                    </a:lnTo>
                    <a:lnTo>
                      <a:pt x="1087" y="433"/>
                    </a:lnTo>
                    <a:lnTo>
                      <a:pt x="1087" y="433"/>
                    </a:lnTo>
                    <a:lnTo>
                      <a:pt x="1088" y="435"/>
                    </a:lnTo>
                    <a:lnTo>
                      <a:pt x="1090" y="436"/>
                    </a:lnTo>
                    <a:lnTo>
                      <a:pt x="1090" y="436"/>
                    </a:lnTo>
                    <a:lnTo>
                      <a:pt x="1088" y="436"/>
                    </a:lnTo>
                    <a:lnTo>
                      <a:pt x="1087" y="438"/>
                    </a:lnTo>
                    <a:lnTo>
                      <a:pt x="1087" y="440"/>
                    </a:lnTo>
                    <a:lnTo>
                      <a:pt x="1087" y="440"/>
                    </a:lnTo>
                    <a:lnTo>
                      <a:pt x="1087" y="443"/>
                    </a:lnTo>
                    <a:lnTo>
                      <a:pt x="1087" y="444"/>
                    </a:lnTo>
                    <a:lnTo>
                      <a:pt x="1088" y="449"/>
                    </a:lnTo>
                    <a:lnTo>
                      <a:pt x="1090" y="455"/>
                    </a:lnTo>
                    <a:lnTo>
                      <a:pt x="1090" y="460"/>
                    </a:lnTo>
                    <a:lnTo>
                      <a:pt x="1091" y="462"/>
                    </a:lnTo>
                    <a:lnTo>
                      <a:pt x="1093" y="465"/>
                    </a:lnTo>
                    <a:lnTo>
                      <a:pt x="1093" y="466"/>
                    </a:lnTo>
                    <a:lnTo>
                      <a:pt x="1093" y="466"/>
                    </a:lnTo>
                    <a:lnTo>
                      <a:pt x="1093" y="468"/>
                    </a:lnTo>
                    <a:lnTo>
                      <a:pt x="1093" y="471"/>
                    </a:lnTo>
                    <a:lnTo>
                      <a:pt x="1093" y="472"/>
                    </a:lnTo>
                    <a:lnTo>
                      <a:pt x="1095" y="476"/>
                    </a:lnTo>
                    <a:lnTo>
                      <a:pt x="1096" y="476"/>
                    </a:lnTo>
                    <a:lnTo>
                      <a:pt x="1096" y="479"/>
                    </a:lnTo>
                    <a:lnTo>
                      <a:pt x="1096" y="482"/>
                    </a:lnTo>
                    <a:lnTo>
                      <a:pt x="1096" y="482"/>
                    </a:lnTo>
                    <a:lnTo>
                      <a:pt x="1098" y="483"/>
                    </a:lnTo>
                    <a:lnTo>
                      <a:pt x="1098" y="483"/>
                    </a:lnTo>
                    <a:lnTo>
                      <a:pt x="1096" y="483"/>
                    </a:lnTo>
                    <a:lnTo>
                      <a:pt x="1096" y="487"/>
                    </a:lnTo>
                    <a:lnTo>
                      <a:pt x="1093" y="490"/>
                    </a:lnTo>
                    <a:lnTo>
                      <a:pt x="1091" y="491"/>
                    </a:lnTo>
                    <a:lnTo>
                      <a:pt x="1090" y="493"/>
                    </a:lnTo>
                    <a:lnTo>
                      <a:pt x="1090" y="494"/>
                    </a:lnTo>
                    <a:lnTo>
                      <a:pt x="1090" y="496"/>
                    </a:lnTo>
                    <a:lnTo>
                      <a:pt x="1088" y="496"/>
                    </a:lnTo>
                    <a:lnTo>
                      <a:pt x="1088" y="497"/>
                    </a:lnTo>
                    <a:lnTo>
                      <a:pt x="1091" y="502"/>
                    </a:lnTo>
                    <a:lnTo>
                      <a:pt x="1093" y="504"/>
                    </a:lnTo>
                    <a:lnTo>
                      <a:pt x="1093" y="504"/>
                    </a:lnTo>
                    <a:lnTo>
                      <a:pt x="1091" y="507"/>
                    </a:lnTo>
                    <a:lnTo>
                      <a:pt x="1091" y="507"/>
                    </a:lnTo>
                    <a:lnTo>
                      <a:pt x="1090" y="510"/>
                    </a:lnTo>
                    <a:lnTo>
                      <a:pt x="1090" y="513"/>
                    </a:lnTo>
                    <a:lnTo>
                      <a:pt x="1090" y="512"/>
                    </a:lnTo>
                    <a:lnTo>
                      <a:pt x="1088" y="507"/>
                    </a:lnTo>
                    <a:lnTo>
                      <a:pt x="1088" y="507"/>
                    </a:lnTo>
                    <a:lnTo>
                      <a:pt x="1087" y="505"/>
                    </a:lnTo>
                    <a:lnTo>
                      <a:pt x="1087" y="504"/>
                    </a:lnTo>
                    <a:lnTo>
                      <a:pt x="1085" y="504"/>
                    </a:lnTo>
                    <a:lnTo>
                      <a:pt x="1084" y="504"/>
                    </a:lnTo>
                    <a:lnTo>
                      <a:pt x="1084" y="502"/>
                    </a:lnTo>
                    <a:lnTo>
                      <a:pt x="1084" y="501"/>
                    </a:lnTo>
                    <a:lnTo>
                      <a:pt x="1082" y="501"/>
                    </a:lnTo>
                    <a:lnTo>
                      <a:pt x="1079" y="502"/>
                    </a:lnTo>
                    <a:lnTo>
                      <a:pt x="1079" y="504"/>
                    </a:lnTo>
                    <a:lnTo>
                      <a:pt x="1079" y="504"/>
                    </a:lnTo>
                    <a:lnTo>
                      <a:pt x="1077" y="505"/>
                    </a:lnTo>
                    <a:lnTo>
                      <a:pt x="1077" y="507"/>
                    </a:lnTo>
                    <a:lnTo>
                      <a:pt x="1076" y="508"/>
                    </a:lnTo>
                    <a:lnTo>
                      <a:pt x="1076" y="512"/>
                    </a:lnTo>
                    <a:lnTo>
                      <a:pt x="1076" y="513"/>
                    </a:lnTo>
                    <a:lnTo>
                      <a:pt x="1076" y="515"/>
                    </a:lnTo>
                    <a:lnTo>
                      <a:pt x="1076" y="515"/>
                    </a:lnTo>
                    <a:lnTo>
                      <a:pt x="1077" y="516"/>
                    </a:lnTo>
                    <a:lnTo>
                      <a:pt x="1081" y="521"/>
                    </a:lnTo>
                    <a:lnTo>
                      <a:pt x="1082" y="523"/>
                    </a:lnTo>
                    <a:lnTo>
                      <a:pt x="1082" y="526"/>
                    </a:lnTo>
                    <a:lnTo>
                      <a:pt x="1081" y="523"/>
                    </a:lnTo>
                    <a:lnTo>
                      <a:pt x="1077" y="518"/>
                    </a:lnTo>
                    <a:lnTo>
                      <a:pt x="1074" y="513"/>
                    </a:lnTo>
                    <a:lnTo>
                      <a:pt x="1071" y="512"/>
                    </a:lnTo>
                    <a:lnTo>
                      <a:pt x="1070" y="510"/>
                    </a:lnTo>
                    <a:lnTo>
                      <a:pt x="1066" y="510"/>
                    </a:lnTo>
                    <a:lnTo>
                      <a:pt x="1065" y="508"/>
                    </a:lnTo>
                    <a:lnTo>
                      <a:pt x="1062" y="510"/>
                    </a:lnTo>
                    <a:lnTo>
                      <a:pt x="1059" y="513"/>
                    </a:lnTo>
                    <a:lnTo>
                      <a:pt x="1057" y="515"/>
                    </a:lnTo>
                    <a:lnTo>
                      <a:pt x="1056" y="515"/>
                    </a:lnTo>
                    <a:lnTo>
                      <a:pt x="1059" y="512"/>
                    </a:lnTo>
                    <a:lnTo>
                      <a:pt x="1062" y="508"/>
                    </a:lnTo>
                    <a:lnTo>
                      <a:pt x="1063" y="507"/>
                    </a:lnTo>
                    <a:lnTo>
                      <a:pt x="1063" y="507"/>
                    </a:lnTo>
                    <a:lnTo>
                      <a:pt x="1062" y="504"/>
                    </a:lnTo>
                    <a:lnTo>
                      <a:pt x="1060" y="499"/>
                    </a:lnTo>
                    <a:lnTo>
                      <a:pt x="1059" y="497"/>
                    </a:lnTo>
                    <a:lnTo>
                      <a:pt x="1059" y="496"/>
                    </a:lnTo>
                    <a:lnTo>
                      <a:pt x="1054" y="491"/>
                    </a:lnTo>
                    <a:lnTo>
                      <a:pt x="1051" y="488"/>
                    </a:lnTo>
                    <a:lnTo>
                      <a:pt x="1048" y="488"/>
                    </a:lnTo>
                    <a:lnTo>
                      <a:pt x="1046" y="487"/>
                    </a:lnTo>
                    <a:lnTo>
                      <a:pt x="1045" y="485"/>
                    </a:lnTo>
                    <a:lnTo>
                      <a:pt x="1043" y="483"/>
                    </a:lnTo>
                    <a:lnTo>
                      <a:pt x="1041" y="483"/>
                    </a:lnTo>
                    <a:lnTo>
                      <a:pt x="1038" y="483"/>
                    </a:lnTo>
                    <a:lnTo>
                      <a:pt x="1038" y="483"/>
                    </a:lnTo>
                    <a:lnTo>
                      <a:pt x="1040" y="483"/>
                    </a:lnTo>
                    <a:lnTo>
                      <a:pt x="1041" y="482"/>
                    </a:lnTo>
                    <a:lnTo>
                      <a:pt x="1043" y="480"/>
                    </a:lnTo>
                    <a:lnTo>
                      <a:pt x="1043" y="480"/>
                    </a:lnTo>
                    <a:lnTo>
                      <a:pt x="1043" y="477"/>
                    </a:lnTo>
                    <a:lnTo>
                      <a:pt x="1040" y="474"/>
                    </a:lnTo>
                    <a:lnTo>
                      <a:pt x="1038" y="471"/>
                    </a:lnTo>
                    <a:lnTo>
                      <a:pt x="1035" y="466"/>
                    </a:lnTo>
                    <a:lnTo>
                      <a:pt x="1034" y="465"/>
                    </a:lnTo>
                    <a:lnTo>
                      <a:pt x="1032" y="463"/>
                    </a:lnTo>
                    <a:lnTo>
                      <a:pt x="1030" y="463"/>
                    </a:lnTo>
                    <a:lnTo>
                      <a:pt x="1030" y="460"/>
                    </a:lnTo>
                    <a:lnTo>
                      <a:pt x="1030" y="460"/>
                    </a:lnTo>
                    <a:lnTo>
                      <a:pt x="1030" y="457"/>
                    </a:lnTo>
                    <a:lnTo>
                      <a:pt x="1032" y="455"/>
                    </a:lnTo>
                    <a:lnTo>
                      <a:pt x="1032" y="454"/>
                    </a:lnTo>
                    <a:lnTo>
                      <a:pt x="1034" y="451"/>
                    </a:lnTo>
                    <a:lnTo>
                      <a:pt x="1032" y="446"/>
                    </a:lnTo>
                    <a:lnTo>
                      <a:pt x="1032" y="443"/>
                    </a:lnTo>
                    <a:lnTo>
                      <a:pt x="1034" y="440"/>
                    </a:lnTo>
                    <a:lnTo>
                      <a:pt x="1034" y="438"/>
                    </a:lnTo>
                    <a:lnTo>
                      <a:pt x="1032" y="435"/>
                    </a:lnTo>
                    <a:lnTo>
                      <a:pt x="1032" y="430"/>
                    </a:lnTo>
                    <a:lnTo>
                      <a:pt x="1030" y="430"/>
                    </a:lnTo>
                    <a:lnTo>
                      <a:pt x="1029" y="427"/>
                    </a:lnTo>
                    <a:lnTo>
                      <a:pt x="1029" y="424"/>
                    </a:lnTo>
                    <a:lnTo>
                      <a:pt x="1029" y="421"/>
                    </a:lnTo>
                    <a:lnTo>
                      <a:pt x="1029" y="418"/>
                    </a:lnTo>
                    <a:lnTo>
                      <a:pt x="1032" y="407"/>
                    </a:lnTo>
                    <a:lnTo>
                      <a:pt x="1032" y="407"/>
                    </a:lnTo>
                    <a:lnTo>
                      <a:pt x="1030" y="402"/>
                    </a:lnTo>
                    <a:lnTo>
                      <a:pt x="1029" y="399"/>
                    </a:lnTo>
                    <a:lnTo>
                      <a:pt x="1026" y="397"/>
                    </a:lnTo>
                    <a:lnTo>
                      <a:pt x="1024" y="397"/>
                    </a:lnTo>
                    <a:lnTo>
                      <a:pt x="1021" y="397"/>
                    </a:lnTo>
                    <a:lnTo>
                      <a:pt x="1021" y="397"/>
                    </a:lnTo>
                    <a:lnTo>
                      <a:pt x="1020" y="394"/>
                    </a:lnTo>
                    <a:lnTo>
                      <a:pt x="1018" y="394"/>
                    </a:lnTo>
                    <a:lnTo>
                      <a:pt x="1015" y="396"/>
                    </a:lnTo>
                    <a:lnTo>
                      <a:pt x="1009" y="394"/>
                    </a:lnTo>
                    <a:lnTo>
                      <a:pt x="1007" y="394"/>
                    </a:lnTo>
                    <a:lnTo>
                      <a:pt x="1002" y="393"/>
                    </a:lnTo>
                    <a:lnTo>
                      <a:pt x="1001" y="393"/>
                    </a:lnTo>
                    <a:lnTo>
                      <a:pt x="1001" y="393"/>
                    </a:lnTo>
                    <a:lnTo>
                      <a:pt x="999" y="393"/>
                    </a:lnTo>
                    <a:lnTo>
                      <a:pt x="996" y="393"/>
                    </a:lnTo>
                    <a:lnTo>
                      <a:pt x="995" y="393"/>
                    </a:lnTo>
                    <a:lnTo>
                      <a:pt x="991" y="394"/>
                    </a:lnTo>
                    <a:lnTo>
                      <a:pt x="988" y="394"/>
                    </a:lnTo>
                    <a:lnTo>
                      <a:pt x="984" y="393"/>
                    </a:lnTo>
                    <a:lnTo>
                      <a:pt x="982" y="393"/>
                    </a:lnTo>
                    <a:lnTo>
                      <a:pt x="980" y="394"/>
                    </a:lnTo>
                    <a:lnTo>
                      <a:pt x="979" y="394"/>
                    </a:lnTo>
                    <a:lnTo>
                      <a:pt x="976" y="399"/>
                    </a:lnTo>
                    <a:lnTo>
                      <a:pt x="977" y="399"/>
                    </a:lnTo>
                    <a:lnTo>
                      <a:pt x="979" y="393"/>
                    </a:lnTo>
                    <a:lnTo>
                      <a:pt x="979" y="391"/>
                    </a:lnTo>
                    <a:lnTo>
                      <a:pt x="977" y="390"/>
                    </a:lnTo>
                    <a:lnTo>
                      <a:pt x="976" y="388"/>
                    </a:lnTo>
                    <a:lnTo>
                      <a:pt x="974" y="386"/>
                    </a:lnTo>
                    <a:lnTo>
                      <a:pt x="973" y="385"/>
                    </a:lnTo>
                    <a:lnTo>
                      <a:pt x="971" y="383"/>
                    </a:lnTo>
                    <a:lnTo>
                      <a:pt x="968" y="382"/>
                    </a:lnTo>
                    <a:lnTo>
                      <a:pt x="966" y="380"/>
                    </a:lnTo>
                    <a:lnTo>
                      <a:pt x="963" y="380"/>
                    </a:lnTo>
                    <a:lnTo>
                      <a:pt x="959" y="379"/>
                    </a:lnTo>
                    <a:lnTo>
                      <a:pt x="949" y="374"/>
                    </a:lnTo>
                    <a:lnTo>
                      <a:pt x="943" y="372"/>
                    </a:lnTo>
                    <a:lnTo>
                      <a:pt x="940" y="371"/>
                    </a:lnTo>
                    <a:lnTo>
                      <a:pt x="938" y="369"/>
                    </a:lnTo>
                    <a:lnTo>
                      <a:pt x="932" y="360"/>
                    </a:lnTo>
                    <a:lnTo>
                      <a:pt x="929" y="357"/>
                    </a:lnTo>
                    <a:lnTo>
                      <a:pt x="926" y="354"/>
                    </a:lnTo>
                    <a:lnTo>
                      <a:pt x="923" y="352"/>
                    </a:lnTo>
                    <a:lnTo>
                      <a:pt x="918" y="347"/>
                    </a:lnTo>
                    <a:lnTo>
                      <a:pt x="916" y="346"/>
                    </a:lnTo>
                    <a:lnTo>
                      <a:pt x="913" y="344"/>
                    </a:lnTo>
                    <a:lnTo>
                      <a:pt x="909" y="343"/>
                    </a:lnTo>
                    <a:lnTo>
                      <a:pt x="907" y="341"/>
                    </a:lnTo>
                    <a:lnTo>
                      <a:pt x="899" y="339"/>
                    </a:lnTo>
                    <a:lnTo>
                      <a:pt x="894" y="338"/>
                    </a:lnTo>
                    <a:lnTo>
                      <a:pt x="890" y="335"/>
                    </a:lnTo>
                    <a:lnTo>
                      <a:pt x="885" y="332"/>
                    </a:lnTo>
                    <a:lnTo>
                      <a:pt x="879" y="330"/>
                    </a:lnTo>
                    <a:lnTo>
                      <a:pt x="876" y="332"/>
                    </a:lnTo>
                    <a:lnTo>
                      <a:pt x="860" y="336"/>
                    </a:lnTo>
                    <a:lnTo>
                      <a:pt x="855" y="339"/>
                    </a:lnTo>
                    <a:lnTo>
                      <a:pt x="854" y="339"/>
                    </a:lnTo>
                    <a:lnTo>
                      <a:pt x="854" y="339"/>
                    </a:lnTo>
                    <a:lnTo>
                      <a:pt x="855" y="338"/>
                    </a:lnTo>
                    <a:lnTo>
                      <a:pt x="855" y="338"/>
                    </a:lnTo>
                    <a:lnTo>
                      <a:pt x="852" y="338"/>
                    </a:lnTo>
                    <a:lnTo>
                      <a:pt x="851" y="338"/>
                    </a:lnTo>
                    <a:lnTo>
                      <a:pt x="849" y="341"/>
                    </a:lnTo>
                    <a:lnTo>
                      <a:pt x="848" y="341"/>
                    </a:lnTo>
                    <a:lnTo>
                      <a:pt x="846" y="341"/>
                    </a:lnTo>
                    <a:lnTo>
                      <a:pt x="846" y="341"/>
                    </a:lnTo>
                    <a:lnTo>
                      <a:pt x="848" y="341"/>
                    </a:lnTo>
                    <a:lnTo>
                      <a:pt x="848" y="339"/>
                    </a:lnTo>
                    <a:lnTo>
                      <a:pt x="849" y="338"/>
                    </a:lnTo>
                    <a:lnTo>
                      <a:pt x="851" y="335"/>
                    </a:lnTo>
                    <a:lnTo>
                      <a:pt x="852" y="333"/>
                    </a:lnTo>
                    <a:lnTo>
                      <a:pt x="852" y="330"/>
                    </a:lnTo>
                    <a:lnTo>
                      <a:pt x="852" y="328"/>
                    </a:lnTo>
                    <a:lnTo>
                      <a:pt x="852" y="327"/>
                    </a:lnTo>
                    <a:lnTo>
                      <a:pt x="852" y="324"/>
                    </a:lnTo>
                    <a:lnTo>
                      <a:pt x="848" y="314"/>
                    </a:lnTo>
                    <a:lnTo>
                      <a:pt x="848" y="311"/>
                    </a:lnTo>
                    <a:lnTo>
                      <a:pt x="846" y="303"/>
                    </a:lnTo>
                    <a:lnTo>
                      <a:pt x="844" y="299"/>
                    </a:lnTo>
                    <a:lnTo>
                      <a:pt x="841" y="289"/>
                    </a:lnTo>
                    <a:lnTo>
                      <a:pt x="840" y="288"/>
                    </a:lnTo>
                    <a:lnTo>
                      <a:pt x="840" y="283"/>
                    </a:lnTo>
                    <a:lnTo>
                      <a:pt x="840" y="282"/>
                    </a:lnTo>
                    <a:lnTo>
                      <a:pt x="838" y="282"/>
                    </a:lnTo>
                    <a:lnTo>
                      <a:pt x="837" y="282"/>
                    </a:lnTo>
                    <a:lnTo>
                      <a:pt x="833" y="282"/>
                    </a:lnTo>
                    <a:lnTo>
                      <a:pt x="829" y="280"/>
                    </a:lnTo>
                    <a:lnTo>
                      <a:pt x="824" y="282"/>
                    </a:lnTo>
                    <a:lnTo>
                      <a:pt x="823" y="282"/>
                    </a:lnTo>
                    <a:lnTo>
                      <a:pt x="821" y="286"/>
                    </a:lnTo>
                    <a:lnTo>
                      <a:pt x="821" y="294"/>
                    </a:lnTo>
                    <a:lnTo>
                      <a:pt x="819" y="297"/>
                    </a:lnTo>
                    <a:lnTo>
                      <a:pt x="819" y="296"/>
                    </a:lnTo>
                    <a:lnTo>
                      <a:pt x="819" y="285"/>
                    </a:lnTo>
                    <a:lnTo>
                      <a:pt x="819" y="283"/>
                    </a:lnTo>
                    <a:lnTo>
                      <a:pt x="818" y="282"/>
                    </a:lnTo>
                    <a:lnTo>
                      <a:pt x="816" y="278"/>
                    </a:lnTo>
                    <a:lnTo>
                      <a:pt x="815" y="277"/>
                    </a:lnTo>
                    <a:lnTo>
                      <a:pt x="815" y="277"/>
                    </a:lnTo>
                    <a:lnTo>
                      <a:pt x="813" y="277"/>
                    </a:lnTo>
                    <a:lnTo>
                      <a:pt x="813" y="277"/>
                    </a:lnTo>
                    <a:lnTo>
                      <a:pt x="812" y="274"/>
                    </a:lnTo>
                    <a:lnTo>
                      <a:pt x="812" y="272"/>
                    </a:lnTo>
                    <a:lnTo>
                      <a:pt x="810" y="271"/>
                    </a:lnTo>
                    <a:lnTo>
                      <a:pt x="808" y="271"/>
                    </a:lnTo>
                    <a:lnTo>
                      <a:pt x="810" y="271"/>
                    </a:lnTo>
                    <a:lnTo>
                      <a:pt x="810" y="267"/>
                    </a:lnTo>
                    <a:lnTo>
                      <a:pt x="812" y="264"/>
                    </a:lnTo>
                    <a:lnTo>
                      <a:pt x="812" y="257"/>
                    </a:lnTo>
                    <a:lnTo>
                      <a:pt x="812" y="239"/>
                    </a:lnTo>
                    <a:lnTo>
                      <a:pt x="812" y="235"/>
                    </a:lnTo>
                    <a:lnTo>
                      <a:pt x="813" y="228"/>
                    </a:lnTo>
                    <a:lnTo>
                      <a:pt x="813" y="224"/>
                    </a:lnTo>
                    <a:lnTo>
                      <a:pt x="813" y="222"/>
                    </a:lnTo>
                    <a:lnTo>
                      <a:pt x="813" y="222"/>
                    </a:lnTo>
                    <a:lnTo>
                      <a:pt x="812" y="221"/>
                    </a:lnTo>
                    <a:lnTo>
                      <a:pt x="813" y="219"/>
                    </a:lnTo>
                    <a:lnTo>
                      <a:pt x="815" y="219"/>
                    </a:lnTo>
                    <a:lnTo>
                      <a:pt x="816" y="217"/>
                    </a:lnTo>
                    <a:lnTo>
                      <a:pt x="818" y="213"/>
                    </a:lnTo>
                    <a:lnTo>
                      <a:pt x="819" y="208"/>
                    </a:lnTo>
                    <a:lnTo>
                      <a:pt x="823" y="202"/>
                    </a:lnTo>
                    <a:lnTo>
                      <a:pt x="824" y="197"/>
                    </a:lnTo>
                    <a:lnTo>
                      <a:pt x="824" y="195"/>
                    </a:lnTo>
                    <a:lnTo>
                      <a:pt x="824" y="192"/>
                    </a:lnTo>
                    <a:lnTo>
                      <a:pt x="824" y="192"/>
                    </a:lnTo>
                    <a:lnTo>
                      <a:pt x="824" y="191"/>
                    </a:lnTo>
                    <a:lnTo>
                      <a:pt x="826" y="191"/>
                    </a:lnTo>
                    <a:lnTo>
                      <a:pt x="827" y="191"/>
                    </a:lnTo>
                    <a:lnTo>
                      <a:pt x="827" y="189"/>
                    </a:lnTo>
                    <a:lnTo>
                      <a:pt x="826" y="186"/>
                    </a:lnTo>
                    <a:lnTo>
                      <a:pt x="827" y="185"/>
                    </a:lnTo>
                    <a:lnTo>
                      <a:pt x="830" y="181"/>
                    </a:lnTo>
                    <a:lnTo>
                      <a:pt x="835" y="177"/>
                    </a:lnTo>
                    <a:lnTo>
                      <a:pt x="837" y="175"/>
                    </a:lnTo>
                    <a:lnTo>
                      <a:pt x="837" y="175"/>
                    </a:lnTo>
                    <a:lnTo>
                      <a:pt x="837" y="174"/>
                    </a:lnTo>
                    <a:lnTo>
                      <a:pt x="835" y="174"/>
                    </a:lnTo>
                    <a:lnTo>
                      <a:pt x="833" y="172"/>
                    </a:lnTo>
                    <a:lnTo>
                      <a:pt x="833" y="170"/>
                    </a:lnTo>
                    <a:lnTo>
                      <a:pt x="832" y="167"/>
                    </a:lnTo>
                    <a:lnTo>
                      <a:pt x="837" y="169"/>
                    </a:lnTo>
                    <a:lnTo>
                      <a:pt x="837" y="169"/>
                    </a:lnTo>
                    <a:lnTo>
                      <a:pt x="838" y="167"/>
                    </a:lnTo>
                    <a:lnTo>
                      <a:pt x="837" y="167"/>
                    </a:lnTo>
                    <a:lnTo>
                      <a:pt x="837" y="166"/>
                    </a:lnTo>
                    <a:lnTo>
                      <a:pt x="837" y="164"/>
                    </a:lnTo>
                    <a:lnTo>
                      <a:pt x="840" y="164"/>
                    </a:lnTo>
                    <a:lnTo>
                      <a:pt x="841" y="164"/>
                    </a:lnTo>
                    <a:lnTo>
                      <a:pt x="843" y="163"/>
                    </a:lnTo>
                    <a:lnTo>
                      <a:pt x="841" y="161"/>
                    </a:lnTo>
                    <a:lnTo>
                      <a:pt x="841" y="161"/>
                    </a:lnTo>
                    <a:lnTo>
                      <a:pt x="841" y="161"/>
                    </a:lnTo>
                    <a:lnTo>
                      <a:pt x="844" y="158"/>
                    </a:lnTo>
                    <a:lnTo>
                      <a:pt x="844" y="156"/>
                    </a:lnTo>
                    <a:lnTo>
                      <a:pt x="843" y="155"/>
                    </a:lnTo>
                    <a:lnTo>
                      <a:pt x="840" y="153"/>
                    </a:lnTo>
                    <a:lnTo>
                      <a:pt x="838" y="152"/>
                    </a:lnTo>
                    <a:lnTo>
                      <a:pt x="840" y="152"/>
                    </a:lnTo>
                    <a:lnTo>
                      <a:pt x="844" y="155"/>
                    </a:lnTo>
                    <a:lnTo>
                      <a:pt x="848" y="156"/>
                    </a:lnTo>
                    <a:lnTo>
                      <a:pt x="849" y="158"/>
                    </a:lnTo>
                    <a:lnTo>
                      <a:pt x="851" y="159"/>
                    </a:lnTo>
                    <a:lnTo>
                      <a:pt x="851" y="159"/>
                    </a:lnTo>
                    <a:lnTo>
                      <a:pt x="851" y="158"/>
                    </a:lnTo>
                    <a:lnTo>
                      <a:pt x="849" y="155"/>
                    </a:lnTo>
                    <a:lnTo>
                      <a:pt x="848" y="153"/>
                    </a:lnTo>
                    <a:lnTo>
                      <a:pt x="846" y="153"/>
                    </a:lnTo>
                    <a:lnTo>
                      <a:pt x="846" y="152"/>
                    </a:lnTo>
                    <a:lnTo>
                      <a:pt x="848" y="150"/>
                    </a:lnTo>
                    <a:lnTo>
                      <a:pt x="849" y="149"/>
                    </a:lnTo>
                    <a:lnTo>
                      <a:pt x="851" y="147"/>
                    </a:lnTo>
                    <a:lnTo>
                      <a:pt x="851" y="145"/>
                    </a:lnTo>
                    <a:lnTo>
                      <a:pt x="851" y="144"/>
                    </a:lnTo>
                    <a:lnTo>
                      <a:pt x="854" y="145"/>
                    </a:lnTo>
                    <a:lnTo>
                      <a:pt x="854" y="144"/>
                    </a:lnTo>
                    <a:lnTo>
                      <a:pt x="855" y="144"/>
                    </a:lnTo>
                    <a:lnTo>
                      <a:pt x="857" y="144"/>
                    </a:lnTo>
                    <a:lnTo>
                      <a:pt x="859" y="145"/>
                    </a:lnTo>
                    <a:lnTo>
                      <a:pt x="860" y="145"/>
                    </a:lnTo>
                    <a:lnTo>
                      <a:pt x="862" y="144"/>
                    </a:lnTo>
                    <a:lnTo>
                      <a:pt x="862" y="144"/>
                    </a:lnTo>
                    <a:lnTo>
                      <a:pt x="862" y="142"/>
                    </a:lnTo>
                    <a:lnTo>
                      <a:pt x="857" y="141"/>
                    </a:lnTo>
                    <a:lnTo>
                      <a:pt x="855" y="141"/>
                    </a:lnTo>
                    <a:lnTo>
                      <a:pt x="855" y="139"/>
                    </a:lnTo>
                    <a:lnTo>
                      <a:pt x="854" y="138"/>
                    </a:lnTo>
                    <a:lnTo>
                      <a:pt x="854" y="136"/>
                    </a:lnTo>
                    <a:lnTo>
                      <a:pt x="854" y="136"/>
                    </a:lnTo>
                    <a:lnTo>
                      <a:pt x="854" y="134"/>
                    </a:lnTo>
                    <a:lnTo>
                      <a:pt x="857" y="134"/>
                    </a:lnTo>
                    <a:lnTo>
                      <a:pt x="857" y="134"/>
                    </a:lnTo>
                    <a:lnTo>
                      <a:pt x="859" y="133"/>
                    </a:lnTo>
                    <a:lnTo>
                      <a:pt x="860" y="133"/>
                    </a:lnTo>
                    <a:lnTo>
                      <a:pt x="862" y="134"/>
                    </a:lnTo>
                    <a:lnTo>
                      <a:pt x="869" y="136"/>
                    </a:lnTo>
                    <a:lnTo>
                      <a:pt x="871" y="134"/>
                    </a:lnTo>
                    <a:lnTo>
                      <a:pt x="876" y="131"/>
                    </a:lnTo>
                    <a:lnTo>
                      <a:pt x="877" y="130"/>
                    </a:lnTo>
                    <a:lnTo>
                      <a:pt x="880" y="130"/>
                    </a:lnTo>
                    <a:lnTo>
                      <a:pt x="882" y="130"/>
                    </a:lnTo>
                    <a:lnTo>
                      <a:pt x="882" y="127"/>
                    </a:lnTo>
                    <a:lnTo>
                      <a:pt x="884" y="125"/>
                    </a:lnTo>
                    <a:lnTo>
                      <a:pt x="884" y="124"/>
                    </a:lnTo>
                    <a:lnTo>
                      <a:pt x="882" y="116"/>
                    </a:lnTo>
                    <a:lnTo>
                      <a:pt x="882" y="114"/>
                    </a:lnTo>
                    <a:lnTo>
                      <a:pt x="879" y="111"/>
                    </a:lnTo>
                    <a:lnTo>
                      <a:pt x="876" y="109"/>
                    </a:lnTo>
                    <a:lnTo>
                      <a:pt x="873" y="108"/>
                    </a:lnTo>
                    <a:lnTo>
                      <a:pt x="869" y="106"/>
                    </a:lnTo>
                    <a:lnTo>
                      <a:pt x="866" y="102"/>
                    </a:lnTo>
                    <a:lnTo>
                      <a:pt x="863" y="100"/>
                    </a:lnTo>
                    <a:lnTo>
                      <a:pt x="862" y="102"/>
                    </a:lnTo>
                    <a:lnTo>
                      <a:pt x="859" y="103"/>
                    </a:lnTo>
                    <a:lnTo>
                      <a:pt x="855" y="106"/>
                    </a:lnTo>
                    <a:lnTo>
                      <a:pt x="852" y="106"/>
                    </a:lnTo>
                    <a:lnTo>
                      <a:pt x="852" y="106"/>
                    </a:lnTo>
                    <a:lnTo>
                      <a:pt x="857" y="102"/>
                    </a:lnTo>
                    <a:lnTo>
                      <a:pt x="857" y="102"/>
                    </a:lnTo>
                    <a:lnTo>
                      <a:pt x="857" y="100"/>
                    </a:lnTo>
                    <a:lnTo>
                      <a:pt x="854" y="98"/>
                    </a:lnTo>
                    <a:lnTo>
                      <a:pt x="851" y="98"/>
                    </a:lnTo>
                    <a:lnTo>
                      <a:pt x="840" y="92"/>
                    </a:lnTo>
                    <a:lnTo>
                      <a:pt x="838" y="92"/>
                    </a:lnTo>
                    <a:lnTo>
                      <a:pt x="837" y="91"/>
                    </a:lnTo>
                    <a:lnTo>
                      <a:pt x="835" y="91"/>
                    </a:lnTo>
                    <a:lnTo>
                      <a:pt x="837" y="92"/>
                    </a:lnTo>
                    <a:lnTo>
                      <a:pt x="837" y="94"/>
                    </a:lnTo>
                    <a:lnTo>
                      <a:pt x="838" y="94"/>
                    </a:lnTo>
                    <a:lnTo>
                      <a:pt x="838" y="95"/>
                    </a:lnTo>
                    <a:lnTo>
                      <a:pt x="835" y="95"/>
                    </a:lnTo>
                    <a:lnTo>
                      <a:pt x="833" y="94"/>
                    </a:lnTo>
                    <a:lnTo>
                      <a:pt x="830" y="91"/>
                    </a:lnTo>
                    <a:lnTo>
                      <a:pt x="830" y="89"/>
                    </a:lnTo>
                    <a:lnTo>
                      <a:pt x="832" y="89"/>
                    </a:lnTo>
                    <a:lnTo>
                      <a:pt x="832" y="88"/>
                    </a:lnTo>
                    <a:lnTo>
                      <a:pt x="830" y="83"/>
                    </a:lnTo>
                    <a:lnTo>
                      <a:pt x="835" y="88"/>
                    </a:lnTo>
                    <a:lnTo>
                      <a:pt x="843" y="91"/>
                    </a:lnTo>
                    <a:lnTo>
                      <a:pt x="851" y="95"/>
                    </a:lnTo>
                    <a:lnTo>
                      <a:pt x="854" y="97"/>
                    </a:lnTo>
                    <a:lnTo>
                      <a:pt x="857" y="97"/>
                    </a:lnTo>
                    <a:lnTo>
                      <a:pt x="859" y="97"/>
                    </a:lnTo>
                    <a:lnTo>
                      <a:pt x="860" y="95"/>
                    </a:lnTo>
                    <a:lnTo>
                      <a:pt x="860" y="95"/>
                    </a:lnTo>
                    <a:lnTo>
                      <a:pt x="862" y="95"/>
                    </a:lnTo>
                    <a:lnTo>
                      <a:pt x="862" y="97"/>
                    </a:lnTo>
                    <a:lnTo>
                      <a:pt x="862" y="97"/>
                    </a:lnTo>
                    <a:lnTo>
                      <a:pt x="862" y="97"/>
                    </a:lnTo>
                    <a:lnTo>
                      <a:pt x="862" y="98"/>
                    </a:lnTo>
                    <a:lnTo>
                      <a:pt x="866" y="98"/>
                    </a:lnTo>
                    <a:lnTo>
                      <a:pt x="868" y="100"/>
                    </a:lnTo>
                    <a:lnTo>
                      <a:pt x="876" y="103"/>
                    </a:lnTo>
                    <a:lnTo>
                      <a:pt x="879" y="105"/>
                    </a:lnTo>
                    <a:lnTo>
                      <a:pt x="880" y="105"/>
                    </a:lnTo>
                    <a:lnTo>
                      <a:pt x="884" y="105"/>
                    </a:lnTo>
                    <a:lnTo>
                      <a:pt x="884" y="103"/>
                    </a:lnTo>
                    <a:lnTo>
                      <a:pt x="885" y="102"/>
                    </a:lnTo>
                    <a:lnTo>
                      <a:pt x="885" y="102"/>
                    </a:lnTo>
                    <a:lnTo>
                      <a:pt x="887" y="103"/>
                    </a:lnTo>
                    <a:lnTo>
                      <a:pt x="888" y="103"/>
                    </a:lnTo>
                    <a:lnTo>
                      <a:pt x="891" y="103"/>
                    </a:lnTo>
                    <a:lnTo>
                      <a:pt x="893" y="102"/>
                    </a:lnTo>
                    <a:lnTo>
                      <a:pt x="894" y="97"/>
                    </a:lnTo>
                    <a:lnTo>
                      <a:pt x="894" y="95"/>
                    </a:lnTo>
                    <a:lnTo>
                      <a:pt x="894" y="94"/>
                    </a:lnTo>
                    <a:lnTo>
                      <a:pt x="893" y="89"/>
                    </a:lnTo>
                    <a:lnTo>
                      <a:pt x="893" y="89"/>
                    </a:lnTo>
                    <a:lnTo>
                      <a:pt x="896" y="91"/>
                    </a:lnTo>
                    <a:lnTo>
                      <a:pt x="898" y="91"/>
                    </a:lnTo>
                    <a:lnTo>
                      <a:pt x="898" y="89"/>
                    </a:lnTo>
                    <a:lnTo>
                      <a:pt x="896" y="86"/>
                    </a:lnTo>
                    <a:lnTo>
                      <a:pt x="896" y="84"/>
                    </a:lnTo>
                    <a:lnTo>
                      <a:pt x="894" y="83"/>
                    </a:lnTo>
                    <a:lnTo>
                      <a:pt x="894" y="83"/>
                    </a:lnTo>
                    <a:lnTo>
                      <a:pt x="899" y="81"/>
                    </a:lnTo>
                    <a:lnTo>
                      <a:pt x="899" y="81"/>
                    </a:lnTo>
                    <a:lnTo>
                      <a:pt x="899" y="84"/>
                    </a:lnTo>
                    <a:lnTo>
                      <a:pt x="899" y="86"/>
                    </a:lnTo>
                    <a:lnTo>
                      <a:pt x="902" y="88"/>
                    </a:lnTo>
                    <a:lnTo>
                      <a:pt x="904" y="88"/>
                    </a:lnTo>
                    <a:lnTo>
                      <a:pt x="904" y="88"/>
                    </a:lnTo>
                    <a:lnTo>
                      <a:pt x="904" y="88"/>
                    </a:lnTo>
                    <a:lnTo>
                      <a:pt x="905" y="88"/>
                    </a:lnTo>
                    <a:lnTo>
                      <a:pt x="909" y="89"/>
                    </a:lnTo>
                    <a:lnTo>
                      <a:pt x="910" y="89"/>
                    </a:lnTo>
                    <a:lnTo>
                      <a:pt x="910" y="89"/>
                    </a:lnTo>
                    <a:lnTo>
                      <a:pt x="909" y="84"/>
                    </a:lnTo>
                    <a:lnTo>
                      <a:pt x="909" y="84"/>
                    </a:lnTo>
                    <a:lnTo>
                      <a:pt x="912" y="88"/>
                    </a:lnTo>
                    <a:lnTo>
                      <a:pt x="913" y="88"/>
                    </a:lnTo>
                    <a:lnTo>
                      <a:pt x="916" y="89"/>
                    </a:lnTo>
                    <a:lnTo>
                      <a:pt x="919" y="88"/>
                    </a:lnTo>
                    <a:lnTo>
                      <a:pt x="924" y="84"/>
                    </a:lnTo>
                    <a:lnTo>
                      <a:pt x="929" y="81"/>
                    </a:lnTo>
                    <a:lnTo>
                      <a:pt x="930" y="78"/>
                    </a:lnTo>
                    <a:lnTo>
                      <a:pt x="930" y="77"/>
                    </a:lnTo>
                    <a:lnTo>
                      <a:pt x="932" y="72"/>
                    </a:lnTo>
                    <a:lnTo>
                      <a:pt x="943" y="55"/>
                    </a:lnTo>
                    <a:lnTo>
                      <a:pt x="945" y="52"/>
                    </a:lnTo>
                    <a:lnTo>
                      <a:pt x="948" y="45"/>
                    </a:lnTo>
                    <a:lnTo>
                      <a:pt x="948" y="44"/>
                    </a:lnTo>
                    <a:lnTo>
                      <a:pt x="948" y="39"/>
                    </a:lnTo>
                    <a:lnTo>
                      <a:pt x="946" y="39"/>
                    </a:lnTo>
                    <a:lnTo>
                      <a:pt x="941" y="37"/>
                    </a:lnTo>
                    <a:lnTo>
                      <a:pt x="932" y="36"/>
                    </a:lnTo>
                    <a:lnTo>
                      <a:pt x="927" y="36"/>
                    </a:lnTo>
                    <a:lnTo>
                      <a:pt x="913" y="33"/>
                    </a:lnTo>
                    <a:lnTo>
                      <a:pt x="910" y="31"/>
                    </a:lnTo>
                    <a:lnTo>
                      <a:pt x="909" y="30"/>
                    </a:lnTo>
                    <a:lnTo>
                      <a:pt x="902" y="20"/>
                    </a:lnTo>
                    <a:lnTo>
                      <a:pt x="899" y="17"/>
                    </a:lnTo>
                    <a:lnTo>
                      <a:pt x="896" y="16"/>
                    </a:lnTo>
                    <a:lnTo>
                      <a:pt x="896" y="14"/>
                    </a:lnTo>
                    <a:lnTo>
                      <a:pt x="0" y="14"/>
                    </a:lnTo>
                    <a:lnTo>
                      <a:pt x="0" y="228"/>
                    </a:lnTo>
                    <a:lnTo>
                      <a:pt x="5" y="230"/>
                    </a:lnTo>
                    <a:lnTo>
                      <a:pt x="8" y="230"/>
                    </a:lnTo>
                    <a:lnTo>
                      <a:pt x="10" y="228"/>
                    </a:lnTo>
                    <a:lnTo>
                      <a:pt x="14" y="230"/>
                    </a:lnTo>
                    <a:lnTo>
                      <a:pt x="17" y="231"/>
                    </a:lnTo>
                    <a:lnTo>
                      <a:pt x="20" y="230"/>
                    </a:lnTo>
                    <a:lnTo>
                      <a:pt x="20" y="230"/>
                    </a:lnTo>
                    <a:lnTo>
                      <a:pt x="24" y="227"/>
                    </a:lnTo>
                    <a:lnTo>
                      <a:pt x="27" y="227"/>
                    </a:lnTo>
                    <a:lnTo>
                      <a:pt x="31" y="227"/>
                    </a:lnTo>
                    <a:lnTo>
                      <a:pt x="33" y="227"/>
                    </a:lnTo>
                    <a:lnTo>
                      <a:pt x="35" y="227"/>
                    </a:lnTo>
                    <a:lnTo>
                      <a:pt x="35" y="228"/>
                    </a:lnTo>
                    <a:lnTo>
                      <a:pt x="33" y="231"/>
                    </a:lnTo>
                    <a:lnTo>
                      <a:pt x="31" y="235"/>
                    </a:lnTo>
                    <a:lnTo>
                      <a:pt x="35" y="238"/>
                    </a:lnTo>
                    <a:lnTo>
                      <a:pt x="38" y="241"/>
                    </a:lnTo>
                    <a:lnTo>
                      <a:pt x="41" y="242"/>
                    </a:lnTo>
                    <a:lnTo>
                      <a:pt x="41" y="242"/>
                    </a:lnTo>
                    <a:lnTo>
                      <a:pt x="42" y="246"/>
                    </a:lnTo>
                    <a:lnTo>
                      <a:pt x="45" y="249"/>
                    </a:lnTo>
                    <a:lnTo>
                      <a:pt x="47" y="252"/>
                    </a:lnTo>
                    <a:lnTo>
                      <a:pt x="50" y="255"/>
                    </a:lnTo>
                    <a:lnTo>
                      <a:pt x="53" y="258"/>
                    </a:lnTo>
                    <a:lnTo>
                      <a:pt x="55" y="260"/>
                    </a:lnTo>
                    <a:lnTo>
                      <a:pt x="58" y="263"/>
                    </a:lnTo>
                    <a:lnTo>
                      <a:pt x="60" y="264"/>
                    </a:lnTo>
                    <a:lnTo>
                      <a:pt x="61" y="269"/>
                    </a:lnTo>
                    <a:lnTo>
                      <a:pt x="61" y="274"/>
                    </a:lnTo>
                    <a:lnTo>
                      <a:pt x="61" y="275"/>
                    </a:lnTo>
                    <a:lnTo>
                      <a:pt x="63" y="277"/>
                    </a:lnTo>
                    <a:lnTo>
                      <a:pt x="66" y="274"/>
                    </a:lnTo>
                    <a:lnTo>
                      <a:pt x="67" y="272"/>
                    </a:lnTo>
                    <a:lnTo>
                      <a:pt x="72" y="269"/>
                    </a:lnTo>
                    <a:lnTo>
                      <a:pt x="74" y="267"/>
                    </a:lnTo>
                    <a:lnTo>
                      <a:pt x="78" y="267"/>
                    </a:lnTo>
                    <a:lnTo>
                      <a:pt x="80" y="263"/>
                    </a:lnTo>
                    <a:lnTo>
                      <a:pt x="80" y="257"/>
                    </a:lnTo>
                    <a:lnTo>
                      <a:pt x="81" y="257"/>
                    </a:lnTo>
                    <a:lnTo>
                      <a:pt x="83" y="257"/>
                    </a:lnTo>
                    <a:lnTo>
                      <a:pt x="83" y="255"/>
                    </a:lnTo>
                    <a:lnTo>
                      <a:pt x="81" y="252"/>
                    </a:lnTo>
                    <a:lnTo>
                      <a:pt x="86" y="250"/>
                    </a:lnTo>
                    <a:lnTo>
                      <a:pt x="89" y="250"/>
                    </a:lnTo>
                    <a:lnTo>
                      <a:pt x="92" y="247"/>
                    </a:lnTo>
                    <a:lnTo>
                      <a:pt x="97" y="246"/>
                    </a:lnTo>
                    <a:lnTo>
                      <a:pt x="99" y="247"/>
                    </a:lnTo>
                    <a:lnTo>
                      <a:pt x="100" y="249"/>
                    </a:lnTo>
                    <a:lnTo>
                      <a:pt x="105" y="253"/>
                    </a:lnTo>
                    <a:lnTo>
                      <a:pt x="105" y="253"/>
                    </a:lnTo>
                    <a:lnTo>
                      <a:pt x="105" y="257"/>
                    </a:lnTo>
                    <a:lnTo>
                      <a:pt x="103" y="258"/>
                    </a:lnTo>
                    <a:lnTo>
                      <a:pt x="106" y="263"/>
                    </a:lnTo>
                    <a:lnTo>
                      <a:pt x="106" y="264"/>
                    </a:lnTo>
                    <a:lnTo>
                      <a:pt x="110" y="264"/>
                    </a:lnTo>
                    <a:lnTo>
                      <a:pt x="111" y="266"/>
                    </a:lnTo>
                    <a:lnTo>
                      <a:pt x="113" y="267"/>
                    </a:lnTo>
                    <a:lnTo>
                      <a:pt x="116" y="271"/>
                    </a:lnTo>
                    <a:lnTo>
                      <a:pt x="116" y="271"/>
                    </a:lnTo>
                    <a:lnTo>
                      <a:pt x="116" y="272"/>
                    </a:lnTo>
                    <a:lnTo>
                      <a:pt x="116" y="274"/>
                    </a:lnTo>
                    <a:lnTo>
                      <a:pt x="117" y="275"/>
                    </a:lnTo>
                    <a:lnTo>
                      <a:pt x="117" y="277"/>
                    </a:lnTo>
                    <a:lnTo>
                      <a:pt x="119" y="278"/>
                    </a:lnTo>
                    <a:lnTo>
                      <a:pt x="122" y="280"/>
                    </a:lnTo>
                    <a:lnTo>
                      <a:pt x="124" y="282"/>
                    </a:lnTo>
                    <a:lnTo>
                      <a:pt x="124" y="282"/>
                    </a:lnTo>
                    <a:lnTo>
                      <a:pt x="127" y="283"/>
                    </a:lnTo>
                    <a:lnTo>
                      <a:pt x="127" y="283"/>
                    </a:lnTo>
                    <a:lnTo>
                      <a:pt x="128" y="286"/>
                    </a:lnTo>
                    <a:lnTo>
                      <a:pt x="131" y="289"/>
                    </a:lnTo>
                    <a:lnTo>
                      <a:pt x="133" y="293"/>
                    </a:lnTo>
                    <a:lnTo>
                      <a:pt x="133" y="296"/>
                    </a:lnTo>
                    <a:lnTo>
                      <a:pt x="136" y="299"/>
                    </a:lnTo>
                    <a:lnTo>
                      <a:pt x="138" y="303"/>
                    </a:lnTo>
                    <a:lnTo>
                      <a:pt x="141" y="308"/>
                    </a:lnTo>
                    <a:lnTo>
                      <a:pt x="142" y="310"/>
                    </a:lnTo>
                    <a:lnTo>
                      <a:pt x="144" y="314"/>
                    </a:lnTo>
                    <a:lnTo>
                      <a:pt x="146" y="318"/>
                    </a:lnTo>
                    <a:lnTo>
                      <a:pt x="149" y="322"/>
                    </a:lnTo>
                    <a:lnTo>
                      <a:pt x="150" y="325"/>
                    </a:lnTo>
                    <a:lnTo>
                      <a:pt x="153" y="330"/>
                    </a:lnTo>
                    <a:lnTo>
                      <a:pt x="153" y="333"/>
                    </a:lnTo>
                    <a:lnTo>
                      <a:pt x="153" y="335"/>
                    </a:lnTo>
                    <a:lnTo>
                      <a:pt x="152" y="336"/>
                    </a:lnTo>
                    <a:lnTo>
                      <a:pt x="155" y="338"/>
                    </a:lnTo>
                    <a:lnTo>
                      <a:pt x="158" y="338"/>
                    </a:lnTo>
                    <a:lnTo>
                      <a:pt x="156" y="341"/>
                    </a:lnTo>
                    <a:lnTo>
                      <a:pt x="156" y="344"/>
                    </a:lnTo>
                    <a:lnTo>
                      <a:pt x="158" y="344"/>
                    </a:lnTo>
                    <a:lnTo>
                      <a:pt x="160" y="346"/>
                    </a:lnTo>
                    <a:lnTo>
                      <a:pt x="160" y="347"/>
                    </a:lnTo>
                    <a:lnTo>
                      <a:pt x="161" y="349"/>
                    </a:lnTo>
                    <a:lnTo>
                      <a:pt x="161" y="352"/>
                    </a:lnTo>
                    <a:lnTo>
                      <a:pt x="164" y="352"/>
                    </a:lnTo>
                    <a:lnTo>
                      <a:pt x="166" y="352"/>
                    </a:lnTo>
                    <a:lnTo>
                      <a:pt x="167" y="354"/>
                    </a:lnTo>
                    <a:lnTo>
                      <a:pt x="169" y="355"/>
                    </a:lnTo>
                    <a:lnTo>
                      <a:pt x="172" y="357"/>
                    </a:lnTo>
                    <a:lnTo>
                      <a:pt x="174" y="358"/>
                    </a:lnTo>
                    <a:lnTo>
                      <a:pt x="175" y="358"/>
                    </a:lnTo>
                    <a:lnTo>
                      <a:pt x="177" y="358"/>
                    </a:lnTo>
                    <a:lnTo>
                      <a:pt x="180" y="360"/>
                    </a:lnTo>
                    <a:lnTo>
                      <a:pt x="182" y="363"/>
                    </a:lnTo>
                    <a:lnTo>
                      <a:pt x="185" y="363"/>
                    </a:lnTo>
                    <a:lnTo>
                      <a:pt x="186" y="368"/>
                    </a:lnTo>
                    <a:lnTo>
                      <a:pt x="186" y="368"/>
                    </a:lnTo>
                    <a:lnTo>
                      <a:pt x="186" y="368"/>
                    </a:lnTo>
                    <a:lnTo>
                      <a:pt x="189" y="368"/>
                    </a:lnTo>
                    <a:lnTo>
                      <a:pt x="191" y="368"/>
                    </a:lnTo>
                    <a:lnTo>
                      <a:pt x="192" y="369"/>
                    </a:lnTo>
                    <a:lnTo>
                      <a:pt x="192" y="371"/>
                    </a:lnTo>
                    <a:lnTo>
                      <a:pt x="192" y="372"/>
                    </a:lnTo>
                    <a:lnTo>
                      <a:pt x="192" y="374"/>
                    </a:lnTo>
                    <a:lnTo>
                      <a:pt x="192" y="374"/>
                    </a:lnTo>
                    <a:lnTo>
                      <a:pt x="192" y="374"/>
                    </a:lnTo>
                    <a:lnTo>
                      <a:pt x="192" y="377"/>
                    </a:lnTo>
                    <a:lnTo>
                      <a:pt x="191" y="379"/>
                    </a:lnTo>
                    <a:lnTo>
                      <a:pt x="191" y="380"/>
                    </a:lnTo>
                    <a:lnTo>
                      <a:pt x="191" y="382"/>
                    </a:lnTo>
                    <a:lnTo>
                      <a:pt x="192" y="385"/>
                    </a:lnTo>
                    <a:lnTo>
                      <a:pt x="192" y="388"/>
                    </a:lnTo>
                    <a:lnTo>
                      <a:pt x="194" y="391"/>
                    </a:lnTo>
                    <a:lnTo>
                      <a:pt x="192" y="394"/>
                    </a:lnTo>
                    <a:lnTo>
                      <a:pt x="192" y="396"/>
                    </a:lnTo>
                    <a:lnTo>
                      <a:pt x="191" y="399"/>
                    </a:lnTo>
                    <a:lnTo>
                      <a:pt x="192" y="400"/>
                    </a:lnTo>
                    <a:lnTo>
                      <a:pt x="194" y="399"/>
                    </a:lnTo>
                    <a:lnTo>
                      <a:pt x="196" y="394"/>
                    </a:lnTo>
                    <a:lnTo>
                      <a:pt x="196" y="393"/>
                    </a:lnTo>
                    <a:lnTo>
                      <a:pt x="196" y="390"/>
                    </a:lnTo>
                    <a:lnTo>
                      <a:pt x="197" y="385"/>
                    </a:lnTo>
                    <a:lnTo>
                      <a:pt x="197" y="385"/>
                    </a:lnTo>
                    <a:lnTo>
                      <a:pt x="197" y="386"/>
                    </a:lnTo>
                    <a:lnTo>
                      <a:pt x="197" y="388"/>
                    </a:lnTo>
                    <a:lnTo>
                      <a:pt x="199" y="388"/>
                    </a:lnTo>
                    <a:lnTo>
                      <a:pt x="199" y="388"/>
                    </a:lnTo>
                    <a:lnTo>
                      <a:pt x="200" y="388"/>
                    </a:lnTo>
                    <a:lnTo>
                      <a:pt x="200" y="388"/>
                    </a:lnTo>
                    <a:lnTo>
                      <a:pt x="197" y="393"/>
                    </a:lnTo>
                    <a:lnTo>
                      <a:pt x="196" y="397"/>
                    </a:lnTo>
                    <a:lnTo>
                      <a:pt x="194" y="399"/>
                    </a:lnTo>
                    <a:lnTo>
                      <a:pt x="191" y="405"/>
                    </a:lnTo>
                    <a:lnTo>
                      <a:pt x="191" y="407"/>
                    </a:lnTo>
                    <a:lnTo>
                      <a:pt x="189" y="410"/>
                    </a:lnTo>
                    <a:lnTo>
                      <a:pt x="188" y="411"/>
                    </a:lnTo>
                    <a:lnTo>
                      <a:pt x="186" y="413"/>
                    </a:lnTo>
                    <a:lnTo>
                      <a:pt x="186" y="413"/>
                    </a:lnTo>
                    <a:lnTo>
                      <a:pt x="186" y="416"/>
                    </a:lnTo>
                    <a:lnTo>
                      <a:pt x="186" y="418"/>
                    </a:lnTo>
                    <a:lnTo>
                      <a:pt x="186" y="419"/>
                    </a:lnTo>
                    <a:lnTo>
                      <a:pt x="186" y="421"/>
                    </a:lnTo>
                    <a:lnTo>
                      <a:pt x="188" y="424"/>
                    </a:lnTo>
                    <a:lnTo>
                      <a:pt x="191" y="427"/>
                    </a:lnTo>
                    <a:lnTo>
                      <a:pt x="196" y="426"/>
                    </a:lnTo>
                    <a:lnTo>
                      <a:pt x="197" y="426"/>
                    </a:lnTo>
                    <a:lnTo>
                      <a:pt x="200" y="426"/>
                    </a:lnTo>
                    <a:lnTo>
                      <a:pt x="197" y="427"/>
                    </a:lnTo>
                    <a:lnTo>
                      <a:pt x="192" y="429"/>
                    </a:lnTo>
                    <a:lnTo>
                      <a:pt x="192" y="429"/>
                    </a:lnTo>
                    <a:lnTo>
                      <a:pt x="191" y="433"/>
                    </a:lnTo>
                    <a:lnTo>
                      <a:pt x="189" y="436"/>
                    </a:lnTo>
                    <a:lnTo>
                      <a:pt x="188" y="440"/>
                    </a:lnTo>
                    <a:lnTo>
                      <a:pt x="188" y="443"/>
                    </a:lnTo>
                    <a:lnTo>
                      <a:pt x="192" y="444"/>
                    </a:lnTo>
                    <a:lnTo>
                      <a:pt x="194" y="446"/>
                    </a:lnTo>
                    <a:lnTo>
                      <a:pt x="196" y="449"/>
                    </a:lnTo>
                    <a:lnTo>
                      <a:pt x="199" y="452"/>
                    </a:lnTo>
                    <a:lnTo>
                      <a:pt x="200" y="454"/>
                    </a:lnTo>
                    <a:lnTo>
                      <a:pt x="202" y="451"/>
                    </a:lnTo>
                    <a:lnTo>
                      <a:pt x="205" y="451"/>
                    </a:lnTo>
                    <a:lnTo>
                      <a:pt x="207" y="449"/>
                    </a:lnTo>
                    <a:lnTo>
                      <a:pt x="207" y="447"/>
                    </a:lnTo>
                    <a:lnTo>
                      <a:pt x="207" y="444"/>
                    </a:lnTo>
                    <a:lnTo>
                      <a:pt x="207" y="443"/>
                    </a:lnTo>
                    <a:lnTo>
                      <a:pt x="210" y="438"/>
                    </a:lnTo>
                    <a:lnTo>
                      <a:pt x="210" y="438"/>
                    </a:lnTo>
                    <a:lnTo>
                      <a:pt x="211" y="436"/>
                    </a:lnTo>
                    <a:lnTo>
                      <a:pt x="211" y="436"/>
                    </a:lnTo>
                    <a:lnTo>
                      <a:pt x="211" y="436"/>
                    </a:lnTo>
                    <a:lnTo>
                      <a:pt x="213" y="436"/>
                    </a:lnTo>
                    <a:lnTo>
                      <a:pt x="216" y="435"/>
                    </a:lnTo>
                    <a:lnTo>
                      <a:pt x="217" y="435"/>
                    </a:lnTo>
                    <a:lnTo>
                      <a:pt x="219" y="436"/>
                    </a:lnTo>
                    <a:lnTo>
                      <a:pt x="219" y="436"/>
                    </a:lnTo>
                    <a:lnTo>
                      <a:pt x="217" y="436"/>
                    </a:lnTo>
                    <a:lnTo>
                      <a:pt x="216" y="438"/>
                    </a:lnTo>
                    <a:lnTo>
                      <a:pt x="214" y="438"/>
                    </a:lnTo>
                    <a:lnTo>
                      <a:pt x="214" y="440"/>
                    </a:lnTo>
                    <a:lnTo>
                      <a:pt x="214" y="441"/>
                    </a:lnTo>
                    <a:lnTo>
                      <a:pt x="214" y="443"/>
                    </a:lnTo>
                    <a:lnTo>
                      <a:pt x="216" y="446"/>
                    </a:lnTo>
                    <a:lnTo>
                      <a:pt x="217" y="446"/>
                    </a:lnTo>
                    <a:lnTo>
                      <a:pt x="219" y="447"/>
                    </a:lnTo>
                    <a:lnTo>
                      <a:pt x="221" y="447"/>
                    </a:lnTo>
                    <a:lnTo>
                      <a:pt x="222" y="447"/>
                    </a:lnTo>
                    <a:lnTo>
                      <a:pt x="225" y="447"/>
                    </a:lnTo>
                    <a:lnTo>
                      <a:pt x="227" y="449"/>
                    </a:lnTo>
                    <a:lnTo>
                      <a:pt x="228" y="452"/>
                    </a:lnTo>
                    <a:lnTo>
                      <a:pt x="230" y="454"/>
                    </a:lnTo>
                    <a:lnTo>
                      <a:pt x="227" y="451"/>
                    </a:lnTo>
                    <a:lnTo>
                      <a:pt x="225" y="449"/>
                    </a:lnTo>
                    <a:lnTo>
                      <a:pt x="224" y="447"/>
                    </a:lnTo>
                    <a:lnTo>
                      <a:pt x="222" y="447"/>
                    </a:lnTo>
                    <a:lnTo>
                      <a:pt x="221" y="449"/>
                    </a:lnTo>
                    <a:lnTo>
                      <a:pt x="219" y="449"/>
                    </a:lnTo>
                    <a:lnTo>
                      <a:pt x="214" y="446"/>
                    </a:lnTo>
                    <a:lnTo>
                      <a:pt x="213" y="444"/>
                    </a:lnTo>
                    <a:lnTo>
                      <a:pt x="213" y="441"/>
                    </a:lnTo>
                    <a:lnTo>
                      <a:pt x="213" y="441"/>
                    </a:lnTo>
                    <a:lnTo>
                      <a:pt x="211" y="441"/>
                    </a:lnTo>
                    <a:lnTo>
                      <a:pt x="210" y="441"/>
                    </a:lnTo>
                    <a:lnTo>
                      <a:pt x="208" y="443"/>
                    </a:lnTo>
                    <a:lnTo>
                      <a:pt x="208" y="446"/>
                    </a:lnTo>
                    <a:lnTo>
                      <a:pt x="208" y="449"/>
                    </a:lnTo>
                    <a:lnTo>
                      <a:pt x="210" y="451"/>
                    </a:lnTo>
                    <a:lnTo>
                      <a:pt x="213" y="452"/>
                    </a:lnTo>
                    <a:lnTo>
                      <a:pt x="217" y="454"/>
                    </a:lnTo>
                    <a:lnTo>
                      <a:pt x="219" y="457"/>
                    </a:lnTo>
                    <a:lnTo>
                      <a:pt x="221" y="465"/>
                    </a:lnTo>
                    <a:lnTo>
                      <a:pt x="222" y="466"/>
                    </a:lnTo>
                    <a:lnTo>
                      <a:pt x="227" y="465"/>
                    </a:lnTo>
                    <a:lnTo>
                      <a:pt x="227" y="465"/>
                    </a:lnTo>
                    <a:lnTo>
                      <a:pt x="227" y="466"/>
                    </a:lnTo>
                    <a:lnTo>
                      <a:pt x="225" y="468"/>
                    </a:lnTo>
                    <a:lnTo>
                      <a:pt x="225" y="472"/>
                    </a:lnTo>
                    <a:lnTo>
                      <a:pt x="224" y="477"/>
                    </a:lnTo>
                    <a:lnTo>
                      <a:pt x="224" y="480"/>
                    </a:lnTo>
                    <a:lnTo>
                      <a:pt x="224" y="480"/>
                    </a:lnTo>
                    <a:lnTo>
                      <a:pt x="225" y="479"/>
                    </a:lnTo>
                    <a:lnTo>
                      <a:pt x="227" y="476"/>
                    </a:lnTo>
                    <a:lnTo>
                      <a:pt x="230" y="474"/>
                    </a:lnTo>
                    <a:lnTo>
                      <a:pt x="230" y="474"/>
                    </a:lnTo>
                    <a:lnTo>
                      <a:pt x="228" y="476"/>
                    </a:lnTo>
                    <a:lnTo>
                      <a:pt x="227" y="477"/>
                    </a:lnTo>
                    <a:lnTo>
                      <a:pt x="227" y="479"/>
                    </a:lnTo>
                    <a:lnTo>
                      <a:pt x="228" y="480"/>
                    </a:lnTo>
                    <a:lnTo>
                      <a:pt x="227" y="482"/>
                    </a:lnTo>
                    <a:lnTo>
                      <a:pt x="222" y="485"/>
                    </a:lnTo>
                    <a:lnTo>
                      <a:pt x="225" y="490"/>
                    </a:lnTo>
                    <a:lnTo>
                      <a:pt x="227" y="496"/>
                    </a:lnTo>
                    <a:lnTo>
                      <a:pt x="228" y="491"/>
                    </a:lnTo>
                    <a:lnTo>
                      <a:pt x="230" y="487"/>
                    </a:lnTo>
                    <a:lnTo>
                      <a:pt x="232" y="483"/>
                    </a:lnTo>
                    <a:lnTo>
                      <a:pt x="232" y="482"/>
                    </a:lnTo>
                    <a:lnTo>
                      <a:pt x="233" y="482"/>
                    </a:lnTo>
                    <a:lnTo>
                      <a:pt x="236" y="480"/>
                    </a:lnTo>
                    <a:lnTo>
                      <a:pt x="236" y="480"/>
                    </a:lnTo>
                    <a:lnTo>
                      <a:pt x="244" y="472"/>
                    </a:lnTo>
                    <a:lnTo>
                      <a:pt x="244" y="471"/>
                    </a:lnTo>
                    <a:lnTo>
                      <a:pt x="246" y="471"/>
                    </a:lnTo>
                    <a:lnTo>
                      <a:pt x="246" y="469"/>
                    </a:lnTo>
                    <a:lnTo>
                      <a:pt x="246" y="468"/>
                    </a:lnTo>
                    <a:lnTo>
                      <a:pt x="246" y="466"/>
                    </a:lnTo>
                    <a:lnTo>
                      <a:pt x="246" y="466"/>
                    </a:lnTo>
                    <a:lnTo>
                      <a:pt x="246" y="468"/>
                    </a:lnTo>
                    <a:lnTo>
                      <a:pt x="247" y="469"/>
                    </a:lnTo>
                    <a:lnTo>
                      <a:pt x="247" y="469"/>
                    </a:lnTo>
                    <a:lnTo>
                      <a:pt x="246" y="471"/>
                    </a:lnTo>
                    <a:lnTo>
                      <a:pt x="242" y="474"/>
                    </a:lnTo>
                    <a:lnTo>
                      <a:pt x="242" y="476"/>
                    </a:lnTo>
                    <a:lnTo>
                      <a:pt x="242" y="477"/>
                    </a:lnTo>
                    <a:lnTo>
                      <a:pt x="242" y="479"/>
                    </a:lnTo>
                    <a:lnTo>
                      <a:pt x="244" y="480"/>
                    </a:lnTo>
                    <a:lnTo>
                      <a:pt x="247" y="482"/>
                    </a:lnTo>
                    <a:lnTo>
                      <a:pt x="247" y="482"/>
                    </a:lnTo>
                    <a:lnTo>
                      <a:pt x="247" y="483"/>
                    </a:lnTo>
                    <a:lnTo>
                      <a:pt x="250" y="487"/>
                    </a:lnTo>
                    <a:lnTo>
                      <a:pt x="250" y="488"/>
                    </a:lnTo>
                    <a:lnTo>
                      <a:pt x="250" y="488"/>
                    </a:lnTo>
                    <a:lnTo>
                      <a:pt x="249" y="487"/>
                    </a:lnTo>
                    <a:lnTo>
                      <a:pt x="247" y="485"/>
                    </a:lnTo>
                    <a:lnTo>
                      <a:pt x="247" y="483"/>
                    </a:lnTo>
                    <a:lnTo>
                      <a:pt x="246" y="482"/>
                    </a:lnTo>
                    <a:lnTo>
                      <a:pt x="242" y="482"/>
                    </a:lnTo>
                    <a:lnTo>
                      <a:pt x="241" y="479"/>
                    </a:lnTo>
                    <a:lnTo>
                      <a:pt x="238" y="480"/>
                    </a:lnTo>
                    <a:lnTo>
                      <a:pt x="236" y="482"/>
                    </a:lnTo>
                    <a:lnTo>
                      <a:pt x="235" y="483"/>
                    </a:lnTo>
                    <a:lnTo>
                      <a:pt x="232" y="485"/>
                    </a:lnTo>
                    <a:lnTo>
                      <a:pt x="232" y="488"/>
                    </a:lnTo>
                    <a:lnTo>
                      <a:pt x="230" y="491"/>
                    </a:lnTo>
                    <a:lnTo>
                      <a:pt x="233" y="490"/>
                    </a:lnTo>
                    <a:lnTo>
                      <a:pt x="232" y="494"/>
                    </a:lnTo>
                    <a:lnTo>
                      <a:pt x="230" y="496"/>
                    </a:lnTo>
                    <a:lnTo>
                      <a:pt x="230" y="496"/>
                    </a:lnTo>
                    <a:lnTo>
                      <a:pt x="232" y="499"/>
                    </a:lnTo>
                    <a:lnTo>
                      <a:pt x="232" y="502"/>
                    </a:lnTo>
                    <a:lnTo>
                      <a:pt x="233" y="504"/>
                    </a:lnTo>
                    <a:lnTo>
                      <a:pt x="233" y="504"/>
                    </a:lnTo>
                    <a:lnTo>
                      <a:pt x="233" y="505"/>
                    </a:lnTo>
                    <a:lnTo>
                      <a:pt x="235" y="505"/>
                    </a:lnTo>
                    <a:lnTo>
                      <a:pt x="235" y="505"/>
                    </a:lnTo>
                    <a:lnTo>
                      <a:pt x="235" y="504"/>
                    </a:lnTo>
                    <a:lnTo>
                      <a:pt x="236" y="502"/>
                    </a:lnTo>
                    <a:lnTo>
                      <a:pt x="238" y="499"/>
                    </a:lnTo>
                    <a:lnTo>
                      <a:pt x="239" y="499"/>
                    </a:lnTo>
                    <a:lnTo>
                      <a:pt x="246" y="497"/>
                    </a:lnTo>
                    <a:lnTo>
                      <a:pt x="252" y="499"/>
                    </a:lnTo>
                    <a:lnTo>
                      <a:pt x="250" y="499"/>
                    </a:lnTo>
                    <a:lnTo>
                      <a:pt x="246" y="499"/>
                    </a:lnTo>
                    <a:lnTo>
                      <a:pt x="241" y="501"/>
                    </a:lnTo>
                    <a:lnTo>
                      <a:pt x="239" y="501"/>
                    </a:lnTo>
                    <a:lnTo>
                      <a:pt x="238" y="501"/>
                    </a:lnTo>
                    <a:lnTo>
                      <a:pt x="235" y="507"/>
                    </a:lnTo>
                    <a:lnTo>
                      <a:pt x="233" y="508"/>
                    </a:lnTo>
                    <a:lnTo>
                      <a:pt x="233" y="512"/>
                    </a:lnTo>
                    <a:lnTo>
                      <a:pt x="233" y="515"/>
                    </a:lnTo>
                    <a:lnTo>
                      <a:pt x="235" y="516"/>
                    </a:lnTo>
                    <a:lnTo>
                      <a:pt x="238" y="519"/>
                    </a:lnTo>
                    <a:lnTo>
                      <a:pt x="239" y="519"/>
                    </a:lnTo>
                    <a:lnTo>
                      <a:pt x="241" y="521"/>
                    </a:lnTo>
                    <a:lnTo>
                      <a:pt x="244" y="523"/>
                    </a:lnTo>
                    <a:lnTo>
                      <a:pt x="246" y="523"/>
                    </a:lnTo>
                    <a:lnTo>
                      <a:pt x="247" y="521"/>
                    </a:lnTo>
                    <a:lnTo>
                      <a:pt x="252" y="521"/>
                    </a:lnTo>
                    <a:lnTo>
                      <a:pt x="253" y="519"/>
                    </a:lnTo>
                    <a:lnTo>
                      <a:pt x="255" y="516"/>
                    </a:lnTo>
                    <a:lnTo>
                      <a:pt x="255" y="519"/>
                    </a:lnTo>
                    <a:lnTo>
                      <a:pt x="253" y="523"/>
                    </a:lnTo>
                    <a:lnTo>
                      <a:pt x="255" y="523"/>
                    </a:lnTo>
                    <a:lnTo>
                      <a:pt x="257" y="523"/>
                    </a:lnTo>
                    <a:lnTo>
                      <a:pt x="257" y="523"/>
                    </a:lnTo>
                    <a:lnTo>
                      <a:pt x="257" y="524"/>
                    </a:lnTo>
                    <a:lnTo>
                      <a:pt x="255" y="524"/>
                    </a:lnTo>
                    <a:lnTo>
                      <a:pt x="255" y="526"/>
                    </a:lnTo>
                    <a:lnTo>
                      <a:pt x="255" y="527"/>
                    </a:lnTo>
                    <a:lnTo>
                      <a:pt x="255" y="527"/>
                    </a:lnTo>
                    <a:lnTo>
                      <a:pt x="257" y="527"/>
                    </a:lnTo>
                    <a:lnTo>
                      <a:pt x="264" y="526"/>
                    </a:lnTo>
                    <a:lnTo>
                      <a:pt x="264" y="527"/>
                    </a:lnTo>
                    <a:lnTo>
                      <a:pt x="264" y="527"/>
                    </a:lnTo>
                    <a:lnTo>
                      <a:pt x="263" y="527"/>
                    </a:lnTo>
                    <a:lnTo>
                      <a:pt x="260" y="529"/>
                    </a:lnTo>
                    <a:lnTo>
                      <a:pt x="257" y="529"/>
                    </a:lnTo>
                    <a:lnTo>
                      <a:pt x="255" y="530"/>
                    </a:lnTo>
                    <a:lnTo>
                      <a:pt x="255" y="530"/>
                    </a:lnTo>
                    <a:lnTo>
                      <a:pt x="257" y="532"/>
                    </a:lnTo>
                    <a:lnTo>
                      <a:pt x="260" y="532"/>
                    </a:lnTo>
                    <a:lnTo>
                      <a:pt x="261" y="532"/>
                    </a:lnTo>
                    <a:lnTo>
                      <a:pt x="263" y="532"/>
                    </a:lnTo>
                    <a:lnTo>
                      <a:pt x="264" y="532"/>
                    </a:lnTo>
                    <a:lnTo>
                      <a:pt x="266" y="532"/>
                    </a:lnTo>
                    <a:lnTo>
                      <a:pt x="267" y="532"/>
                    </a:lnTo>
                    <a:lnTo>
                      <a:pt x="267" y="533"/>
                    </a:lnTo>
                    <a:lnTo>
                      <a:pt x="269" y="533"/>
                    </a:lnTo>
                    <a:lnTo>
                      <a:pt x="269" y="533"/>
                    </a:lnTo>
                    <a:lnTo>
                      <a:pt x="271" y="532"/>
                    </a:lnTo>
                    <a:lnTo>
                      <a:pt x="271" y="530"/>
                    </a:lnTo>
                    <a:lnTo>
                      <a:pt x="271" y="529"/>
                    </a:lnTo>
                    <a:lnTo>
                      <a:pt x="271" y="529"/>
                    </a:lnTo>
                    <a:lnTo>
                      <a:pt x="272" y="532"/>
                    </a:lnTo>
                    <a:lnTo>
                      <a:pt x="272" y="532"/>
                    </a:lnTo>
                    <a:lnTo>
                      <a:pt x="272" y="532"/>
                    </a:lnTo>
                    <a:lnTo>
                      <a:pt x="277" y="533"/>
                    </a:lnTo>
                    <a:lnTo>
                      <a:pt x="280" y="532"/>
                    </a:lnTo>
                    <a:lnTo>
                      <a:pt x="282" y="530"/>
                    </a:lnTo>
                    <a:lnTo>
                      <a:pt x="282" y="527"/>
                    </a:lnTo>
                    <a:lnTo>
                      <a:pt x="282" y="526"/>
                    </a:lnTo>
                    <a:lnTo>
                      <a:pt x="282" y="524"/>
                    </a:lnTo>
                    <a:lnTo>
                      <a:pt x="282" y="524"/>
                    </a:lnTo>
                    <a:lnTo>
                      <a:pt x="283" y="523"/>
                    </a:lnTo>
                    <a:lnTo>
                      <a:pt x="283" y="523"/>
                    </a:lnTo>
                    <a:lnTo>
                      <a:pt x="283" y="526"/>
                    </a:lnTo>
                    <a:lnTo>
                      <a:pt x="283" y="527"/>
                    </a:lnTo>
                    <a:lnTo>
                      <a:pt x="283" y="529"/>
                    </a:lnTo>
                    <a:lnTo>
                      <a:pt x="282" y="532"/>
                    </a:lnTo>
                    <a:lnTo>
                      <a:pt x="280" y="535"/>
                    </a:lnTo>
                    <a:lnTo>
                      <a:pt x="280" y="537"/>
                    </a:lnTo>
                    <a:lnTo>
                      <a:pt x="282" y="537"/>
                    </a:lnTo>
                    <a:lnTo>
                      <a:pt x="282" y="538"/>
                    </a:lnTo>
                    <a:lnTo>
                      <a:pt x="282" y="538"/>
                    </a:lnTo>
                    <a:lnTo>
                      <a:pt x="285" y="544"/>
                    </a:lnTo>
                    <a:lnTo>
                      <a:pt x="285" y="546"/>
                    </a:lnTo>
                    <a:lnTo>
                      <a:pt x="286" y="548"/>
                    </a:lnTo>
                    <a:lnTo>
                      <a:pt x="289" y="551"/>
                    </a:lnTo>
                    <a:lnTo>
                      <a:pt x="291" y="552"/>
                    </a:lnTo>
                    <a:lnTo>
                      <a:pt x="294" y="552"/>
                    </a:lnTo>
                    <a:lnTo>
                      <a:pt x="296" y="552"/>
                    </a:lnTo>
                    <a:lnTo>
                      <a:pt x="297" y="549"/>
                    </a:lnTo>
                    <a:lnTo>
                      <a:pt x="299" y="549"/>
                    </a:lnTo>
                    <a:lnTo>
                      <a:pt x="299" y="549"/>
                    </a:lnTo>
                    <a:lnTo>
                      <a:pt x="299" y="546"/>
                    </a:lnTo>
                    <a:lnTo>
                      <a:pt x="299" y="546"/>
                    </a:lnTo>
                    <a:lnTo>
                      <a:pt x="300" y="544"/>
                    </a:lnTo>
                    <a:lnTo>
                      <a:pt x="300" y="543"/>
                    </a:lnTo>
                    <a:lnTo>
                      <a:pt x="299" y="541"/>
                    </a:lnTo>
                    <a:lnTo>
                      <a:pt x="300" y="541"/>
                    </a:lnTo>
                    <a:lnTo>
                      <a:pt x="300" y="541"/>
                    </a:lnTo>
                    <a:lnTo>
                      <a:pt x="302" y="541"/>
                    </a:lnTo>
                    <a:lnTo>
                      <a:pt x="302" y="543"/>
                    </a:lnTo>
                    <a:lnTo>
                      <a:pt x="302" y="543"/>
                    </a:lnTo>
                    <a:lnTo>
                      <a:pt x="302" y="544"/>
                    </a:lnTo>
                    <a:lnTo>
                      <a:pt x="300" y="546"/>
                    </a:lnTo>
                    <a:lnTo>
                      <a:pt x="300" y="546"/>
                    </a:lnTo>
                    <a:lnTo>
                      <a:pt x="300" y="551"/>
                    </a:lnTo>
                    <a:lnTo>
                      <a:pt x="300" y="552"/>
                    </a:lnTo>
                    <a:lnTo>
                      <a:pt x="302" y="554"/>
                    </a:lnTo>
                    <a:lnTo>
                      <a:pt x="302" y="555"/>
                    </a:lnTo>
                    <a:lnTo>
                      <a:pt x="303" y="555"/>
                    </a:lnTo>
                    <a:lnTo>
                      <a:pt x="305" y="554"/>
                    </a:lnTo>
                    <a:lnTo>
                      <a:pt x="305" y="555"/>
                    </a:lnTo>
                    <a:lnTo>
                      <a:pt x="303" y="557"/>
                    </a:lnTo>
                    <a:lnTo>
                      <a:pt x="302" y="557"/>
                    </a:lnTo>
                    <a:lnTo>
                      <a:pt x="300" y="555"/>
                    </a:lnTo>
                    <a:lnTo>
                      <a:pt x="300" y="554"/>
                    </a:lnTo>
                    <a:lnTo>
                      <a:pt x="299" y="552"/>
                    </a:lnTo>
                    <a:lnTo>
                      <a:pt x="299" y="552"/>
                    </a:lnTo>
                    <a:lnTo>
                      <a:pt x="297" y="554"/>
                    </a:lnTo>
                    <a:lnTo>
                      <a:pt x="297" y="555"/>
                    </a:lnTo>
                    <a:lnTo>
                      <a:pt x="297" y="557"/>
                    </a:lnTo>
                    <a:lnTo>
                      <a:pt x="299" y="559"/>
                    </a:lnTo>
                    <a:lnTo>
                      <a:pt x="300" y="560"/>
                    </a:lnTo>
                    <a:lnTo>
                      <a:pt x="300" y="560"/>
                    </a:lnTo>
                    <a:lnTo>
                      <a:pt x="307" y="562"/>
                    </a:lnTo>
                    <a:lnTo>
                      <a:pt x="307" y="562"/>
                    </a:lnTo>
                    <a:lnTo>
                      <a:pt x="308" y="560"/>
                    </a:lnTo>
                    <a:lnTo>
                      <a:pt x="310" y="562"/>
                    </a:lnTo>
                    <a:lnTo>
                      <a:pt x="310" y="560"/>
                    </a:lnTo>
                    <a:lnTo>
                      <a:pt x="310" y="559"/>
                    </a:lnTo>
                    <a:lnTo>
                      <a:pt x="310" y="559"/>
                    </a:lnTo>
                    <a:lnTo>
                      <a:pt x="310" y="557"/>
                    </a:lnTo>
                    <a:lnTo>
                      <a:pt x="313" y="554"/>
                    </a:lnTo>
                    <a:lnTo>
                      <a:pt x="313" y="555"/>
                    </a:lnTo>
                    <a:lnTo>
                      <a:pt x="313" y="555"/>
                    </a:lnTo>
                    <a:lnTo>
                      <a:pt x="311" y="557"/>
                    </a:lnTo>
                    <a:lnTo>
                      <a:pt x="311" y="562"/>
                    </a:lnTo>
                    <a:lnTo>
                      <a:pt x="311" y="562"/>
                    </a:lnTo>
                    <a:lnTo>
                      <a:pt x="311" y="563"/>
                    </a:lnTo>
                    <a:lnTo>
                      <a:pt x="311" y="563"/>
                    </a:lnTo>
                    <a:lnTo>
                      <a:pt x="311" y="563"/>
                    </a:lnTo>
                    <a:lnTo>
                      <a:pt x="313" y="563"/>
                    </a:lnTo>
                    <a:lnTo>
                      <a:pt x="316" y="565"/>
                    </a:lnTo>
                    <a:lnTo>
                      <a:pt x="316" y="565"/>
                    </a:lnTo>
                    <a:lnTo>
                      <a:pt x="318" y="562"/>
                    </a:lnTo>
                    <a:lnTo>
                      <a:pt x="318" y="565"/>
                    </a:lnTo>
                    <a:lnTo>
                      <a:pt x="318" y="565"/>
                    </a:lnTo>
                    <a:lnTo>
                      <a:pt x="314" y="565"/>
                    </a:lnTo>
                    <a:lnTo>
                      <a:pt x="313" y="565"/>
                    </a:lnTo>
                    <a:lnTo>
                      <a:pt x="311" y="566"/>
                    </a:lnTo>
                    <a:lnTo>
                      <a:pt x="313" y="566"/>
                    </a:lnTo>
                    <a:lnTo>
                      <a:pt x="313" y="569"/>
                    </a:lnTo>
                    <a:lnTo>
                      <a:pt x="313" y="569"/>
                    </a:lnTo>
                    <a:lnTo>
                      <a:pt x="313" y="569"/>
                    </a:lnTo>
                    <a:lnTo>
                      <a:pt x="314" y="569"/>
                    </a:lnTo>
                    <a:lnTo>
                      <a:pt x="314" y="569"/>
                    </a:lnTo>
                    <a:lnTo>
                      <a:pt x="314" y="571"/>
                    </a:lnTo>
                    <a:lnTo>
                      <a:pt x="314" y="571"/>
                    </a:lnTo>
                    <a:lnTo>
                      <a:pt x="314" y="573"/>
                    </a:lnTo>
                    <a:lnTo>
                      <a:pt x="314" y="573"/>
                    </a:lnTo>
                    <a:lnTo>
                      <a:pt x="314" y="574"/>
                    </a:lnTo>
                    <a:lnTo>
                      <a:pt x="314" y="573"/>
                    </a:lnTo>
                    <a:lnTo>
                      <a:pt x="316" y="571"/>
                    </a:lnTo>
                    <a:lnTo>
                      <a:pt x="316" y="571"/>
                    </a:lnTo>
                    <a:lnTo>
                      <a:pt x="316" y="571"/>
                    </a:lnTo>
                    <a:lnTo>
                      <a:pt x="318" y="571"/>
                    </a:lnTo>
                    <a:lnTo>
                      <a:pt x="319" y="573"/>
                    </a:lnTo>
                    <a:lnTo>
                      <a:pt x="319" y="573"/>
                    </a:lnTo>
                    <a:lnTo>
                      <a:pt x="319" y="573"/>
                    </a:lnTo>
                    <a:lnTo>
                      <a:pt x="805" y="573"/>
                    </a:lnTo>
                    <a:lnTo>
                      <a:pt x="805" y="568"/>
                    </a:lnTo>
                    <a:lnTo>
                      <a:pt x="805" y="563"/>
                    </a:lnTo>
                    <a:lnTo>
                      <a:pt x="808" y="563"/>
                    </a:lnTo>
                    <a:lnTo>
                      <a:pt x="810" y="565"/>
                    </a:lnTo>
                    <a:lnTo>
                      <a:pt x="810" y="565"/>
                    </a:lnTo>
                    <a:lnTo>
                      <a:pt x="810" y="566"/>
                    </a:lnTo>
                    <a:lnTo>
                      <a:pt x="810" y="569"/>
                    </a:lnTo>
                    <a:lnTo>
                      <a:pt x="812" y="573"/>
                    </a:lnTo>
                    <a:lnTo>
                      <a:pt x="813" y="576"/>
                    </a:lnTo>
                    <a:lnTo>
                      <a:pt x="813" y="577"/>
                    </a:lnTo>
                    <a:lnTo>
                      <a:pt x="813" y="579"/>
                    </a:lnTo>
                    <a:lnTo>
                      <a:pt x="813" y="579"/>
                    </a:lnTo>
                    <a:lnTo>
                      <a:pt x="815" y="580"/>
                    </a:lnTo>
                    <a:lnTo>
                      <a:pt x="818" y="580"/>
                    </a:lnTo>
                    <a:lnTo>
                      <a:pt x="824" y="582"/>
                    </a:lnTo>
                    <a:lnTo>
                      <a:pt x="827" y="584"/>
                    </a:lnTo>
                    <a:lnTo>
                      <a:pt x="829" y="585"/>
                    </a:lnTo>
                    <a:lnTo>
                      <a:pt x="830" y="585"/>
                    </a:lnTo>
                    <a:lnTo>
                      <a:pt x="832" y="585"/>
                    </a:lnTo>
                    <a:lnTo>
                      <a:pt x="835" y="585"/>
                    </a:lnTo>
                    <a:lnTo>
                      <a:pt x="837" y="584"/>
                    </a:lnTo>
                    <a:lnTo>
                      <a:pt x="838" y="582"/>
                    </a:lnTo>
                    <a:lnTo>
                      <a:pt x="840" y="584"/>
                    </a:lnTo>
                    <a:lnTo>
                      <a:pt x="841" y="584"/>
                    </a:lnTo>
                    <a:lnTo>
                      <a:pt x="843" y="584"/>
                    </a:lnTo>
                    <a:lnTo>
                      <a:pt x="846" y="584"/>
                    </a:lnTo>
                    <a:lnTo>
                      <a:pt x="846" y="584"/>
                    </a:lnTo>
                    <a:lnTo>
                      <a:pt x="848" y="585"/>
                    </a:lnTo>
                    <a:lnTo>
                      <a:pt x="849" y="587"/>
                    </a:lnTo>
                    <a:lnTo>
                      <a:pt x="851" y="588"/>
                    </a:lnTo>
                    <a:lnTo>
                      <a:pt x="852" y="590"/>
                    </a:lnTo>
                    <a:lnTo>
                      <a:pt x="852" y="591"/>
                    </a:lnTo>
                    <a:lnTo>
                      <a:pt x="854" y="591"/>
                    </a:lnTo>
                    <a:lnTo>
                      <a:pt x="855" y="591"/>
                    </a:lnTo>
                    <a:lnTo>
                      <a:pt x="857" y="590"/>
                    </a:lnTo>
                    <a:lnTo>
                      <a:pt x="860" y="591"/>
                    </a:lnTo>
                    <a:lnTo>
                      <a:pt x="863" y="595"/>
                    </a:lnTo>
                    <a:lnTo>
                      <a:pt x="866" y="596"/>
                    </a:lnTo>
                    <a:lnTo>
                      <a:pt x="868" y="598"/>
                    </a:lnTo>
                    <a:lnTo>
                      <a:pt x="871" y="598"/>
                    </a:lnTo>
                    <a:lnTo>
                      <a:pt x="874" y="596"/>
                    </a:lnTo>
                    <a:lnTo>
                      <a:pt x="877" y="595"/>
                    </a:lnTo>
                    <a:lnTo>
                      <a:pt x="879" y="595"/>
                    </a:lnTo>
                    <a:lnTo>
                      <a:pt x="880" y="595"/>
                    </a:lnTo>
                    <a:lnTo>
                      <a:pt x="882" y="596"/>
                    </a:lnTo>
                    <a:lnTo>
                      <a:pt x="882" y="596"/>
                    </a:lnTo>
                    <a:lnTo>
                      <a:pt x="885" y="596"/>
                    </a:lnTo>
                    <a:lnTo>
                      <a:pt x="890" y="596"/>
                    </a:lnTo>
                    <a:lnTo>
                      <a:pt x="893" y="596"/>
                    </a:lnTo>
                    <a:lnTo>
                      <a:pt x="894" y="598"/>
                    </a:lnTo>
                    <a:lnTo>
                      <a:pt x="896" y="599"/>
                    </a:lnTo>
                    <a:lnTo>
                      <a:pt x="898" y="599"/>
                    </a:lnTo>
                    <a:lnTo>
                      <a:pt x="899" y="599"/>
                    </a:lnTo>
                    <a:lnTo>
                      <a:pt x="902" y="599"/>
                    </a:lnTo>
                    <a:lnTo>
                      <a:pt x="904" y="599"/>
                    </a:lnTo>
                    <a:lnTo>
                      <a:pt x="905" y="596"/>
                    </a:lnTo>
                    <a:lnTo>
                      <a:pt x="905" y="596"/>
                    </a:lnTo>
                    <a:lnTo>
                      <a:pt x="907" y="596"/>
                    </a:lnTo>
                    <a:lnTo>
                      <a:pt x="907" y="595"/>
                    </a:lnTo>
                    <a:lnTo>
                      <a:pt x="907" y="595"/>
                    </a:lnTo>
                    <a:lnTo>
                      <a:pt x="909" y="591"/>
                    </a:lnTo>
                    <a:lnTo>
                      <a:pt x="909" y="591"/>
                    </a:lnTo>
                    <a:lnTo>
                      <a:pt x="909" y="590"/>
                    </a:lnTo>
                    <a:lnTo>
                      <a:pt x="909" y="590"/>
                    </a:lnTo>
                    <a:lnTo>
                      <a:pt x="909" y="588"/>
                    </a:lnTo>
                    <a:lnTo>
                      <a:pt x="909" y="587"/>
                    </a:lnTo>
                    <a:lnTo>
                      <a:pt x="912" y="587"/>
                    </a:lnTo>
                    <a:lnTo>
                      <a:pt x="916" y="584"/>
                    </a:lnTo>
                    <a:lnTo>
                      <a:pt x="916" y="584"/>
                    </a:lnTo>
                    <a:lnTo>
                      <a:pt x="916" y="587"/>
                    </a:lnTo>
                    <a:lnTo>
                      <a:pt x="915" y="590"/>
                    </a:lnTo>
                    <a:lnTo>
                      <a:pt x="915" y="590"/>
                    </a:lnTo>
                    <a:lnTo>
                      <a:pt x="915" y="590"/>
                    </a:lnTo>
                    <a:lnTo>
                      <a:pt x="913" y="590"/>
                    </a:lnTo>
                    <a:lnTo>
                      <a:pt x="915" y="590"/>
                    </a:lnTo>
                    <a:lnTo>
                      <a:pt x="916" y="590"/>
                    </a:lnTo>
                    <a:lnTo>
                      <a:pt x="918" y="590"/>
                    </a:lnTo>
                    <a:lnTo>
                      <a:pt x="918" y="588"/>
                    </a:lnTo>
                    <a:lnTo>
                      <a:pt x="918" y="587"/>
                    </a:lnTo>
                    <a:lnTo>
                      <a:pt x="918" y="585"/>
                    </a:lnTo>
                    <a:lnTo>
                      <a:pt x="919" y="585"/>
                    </a:lnTo>
                    <a:lnTo>
                      <a:pt x="919" y="585"/>
                    </a:lnTo>
                    <a:lnTo>
                      <a:pt x="919" y="584"/>
                    </a:lnTo>
                    <a:lnTo>
                      <a:pt x="919" y="582"/>
                    </a:lnTo>
                    <a:lnTo>
                      <a:pt x="921" y="582"/>
                    </a:lnTo>
                    <a:lnTo>
                      <a:pt x="921" y="582"/>
                    </a:lnTo>
                    <a:lnTo>
                      <a:pt x="921" y="582"/>
                    </a:lnTo>
                    <a:lnTo>
                      <a:pt x="921" y="579"/>
                    </a:lnTo>
                    <a:lnTo>
                      <a:pt x="921" y="579"/>
                    </a:lnTo>
                    <a:lnTo>
                      <a:pt x="921" y="577"/>
                    </a:lnTo>
                    <a:lnTo>
                      <a:pt x="923" y="577"/>
                    </a:lnTo>
                    <a:lnTo>
                      <a:pt x="923" y="577"/>
                    </a:lnTo>
                    <a:lnTo>
                      <a:pt x="924" y="577"/>
                    </a:lnTo>
                    <a:lnTo>
                      <a:pt x="924" y="579"/>
                    </a:lnTo>
                    <a:lnTo>
                      <a:pt x="924" y="580"/>
                    </a:lnTo>
                    <a:lnTo>
                      <a:pt x="924" y="580"/>
                    </a:lnTo>
                    <a:lnTo>
                      <a:pt x="923" y="582"/>
                    </a:lnTo>
                    <a:lnTo>
                      <a:pt x="921" y="585"/>
                    </a:lnTo>
                    <a:lnTo>
                      <a:pt x="919" y="587"/>
                    </a:lnTo>
                    <a:lnTo>
                      <a:pt x="921" y="587"/>
                    </a:lnTo>
                    <a:lnTo>
                      <a:pt x="921" y="588"/>
                    </a:lnTo>
                    <a:lnTo>
                      <a:pt x="921" y="588"/>
                    </a:lnTo>
                    <a:lnTo>
                      <a:pt x="921" y="587"/>
                    </a:lnTo>
                    <a:lnTo>
                      <a:pt x="921" y="587"/>
                    </a:lnTo>
                    <a:lnTo>
                      <a:pt x="921" y="587"/>
                    </a:lnTo>
                    <a:lnTo>
                      <a:pt x="923" y="585"/>
                    </a:lnTo>
                    <a:lnTo>
                      <a:pt x="923" y="585"/>
                    </a:lnTo>
                    <a:lnTo>
                      <a:pt x="923" y="584"/>
                    </a:lnTo>
                    <a:lnTo>
                      <a:pt x="923" y="585"/>
                    </a:lnTo>
                    <a:lnTo>
                      <a:pt x="924" y="585"/>
                    </a:lnTo>
                    <a:lnTo>
                      <a:pt x="924" y="584"/>
                    </a:lnTo>
                    <a:lnTo>
                      <a:pt x="926" y="584"/>
                    </a:lnTo>
                    <a:lnTo>
                      <a:pt x="926" y="584"/>
                    </a:lnTo>
                    <a:lnTo>
                      <a:pt x="927" y="582"/>
                    </a:lnTo>
                    <a:lnTo>
                      <a:pt x="929" y="580"/>
                    </a:lnTo>
                    <a:lnTo>
                      <a:pt x="929" y="579"/>
                    </a:lnTo>
                    <a:lnTo>
                      <a:pt x="927" y="577"/>
                    </a:lnTo>
                    <a:lnTo>
                      <a:pt x="926" y="576"/>
                    </a:lnTo>
                    <a:lnTo>
                      <a:pt x="926" y="576"/>
                    </a:lnTo>
                    <a:lnTo>
                      <a:pt x="926" y="574"/>
                    </a:lnTo>
                    <a:lnTo>
                      <a:pt x="926" y="574"/>
                    </a:lnTo>
                    <a:lnTo>
                      <a:pt x="926" y="573"/>
                    </a:lnTo>
                    <a:lnTo>
                      <a:pt x="927" y="574"/>
                    </a:lnTo>
                    <a:lnTo>
                      <a:pt x="927" y="573"/>
                    </a:lnTo>
                    <a:lnTo>
                      <a:pt x="927" y="573"/>
                    </a:lnTo>
                    <a:lnTo>
                      <a:pt x="929" y="573"/>
                    </a:lnTo>
                    <a:lnTo>
                      <a:pt x="930" y="573"/>
                    </a:lnTo>
                    <a:lnTo>
                      <a:pt x="930" y="574"/>
                    </a:lnTo>
                    <a:lnTo>
                      <a:pt x="935" y="576"/>
                    </a:lnTo>
                    <a:lnTo>
                      <a:pt x="935" y="576"/>
                    </a:lnTo>
                    <a:lnTo>
                      <a:pt x="937" y="576"/>
                    </a:lnTo>
                    <a:lnTo>
                      <a:pt x="938" y="576"/>
                    </a:lnTo>
                    <a:lnTo>
                      <a:pt x="938" y="577"/>
                    </a:lnTo>
                    <a:lnTo>
                      <a:pt x="938" y="577"/>
                    </a:lnTo>
                    <a:lnTo>
                      <a:pt x="940" y="577"/>
                    </a:lnTo>
                    <a:lnTo>
                      <a:pt x="941" y="577"/>
                    </a:lnTo>
                    <a:lnTo>
                      <a:pt x="943" y="579"/>
                    </a:lnTo>
                    <a:lnTo>
                      <a:pt x="945" y="579"/>
                    </a:lnTo>
                    <a:lnTo>
                      <a:pt x="946" y="579"/>
                    </a:lnTo>
                    <a:lnTo>
                      <a:pt x="948" y="579"/>
                    </a:lnTo>
                    <a:lnTo>
                      <a:pt x="949" y="579"/>
                    </a:lnTo>
                    <a:lnTo>
                      <a:pt x="951" y="579"/>
                    </a:lnTo>
                    <a:lnTo>
                      <a:pt x="952" y="579"/>
                    </a:lnTo>
                    <a:lnTo>
                      <a:pt x="954" y="577"/>
                    </a:lnTo>
                    <a:lnTo>
                      <a:pt x="954" y="579"/>
                    </a:lnTo>
                    <a:lnTo>
                      <a:pt x="954" y="579"/>
                    </a:lnTo>
                    <a:lnTo>
                      <a:pt x="955" y="579"/>
                    </a:lnTo>
                    <a:lnTo>
                      <a:pt x="957" y="579"/>
                    </a:lnTo>
                    <a:lnTo>
                      <a:pt x="959" y="579"/>
                    </a:lnTo>
                    <a:lnTo>
                      <a:pt x="959" y="580"/>
                    </a:lnTo>
                    <a:lnTo>
                      <a:pt x="959" y="580"/>
                    </a:lnTo>
                    <a:lnTo>
                      <a:pt x="959" y="580"/>
                    </a:lnTo>
                    <a:lnTo>
                      <a:pt x="960" y="582"/>
                    </a:lnTo>
                    <a:lnTo>
                      <a:pt x="960" y="584"/>
                    </a:lnTo>
                    <a:lnTo>
                      <a:pt x="960" y="584"/>
                    </a:lnTo>
                    <a:lnTo>
                      <a:pt x="960" y="585"/>
                    </a:lnTo>
                    <a:lnTo>
                      <a:pt x="962" y="587"/>
                    </a:lnTo>
                    <a:lnTo>
                      <a:pt x="962" y="588"/>
                    </a:lnTo>
                    <a:lnTo>
                      <a:pt x="962" y="588"/>
                    </a:lnTo>
                    <a:lnTo>
                      <a:pt x="962" y="590"/>
                    </a:lnTo>
                    <a:lnTo>
                      <a:pt x="963" y="591"/>
                    </a:lnTo>
                    <a:lnTo>
                      <a:pt x="963" y="595"/>
                    </a:lnTo>
                    <a:lnTo>
                      <a:pt x="965" y="596"/>
                    </a:lnTo>
                    <a:lnTo>
                      <a:pt x="966" y="599"/>
                    </a:lnTo>
                    <a:lnTo>
                      <a:pt x="970" y="601"/>
                    </a:lnTo>
                    <a:lnTo>
                      <a:pt x="973" y="601"/>
                    </a:lnTo>
                    <a:lnTo>
                      <a:pt x="974" y="601"/>
                    </a:lnTo>
                    <a:lnTo>
                      <a:pt x="977" y="601"/>
                    </a:lnTo>
                    <a:lnTo>
                      <a:pt x="980" y="601"/>
                    </a:lnTo>
                    <a:lnTo>
                      <a:pt x="984" y="601"/>
                    </a:lnTo>
                    <a:lnTo>
                      <a:pt x="985" y="601"/>
                    </a:lnTo>
                    <a:lnTo>
                      <a:pt x="985" y="601"/>
                    </a:lnTo>
                    <a:lnTo>
                      <a:pt x="985" y="602"/>
                    </a:lnTo>
                    <a:lnTo>
                      <a:pt x="985" y="602"/>
                    </a:lnTo>
                    <a:lnTo>
                      <a:pt x="984" y="604"/>
                    </a:lnTo>
                    <a:lnTo>
                      <a:pt x="984" y="605"/>
                    </a:lnTo>
                    <a:lnTo>
                      <a:pt x="984" y="605"/>
                    </a:lnTo>
                    <a:lnTo>
                      <a:pt x="984" y="607"/>
                    </a:lnTo>
                    <a:lnTo>
                      <a:pt x="984" y="607"/>
                    </a:lnTo>
                    <a:lnTo>
                      <a:pt x="984" y="609"/>
                    </a:lnTo>
                    <a:lnTo>
                      <a:pt x="982" y="609"/>
                    </a:lnTo>
                    <a:lnTo>
                      <a:pt x="984" y="610"/>
                    </a:lnTo>
                    <a:lnTo>
                      <a:pt x="984" y="612"/>
                    </a:lnTo>
                    <a:lnTo>
                      <a:pt x="985" y="612"/>
                    </a:lnTo>
                    <a:lnTo>
                      <a:pt x="987" y="613"/>
                    </a:lnTo>
                    <a:lnTo>
                      <a:pt x="988" y="615"/>
                    </a:lnTo>
                    <a:lnTo>
                      <a:pt x="988" y="615"/>
                    </a:lnTo>
                    <a:lnTo>
                      <a:pt x="988" y="616"/>
                    </a:lnTo>
                    <a:lnTo>
                      <a:pt x="990" y="616"/>
                    </a:lnTo>
                    <a:lnTo>
                      <a:pt x="990" y="616"/>
                    </a:lnTo>
                    <a:lnTo>
                      <a:pt x="990" y="616"/>
                    </a:lnTo>
                    <a:lnTo>
                      <a:pt x="990" y="618"/>
                    </a:lnTo>
                    <a:lnTo>
                      <a:pt x="988" y="620"/>
                    </a:lnTo>
                    <a:lnTo>
                      <a:pt x="988" y="621"/>
                    </a:lnTo>
                    <a:lnTo>
                      <a:pt x="988" y="623"/>
                    </a:lnTo>
                    <a:lnTo>
                      <a:pt x="987" y="624"/>
                    </a:lnTo>
                    <a:lnTo>
                      <a:pt x="987" y="626"/>
                    </a:lnTo>
                    <a:lnTo>
                      <a:pt x="987" y="626"/>
                    </a:lnTo>
                    <a:lnTo>
                      <a:pt x="988" y="626"/>
                    </a:lnTo>
                    <a:lnTo>
                      <a:pt x="990" y="627"/>
                    </a:lnTo>
                    <a:lnTo>
                      <a:pt x="990" y="627"/>
                    </a:lnTo>
                    <a:lnTo>
                      <a:pt x="990" y="627"/>
                    </a:lnTo>
                    <a:lnTo>
                      <a:pt x="991" y="627"/>
                    </a:lnTo>
                    <a:lnTo>
                      <a:pt x="991" y="627"/>
                    </a:lnTo>
                    <a:lnTo>
                      <a:pt x="993" y="627"/>
                    </a:lnTo>
                    <a:lnTo>
                      <a:pt x="995" y="627"/>
                    </a:lnTo>
                    <a:lnTo>
                      <a:pt x="995" y="629"/>
                    </a:lnTo>
                    <a:lnTo>
                      <a:pt x="995" y="629"/>
                    </a:lnTo>
                    <a:lnTo>
                      <a:pt x="993" y="629"/>
                    </a:lnTo>
                    <a:lnTo>
                      <a:pt x="991" y="629"/>
                    </a:lnTo>
                    <a:lnTo>
                      <a:pt x="991" y="629"/>
                    </a:lnTo>
                    <a:lnTo>
                      <a:pt x="991" y="631"/>
                    </a:lnTo>
                    <a:lnTo>
                      <a:pt x="991" y="632"/>
                    </a:lnTo>
                    <a:lnTo>
                      <a:pt x="991" y="634"/>
                    </a:lnTo>
                    <a:lnTo>
                      <a:pt x="991" y="634"/>
                    </a:lnTo>
                    <a:lnTo>
                      <a:pt x="991" y="632"/>
                    </a:lnTo>
                    <a:lnTo>
                      <a:pt x="991" y="632"/>
                    </a:lnTo>
                    <a:lnTo>
                      <a:pt x="993" y="632"/>
                    </a:lnTo>
                    <a:lnTo>
                      <a:pt x="993" y="632"/>
                    </a:lnTo>
                    <a:lnTo>
                      <a:pt x="993" y="634"/>
                    </a:lnTo>
                    <a:lnTo>
                      <a:pt x="991" y="635"/>
                    </a:lnTo>
                    <a:lnTo>
                      <a:pt x="990" y="637"/>
                    </a:lnTo>
                    <a:lnTo>
                      <a:pt x="990" y="637"/>
                    </a:lnTo>
                    <a:lnTo>
                      <a:pt x="991" y="638"/>
                    </a:lnTo>
                    <a:lnTo>
                      <a:pt x="991" y="638"/>
                    </a:lnTo>
                    <a:lnTo>
                      <a:pt x="993" y="638"/>
                    </a:lnTo>
                    <a:lnTo>
                      <a:pt x="993" y="637"/>
                    </a:lnTo>
                    <a:lnTo>
                      <a:pt x="995" y="637"/>
                    </a:lnTo>
                    <a:lnTo>
                      <a:pt x="996" y="637"/>
                    </a:lnTo>
                    <a:lnTo>
                      <a:pt x="998" y="637"/>
                    </a:lnTo>
                    <a:lnTo>
                      <a:pt x="998" y="637"/>
                    </a:lnTo>
                    <a:lnTo>
                      <a:pt x="999" y="638"/>
                    </a:lnTo>
                    <a:lnTo>
                      <a:pt x="999" y="638"/>
                    </a:lnTo>
                    <a:lnTo>
                      <a:pt x="999" y="640"/>
                    </a:lnTo>
                    <a:lnTo>
                      <a:pt x="999" y="641"/>
                    </a:lnTo>
                    <a:lnTo>
                      <a:pt x="999" y="641"/>
                    </a:lnTo>
                    <a:lnTo>
                      <a:pt x="999" y="641"/>
                    </a:lnTo>
                    <a:lnTo>
                      <a:pt x="1002" y="641"/>
                    </a:lnTo>
                    <a:lnTo>
                      <a:pt x="1002" y="641"/>
                    </a:lnTo>
                    <a:lnTo>
                      <a:pt x="1002" y="643"/>
                    </a:lnTo>
                    <a:lnTo>
                      <a:pt x="1004" y="643"/>
                    </a:lnTo>
                    <a:lnTo>
                      <a:pt x="1007" y="643"/>
                    </a:lnTo>
                    <a:lnTo>
                      <a:pt x="1007" y="643"/>
                    </a:lnTo>
                    <a:lnTo>
                      <a:pt x="1009" y="645"/>
                    </a:lnTo>
                    <a:lnTo>
                      <a:pt x="1010" y="645"/>
                    </a:lnTo>
                    <a:lnTo>
                      <a:pt x="1018" y="646"/>
                    </a:lnTo>
                    <a:lnTo>
                      <a:pt x="1020" y="646"/>
                    </a:lnTo>
                    <a:lnTo>
                      <a:pt x="1023" y="646"/>
                    </a:lnTo>
                    <a:lnTo>
                      <a:pt x="1024" y="646"/>
                    </a:lnTo>
                    <a:lnTo>
                      <a:pt x="1024" y="646"/>
                    </a:lnTo>
                    <a:lnTo>
                      <a:pt x="1026" y="646"/>
                    </a:lnTo>
                    <a:lnTo>
                      <a:pt x="1029" y="646"/>
                    </a:lnTo>
                    <a:lnTo>
                      <a:pt x="1030" y="646"/>
                    </a:lnTo>
                    <a:lnTo>
                      <a:pt x="1032" y="648"/>
                    </a:lnTo>
                    <a:lnTo>
                      <a:pt x="1034" y="648"/>
                    </a:lnTo>
                    <a:lnTo>
                      <a:pt x="1035" y="648"/>
                    </a:lnTo>
                    <a:lnTo>
                      <a:pt x="1038" y="648"/>
                    </a:lnTo>
                    <a:lnTo>
                      <a:pt x="1040" y="648"/>
                    </a:lnTo>
                    <a:lnTo>
                      <a:pt x="1040" y="649"/>
                    </a:lnTo>
                    <a:lnTo>
                      <a:pt x="1040" y="649"/>
                    </a:lnTo>
                    <a:lnTo>
                      <a:pt x="1040" y="649"/>
                    </a:lnTo>
                    <a:lnTo>
                      <a:pt x="1040" y="649"/>
                    </a:lnTo>
                    <a:lnTo>
                      <a:pt x="1041" y="649"/>
                    </a:lnTo>
                    <a:lnTo>
                      <a:pt x="1041" y="648"/>
                    </a:lnTo>
                    <a:lnTo>
                      <a:pt x="1041" y="648"/>
                    </a:lnTo>
                    <a:lnTo>
                      <a:pt x="1043" y="648"/>
                    </a:lnTo>
                    <a:lnTo>
                      <a:pt x="1043" y="648"/>
                    </a:lnTo>
                    <a:lnTo>
                      <a:pt x="1043" y="649"/>
                    </a:lnTo>
                    <a:lnTo>
                      <a:pt x="1041" y="649"/>
                    </a:lnTo>
                    <a:lnTo>
                      <a:pt x="1041" y="649"/>
                    </a:lnTo>
                    <a:lnTo>
                      <a:pt x="1041" y="651"/>
                    </a:lnTo>
                    <a:lnTo>
                      <a:pt x="1043" y="651"/>
                    </a:lnTo>
                    <a:lnTo>
                      <a:pt x="1043" y="651"/>
                    </a:lnTo>
                    <a:lnTo>
                      <a:pt x="1041" y="651"/>
                    </a:lnTo>
                    <a:lnTo>
                      <a:pt x="1043" y="651"/>
                    </a:lnTo>
                    <a:lnTo>
                      <a:pt x="1045" y="651"/>
                    </a:lnTo>
                    <a:lnTo>
                      <a:pt x="1045" y="651"/>
                    </a:lnTo>
                    <a:lnTo>
                      <a:pt x="1048" y="651"/>
                    </a:lnTo>
                    <a:lnTo>
                      <a:pt x="1049" y="651"/>
                    </a:lnTo>
                    <a:lnTo>
                      <a:pt x="1049" y="651"/>
                    </a:lnTo>
                    <a:lnTo>
                      <a:pt x="1049" y="651"/>
                    </a:lnTo>
                    <a:lnTo>
                      <a:pt x="1051" y="651"/>
                    </a:lnTo>
                    <a:lnTo>
                      <a:pt x="1051" y="651"/>
                    </a:lnTo>
                    <a:lnTo>
                      <a:pt x="1051" y="651"/>
                    </a:lnTo>
                    <a:lnTo>
                      <a:pt x="1051" y="652"/>
                    </a:lnTo>
                    <a:lnTo>
                      <a:pt x="1051" y="652"/>
                    </a:lnTo>
                    <a:lnTo>
                      <a:pt x="1054" y="652"/>
                    </a:lnTo>
                    <a:lnTo>
                      <a:pt x="1056" y="652"/>
                    </a:lnTo>
                    <a:lnTo>
                      <a:pt x="1057" y="652"/>
                    </a:lnTo>
                    <a:lnTo>
                      <a:pt x="1057" y="652"/>
                    </a:lnTo>
                    <a:lnTo>
                      <a:pt x="1057" y="652"/>
                    </a:lnTo>
                    <a:lnTo>
                      <a:pt x="1059" y="654"/>
                    </a:lnTo>
                    <a:lnTo>
                      <a:pt x="1059" y="654"/>
                    </a:lnTo>
                    <a:lnTo>
                      <a:pt x="1059" y="656"/>
                    </a:lnTo>
                    <a:lnTo>
                      <a:pt x="1059" y="656"/>
                    </a:lnTo>
                    <a:lnTo>
                      <a:pt x="1059" y="657"/>
                    </a:lnTo>
                    <a:lnTo>
                      <a:pt x="1060" y="657"/>
                    </a:lnTo>
                    <a:lnTo>
                      <a:pt x="1060" y="657"/>
                    </a:lnTo>
                    <a:lnTo>
                      <a:pt x="1060" y="659"/>
                    </a:lnTo>
                    <a:lnTo>
                      <a:pt x="1062" y="660"/>
                    </a:lnTo>
                    <a:lnTo>
                      <a:pt x="1062" y="660"/>
                    </a:lnTo>
                    <a:lnTo>
                      <a:pt x="1062" y="660"/>
                    </a:lnTo>
                    <a:lnTo>
                      <a:pt x="1062" y="662"/>
                    </a:lnTo>
                    <a:lnTo>
                      <a:pt x="1063" y="662"/>
                    </a:lnTo>
                    <a:lnTo>
                      <a:pt x="1063" y="660"/>
                    </a:lnTo>
                    <a:lnTo>
                      <a:pt x="1063" y="660"/>
                    </a:lnTo>
                    <a:lnTo>
                      <a:pt x="1063" y="660"/>
                    </a:lnTo>
                    <a:lnTo>
                      <a:pt x="1063" y="662"/>
                    </a:lnTo>
                    <a:lnTo>
                      <a:pt x="1063" y="663"/>
                    </a:lnTo>
                    <a:lnTo>
                      <a:pt x="1063" y="665"/>
                    </a:lnTo>
                    <a:lnTo>
                      <a:pt x="1065" y="666"/>
                    </a:lnTo>
                    <a:lnTo>
                      <a:pt x="1065" y="666"/>
                    </a:lnTo>
                    <a:lnTo>
                      <a:pt x="1066" y="666"/>
                    </a:lnTo>
                    <a:lnTo>
                      <a:pt x="1068" y="666"/>
                    </a:lnTo>
                    <a:lnTo>
                      <a:pt x="1068" y="666"/>
                    </a:lnTo>
                    <a:lnTo>
                      <a:pt x="1068" y="666"/>
                    </a:lnTo>
                    <a:lnTo>
                      <a:pt x="1068" y="666"/>
                    </a:lnTo>
                    <a:lnTo>
                      <a:pt x="1068" y="666"/>
                    </a:lnTo>
                    <a:lnTo>
                      <a:pt x="1070" y="666"/>
                    </a:lnTo>
                    <a:lnTo>
                      <a:pt x="1070" y="666"/>
                    </a:lnTo>
                    <a:lnTo>
                      <a:pt x="1070" y="666"/>
                    </a:lnTo>
                    <a:lnTo>
                      <a:pt x="1070" y="668"/>
                    </a:lnTo>
                    <a:lnTo>
                      <a:pt x="1068" y="670"/>
                    </a:lnTo>
                    <a:lnTo>
                      <a:pt x="1068" y="670"/>
                    </a:lnTo>
                    <a:lnTo>
                      <a:pt x="1070" y="671"/>
                    </a:lnTo>
                    <a:lnTo>
                      <a:pt x="1070" y="671"/>
                    </a:lnTo>
                    <a:lnTo>
                      <a:pt x="1070" y="670"/>
                    </a:lnTo>
                    <a:lnTo>
                      <a:pt x="1070" y="671"/>
                    </a:lnTo>
                    <a:lnTo>
                      <a:pt x="1071" y="671"/>
                    </a:lnTo>
                    <a:lnTo>
                      <a:pt x="1071" y="671"/>
                    </a:lnTo>
                    <a:lnTo>
                      <a:pt x="1070" y="673"/>
                    </a:lnTo>
                    <a:lnTo>
                      <a:pt x="1070" y="673"/>
                    </a:lnTo>
                    <a:lnTo>
                      <a:pt x="1070" y="673"/>
                    </a:lnTo>
                    <a:lnTo>
                      <a:pt x="1070" y="674"/>
                    </a:lnTo>
                    <a:lnTo>
                      <a:pt x="1071" y="674"/>
                    </a:lnTo>
                    <a:lnTo>
                      <a:pt x="1071" y="676"/>
                    </a:lnTo>
                    <a:lnTo>
                      <a:pt x="1071" y="676"/>
                    </a:lnTo>
                    <a:lnTo>
                      <a:pt x="1073" y="676"/>
                    </a:lnTo>
                    <a:lnTo>
                      <a:pt x="1073" y="677"/>
                    </a:lnTo>
                    <a:lnTo>
                      <a:pt x="1074" y="677"/>
                    </a:lnTo>
                    <a:lnTo>
                      <a:pt x="1074" y="679"/>
                    </a:lnTo>
                    <a:lnTo>
                      <a:pt x="1074" y="679"/>
                    </a:lnTo>
                    <a:lnTo>
                      <a:pt x="1074" y="681"/>
                    </a:lnTo>
                    <a:lnTo>
                      <a:pt x="1076" y="681"/>
                    </a:lnTo>
                    <a:lnTo>
                      <a:pt x="1076" y="681"/>
                    </a:lnTo>
                    <a:lnTo>
                      <a:pt x="1076" y="679"/>
                    </a:lnTo>
                    <a:lnTo>
                      <a:pt x="1076" y="679"/>
                    </a:lnTo>
                    <a:lnTo>
                      <a:pt x="1076" y="679"/>
                    </a:lnTo>
                    <a:lnTo>
                      <a:pt x="1076" y="681"/>
                    </a:lnTo>
                    <a:lnTo>
                      <a:pt x="1076" y="681"/>
                    </a:lnTo>
                    <a:lnTo>
                      <a:pt x="1076" y="681"/>
                    </a:lnTo>
                    <a:lnTo>
                      <a:pt x="1076" y="682"/>
                    </a:lnTo>
                    <a:lnTo>
                      <a:pt x="1074" y="682"/>
                    </a:lnTo>
                    <a:lnTo>
                      <a:pt x="1073" y="681"/>
                    </a:lnTo>
                    <a:lnTo>
                      <a:pt x="1073" y="681"/>
                    </a:lnTo>
                    <a:lnTo>
                      <a:pt x="1073" y="681"/>
                    </a:lnTo>
                    <a:lnTo>
                      <a:pt x="1071" y="681"/>
                    </a:lnTo>
                    <a:lnTo>
                      <a:pt x="1073" y="679"/>
                    </a:lnTo>
                    <a:lnTo>
                      <a:pt x="1073" y="679"/>
                    </a:lnTo>
                    <a:lnTo>
                      <a:pt x="1071" y="679"/>
                    </a:lnTo>
                    <a:lnTo>
                      <a:pt x="1070" y="679"/>
                    </a:lnTo>
                    <a:lnTo>
                      <a:pt x="1070" y="681"/>
                    </a:lnTo>
                    <a:lnTo>
                      <a:pt x="1070" y="681"/>
                    </a:lnTo>
                    <a:lnTo>
                      <a:pt x="1070" y="682"/>
                    </a:lnTo>
                    <a:lnTo>
                      <a:pt x="1070" y="682"/>
                    </a:lnTo>
                    <a:lnTo>
                      <a:pt x="1071" y="684"/>
                    </a:lnTo>
                    <a:lnTo>
                      <a:pt x="1071" y="687"/>
                    </a:lnTo>
                    <a:lnTo>
                      <a:pt x="1070" y="687"/>
                    </a:lnTo>
                    <a:lnTo>
                      <a:pt x="1070" y="688"/>
                    </a:lnTo>
                    <a:lnTo>
                      <a:pt x="1066" y="688"/>
                    </a:lnTo>
                    <a:lnTo>
                      <a:pt x="1063" y="685"/>
                    </a:lnTo>
                    <a:lnTo>
                      <a:pt x="1060" y="685"/>
                    </a:lnTo>
                    <a:lnTo>
                      <a:pt x="1059" y="682"/>
                    </a:lnTo>
                    <a:lnTo>
                      <a:pt x="1059" y="682"/>
                    </a:lnTo>
                    <a:lnTo>
                      <a:pt x="1057" y="684"/>
                    </a:lnTo>
                    <a:lnTo>
                      <a:pt x="1056" y="684"/>
                    </a:lnTo>
                    <a:lnTo>
                      <a:pt x="1056" y="685"/>
                    </a:lnTo>
                    <a:lnTo>
                      <a:pt x="1054" y="685"/>
                    </a:lnTo>
                    <a:lnTo>
                      <a:pt x="1056" y="682"/>
                    </a:lnTo>
                    <a:lnTo>
                      <a:pt x="1056" y="682"/>
                    </a:lnTo>
                    <a:lnTo>
                      <a:pt x="1056" y="681"/>
                    </a:lnTo>
                    <a:lnTo>
                      <a:pt x="1054" y="681"/>
                    </a:lnTo>
                    <a:lnTo>
                      <a:pt x="1054" y="681"/>
                    </a:lnTo>
                    <a:lnTo>
                      <a:pt x="1052" y="681"/>
                    </a:lnTo>
                    <a:lnTo>
                      <a:pt x="1051" y="682"/>
                    </a:lnTo>
                    <a:lnTo>
                      <a:pt x="1051" y="681"/>
                    </a:lnTo>
                    <a:lnTo>
                      <a:pt x="1051" y="681"/>
                    </a:lnTo>
                    <a:lnTo>
                      <a:pt x="1052" y="679"/>
                    </a:lnTo>
                    <a:lnTo>
                      <a:pt x="1052" y="679"/>
                    </a:lnTo>
                    <a:lnTo>
                      <a:pt x="1052" y="677"/>
                    </a:lnTo>
                    <a:lnTo>
                      <a:pt x="1054" y="677"/>
                    </a:lnTo>
                    <a:lnTo>
                      <a:pt x="1054" y="676"/>
                    </a:lnTo>
                    <a:lnTo>
                      <a:pt x="1054" y="676"/>
                    </a:lnTo>
                    <a:lnTo>
                      <a:pt x="1052" y="676"/>
                    </a:lnTo>
                    <a:lnTo>
                      <a:pt x="1052" y="677"/>
                    </a:lnTo>
                    <a:lnTo>
                      <a:pt x="1052" y="677"/>
                    </a:lnTo>
                    <a:lnTo>
                      <a:pt x="1051" y="677"/>
                    </a:lnTo>
                    <a:lnTo>
                      <a:pt x="1051" y="677"/>
                    </a:lnTo>
                    <a:lnTo>
                      <a:pt x="1051" y="677"/>
                    </a:lnTo>
                    <a:lnTo>
                      <a:pt x="1051" y="676"/>
                    </a:lnTo>
                    <a:lnTo>
                      <a:pt x="1049" y="676"/>
                    </a:lnTo>
                    <a:lnTo>
                      <a:pt x="1049" y="676"/>
                    </a:lnTo>
                    <a:lnTo>
                      <a:pt x="1049" y="676"/>
                    </a:lnTo>
                    <a:lnTo>
                      <a:pt x="1049" y="674"/>
                    </a:lnTo>
                    <a:lnTo>
                      <a:pt x="1049" y="674"/>
                    </a:lnTo>
                    <a:lnTo>
                      <a:pt x="1048" y="673"/>
                    </a:lnTo>
                    <a:lnTo>
                      <a:pt x="1048" y="671"/>
                    </a:lnTo>
                    <a:lnTo>
                      <a:pt x="1048" y="671"/>
                    </a:lnTo>
                    <a:lnTo>
                      <a:pt x="1048" y="670"/>
                    </a:lnTo>
                    <a:lnTo>
                      <a:pt x="1048" y="670"/>
                    </a:lnTo>
                    <a:lnTo>
                      <a:pt x="1046" y="670"/>
                    </a:lnTo>
                    <a:lnTo>
                      <a:pt x="1043" y="670"/>
                    </a:lnTo>
                    <a:lnTo>
                      <a:pt x="1041" y="670"/>
                    </a:lnTo>
                    <a:lnTo>
                      <a:pt x="1041" y="670"/>
                    </a:lnTo>
                    <a:lnTo>
                      <a:pt x="1041" y="671"/>
                    </a:lnTo>
                    <a:lnTo>
                      <a:pt x="1041" y="671"/>
                    </a:lnTo>
                    <a:lnTo>
                      <a:pt x="1043" y="671"/>
                    </a:lnTo>
                    <a:lnTo>
                      <a:pt x="1043" y="673"/>
                    </a:lnTo>
                    <a:lnTo>
                      <a:pt x="1043" y="673"/>
                    </a:lnTo>
                    <a:lnTo>
                      <a:pt x="1045" y="674"/>
                    </a:lnTo>
                    <a:lnTo>
                      <a:pt x="1045" y="676"/>
                    </a:lnTo>
                    <a:lnTo>
                      <a:pt x="1046" y="676"/>
                    </a:lnTo>
                    <a:lnTo>
                      <a:pt x="1046" y="676"/>
                    </a:lnTo>
                    <a:lnTo>
                      <a:pt x="1046" y="676"/>
                    </a:lnTo>
                    <a:lnTo>
                      <a:pt x="1046" y="677"/>
                    </a:lnTo>
                    <a:lnTo>
                      <a:pt x="1048" y="679"/>
                    </a:lnTo>
                    <a:lnTo>
                      <a:pt x="1048" y="679"/>
                    </a:lnTo>
                    <a:lnTo>
                      <a:pt x="1048" y="681"/>
                    </a:lnTo>
                    <a:lnTo>
                      <a:pt x="1048" y="682"/>
                    </a:lnTo>
                    <a:lnTo>
                      <a:pt x="1048" y="684"/>
                    </a:lnTo>
                    <a:lnTo>
                      <a:pt x="1048" y="685"/>
                    </a:lnTo>
                    <a:lnTo>
                      <a:pt x="1048" y="687"/>
                    </a:lnTo>
                    <a:lnTo>
                      <a:pt x="1046" y="688"/>
                    </a:lnTo>
                    <a:lnTo>
                      <a:pt x="1046" y="688"/>
                    </a:lnTo>
                    <a:lnTo>
                      <a:pt x="1046" y="690"/>
                    </a:lnTo>
                    <a:lnTo>
                      <a:pt x="1045" y="690"/>
                    </a:lnTo>
                    <a:lnTo>
                      <a:pt x="1045" y="690"/>
                    </a:lnTo>
                    <a:lnTo>
                      <a:pt x="1043" y="692"/>
                    </a:lnTo>
                    <a:lnTo>
                      <a:pt x="1043" y="693"/>
                    </a:lnTo>
                    <a:lnTo>
                      <a:pt x="1043" y="695"/>
                    </a:lnTo>
                    <a:lnTo>
                      <a:pt x="1041" y="696"/>
                    </a:lnTo>
                    <a:lnTo>
                      <a:pt x="1041" y="696"/>
                    </a:lnTo>
                    <a:lnTo>
                      <a:pt x="1040" y="699"/>
                    </a:lnTo>
                    <a:lnTo>
                      <a:pt x="1040" y="701"/>
                    </a:lnTo>
                    <a:lnTo>
                      <a:pt x="1040" y="709"/>
                    </a:lnTo>
                    <a:lnTo>
                      <a:pt x="1041" y="710"/>
                    </a:lnTo>
                    <a:lnTo>
                      <a:pt x="1040" y="713"/>
                    </a:lnTo>
                    <a:lnTo>
                      <a:pt x="1040" y="715"/>
                    </a:lnTo>
                    <a:lnTo>
                      <a:pt x="1040" y="717"/>
                    </a:lnTo>
                    <a:lnTo>
                      <a:pt x="1038" y="718"/>
                    </a:lnTo>
                    <a:lnTo>
                      <a:pt x="1037" y="718"/>
                    </a:lnTo>
                    <a:lnTo>
                      <a:pt x="1037" y="720"/>
                    </a:lnTo>
                    <a:lnTo>
                      <a:pt x="1035" y="720"/>
                    </a:lnTo>
                    <a:lnTo>
                      <a:pt x="1034" y="721"/>
                    </a:lnTo>
                    <a:lnTo>
                      <a:pt x="1032" y="723"/>
                    </a:lnTo>
                    <a:lnTo>
                      <a:pt x="1030" y="723"/>
                    </a:lnTo>
                    <a:lnTo>
                      <a:pt x="1029" y="724"/>
                    </a:lnTo>
                    <a:lnTo>
                      <a:pt x="1027" y="731"/>
                    </a:lnTo>
                    <a:lnTo>
                      <a:pt x="1027" y="731"/>
                    </a:lnTo>
                    <a:lnTo>
                      <a:pt x="1026" y="734"/>
                    </a:lnTo>
                    <a:lnTo>
                      <a:pt x="1024" y="735"/>
                    </a:lnTo>
                    <a:lnTo>
                      <a:pt x="1023" y="737"/>
                    </a:lnTo>
                    <a:lnTo>
                      <a:pt x="1021" y="738"/>
                    </a:lnTo>
                    <a:lnTo>
                      <a:pt x="1018" y="740"/>
                    </a:lnTo>
                    <a:lnTo>
                      <a:pt x="1016" y="742"/>
                    </a:lnTo>
                    <a:lnTo>
                      <a:pt x="1016" y="742"/>
                    </a:lnTo>
                    <a:lnTo>
                      <a:pt x="1016" y="742"/>
                    </a:lnTo>
                    <a:lnTo>
                      <a:pt x="1016" y="742"/>
                    </a:lnTo>
                    <a:lnTo>
                      <a:pt x="1016" y="743"/>
                    </a:lnTo>
                    <a:lnTo>
                      <a:pt x="1016" y="745"/>
                    </a:lnTo>
                    <a:lnTo>
                      <a:pt x="1016" y="746"/>
                    </a:lnTo>
                    <a:lnTo>
                      <a:pt x="1016" y="746"/>
                    </a:lnTo>
                    <a:lnTo>
                      <a:pt x="1020" y="748"/>
                    </a:lnTo>
                    <a:lnTo>
                      <a:pt x="1021" y="748"/>
                    </a:lnTo>
                    <a:lnTo>
                      <a:pt x="1024" y="748"/>
                    </a:lnTo>
                    <a:lnTo>
                      <a:pt x="1024" y="748"/>
                    </a:lnTo>
                    <a:lnTo>
                      <a:pt x="1024" y="748"/>
                    </a:lnTo>
                    <a:lnTo>
                      <a:pt x="1026" y="748"/>
                    </a:lnTo>
                    <a:lnTo>
                      <a:pt x="1027" y="749"/>
                    </a:lnTo>
                    <a:lnTo>
                      <a:pt x="1027" y="749"/>
                    </a:lnTo>
                    <a:lnTo>
                      <a:pt x="1027" y="748"/>
                    </a:lnTo>
                    <a:lnTo>
                      <a:pt x="1027" y="746"/>
                    </a:lnTo>
                    <a:lnTo>
                      <a:pt x="1029" y="746"/>
                    </a:lnTo>
                    <a:lnTo>
                      <a:pt x="1030" y="745"/>
                    </a:lnTo>
                    <a:lnTo>
                      <a:pt x="1032" y="743"/>
                    </a:lnTo>
                    <a:lnTo>
                      <a:pt x="1035" y="742"/>
                    </a:lnTo>
                    <a:lnTo>
                      <a:pt x="1037" y="742"/>
                    </a:lnTo>
                    <a:lnTo>
                      <a:pt x="1037" y="742"/>
                    </a:lnTo>
                    <a:lnTo>
                      <a:pt x="1038" y="740"/>
                    </a:lnTo>
                    <a:lnTo>
                      <a:pt x="1038" y="740"/>
                    </a:lnTo>
                    <a:lnTo>
                      <a:pt x="1038" y="742"/>
                    </a:lnTo>
                    <a:lnTo>
                      <a:pt x="1038" y="742"/>
                    </a:lnTo>
                    <a:lnTo>
                      <a:pt x="1038" y="742"/>
                    </a:lnTo>
                    <a:lnTo>
                      <a:pt x="1038" y="742"/>
                    </a:lnTo>
                    <a:lnTo>
                      <a:pt x="1038" y="740"/>
                    </a:lnTo>
                    <a:lnTo>
                      <a:pt x="1040" y="737"/>
                    </a:lnTo>
                    <a:lnTo>
                      <a:pt x="1045" y="734"/>
                    </a:lnTo>
                    <a:lnTo>
                      <a:pt x="1046" y="734"/>
                    </a:lnTo>
                    <a:lnTo>
                      <a:pt x="1049" y="732"/>
                    </a:lnTo>
                    <a:lnTo>
                      <a:pt x="1052" y="732"/>
                    </a:lnTo>
                    <a:lnTo>
                      <a:pt x="1056" y="732"/>
                    </a:lnTo>
                    <a:lnTo>
                      <a:pt x="1060" y="734"/>
                    </a:lnTo>
                    <a:lnTo>
                      <a:pt x="1062" y="734"/>
                    </a:lnTo>
                    <a:lnTo>
                      <a:pt x="1063" y="734"/>
                    </a:lnTo>
                    <a:lnTo>
                      <a:pt x="1070" y="735"/>
                    </a:lnTo>
                    <a:lnTo>
                      <a:pt x="1070" y="735"/>
                    </a:lnTo>
                    <a:lnTo>
                      <a:pt x="1070" y="734"/>
                    </a:lnTo>
                    <a:lnTo>
                      <a:pt x="1065" y="734"/>
                    </a:lnTo>
                    <a:lnTo>
                      <a:pt x="1065" y="734"/>
                    </a:lnTo>
                    <a:lnTo>
                      <a:pt x="1063" y="734"/>
                    </a:lnTo>
                    <a:lnTo>
                      <a:pt x="1063" y="734"/>
                    </a:lnTo>
                    <a:lnTo>
                      <a:pt x="1063" y="732"/>
                    </a:lnTo>
                    <a:lnTo>
                      <a:pt x="1065" y="732"/>
                    </a:lnTo>
                    <a:lnTo>
                      <a:pt x="1065" y="731"/>
                    </a:lnTo>
                    <a:lnTo>
                      <a:pt x="1065" y="731"/>
                    </a:lnTo>
                    <a:lnTo>
                      <a:pt x="1066" y="729"/>
                    </a:lnTo>
                    <a:lnTo>
                      <a:pt x="1070" y="729"/>
                    </a:lnTo>
                    <a:lnTo>
                      <a:pt x="1073" y="729"/>
                    </a:lnTo>
                    <a:lnTo>
                      <a:pt x="1076" y="728"/>
                    </a:lnTo>
                    <a:lnTo>
                      <a:pt x="1076" y="728"/>
                    </a:lnTo>
                    <a:lnTo>
                      <a:pt x="1077" y="728"/>
                    </a:lnTo>
                    <a:lnTo>
                      <a:pt x="1077" y="728"/>
                    </a:lnTo>
                    <a:lnTo>
                      <a:pt x="1082" y="728"/>
                    </a:lnTo>
                    <a:lnTo>
                      <a:pt x="1084" y="728"/>
                    </a:lnTo>
                    <a:lnTo>
                      <a:pt x="1085" y="728"/>
                    </a:lnTo>
                    <a:lnTo>
                      <a:pt x="1087" y="728"/>
                    </a:lnTo>
                    <a:lnTo>
                      <a:pt x="1087" y="728"/>
                    </a:lnTo>
                    <a:lnTo>
                      <a:pt x="1090" y="726"/>
                    </a:lnTo>
                    <a:lnTo>
                      <a:pt x="1090" y="726"/>
                    </a:lnTo>
                    <a:lnTo>
                      <a:pt x="1090" y="726"/>
                    </a:lnTo>
                    <a:lnTo>
                      <a:pt x="1088" y="724"/>
                    </a:lnTo>
                    <a:lnTo>
                      <a:pt x="1087" y="724"/>
                    </a:lnTo>
                    <a:lnTo>
                      <a:pt x="1088" y="723"/>
                    </a:lnTo>
                    <a:lnTo>
                      <a:pt x="1087" y="723"/>
                    </a:lnTo>
                    <a:lnTo>
                      <a:pt x="1087" y="723"/>
                    </a:lnTo>
                    <a:lnTo>
                      <a:pt x="1087" y="721"/>
                    </a:lnTo>
                    <a:lnTo>
                      <a:pt x="1087" y="718"/>
                    </a:lnTo>
                    <a:lnTo>
                      <a:pt x="1087" y="718"/>
                    </a:lnTo>
                    <a:lnTo>
                      <a:pt x="1087" y="718"/>
                    </a:lnTo>
                    <a:lnTo>
                      <a:pt x="1085" y="718"/>
                    </a:lnTo>
                    <a:lnTo>
                      <a:pt x="1084" y="720"/>
                    </a:lnTo>
                    <a:lnTo>
                      <a:pt x="1082" y="720"/>
                    </a:lnTo>
                    <a:lnTo>
                      <a:pt x="1081" y="720"/>
                    </a:lnTo>
                    <a:lnTo>
                      <a:pt x="1079" y="720"/>
                    </a:lnTo>
                    <a:lnTo>
                      <a:pt x="1077" y="718"/>
                    </a:lnTo>
                    <a:lnTo>
                      <a:pt x="1076" y="718"/>
                    </a:lnTo>
                    <a:lnTo>
                      <a:pt x="1074" y="717"/>
                    </a:lnTo>
                    <a:lnTo>
                      <a:pt x="1074" y="717"/>
                    </a:lnTo>
                    <a:lnTo>
                      <a:pt x="1077" y="713"/>
                    </a:lnTo>
                    <a:lnTo>
                      <a:pt x="1077" y="712"/>
                    </a:lnTo>
                    <a:lnTo>
                      <a:pt x="1077" y="710"/>
                    </a:lnTo>
                    <a:lnTo>
                      <a:pt x="1079" y="710"/>
                    </a:lnTo>
                    <a:lnTo>
                      <a:pt x="1079" y="710"/>
                    </a:lnTo>
                    <a:lnTo>
                      <a:pt x="1081" y="709"/>
                    </a:lnTo>
                    <a:lnTo>
                      <a:pt x="1081" y="709"/>
                    </a:lnTo>
                    <a:lnTo>
                      <a:pt x="1081" y="709"/>
                    </a:lnTo>
                    <a:lnTo>
                      <a:pt x="1084" y="707"/>
                    </a:lnTo>
                    <a:lnTo>
                      <a:pt x="1085" y="706"/>
                    </a:lnTo>
                    <a:lnTo>
                      <a:pt x="1087" y="704"/>
                    </a:lnTo>
                    <a:lnTo>
                      <a:pt x="1088" y="704"/>
                    </a:lnTo>
                    <a:lnTo>
                      <a:pt x="1091" y="702"/>
                    </a:lnTo>
                    <a:lnTo>
                      <a:pt x="1095" y="702"/>
                    </a:lnTo>
                    <a:lnTo>
                      <a:pt x="1096" y="702"/>
                    </a:lnTo>
                    <a:lnTo>
                      <a:pt x="1096" y="702"/>
                    </a:lnTo>
                    <a:lnTo>
                      <a:pt x="1098" y="702"/>
                    </a:lnTo>
                    <a:lnTo>
                      <a:pt x="1099" y="701"/>
                    </a:lnTo>
                    <a:lnTo>
                      <a:pt x="1102" y="701"/>
                    </a:lnTo>
                    <a:lnTo>
                      <a:pt x="1106" y="701"/>
                    </a:lnTo>
                    <a:lnTo>
                      <a:pt x="1109" y="701"/>
                    </a:lnTo>
                    <a:lnTo>
                      <a:pt x="1109" y="699"/>
                    </a:lnTo>
                    <a:lnTo>
                      <a:pt x="1110" y="699"/>
                    </a:lnTo>
                    <a:lnTo>
                      <a:pt x="1110" y="699"/>
                    </a:lnTo>
                    <a:lnTo>
                      <a:pt x="1112" y="699"/>
                    </a:lnTo>
                    <a:lnTo>
                      <a:pt x="1113" y="699"/>
                    </a:lnTo>
                    <a:lnTo>
                      <a:pt x="1113" y="699"/>
                    </a:lnTo>
                    <a:lnTo>
                      <a:pt x="1113" y="699"/>
                    </a:lnTo>
                    <a:lnTo>
                      <a:pt x="1113" y="699"/>
                    </a:lnTo>
                    <a:lnTo>
                      <a:pt x="1113" y="701"/>
                    </a:lnTo>
                    <a:lnTo>
                      <a:pt x="1115" y="701"/>
                    </a:lnTo>
                    <a:lnTo>
                      <a:pt x="1116" y="701"/>
                    </a:lnTo>
                    <a:lnTo>
                      <a:pt x="1118" y="701"/>
                    </a:lnTo>
                    <a:lnTo>
                      <a:pt x="1118" y="701"/>
                    </a:lnTo>
                    <a:lnTo>
                      <a:pt x="1118" y="701"/>
                    </a:lnTo>
                    <a:lnTo>
                      <a:pt x="1118" y="701"/>
                    </a:lnTo>
                    <a:lnTo>
                      <a:pt x="1118" y="701"/>
                    </a:lnTo>
                    <a:lnTo>
                      <a:pt x="1118" y="702"/>
                    </a:lnTo>
                    <a:lnTo>
                      <a:pt x="1118" y="702"/>
                    </a:lnTo>
                    <a:lnTo>
                      <a:pt x="1120" y="701"/>
                    </a:lnTo>
                    <a:lnTo>
                      <a:pt x="1120" y="701"/>
                    </a:lnTo>
                    <a:lnTo>
                      <a:pt x="1120" y="702"/>
                    </a:lnTo>
                    <a:lnTo>
                      <a:pt x="1120" y="702"/>
                    </a:lnTo>
                    <a:lnTo>
                      <a:pt x="1121" y="704"/>
                    </a:lnTo>
                    <a:lnTo>
                      <a:pt x="1123" y="702"/>
                    </a:lnTo>
                    <a:lnTo>
                      <a:pt x="1124" y="702"/>
                    </a:lnTo>
                    <a:lnTo>
                      <a:pt x="1126" y="701"/>
                    </a:lnTo>
                    <a:lnTo>
                      <a:pt x="1126" y="701"/>
                    </a:lnTo>
                    <a:lnTo>
                      <a:pt x="1124" y="701"/>
                    </a:lnTo>
                    <a:lnTo>
                      <a:pt x="1123" y="701"/>
                    </a:lnTo>
                    <a:lnTo>
                      <a:pt x="1123" y="701"/>
                    </a:lnTo>
                    <a:lnTo>
                      <a:pt x="1123" y="701"/>
                    </a:lnTo>
                    <a:lnTo>
                      <a:pt x="1123" y="701"/>
                    </a:lnTo>
                    <a:lnTo>
                      <a:pt x="1124" y="699"/>
                    </a:lnTo>
                    <a:lnTo>
                      <a:pt x="1126" y="698"/>
                    </a:lnTo>
                    <a:lnTo>
                      <a:pt x="1126" y="698"/>
                    </a:lnTo>
                    <a:lnTo>
                      <a:pt x="1126" y="698"/>
                    </a:lnTo>
                    <a:lnTo>
                      <a:pt x="1124" y="698"/>
                    </a:lnTo>
                    <a:lnTo>
                      <a:pt x="1123" y="699"/>
                    </a:lnTo>
                    <a:lnTo>
                      <a:pt x="1121" y="699"/>
                    </a:lnTo>
                    <a:lnTo>
                      <a:pt x="1121" y="698"/>
                    </a:lnTo>
                    <a:lnTo>
                      <a:pt x="1121" y="696"/>
                    </a:lnTo>
                    <a:lnTo>
                      <a:pt x="1121" y="696"/>
                    </a:lnTo>
                    <a:lnTo>
                      <a:pt x="1118" y="696"/>
                    </a:lnTo>
                    <a:lnTo>
                      <a:pt x="1118" y="698"/>
                    </a:lnTo>
                    <a:lnTo>
                      <a:pt x="1118" y="698"/>
                    </a:lnTo>
                    <a:lnTo>
                      <a:pt x="1118" y="698"/>
                    </a:lnTo>
                    <a:lnTo>
                      <a:pt x="1118" y="698"/>
                    </a:lnTo>
                    <a:lnTo>
                      <a:pt x="1118" y="698"/>
                    </a:lnTo>
                    <a:lnTo>
                      <a:pt x="1118" y="698"/>
                    </a:lnTo>
                    <a:lnTo>
                      <a:pt x="1118" y="698"/>
                    </a:lnTo>
                    <a:lnTo>
                      <a:pt x="1118" y="696"/>
                    </a:lnTo>
                    <a:lnTo>
                      <a:pt x="1118" y="696"/>
                    </a:lnTo>
                    <a:lnTo>
                      <a:pt x="1116" y="696"/>
                    </a:lnTo>
                    <a:lnTo>
                      <a:pt x="1115" y="696"/>
                    </a:lnTo>
                    <a:lnTo>
                      <a:pt x="1113" y="698"/>
                    </a:lnTo>
                    <a:lnTo>
                      <a:pt x="1113" y="698"/>
                    </a:lnTo>
                    <a:lnTo>
                      <a:pt x="1113" y="698"/>
                    </a:lnTo>
                    <a:lnTo>
                      <a:pt x="1116" y="696"/>
                    </a:lnTo>
                    <a:lnTo>
                      <a:pt x="1118" y="696"/>
                    </a:lnTo>
                    <a:lnTo>
                      <a:pt x="1118" y="696"/>
                    </a:lnTo>
                    <a:lnTo>
                      <a:pt x="1120" y="696"/>
                    </a:lnTo>
                    <a:lnTo>
                      <a:pt x="1120" y="696"/>
                    </a:lnTo>
                    <a:lnTo>
                      <a:pt x="1120" y="696"/>
                    </a:lnTo>
                    <a:lnTo>
                      <a:pt x="1121" y="696"/>
                    </a:lnTo>
                    <a:lnTo>
                      <a:pt x="1123" y="695"/>
                    </a:lnTo>
                    <a:lnTo>
                      <a:pt x="1123" y="695"/>
                    </a:lnTo>
                    <a:lnTo>
                      <a:pt x="1123" y="696"/>
                    </a:lnTo>
                    <a:lnTo>
                      <a:pt x="1123" y="696"/>
                    </a:lnTo>
                    <a:lnTo>
                      <a:pt x="1124" y="696"/>
                    </a:lnTo>
                    <a:lnTo>
                      <a:pt x="1124" y="695"/>
                    </a:lnTo>
                    <a:lnTo>
                      <a:pt x="1126" y="696"/>
                    </a:lnTo>
                    <a:lnTo>
                      <a:pt x="1123" y="696"/>
                    </a:lnTo>
                    <a:lnTo>
                      <a:pt x="1123" y="698"/>
                    </a:lnTo>
                    <a:lnTo>
                      <a:pt x="1123" y="698"/>
                    </a:lnTo>
                    <a:lnTo>
                      <a:pt x="1123" y="698"/>
                    </a:lnTo>
                    <a:lnTo>
                      <a:pt x="1123" y="698"/>
                    </a:lnTo>
                    <a:lnTo>
                      <a:pt x="1127" y="696"/>
                    </a:lnTo>
                    <a:lnTo>
                      <a:pt x="1129" y="695"/>
                    </a:lnTo>
                    <a:lnTo>
                      <a:pt x="1131" y="695"/>
                    </a:lnTo>
                    <a:lnTo>
                      <a:pt x="1132" y="695"/>
                    </a:lnTo>
                    <a:lnTo>
                      <a:pt x="1134" y="693"/>
                    </a:lnTo>
                    <a:lnTo>
                      <a:pt x="1135" y="693"/>
                    </a:lnTo>
                    <a:lnTo>
                      <a:pt x="1140" y="692"/>
                    </a:lnTo>
                    <a:lnTo>
                      <a:pt x="1142" y="690"/>
                    </a:lnTo>
                    <a:lnTo>
                      <a:pt x="1145" y="688"/>
                    </a:lnTo>
                    <a:lnTo>
                      <a:pt x="1145" y="688"/>
                    </a:lnTo>
                    <a:lnTo>
                      <a:pt x="1145" y="688"/>
                    </a:lnTo>
                    <a:lnTo>
                      <a:pt x="1145" y="688"/>
                    </a:lnTo>
                    <a:lnTo>
                      <a:pt x="1145" y="688"/>
                    </a:lnTo>
                    <a:lnTo>
                      <a:pt x="1151" y="681"/>
                    </a:lnTo>
                    <a:lnTo>
                      <a:pt x="1156" y="677"/>
                    </a:lnTo>
                    <a:lnTo>
                      <a:pt x="1159" y="676"/>
                    </a:lnTo>
                    <a:lnTo>
                      <a:pt x="1160" y="676"/>
                    </a:lnTo>
                    <a:lnTo>
                      <a:pt x="1163" y="676"/>
                    </a:lnTo>
                    <a:lnTo>
                      <a:pt x="1163" y="676"/>
                    </a:lnTo>
                    <a:lnTo>
                      <a:pt x="1163" y="676"/>
                    </a:lnTo>
                    <a:lnTo>
                      <a:pt x="1170" y="671"/>
                    </a:lnTo>
                    <a:lnTo>
                      <a:pt x="1174" y="668"/>
                    </a:lnTo>
                    <a:lnTo>
                      <a:pt x="1176" y="666"/>
                    </a:lnTo>
                    <a:lnTo>
                      <a:pt x="1176" y="665"/>
                    </a:lnTo>
                    <a:lnTo>
                      <a:pt x="1171" y="663"/>
                    </a:lnTo>
                    <a:lnTo>
                      <a:pt x="1171" y="662"/>
                    </a:lnTo>
                    <a:lnTo>
                      <a:pt x="1176" y="663"/>
                    </a:lnTo>
                    <a:lnTo>
                      <a:pt x="1177" y="662"/>
                    </a:lnTo>
                    <a:lnTo>
                      <a:pt x="1179" y="659"/>
                    </a:lnTo>
                    <a:lnTo>
                      <a:pt x="1181" y="659"/>
                    </a:lnTo>
                    <a:lnTo>
                      <a:pt x="1185" y="657"/>
                    </a:lnTo>
                    <a:lnTo>
                      <a:pt x="1188" y="652"/>
                    </a:lnTo>
                    <a:lnTo>
                      <a:pt x="1190" y="649"/>
                    </a:lnTo>
                    <a:lnTo>
                      <a:pt x="1192" y="649"/>
                    </a:lnTo>
                    <a:lnTo>
                      <a:pt x="1193" y="648"/>
                    </a:lnTo>
                    <a:lnTo>
                      <a:pt x="1195" y="645"/>
                    </a:lnTo>
                    <a:lnTo>
                      <a:pt x="1196" y="645"/>
                    </a:lnTo>
                    <a:lnTo>
                      <a:pt x="1199" y="643"/>
                    </a:lnTo>
                    <a:lnTo>
                      <a:pt x="1207" y="638"/>
                    </a:lnTo>
                    <a:lnTo>
                      <a:pt x="1207" y="637"/>
                    </a:lnTo>
                    <a:lnTo>
                      <a:pt x="1210" y="635"/>
                    </a:lnTo>
                    <a:lnTo>
                      <a:pt x="1213" y="634"/>
                    </a:lnTo>
                    <a:lnTo>
                      <a:pt x="1215" y="634"/>
                    </a:lnTo>
                    <a:lnTo>
                      <a:pt x="1218" y="634"/>
                    </a:lnTo>
                    <a:lnTo>
                      <a:pt x="1224" y="631"/>
                    </a:lnTo>
                    <a:lnTo>
                      <a:pt x="1226" y="627"/>
                    </a:lnTo>
                    <a:lnTo>
                      <a:pt x="1229" y="624"/>
                    </a:lnTo>
                    <a:lnTo>
                      <a:pt x="1234" y="621"/>
                    </a:lnTo>
                    <a:lnTo>
                      <a:pt x="1238" y="615"/>
                    </a:lnTo>
                    <a:lnTo>
                      <a:pt x="1242" y="612"/>
                    </a:lnTo>
                    <a:lnTo>
                      <a:pt x="1246" y="605"/>
                    </a:lnTo>
                    <a:lnTo>
                      <a:pt x="1248" y="604"/>
                    </a:lnTo>
                    <a:lnTo>
                      <a:pt x="1249" y="601"/>
                    </a:lnTo>
                    <a:lnTo>
                      <a:pt x="1251" y="596"/>
                    </a:lnTo>
                    <a:lnTo>
                      <a:pt x="1248" y="595"/>
                    </a:lnTo>
                    <a:lnTo>
                      <a:pt x="1246" y="595"/>
                    </a:lnTo>
                    <a:lnTo>
                      <a:pt x="1243" y="593"/>
                    </a:lnTo>
                    <a:lnTo>
                      <a:pt x="1237" y="590"/>
                    </a:lnTo>
                    <a:lnTo>
                      <a:pt x="1234" y="590"/>
                    </a:lnTo>
                    <a:lnTo>
                      <a:pt x="1232" y="590"/>
                    </a:lnTo>
                    <a:lnTo>
                      <a:pt x="1231" y="588"/>
                    </a:lnTo>
                    <a:lnTo>
                      <a:pt x="1229" y="587"/>
                    </a:lnTo>
                    <a:lnTo>
                      <a:pt x="1240" y="590"/>
                    </a:lnTo>
                    <a:lnTo>
                      <a:pt x="1245" y="591"/>
                    </a:lnTo>
                    <a:lnTo>
                      <a:pt x="1246" y="593"/>
                    </a:lnTo>
                    <a:lnTo>
                      <a:pt x="1249" y="595"/>
                    </a:lnTo>
                    <a:lnTo>
                      <a:pt x="1251" y="595"/>
                    </a:lnTo>
                    <a:lnTo>
                      <a:pt x="1253" y="595"/>
                    </a:lnTo>
                    <a:lnTo>
                      <a:pt x="1254" y="593"/>
                    </a:lnTo>
                    <a:lnTo>
                      <a:pt x="1257" y="590"/>
                    </a:lnTo>
                    <a:lnTo>
                      <a:pt x="1260" y="584"/>
                    </a:lnTo>
                    <a:lnTo>
                      <a:pt x="1265" y="577"/>
                    </a:lnTo>
                    <a:lnTo>
                      <a:pt x="1270" y="574"/>
                    </a:lnTo>
                    <a:lnTo>
                      <a:pt x="1270" y="573"/>
                    </a:lnTo>
                    <a:lnTo>
                      <a:pt x="1271" y="571"/>
                    </a:lnTo>
                    <a:lnTo>
                      <a:pt x="1274" y="569"/>
                    </a:lnTo>
                    <a:lnTo>
                      <a:pt x="1276" y="569"/>
                    </a:lnTo>
                    <a:lnTo>
                      <a:pt x="1278" y="569"/>
                    </a:lnTo>
                    <a:lnTo>
                      <a:pt x="1276" y="568"/>
                    </a:lnTo>
                    <a:lnTo>
                      <a:pt x="1281" y="566"/>
                    </a:lnTo>
                    <a:lnTo>
                      <a:pt x="1288" y="563"/>
                    </a:lnTo>
                    <a:lnTo>
                      <a:pt x="1290" y="563"/>
                    </a:lnTo>
                    <a:lnTo>
                      <a:pt x="1292" y="563"/>
                    </a:lnTo>
                    <a:lnTo>
                      <a:pt x="1295" y="560"/>
                    </a:lnTo>
                    <a:lnTo>
                      <a:pt x="1295" y="557"/>
                    </a:lnTo>
                    <a:lnTo>
                      <a:pt x="1299" y="546"/>
                    </a:lnTo>
                    <a:lnTo>
                      <a:pt x="1304" y="544"/>
                    </a:lnTo>
                    <a:lnTo>
                      <a:pt x="1306" y="541"/>
                    </a:lnTo>
                    <a:lnTo>
                      <a:pt x="1307" y="541"/>
                    </a:lnTo>
                    <a:lnTo>
                      <a:pt x="1307" y="540"/>
                    </a:lnTo>
                    <a:lnTo>
                      <a:pt x="1309" y="540"/>
                    </a:lnTo>
                    <a:lnTo>
                      <a:pt x="1310" y="540"/>
                    </a:lnTo>
                    <a:lnTo>
                      <a:pt x="1312" y="540"/>
                    </a:lnTo>
                    <a:lnTo>
                      <a:pt x="1313" y="540"/>
                    </a:lnTo>
                    <a:lnTo>
                      <a:pt x="1317" y="538"/>
                    </a:lnTo>
                    <a:lnTo>
                      <a:pt x="1321" y="538"/>
                    </a:lnTo>
                    <a:lnTo>
                      <a:pt x="1329" y="537"/>
                    </a:lnTo>
                    <a:lnTo>
                      <a:pt x="1331" y="538"/>
                    </a:lnTo>
                    <a:lnTo>
                      <a:pt x="1337" y="538"/>
                    </a:lnTo>
                    <a:lnTo>
                      <a:pt x="1343" y="538"/>
                    </a:lnTo>
                    <a:lnTo>
                      <a:pt x="1348" y="538"/>
                    </a:lnTo>
                    <a:lnTo>
                      <a:pt x="1351" y="538"/>
                    </a:lnTo>
                    <a:lnTo>
                      <a:pt x="1354" y="537"/>
                    </a:lnTo>
                    <a:lnTo>
                      <a:pt x="1356" y="538"/>
                    </a:lnTo>
                    <a:lnTo>
                      <a:pt x="1359" y="538"/>
                    </a:lnTo>
                    <a:lnTo>
                      <a:pt x="1365" y="540"/>
                    </a:lnTo>
                    <a:lnTo>
                      <a:pt x="1367" y="538"/>
                    </a:lnTo>
                    <a:lnTo>
                      <a:pt x="1370" y="538"/>
                    </a:lnTo>
                    <a:lnTo>
                      <a:pt x="1371" y="538"/>
                    </a:lnTo>
                    <a:lnTo>
                      <a:pt x="1374" y="538"/>
                    </a:lnTo>
                    <a:lnTo>
                      <a:pt x="1378" y="538"/>
                    </a:lnTo>
                    <a:lnTo>
                      <a:pt x="1381" y="538"/>
                    </a:lnTo>
                    <a:lnTo>
                      <a:pt x="1384" y="540"/>
                    </a:lnTo>
                    <a:lnTo>
                      <a:pt x="1389" y="540"/>
                    </a:lnTo>
                    <a:lnTo>
                      <a:pt x="1390" y="540"/>
                    </a:lnTo>
                    <a:lnTo>
                      <a:pt x="1392" y="543"/>
                    </a:lnTo>
                    <a:lnTo>
                      <a:pt x="1399" y="540"/>
                    </a:lnTo>
                    <a:lnTo>
                      <a:pt x="1401" y="541"/>
                    </a:lnTo>
                    <a:lnTo>
                      <a:pt x="1404" y="540"/>
                    </a:lnTo>
                    <a:lnTo>
                      <a:pt x="1407" y="540"/>
                    </a:lnTo>
                    <a:lnTo>
                      <a:pt x="1410" y="540"/>
                    </a:lnTo>
                    <a:lnTo>
                      <a:pt x="1414" y="540"/>
                    </a:lnTo>
                    <a:lnTo>
                      <a:pt x="1420" y="538"/>
                    </a:lnTo>
                    <a:lnTo>
                      <a:pt x="1423" y="537"/>
                    </a:lnTo>
                    <a:lnTo>
                      <a:pt x="1425" y="535"/>
                    </a:lnTo>
                    <a:lnTo>
                      <a:pt x="1429" y="532"/>
                    </a:lnTo>
                    <a:lnTo>
                      <a:pt x="1432" y="527"/>
                    </a:lnTo>
                    <a:lnTo>
                      <a:pt x="1437" y="524"/>
                    </a:lnTo>
                    <a:lnTo>
                      <a:pt x="1439" y="521"/>
                    </a:lnTo>
                    <a:lnTo>
                      <a:pt x="1446" y="513"/>
                    </a:lnTo>
                    <a:lnTo>
                      <a:pt x="1446" y="512"/>
                    </a:lnTo>
                    <a:lnTo>
                      <a:pt x="1446" y="512"/>
                    </a:lnTo>
                    <a:lnTo>
                      <a:pt x="1448" y="510"/>
                    </a:lnTo>
                    <a:lnTo>
                      <a:pt x="1450" y="510"/>
                    </a:lnTo>
                    <a:lnTo>
                      <a:pt x="1453" y="510"/>
                    </a:lnTo>
                    <a:lnTo>
                      <a:pt x="1456" y="510"/>
                    </a:lnTo>
                    <a:lnTo>
                      <a:pt x="1456" y="510"/>
                    </a:lnTo>
                    <a:lnTo>
                      <a:pt x="1459" y="507"/>
                    </a:lnTo>
                    <a:lnTo>
                      <a:pt x="1460" y="507"/>
                    </a:lnTo>
                    <a:lnTo>
                      <a:pt x="1467" y="505"/>
                    </a:lnTo>
                    <a:lnTo>
                      <a:pt x="1470" y="505"/>
                    </a:lnTo>
                    <a:lnTo>
                      <a:pt x="1473" y="505"/>
                    </a:lnTo>
                    <a:lnTo>
                      <a:pt x="1475" y="505"/>
                    </a:lnTo>
                    <a:lnTo>
                      <a:pt x="1475" y="505"/>
                    </a:lnTo>
                    <a:lnTo>
                      <a:pt x="1482" y="499"/>
                    </a:lnTo>
                    <a:lnTo>
                      <a:pt x="1487" y="496"/>
                    </a:lnTo>
                    <a:lnTo>
                      <a:pt x="1492" y="493"/>
                    </a:lnTo>
                    <a:lnTo>
                      <a:pt x="1498" y="487"/>
                    </a:lnTo>
                    <a:lnTo>
                      <a:pt x="1498" y="485"/>
                    </a:lnTo>
                    <a:lnTo>
                      <a:pt x="1498" y="483"/>
                    </a:lnTo>
                    <a:close/>
                    <a:moveTo>
                      <a:pt x="1135" y="695"/>
                    </a:moveTo>
                    <a:lnTo>
                      <a:pt x="1135" y="695"/>
                    </a:lnTo>
                    <a:lnTo>
                      <a:pt x="1134" y="695"/>
                    </a:lnTo>
                    <a:lnTo>
                      <a:pt x="1134" y="695"/>
                    </a:lnTo>
                    <a:lnTo>
                      <a:pt x="1132" y="696"/>
                    </a:lnTo>
                    <a:lnTo>
                      <a:pt x="1132" y="696"/>
                    </a:lnTo>
                    <a:lnTo>
                      <a:pt x="1132" y="696"/>
                    </a:lnTo>
                    <a:lnTo>
                      <a:pt x="1132" y="696"/>
                    </a:lnTo>
                    <a:lnTo>
                      <a:pt x="1132" y="698"/>
                    </a:lnTo>
                    <a:lnTo>
                      <a:pt x="1132" y="698"/>
                    </a:lnTo>
                    <a:lnTo>
                      <a:pt x="1134" y="698"/>
                    </a:lnTo>
                    <a:lnTo>
                      <a:pt x="1135" y="696"/>
                    </a:lnTo>
                    <a:lnTo>
                      <a:pt x="1135" y="696"/>
                    </a:lnTo>
                    <a:lnTo>
                      <a:pt x="1135" y="695"/>
                    </a:lnTo>
                    <a:lnTo>
                      <a:pt x="1137" y="695"/>
                    </a:lnTo>
                    <a:lnTo>
                      <a:pt x="1137" y="695"/>
                    </a:lnTo>
                    <a:lnTo>
                      <a:pt x="1135" y="695"/>
                    </a:lnTo>
                    <a:close/>
                    <a:moveTo>
                      <a:pt x="1129" y="695"/>
                    </a:moveTo>
                    <a:lnTo>
                      <a:pt x="1127" y="696"/>
                    </a:lnTo>
                    <a:lnTo>
                      <a:pt x="1127" y="696"/>
                    </a:lnTo>
                    <a:lnTo>
                      <a:pt x="1127" y="696"/>
                    </a:lnTo>
                    <a:lnTo>
                      <a:pt x="1127" y="696"/>
                    </a:lnTo>
                    <a:lnTo>
                      <a:pt x="1127" y="698"/>
                    </a:lnTo>
                    <a:lnTo>
                      <a:pt x="1129" y="696"/>
                    </a:lnTo>
                    <a:lnTo>
                      <a:pt x="1129" y="696"/>
                    </a:lnTo>
                    <a:lnTo>
                      <a:pt x="1129" y="695"/>
                    </a:lnTo>
                    <a:close/>
                    <a:moveTo>
                      <a:pt x="1068" y="679"/>
                    </a:moveTo>
                    <a:lnTo>
                      <a:pt x="1066" y="679"/>
                    </a:lnTo>
                    <a:lnTo>
                      <a:pt x="1066" y="679"/>
                    </a:lnTo>
                    <a:lnTo>
                      <a:pt x="1066" y="679"/>
                    </a:lnTo>
                    <a:lnTo>
                      <a:pt x="1066" y="681"/>
                    </a:lnTo>
                    <a:lnTo>
                      <a:pt x="1068" y="681"/>
                    </a:lnTo>
                    <a:lnTo>
                      <a:pt x="1068" y="681"/>
                    </a:lnTo>
                    <a:lnTo>
                      <a:pt x="1068" y="679"/>
                    </a:lnTo>
                    <a:lnTo>
                      <a:pt x="1068" y="679"/>
                    </a:lnTo>
                    <a:close/>
                    <a:moveTo>
                      <a:pt x="1043" y="656"/>
                    </a:moveTo>
                    <a:lnTo>
                      <a:pt x="1041" y="656"/>
                    </a:lnTo>
                    <a:lnTo>
                      <a:pt x="1041" y="656"/>
                    </a:lnTo>
                    <a:lnTo>
                      <a:pt x="1041" y="654"/>
                    </a:lnTo>
                    <a:lnTo>
                      <a:pt x="1041" y="654"/>
                    </a:lnTo>
                    <a:lnTo>
                      <a:pt x="1041" y="654"/>
                    </a:lnTo>
                    <a:lnTo>
                      <a:pt x="1041" y="654"/>
                    </a:lnTo>
                    <a:lnTo>
                      <a:pt x="1040" y="654"/>
                    </a:lnTo>
                    <a:lnTo>
                      <a:pt x="1040" y="656"/>
                    </a:lnTo>
                    <a:lnTo>
                      <a:pt x="1040" y="657"/>
                    </a:lnTo>
                    <a:lnTo>
                      <a:pt x="1038" y="657"/>
                    </a:lnTo>
                    <a:lnTo>
                      <a:pt x="1038" y="656"/>
                    </a:lnTo>
                    <a:lnTo>
                      <a:pt x="1038" y="656"/>
                    </a:lnTo>
                    <a:lnTo>
                      <a:pt x="1038" y="654"/>
                    </a:lnTo>
                    <a:lnTo>
                      <a:pt x="1038" y="654"/>
                    </a:lnTo>
                    <a:lnTo>
                      <a:pt x="1038" y="654"/>
                    </a:lnTo>
                    <a:lnTo>
                      <a:pt x="1037" y="652"/>
                    </a:lnTo>
                    <a:lnTo>
                      <a:pt x="1037" y="652"/>
                    </a:lnTo>
                    <a:lnTo>
                      <a:pt x="1037" y="651"/>
                    </a:lnTo>
                    <a:lnTo>
                      <a:pt x="1037" y="651"/>
                    </a:lnTo>
                    <a:lnTo>
                      <a:pt x="1035" y="651"/>
                    </a:lnTo>
                    <a:lnTo>
                      <a:pt x="1035" y="652"/>
                    </a:lnTo>
                    <a:lnTo>
                      <a:pt x="1034" y="652"/>
                    </a:lnTo>
                    <a:lnTo>
                      <a:pt x="1034" y="654"/>
                    </a:lnTo>
                    <a:lnTo>
                      <a:pt x="1032" y="654"/>
                    </a:lnTo>
                    <a:lnTo>
                      <a:pt x="1032" y="652"/>
                    </a:lnTo>
                    <a:lnTo>
                      <a:pt x="1032" y="652"/>
                    </a:lnTo>
                    <a:lnTo>
                      <a:pt x="1030" y="652"/>
                    </a:lnTo>
                    <a:lnTo>
                      <a:pt x="1030" y="652"/>
                    </a:lnTo>
                    <a:lnTo>
                      <a:pt x="1030" y="651"/>
                    </a:lnTo>
                    <a:lnTo>
                      <a:pt x="1030" y="651"/>
                    </a:lnTo>
                    <a:lnTo>
                      <a:pt x="1029" y="651"/>
                    </a:lnTo>
                    <a:lnTo>
                      <a:pt x="1027" y="652"/>
                    </a:lnTo>
                    <a:lnTo>
                      <a:pt x="1027" y="652"/>
                    </a:lnTo>
                    <a:lnTo>
                      <a:pt x="1027" y="652"/>
                    </a:lnTo>
                    <a:lnTo>
                      <a:pt x="1027" y="652"/>
                    </a:lnTo>
                    <a:lnTo>
                      <a:pt x="1026" y="652"/>
                    </a:lnTo>
                    <a:lnTo>
                      <a:pt x="1026" y="652"/>
                    </a:lnTo>
                    <a:lnTo>
                      <a:pt x="1026" y="654"/>
                    </a:lnTo>
                    <a:lnTo>
                      <a:pt x="1026" y="654"/>
                    </a:lnTo>
                    <a:lnTo>
                      <a:pt x="1026" y="654"/>
                    </a:lnTo>
                    <a:lnTo>
                      <a:pt x="1026" y="654"/>
                    </a:lnTo>
                    <a:lnTo>
                      <a:pt x="1026" y="656"/>
                    </a:lnTo>
                    <a:lnTo>
                      <a:pt x="1026" y="656"/>
                    </a:lnTo>
                    <a:lnTo>
                      <a:pt x="1026" y="656"/>
                    </a:lnTo>
                    <a:lnTo>
                      <a:pt x="1026" y="654"/>
                    </a:lnTo>
                    <a:lnTo>
                      <a:pt x="1024" y="654"/>
                    </a:lnTo>
                    <a:lnTo>
                      <a:pt x="1024" y="654"/>
                    </a:lnTo>
                    <a:lnTo>
                      <a:pt x="1024" y="654"/>
                    </a:lnTo>
                    <a:lnTo>
                      <a:pt x="1024" y="654"/>
                    </a:lnTo>
                    <a:lnTo>
                      <a:pt x="1024" y="654"/>
                    </a:lnTo>
                    <a:lnTo>
                      <a:pt x="1023" y="654"/>
                    </a:lnTo>
                    <a:lnTo>
                      <a:pt x="1023" y="654"/>
                    </a:lnTo>
                    <a:lnTo>
                      <a:pt x="1023" y="654"/>
                    </a:lnTo>
                    <a:lnTo>
                      <a:pt x="1021" y="654"/>
                    </a:lnTo>
                    <a:lnTo>
                      <a:pt x="1021" y="652"/>
                    </a:lnTo>
                    <a:lnTo>
                      <a:pt x="1021" y="652"/>
                    </a:lnTo>
                    <a:lnTo>
                      <a:pt x="1021" y="651"/>
                    </a:lnTo>
                    <a:lnTo>
                      <a:pt x="1021" y="651"/>
                    </a:lnTo>
                    <a:lnTo>
                      <a:pt x="1020" y="651"/>
                    </a:lnTo>
                    <a:lnTo>
                      <a:pt x="1020" y="651"/>
                    </a:lnTo>
                    <a:lnTo>
                      <a:pt x="1018" y="652"/>
                    </a:lnTo>
                    <a:lnTo>
                      <a:pt x="1018" y="652"/>
                    </a:lnTo>
                    <a:lnTo>
                      <a:pt x="1018" y="652"/>
                    </a:lnTo>
                    <a:lnTo>
                      <a:pt x="1016" y="652"/>
                    </a:lnTo>
                    <a:lnTo>
                      <a:pt x="1016" y="652"/>
                    </a:lnTo>
                    <a:lnTo>
                      <a:pt x="1016" y="652"/>
                    </a:lnTo>
                    <a:lnTo>
                      <a:pt x="1015" y="651"/>
                    </a:lnTo>
                    <a:lnTo>
                      <a:pt x="1015" y="651"/>
                    </a:lnTo>
                    <a:lnTo>
                      <a:pt x="1015" y="652"/>
                    </a:lnTo>
                    <a:lnTo>
                      <a:pt x="1015" y="652"/>
                    </a:lnTo>
                    <a:lnTo>
                      <a:pt x="1015" y="652"/>
                    </a:lnTo>
                    <a:lnTo>
                      <a:pt x="1015" y="654"/>
                    </a:lnTo>
                    <a:lnTo>
                      <a:pt x="1018" y="656"/>
                    </a:lnTo>
                    <a:lnTo>
                      <a:pt x="1020" y="656"/>
                    </a:lnTo>
                    <a:lnTo>
                      <a:pt x="1023" y="656"/>
                    </a:lnTo>
                    <a:lnTo>
                      <a:pt x="1024" y="657"/>
                    </a:lnTo>
                    <a:lnTo>
                      <a:pt x="1027" y="657"/>
                    </a:lnTo>
                    <a:lnTo>
                      <a:pt x="1029" y="659"/>
                    </a:lnTo>
                    <a:lnTo>
                      <a:pt x="1030" y="659"/>
                    </a:lnTo>
                    <a:lnTo>
                      <a:pt x="1030" y="659"/>
                    </a:lnTo>
                    <a:lnTo>
                      <a:pt x="1032" y="660"/>
                    </a:lnTo>
                    <a:lnTo>
                      <a:pt x="1034" y="660"/>
                    </a:lnTo>
                    <a:lnTo>
                      <a:pt x="1034" y="662"/>
                    </a:lnTo>
                    <a:lnTo>
                      <a:pt x="1035" y="662"/>
                    </a:lnTo>
                    <a:lnTo>
                      <a:pt x="1035" y="662"/>
                    </a:lnTo>
                    <a:lnTo>
                      <a:pt x="1038" y="659"/>
                    </a:lnTo>
                    <a:lnTo>
                      <a:pt x="1040" y="659"/>
                    </a:lnTo>
                    <a:lnTo>
                      <a:pt x="1040" y="659"/>
                    </a:lnTo>
                    <a:lnTo>
                      <a:pt x="1038" y="660"/>
                    </a:lnTo>
                    <a:lnTo>
                      <a:pt x="1037" y="660"/>
                    </a:lnTo>
                    <a:lnTo>
                      <a:pt x="1037" y="660"/>
                    </a:lnTo>
                    <a:lnTo>
                      <a:pt x="1037" y="662"/>
                    </a:lnTo>
                    <a:lnTo>
                      <a:pt x="1037" y="662"/>
                    </a:lnTo>
                    <a:lnTo>
                      <a:pt x="1037" y="662"/>
                    </a:lnTo>
                    <a:lnTo>
                      <a:pt x="1037" y="662"/>
                    </a:lnTo>
                    <a:lnTo>
                      <a:pt x="1038" y="662"/>
                    </a:lnTo>
                    <a:lnTo>
                      <a:pt x="1038" y="662"/>
                    </a:lnTo>
                    <a:lnTo>
                      <a:pt x="1040" y="660"/>
                    </a:lnTo>
                    <a:lnTo>
                      <a:pt x="1041" y="659"/>
                    </a:lnTo>
                    <a:lnTo>
                      <a:pt x="1043" y="656"/>
                    </a:lnTo>
                    <a:lnTo>
                      <a:pt x="1043" y="656"/>
                    </a:lnTo>
                    <a:close/>
                    <a:moveTo>
                      <a:pt x="1040" y="662"/>
                    </a:moveTo>
                    <a:lnTo>
                      <a:pt x="1038" y="663"/>
                    </a:lnTo>
                    <a:lnTo>
                      <a:pt x="1038" y="663"/>
                    </a:lnTo>
                    <a:lnTo>
                      <a:pt x="1038" y="663"/>
                    </a:lnTo>
                    <a:lnTo>
                      <a:pt x="1038" y="663"/>
                    </a:lnTo>
                    <a:lnTo>
                      <a:pt x="1040" y="663"/>
                    </a:lnTo>
                    <a:lnTo>
                      <a:pt x="1040" y="663"/>
                    </a:lnTo>
                    <a:lnTo>
                      <a:pt x="1040" y="662"/>
                    </a:lnTo>
                    <a:lnTo>
                      <a:pt x="1040" y="662"/>
                    </a:lnTo>
                    <a:close/>
                    <a:moveTo>
                      <a:pt x="1024" y="753"/>
                    </a:moveTo>
                    <a:lnTo>
                      <a:pt x="1024" y="753"/>
                    </a:lnTo>
                    <a:lnTo>
                      <a:pt x="1024" y="753"/>
                    </a:lnTo>
                    <a:lnTo>
                      <a:pt x="1024" y="754"/>
                    </a:lnTo>
                    <a:lnTo>
                      <a:pt x="1024" y="754"/>
                    </a:lnTo>
                    <a:lnTo>
                      <a:pt x="1024" y="754"/>
                    </a:lnTo>
                    <a:lnTo>
                      <a:pt x="1024" y="754"/>
                    </a:lnTo>
                    <a:lnTo>
                      <a:pt x="1024" y="753"/>
                    </a:lnTo>
                    <a:close/>
                    <a:moveTo>
                      <a:pt x="1013" y="651"/>
                    </a:moveTo>
                    <a:lnTo>
                      <a:pt x="1013" y="651"/>
                    </a:lnTo>
                    <a:lnTo>
                      <a:pt x="1012" y="651"/>
                    </a:lnTo>
                    <a:lnTo>
                      <a:pt x="1012" y="651"/>
                    </a:lnTo>
                    <a:lnTo>
                      <a:pt x="1010" y="651"/>
                    </a:lnTo>
                    <a:lnTo>
                      <a:pt x="1010" y="652"/>
                    </a:lnTo>
                    <a:lnTo>
                      <a:pt x="1010" y="652"/>
                    </a:lnTo>
                    <a:lnTo>
                      <a:pt x="1010" y="654"/>
                    </a:lnTo>
                    <a:lnTo>
                      <a:pt x="1012" y="654"/>
                    </a:lnTo>
                    <a:lnTo>
                      <a:pt x="1012" y="654"/>
                    </a:lnTo>
                    <a:lnTo>
                      <a:pt x="1013" y="652"/>
                    </a:lnTo>
                    <a:lnTo>
                      <a:pt x="1013" y="651"/>
                    </a:lnTo>
                    <a:close/>
                    <a:moveTo>
                      <a:pt x="1004" y="645"/>
                    </a:moveTo>
                    <a:lnTo>
                      <a:pt x="1002" y="643"/>
                    </a:lnTo>
                    <a:lnTo>
                      <a:pt x="1001" y="643"/>
                    </a:lnTo>
                    <a:lnTo>
                      <a:pt x="999" y="643"/>
                    </a:lnTo>
                    <a:lnTo>
                      <a:pt x="999" y="643"/>
                    </a:lnTo>
                    <a:lnTo>
                      <a:pt x="999" y="645"/>
                    </a:lnTo>
                    <a:lnTo>
                      <a:pt x="999" y="646"/>
                    </a:lnTo>
                    <a:lnTo>
                      <a:pt x="1001" y="648"/>
                    </a:lnTo>
                    <a:lnTo>
                      <a:pt x="1002" y="648"/>
                    </a:lnTo>
                    <a:lnTo>
                      <a:pt x="1002" y="648"/>
                    </a:lnTo>
                    <a:lnTo>
                      <a:pt x="1002" y="648"/>
                    </a:lnTo>
                    <a:lnTo>
                      <a:pt x="1002" y="646"/>
                    </a:lnTo>
                    <a:lnTo>
                      <a:pt x="1002" y="646"/>
                    </a:lnTo>
                    <a:lnTo>
                      <a:pt x="1004" y="646"/>
                    </a:lnTo>
                    <a:lnTo>
                      <a:pt x="1004" y="646"/>
                    </a:lnTo>
                    <a:lnTo>
                      <a:pt x="1004" y="645"/>
                    </a:lnTo>
                    <a:lnTo>
                      <a:pt x="1004" y="645"/>
                    </a:lnTo>
                    <a:close/>
                    <a:moveTo>
                      <a:pt x="971" y="605"/>
                    </a:moveTo>
                    <a:lnTo>
                      <a:pt x="970" y="604"/>
                    </a:lnTo>
                    <a:lnTo>
                      <a:pt x="968" y="604"/>
                    </a:lnTo>
                    <a:lnTo>
                      <a:pt x="968" y="605"/>
                    </a:lnTo>
                    <a:lnTo>
                      <a:pt x="966" y="605"/>
                    </a:lnTo>
                    <a:lnTo>
                      <a:pt x="966" y="605"/>
                    </a:lnTo>
                    <a:lnTo>
                      <a:pt x="966" y="605"/>
                    </a:lnTo>
                    <a:lnTo>
                      <a:pt x="968" y="607"/>
                    </a:lnTo>
                    <a:lnTo>
                      <a:pt x="971" y="605"/>
                    </a:lnTo>
                    <a:lnTo>
                      <a:pt x="973" y="605"/>
                    </a:lnTo>
                    <a:lnTo>
                      <a:pt x="973" y="605"/>
                    </a:lnTo>
                    <a:lnTo>
                      <a:pt x="971" y="605"/>
                    </a:lnTo>
                    <a:close/>
                    <a:moveTo>
                      <a:pt x="909" y="14"/>
                    </a:moveTo>
                    <a:lnTo>
                      <a:pt x="912" y="17"/>
                    </a:lnTo>
                    <a:lnTo>
                      <a:pt x="913" y="19"/>
                    </a:lnTo>
                    <a:lnTo>
                      <a:pt x="916" y="19"/>
                    </a:lnTo>
                    <a:lnTo>
                      <a:pt x="918" y="19"/>
                    </a:lnTo>
                    <a:lnTo>
                      <a:pt x="918" y="22"/>
                    </a:lnTo>
                    <a:lnTo>
                      <a:pt x="919" y="23"/>
                    </a:lnTo>
                    <a:lnTo>
                      <a:pt x="924" y="26"/>
                    </a:lnTo>
                    <a:lnTo>
                      <a:pt x="929" y="31"/>
                    </a:lnTo>
                    <a:lnTo>
                      <a:pt x="930" y="33"/>
                    </a:lnTo>
                    <a:lnTo>
                      <a:pt x="937" y="34"/>
                    </a:lnTo>
                    <a:lnTo>
                      <a:pt x="940" y="34"/>
                    </a:lnTo>
                    <a:lnTo>
                      <a:pt x="943" y="33"/>
                    </a:lnTo>
                    <a:lnTo>
                      <a:pt x="945" y="31"/>
                    </a:lnTo>
                    <a:lnTo>
                      <a:pt x="946" y="30"/>
                    </a:lnTo>
                    <a:lnTo>
                      <a:pt x="949" y="25"/>
                    </a:lnTo>
                    <a:lnTo>
                      <a:pt x="954" y="20"/>
                    </a:lnTo>
                    <a:lnTo>
                      <a:pt x="957" y="14"/>
                    </a:lnTo>
                    <a:lnTo>
                      <a:pt x="909" y="14"/>
                    </a:lnTo>
                    <a:close/>
                    <a:moveTo>
                      <a:pt x="937" y="579"/>
                    </a:moveTo>
                    <a:lnTo>
                      <a:pt x="937" y="577"/>
                    </a:lnTo>
                    <a:lnTo>
                      <a:pt x="935" y="577"/>
                    </a:lnTo>
                    <a:lnTo>
                      <a:pt x="935" y="577"/>
                    </a:lnTo>
                    <a:lnTo>
                      <a:pt x="935" y="577"/>
                    </a:lnTo>
                    <a:lnTo>
                      <a:pt x="935" y="577"/>
                    </a:lnTo>
                    <a:lnTo>
                      <a:pt x="935" y="579"/>
                    </a:lnTo>
                    <a:lnTo>
                      <a:pt x="935" y="579"/>
                    </a:lnTo>
                    <a:lnTo>
                      <a:pt x="935" y="579"/>
                    </a:lnTo>
                    <a:lnTo>
                      <a:pt x="935" y="579"/>
                    </a:lnTo>
                    <a:lnTo>
                      <a:pt x="935" y="579"/>
                    </a:lnTo>
                    <a:lnTo>
                      <a:pt x="937" y="579"/>
                    </a:lnTo>
                    <a:lnTo>
                      <a:pt x="937" y="579"/>
                    </a:lnTo>
                    <a:close/>
                    <a:moveTo>
                      <a:pt x="934" y="577"/>
                    </a:moveTo>
                    <a:lnTo>
                      <a:pt x="932" y="576"/>
                    </a:lnTo>
                    <a:lnTo>
                      <a:pt x="930" y="577"/>
                    </a:lnTo>
                    <a:lnTo>
                      <a:pt x="929" y="577"/>
                    </a:lnTo>
                    <a:lnTo>
                      <a:pt x="929" y="577"/>
                    </a:lnTo>
                    <a:lnTo>
                      <a:pt x="929" y="580"/>
                    </a:lnTo>
                    <a:lnTo>
                      <a:pt x="929" y="580"/>
                    </a:lnTo>
                    <a:lnTo>
                      <a:pt x="930" y="580"/>
                    </a:lnTo>
                    <a:lnTo>
                      <a:pt x="930" y="580"/>
                    </a:lnTo>
                    <a:lnTo>
                      <a:pt x="932" y="579"/>
                    </a:lnTo>
                    <a:lnTo>
                      <a:pt x="932" y="579"/>
                    </a:lnTo>
                    <a:lnTo>
                      <a:pt x="934" y="579"/>
                    </a:lnTo>
                    <a:lnTo>
                      <a:pt x="934" y="579"/>
                    </a:lnTo>
                    <a:lnTo>
                      <a:pt x="934" y="579"/>
                    </a:lnTo>
                    <a:lnTo>
                      <a:pt x="934" y="577"/>
                    </a:lnTo>
                    <a:lnTo>
                      <a:pt x="935" y="577"/>
                    </a:lnTo>
                    <a:lnTo>
                      <a:pt x="934" y="577"/>
                    </a:lnTo>
                    <a:close/>
                    <a:moveTo>
                      <a:pt x="1362" y="14"/>
                    </a:moveTo>
                    <a:lnTo>
                      <a:pt x="1365" y="19"/>
                    </a:lnTo>
                    <a:lnTo>
                      <a:pt x="1367" y="20"/>
                    </a:lnTo>
                    <a:lnTo>
                      <a:pt x="1370" y="22"/>
                    </a:lnTo>
                    <a:lnTo>
                      <a:pt x="1373" y="20"/>
                    </a:lnTo>
                    <a:lnTo>
                      <a:pt x="1373" y="22"/>
                    </a:lnTo>
                    <a:lnTo>
                      <a:pt x="1374" y="20"/>
                    </a:lnTo>
                    <a:lnTo>
                      <a:pt x="1376" y="17"/>
                    </a:lnTo>
                    <a:lnTo>
                      <a:pt x="1378" y="14"/>
                    </a:lnTo>
                    <a:lnTo>
                      <a:pt x="1362" y="14"/>
                    </a:lnTo>
                    <a:close/>
                    <a:moveTo>
                      <a:pt x="1360" y="22"/>
                    </a:moveTo>
                    <a:lnTo>
                      <a:pt x="1357" y="20"/>
                    </a:lnTo>
                    <a:lnTo>
                      <a:pt x="1357" y="20"/>
                    </a:lnTo>
                    <a:lnTo>
                      <a:pt x="1362" y="19"/>
                    </a:lnTo>
                    <a:lnTo>
                      <a:pt x="1362" y="16"/>
                    </a:lnTo>
                    <a:lnTo>
                      <a:pt x="1362" y="14"/>
                    </a:lnTo>
                    <a:lnTo>
                      <a:pt x="1328" y="14"/>
                    </a:lnTo>
                    <a:lnTo>
                      <a:pt x="1328" y="16"/>
                    </a:lnTo>
                    <a:lnTo>
                      <a:pt x="1328" y="19"/>
                    </a:lnTo>
                    <a:lnTo>
                      <a:pt x="1329" y="19"/>
                    </a:lnTo>
                    <a:lnTo>
                      <a:pt x="1329" y="19"/>
                    </a:lnTo>
                    <a:lnTo>
                      <a:pt x="1331" y="23"/>
                    </a:lnTo>
                    <a:lnTo>
                      <a:pt x="1331" y="23"/>
                    </a:lnTo>
                    <a:lnTo>
                      <a:pt x="1332" y="28"/>
                    </a:lnTo>
                    <a:lnTo>
                      <a:pt x="1334" y="33"/>
                    </a:lnTo>
                    <a:lnTo>
                      <a:pt x="1337" y="36"/>
                    </a:lnTo>
                    <a:lnTo>
                      <a:pt x="1339" y="37"/>
                    </a:lnTo>
                    <a:lnTo>
                      <a:pt x="1340" y="41"/>
                    </a:lnTo>
                    <a:lnTo>
                      <a:pt x="1342" y="44"/>
                    </a:lnTo>
                    <a:lnTo>
                      <a:pt x="1343" y="37"/>
                    </a:lnTo>
                    <a:lnTo>
                      <a:pt x="1346" y="33"/>
                    </a:lnTo>
                    <a:lnTo>
                      <a:pt x="1346" y="31"/>
                    </a:lnTo>
                    <a:lnTo>
                      <a:pt x="1346" y="31"/>
                    </a:lnTo>
                    <a:lnTo>
                      <a:pt x="1346" y="34"/>
                    </a:lnTo>
                    <a:lnTo>
                      <a:pt x="1345" y="41"/>
                    </a:lnTo>
                    <a:lnTo>
                      <a:pt x="1348" y="44"/>
                    </a:lnTo>
                    <a:lnTo>
                      <a:pt x="1349" y="45"/>
                    </a:lnTo>
                    <a:lnTo>
                      <a:pt x="1351" y="42"/>
                    </a:lnTo>
                    <a:lnTo>
                      <a:pt x="1353" y="42"/>
                    </a:lnTo>
                    <a:lnTo>
                      <a:pt x="1354" y="44"/>
                    </a:lnTo>
                    <a:lnTo>
                      <a:pt x="1354" y="44"/>
                    </a:lnTo>
                    <a:lnTo>
                      <a:pt x="1356" y="45"/>
                    </a:lnTo>
                    <a:lnTo>
                      <a:pt x="1356" y="48"/>
                    </a:lnTo>
                    <a:lnTo>
                      <a:pt x="1359" y="52"/>
                    </a:lnTo>
                    <a:lnTo>
                      <a:pt x="1360" y="47"/>
                    </a:lnTo>
                    <a:lnTo>
                      <a:pt x="1362" y="42"/>
                    </a:lnTo>
                    <a:lnTo>
                      <a:pt x="1364" y="39"/>
                    </a:lnTo>
                    <a:lnTo>
                      <a:pt x="1364" y="25"/>
                    </a:lnTo>
                    <a:lnTo>
                      <a:pt x="1364" y="22"/>
                    </a:lnTo>
                    <a:lnTo>
                      <a:pt x="1360" y="22"/>
                    </a:lnTo>
                    <a:close/>
                    <a:moveTo>
                      <a:pt x="1345" y="100"/>
                    </a:moveTo>
                    <a:lnTo>
                      <a:pt x="1343" y="97"/>
                    </a:lnTo>
                    <a:lnTo>
                      <a:pt x="1342" y="92"/>
                    </a:lnTo>
                    <a:lnTo>
                      <a:pt x="1340" y="92"/>
                    </a:lnTo>
                    <a:lnTo>
                      <a:pt x="1339" y="92"/>
                    </a:lnTo>
                    <a:lnTo>
                      <a:pt x="1337" y="92"/>
                    </a:lnTo>
                    <a:lnTo>
                      <a:pt x="1340" y="91"/>
                    </a:lnTo>
                    <a:lnTo>
                      <a:pt x="1340" y="88"/>
                    </a:lnTo>
                    <a:lnTo>
                      <a:pt x="1340" y="88"/>
                    </a:lnTo>
                    <a:lnTo>
                      <a:pt x="1339" y="88"/>
                    </a:lnTo>
                    <a:lnTo>
                      <a:pt x="1335" y="88"/>
                    </a:lnTo>
                    <a:lnTo>
                      <a:pt x="1334" y="88"/>
                    </a:lnTo>
                    <a:lnTo>
                      <a:pt x="1331" y="88"/>
                    </a:lnTo>
                    <a:lnTo>
                      <a:pt x="1331" y="88"/>
                    </a:lnTo>
                    <a:lnTo>
                      <a:pt x="1331" y="86"/>
                    </a:lnTo>
                    <a:lnTo>
                      <a:pt x="1331" y="84"/>
                    </a:lnTo>
                    <a:lnTo>
                      <a:pt x="1331" y="83"/>
                    </a:lnTo>
                    <a:lnTo>
                      <a:pt x="1329" y="81"/>
                    </a:lnTo>
                    <a:lnTo>
                      <a:pt x="1328" y="80"/>
                    </a:lnTo>
                    <a:lnTo>
                      <a:pt x="1324" y="77"/>
                    </a:lnTo>
                    <a:lnTo>
                      <a:pt x="1323" y="77"/>
                    </a:lnTo>
                    <a:lnTo>
                      <a:pt x="1324" y="75"/>
                    </a:lnTo>
                    <a:lnTo>
                      <a:pt x="1328" y="77"/>
                    </a:lnTo>
                    <a:lnTo>
                      <a:pt x="1331" y="77"/>
                    </a:lnTo>
                    <a:lnTo>
                      <a:pt x="1332" y="70"/>
                    </a:lnTo>
                    <a:lnTo>
                      <a:pt x="1332" y="69"/>
                    </a:lnTo>
                    <a:lnTo>
                      <a:pt x="1331" y="69"/>
                    </a:lnTo>
                    <a:lnTo>
                      <a:pt x="1326" y="69"/>
                    </a:lnTo>
                    <a:lnTo>
                      <a:pt x="1324" y="69"/>
                    </a:lnTo>
                    <a:lnTo>
                      <a:pt x="1324" y="67"/>
                    </a:lnTo>
                    <a:lnTo>
                      <a:pt x="1328" y="64"/>
                    </a:lnTo>
                    <a:lnTo>
                      <a:pt x="1329" y="62"/>
                    </a:lnTo>
                    <a:lnTo>
                      <a:pt x="1326" y="59"/>
                    </a:lnTo>
                    <a:lnTo>
                      <a:pt x="1324" y="59"/>
                    </a:lnTo>
                    <a:lnTo>
                      <a:pt x="1323" y="58"/>
                    </a:lnTo>
                    <a:lnTo>
                      <a:pt x="1323" y="58"/>
                    </a:lnTo>
                    <a:lnTo>
                      <a:pt x="1321" y="55"/>
                    </a:lnTo>
                    <a:lnTo>
                      <a:pt x="1318" y="53"/>
                    </a:lnTo>
                    <a:lnTo>
                      <a:pt x="1317" y="55"/>
                    </a:lnTo>
                    <a:lnTo>
                      <a:pt x="1315" y="56"/>
                    </a:lnTo>
                    <a:lnTo>
                      <a:pt x="1313" y="59"/>
                    </a:lnTo>
                    <a:lnTo>
                      <a:pt x="1313" y="59"/>
                    </a:lnTo>
                    <a:lnTo>
                      <a:pt x="1312" y="58"/>
                    </a:lnTo>
                    <a:lnTo>
                      <a:pt x="1312" y="58"/>
                    </a:lnTo>
                    <a:lnTo>
                      <a:pt x="1313" y="55"/>
                    </a:lnTo>
                    <a:lnTo>
                      <a:pt x="1312" y="53"/>
                    </a:lnTo>
                    <a:lnTo>
                      <a:pt x="1310" y="52"/>
                    </a:lnTo>
                    <a:lnTo>
                      <a:pt x="1307" y="48"/>
                    </a:lnTo>
                    <a:lnTo>
                      <a:pt x="1306" y="48"/>
                    </a:lnTo>
                    <a:lnTo>
                      <a:pt x="1304" y="48"/>
                    </a:lnTo>
                    <a:lnTo>
                      <a:pt x="1304" y="56"/>
                    </a:lnTo>
                    <a:lnTo>
                      <a:pt x="1304" y="56"/>
                    </a:lnTo>
                    <a:lnTo>
                      <a:pt x="1304" y="53"/>
                    </a:lnTo>
                    <a:lnTo>
                      <a:pt x="1303" y="47"/>
                    </a:lnTo>
                    <a:lnTo>
                      <a:pt x="1303" y="45"/>
                    </a:lnTo>
                    <a:lnTo>
                      <a:pt x="1301" y="44"/>
                    </a:lnTo>
                    <a:lnTo>
                      <a:pt x="1301" y="44"/>
                    </a:lnTo>
                    <a:lnTo>
                      <a:pt x="1301" y="44"/>
                    </a:lnTo>
                    <a:lnTo>
                      <a:pt x="1299" y="44"/>
                    </a:lnTo>
                    <a:lnTo>
                      <a:pt x="1299" y="44"/>
                    </a:lnTo>
                    <a:lnTo>
                      <a:pt x="1299" y="42"/>
                    </a:lnTo>
                    <a:lnTo>
                      <a:pt x="1299" y="41"/>
                    </a:lnTo>
                    <a:lnTo>
                      <a:pt x="1298" y="37"/>
                    </a:lnTo>
                    <a:lnTo>
                      <a:pt x="1296" y="36"/>
                    </a:lnTo>
                    <a:lnTo>
                      <a:pt x="1293" y="34"/>
                    </a:lnTo>
                    <a:lnTo>
                      <a:pt x="1293" y="33"/>
                    </a:lnTo>
                    <a:lnTo>
                      <a:pt x="1293" y="33"/>
                    </a:lnTo>
                    <a:lnTo>
                      <a:pt x="1296" y="30"/>
                    </a:lnTo>
                    <a:lnTo>
                      <a:pt x="1296" y="30"/>
                    </a:lnTo>
                    <a:lnTo>
                      <a:pt x="1293" y="28"/>
                    </a:lnTo>
                    <a:lnTo>
                      <a:pt x="1293" y="26"/>
                    </a:lnTo>
                    <a:lnTo>
                      <a:pt x="1293" y="25"/>
                    </a:lnTo>
                    <a:lnTo>
                      <a:pt x="1292" y="23"/>
                    </a:lnTo>
                    <a:lnTo>
                      <a:pt x="1290" y="22"/>
                    </a:lnTo>
                    <a:lnTo>
                      <a:pt x="1288" y="20"/>
                    </a:lnTo>
                    <a:lnTo>
                      <a:pt x="1288" y="20"/>
                    </a:lnTo>
                    <a:lnTo>
                      <a:pt x="1287" y="22"/>
                    </a:lnTo>
                    <a:lnTo>
                      <a:pt x="1284" y="25"/>
                    </a:lnTo>
                    <a:lnTo>
                      <a:pt x="1282" y="23"/>
                    </a:lnTo>
                    <a:lnTo>
                      <a:pt x="1282" y="23"/>
                    </a:lnTo>
                    <a:lnTo>
                      <a:pt x="1282" y="22"/>
                    </a:lnTo>
                    <a:lnTo>
                      <a:pt x="1284" y="16"/>
                    </a:lnTo>
                    <a:lnTo>
                      <a:pt x="1284" y="14"/>
                    </a:lnTo>
                    <a:lnTo>
                      <a:pt x="1282" y="14"/>
                    </a:lnTo>
                    <a:lnTo>
                      <a:pt x="1179" y="14"/>
                    </a:lnTo>
                    <a:lnTo>
                      <a:pt x="1181" y="16"/>
                    </a:lnTo>
                    <a:lnTo>
                      <a:pt x="1182" y="20"/>
                    </a:lnTo>
                    <a:lnTo>
                      <a:pt x="1184" y="25"/>
                    </a:lnTo>
                    <a:lnTo>
                      <a:pt x="1184" y="28"/>
                    </a:lnTo>
                    <a:lnTo>
                      <a:pt x="1182" y="28"/>
                    </a:lnTo>
                    <a:lnTo>
                      <a:pt x="1177" y="26"/>
                    </a:lnTo>
                    <a:lnTo>
                      <a:pt x="1176" y="26"/>
                    </a:lnTo>
                    <a:lnTo>
                      <a:pt x="1174" y="26"/>
                    </a:lnTo>
                    <a:lnTo>
                      <a:pt x="1171" y="28"/>
                    </a:lnTo>
                    <a:lnTo>
                      <a:pt x="1170" y="31"/>
                    </a:lnTo>
                    <a:lnTo>
                      <a:pt x="1168" y="33"/>
                    </a:lnTo>
                    <a:lnTo>
                      <a:pt x="1167" y="33"/>
                    </a:lnTo>
                    <a:lnTo>
                      <a:pt x="1165" y="33"/>
                    </a:lnTo>
                    <a:lnTo>
                      <a:pt x="1162" y="31"/>
                    </a:lnTo>
                    <a:lnTo>
                      <a:pt x="1159" y="31"/>
                    </a:lnTo>
                    <a:lnTo>
                      <a:pt x="1157" y="33"/>
                    </a:lnTo>
                    <a:lnTo>
                      <a:pt x="1157" y="34"/>
                    </a:lnTo>
                    <a:lnTo>
                      <a:pt x="1156" y="36"/>
                    </a:lnTo>
                    <a:lnTo>
                      <a:pt x="1152" y="36"/>
                    </a:lnTo>
                    <a:lnTo>
                      <a:pt x="1146" y="34"/>
                    </a:lnTo>
                    <a:lnTo>
                      <a:pt x="1145" y="36"/>
                    </a:lnTo>
                    <a:lnTo>
                      <a:pt x="1145" y="37"/>
                    </a:lnTo>
                    <a:lnTo>
                      <a:pt x="1149" y="42"/>
                    </a:lnTo>
                    <a:lnTo>
                      <a:pt x="1151" y="44"/>
                    </a:lnTo>
                    <a:lnTo>
                      <a:pt x="1151" y="45"/>
                    </a:lnTo>
                    <a:lnTo>
                      <a:pt x="1152" y="47"/>
                    </a:lnTo>
                    <a:lnTo>
                      <a:pt x="1152" y="48"/>
                    </a:lnTo>
                    <a:lnTo>
                      <a:pt x="1151" y="50"/>
                    </a:lnTo>
                    <a:lnTo>
                      <a:pt x="1151" y="52"/>
                    </a:lnTo>
                    <a:lnTo>
                      <a:pt x="1151" y="53"/>
                    </a:lnTo>
                    <a:lnTo>
                      <a:pt x="1151" y="55"/>
                    </a:lnTo>
                    <a:lnTo>
                      <a:pt x="1149" y="53"/>
                    </a:lnTo>
                    <a:lnTo>
                      <a:pt x="1148" y="52"/>
                    </a:lnTo>
                    <a:lnTo>
                      <a:pt x="1148" y="52"/>
                    </a:lnTo>
                    <a:lnTo>
                      <a:pt x="1149" y="50"/>
                    </a:lnTo>
                    <a:lnTo>
                      <a:pt x="1149" y="47"/>
                    </a:lnTo>
                    <a:lnTo>
                      <a:pt x="1149" y="45"/>
                    </a:lnTo>
                    <a:lnTo>
                      <a:pt x="1148" y="42"/>
                    </a:lnTo>
                    <a:lnTo>
                      <a:pt x="1145" y="39"/>
                    </a:lnTo>
                    <a:lnTo>
                      <a:pt x="1140" y="36"/>
                    </a:lnTo>
                    <a:lnTo>
                      <a:pt x="1132" y="33"/>
                    </a:lnTo>
                    <a:lnTo>
                      <a:pt x="1127" y="31"/>
                    </a:lnTo>
                    <a:lnTo>
                      <a:pt x="1124" y="30"/>
                    </a:lnTo>
                    <a:lnTo>
                      <a:pt x="1121" y="30"/>
                    </a:lnTo>
                    <a:lnTo>
                      <a:pt x="1120" y="28"/>
                    </a:lnTo>
                    <a:lnTo>
                      <a:pt x="1118" y="28"/>
                    </a:lnTo>
                    <a:lnTo>
                      <a:pt x="1116" y="30"/>
                    </a:lnTo>
                    <a:lnTo>
                      <a:pt x="1116" y="33"/>
                    </a:lnTo>
                    <a:lnTo>
                      <a:pt x="1115" y="33"/>
                    </a:lnTo>
                    <a:lnTo>
                      <a:pt x="1115" y="34"/>
                    </a:lnTo>
                    <a:lnTo>
                      <a:pt x="1116" y="39"/>
                    </a:lnTo>
                    <a:lnTo>
                      <a:pt x="1116" y="39"/>
                    </a:lnTo>
                    <a:lnTo>
                      <a:pt x="1115" y="41"/>
                    </a:lnTo>
                    <a:lnTo>
                      <a:pt x="1109" y="45"/>
                    </a:lnTo>
                    <a:lnTo>
                      <a:pt x="1106" y="47"/>
                    </a:lnTo>
                    <a:lnTo>
                      <a:pt x="1106" y="48"/>
                    </a:lnTo>
                    <a:lnTo>
                      <a:pt x="1104" y="50"/>
                    </a:lnTo>
                    <a:lnTo>
                      <a:pt x="1104" y="56"/>
                    </a:lnTo>
                    <a:lnTo>
                      <a:pt x="1102" y="58"/>
                    </a:lnTo>
                    <a:lnTo>
                      <a:pt x="1102" y="59"/>
                    </a:lnTo>
                    <a:lnTo>
                      <a:pt x="1102" y="61"/>
                    </a:lnTo>
                    <a:lnTo>
                      <a:pt x="1102" y="64"/>
                    </a:lnTo>
                    <a:lnTo>
                      <a:pt x="1106" y="69"/>
                    </a:lnTo>
                    <a:lnTo>
                      <a:pt x="1106" y="70"/>
                    </a:lnTo>
                    <a:lnTo>
                      <a:pt x="1110" y="73"/>
                    </a:lnTo>
                    <a:lnTo>
                      <a:pt x="1110" y="73"/>
                    </a:lnTo>
                    <a:lnTo>
                      <a:pt x="1112" y="73"/>
                    </a:lnTo>
                    <a:lnTo>
                      <a:pt x="1115" y="75"/>
                    </a:lnTo>
                    <a:lnTo>
                      <a:pt x="1116" y="77"/>
                    </a:lnTo>
                    <a:lnTo>
                      <a:pt x="1118" y="77"/>
                    </a:lnTo>
                    <a:lnTo>
                      <a:pt x="1121" y="77"/>
                    </a:lnTo>
                    <a:lnTo>
                      <a:pt x="1123" y="78"/>
                    </a:lnTo>
                    <a:lnTo>
                      <a:pt x="1126" y="80"/>
                    </a:lnTo>
                    <a:lnTo>
                      <a:pt x="1129" y="78"/>
                    </a:lnTo>
                    <a:lnTo>
                      <a:pt x="1131" y="77"/>
                    </a:lnTo>
                    <a:lnTo>
                      <a:pt x="1131" y="77"/>
                    </a:lnTo>
                    <a:lnTo>
                      <a:pt x="1132" y="77"/>
                    </a:lnTo>
                    <a:lnTo>
                      <a:pt x="1134" y="77"/>
                    </a:lnTo>
                    <a:lnTo>
                      <a:pt x="1138" y="73"/>
                    </a:lnTo>
                    <a:lnTo>
                      <a:pt x="1140" y="73"/>
                    </a:lnTo>
                    <a:lnTo>
                      <a:pt x="1145" y="73"/>
                    </a:lnTo>
                    <a:lnTo>
                      <a:pt x="1145" y="73"/>
                    </a:lnTo>
                    <a:lnTo>
                      <a:pt x="1146" y="67"/>
                    </a:lnTo>
                    <a:lnTo>
                      <a:pt x="1149" y="67"/>
                    </a:lnTo>
                    <a:lnTo>
                      <a:pt x="1152" y="69"/>
                    </a:lnTo>
                    <a:lnTo>
                      <a:pt x="1154" y="70"/>
                    </a:lnTo>
                    <a:lnTo>
                      <a:pt x="1157" y="70"/>
                    </a:lnTo>
                    <a:lnTo>
                      <a:pt x="1160" y="70"/>
                    </a:lnTo>
                    <a:lnTo>
                      <a:pt x="1163" y="69"/>
                    </a:lnTo>
                    <a:lnTo>
                      <a:pt x="1165" y="66"/>
                    </a:lnTo>
                    <a:lnTo>
                      <a:pt x="1163" y="62"/>
                    </a:lnTo>
                    <a:lnTo>
                      <a:pt x="1162" y="59"/>
                    </a:lnTo>
                    <a:lnTo>
                      <a:pt x="1160" y="58"/>
                    </a:lnTo>
                    <a:lnTo>
                      <a:pt x="1160" y="56"/>
                    </a:lnTo>
                    <a:lnTo>
                      <a:pt x="1162" y="56"/>
                    </a:lnTo>
                    <a:lnTo>
                      <a:pt x="1163" y="56"/>
                    </a:lnTo>
                    <a:lnTo>
                      <a:pt x="1163" y="55"/>
                    </a:lnTo>
                    <a:lnTo>
                      <a:pt x="1163" y="55"/>
                    </a:lnTo>
                    <a:lnTo>
                      <a:pt x="1165" y="55"/>
                    </a:lnTo>
                    <a:lnTo>
                      <a:pt x="1165" y="56"/>
                    </a:lnTo>
                    <a:lnTo>
                      <a:pt x="1167" y="59"/>
                    </a:lnTo>
                    <a:lnTo>
                      <a:pt x="1167" y="61"/>
                    </a:lnTo>
                    <a:lnTo>
                      <a:pt x="1168" y="62"/>
                    </a:lnTo>
                    <a:lnTo>
                      <a:pt x="1168" y="62"/>
                    </a:lnTo>
                    <a:lnTo>
                      <a:pt x="1173" y="62"/>
                    </a:lnTo>
                    <a:lnTo>
                      <a:pt x="1174" y="64"/>
                    </a:lnTo>
                    <a:lnTo>
                      <a:pt x="1174" y="70"/>
                    </a:lnTo>
                    <a:lnTo>
                      <a:pt x="1174" y="70"/>
                    </a:lnTo>
                    <a:lnTo>
                      <a:pt x="1174" y="72"/>
                    </a:lnTo>
                    <a:lnTo>
                      <a:pt x="1176" y="72"/>
                    </a:lnTo>
                    <a:lnTo>
                      <a:pt x="1176" y="70"/>
                    </a:lnTo>
                    <a:lnTo>
                      <a:pt x="1177" y="70"/>
                    </a:lnTo>
                    <a:lnTo>
                      <a:pt x="1177" y="66"/>
                    </a:lnTo>
                    <a:lnTo>
                      <a:pt x="1179" y="66"/>
                    </a:lnTo>
                    <a:lnTo>
                      <a:pt x="1179" y="66"/>
                    </a:lnTo>
                    <a:lnTo>
                      <a:pt x="1181" y="66"/>
                    </a:lnTo>
                    <a:lnTo>
                      <a:pt x="1182" y="64"/>
                    </a:lnTo>
                    <a:lnTo>
                      <a:pt x="1187" y="66"/>
                    </a:lnTo>
                    <a:lnTo>
                      <a:pt x="1188" y="66"/>
                    </a:lnTo>
                    <a:lnTo>
                      <a:pt x="1188" y="66"/>
                    </a:lnTo>
                    <a:lnTo>
                      <a:pt x="1185" y="72"/>
                    </a:lnTo>
                    <a:lnTo>
                      <a:pt x="1185" y="72"/>
                    </a:lnTo>
                    <a:lnTo>
                      <a:pt x="1187" y="73"/>
                    </a:lnTo>
                    <a:lnTo>
                      <a:pt x="1188" y="75"/>
                    </a:lnTo>
                    <a:lnTo>
                      <a:pt x="1190" y="77"/>
                    </a:lnTo>
                    <a:lnTo>
                      <a:pt x="1195" y="84"/>
                    </a:lnTo>
                    <a:lnTo>
                      <a:pt x="1198" y="88"/>
                    </a:lnTo>
                    <a:lnTo>
                      <a:pt x="1199" y="88"/>
                    </a:lnTo>
                    <a:lnTo>
                      <a:pt x="1199" y="89"/>
                    </a:lnTo>
                    <a:lnTo>
                      <a:pt x="1201" y="92"/>
                    </a:lnTo>
                    <a:lnTo>
                      <a:pt x="1202" y="95"/>
                    </a:lnTo>
                    <a:lnTo>
                      <a:pt x="1202" y="95"/>
                    </a:lnTo>
                    <a:lnTo>
                      <a:pt x="1207" y="92"/>
                    </a:lnTo>
                    <a:lnTo>
                      <a:pt x="1209" y="92"/>
                    </a:lnTo>
                    <a:lnTo>
                      <a:pt x="1209" y="92"/>
                    </a:lnTo>
                    <a:lnTo>
                      <a:pt x="1209" y="94"/>
                    </a:lnTo>
                    <a:lnTo>
                      <a:pt x="1207" y="95"/>
                    </a:lnTo>
                    <a:lnTo>
                      <a:pt x="1206" y="98"/>
                    </a:lnTo>
                    <a:lnTo>
                      <a:pt x="1206" y="100"/>
                    </a:lnTo>
                    <a:lnTo>
                      <a:pt x="1207" y="100"/>
                    </a:lnTo>
                    <a:lnTo>
                      <a:pt x="1213" y="100"/>
                    </a:lnTo>
                    <a:lnTo>
                      <a:pt x="1217" y="100"/>
                    </a:lnTo>
                    <a:lnTo>
                      <a:pt x="1218" y="102"/>
                    </a:lnTo>
                    <a:lnTo>
                      <a:pt x="1218" y="103"/>
                    </a:lnTo>
                    <a:lnTo>
                      <a:pt x="1220" y="105"/>
                    </a:lnTo>
                    <a:lnTo>
                      <a:pt x="1220" y="105"/>
                    </a:lnTo>
                    <a:lnTo>
                      <a:pt x="1221" y="105"/>
                    </a:lnTo>
                    <a:lnTo>
                      <a:pt x="1221" y="106"/>
                    </a:lnTo>
                    <a:lnTo>
                      <a:pt x="1221" y="108"/>
                    </a:lnTo>
                    <a:lnTo>
                      <a:pt x="1218" y="111"/>
                    </a:lnTo>
                    <a:lnTo>
                      <a:pt x="1217" y="111"/>
                    </a:lnTo>
                    <a:lnTo>
                      <a:pt x="1215" y="111"/>
                    </a:lnTo>
                    <a:lnTo>
                      <a:pt x="1212" y="111"/>
                    </a:lnTo>
                    <a:lnTo>
                      <a:pt x="1212" y="111"/>
                    </a:lnTo>
                    <a:lnTo>
                      <a:pt x="1213" y="114"/>
                    </a:lnTo>
                    <a:lnTo>
                      <a:pt x="1218" y="120"/>
                    </a:lnTo>
                    <a:lnTo>
                      <a:pt x="1220" y="124"/>
                    </a:lnTo>
                    <a:lnTo>
                      <a:pt x="1223" y="125"/>
                    </a:lnTo>
                    <a:lnTo>
                      <a:pt x="1224" y="127"/>
                    </a:lnTo>
                    <a:lnTo>
                      <a:pt x="1229" y="124"/>
                    </a:lnTo>
                    <a:lnTo>
                      <a:pt x="1229" y="124"/>
                    </a:lnTo>
                    <a:lnTo>
                      <a:pt x="1227" y="127"/>
                    </a:lnTo>
                    <a:lnTo>
                      <a:pt x="1227" y="128"/>
                    </a:lnTo>
                    <a:lnTo>
                      <a:pt x="1229" y="128"/>
                    </a:lnTo>
                    <a:lnTo>
                      <a:pt x="1232" y="131"/>
                    </a:lnTo>
                    <a:lnTo>
                      <a:pt x="1237" y="133"/>
                    </a:lnTo>
                    <a:lnTo>
                      <a:pt x="1240" y="136"/>
                    </a:lnTo>
                    <a:lnTo>
                      <a:pt x="1242" y="138"/>
                    </a:lnTo>
                    <a:lnTo>
                      <a:pt x="1245" y="138"/>
                    </a:lnTo>
                    <a:lnTo>
                      <a:pt x="1246" y="136"/>
                    </a:lnTo>
                    <a:lnTo>
                      <a:pt x="1249" y="136"/>
                    </a:lnTo>
                    <a:lnTo>
                      <a:pt x="1253" y="136"/>
                    </a:lnTo>
                    <a:lnTo>
                      <a:pt x="1254" y="138"/>
                    </a:lnTo>
                    <a:lnTo>
                      <a:pt x="1257" y="144"/>
                    </a:lnTo>
                    <a:lnTo>
                      <a:pt x="1262" y="150"/>
                    </a:lnTo>
                    <a:lnTo>
                      <a:pt x="1262" y="150"/>
                    </a:lnTo>
                    <a:lnTo>
                      <a:pt x="1268" y="153"/>
                    </a:lnTo>
                    <a:lnTo>
                      <a:pt x="1270" y="155"/>
                    </a:lnTo>
                    <a:lnTo>
                      <a:pt x="1271" y="156"/>
                    </a:lnTo>
                    <a:lnTo>
                      <a:pt x="1274" y="156"/>
                    </a:lnTo>
                    <a:lnTo>
                      <a:pt x="1292" y="159"/>
                    </a:lnTo>
                    <a:lnTo>
                      <a:pt x="1293" y="161"/>
                    </a:lnTo>
                    <a:lnTo>
                      <a:pt x="1293" y="163"/>
                    </a:lnTo>
                    <a:lnTo>
                      <a:pt x="1296" y="163"/>
                    </a:lnTo>
                    <a:lnTo>
                      <a:pt x="1303" y="166"/>
                    </a:lnTo>
                    <a:lnTo>
                      <a:pt x="1307" y="169"/>
                    </a:lnTo>
                    <a:lnTo>
                      <a:pt x="1309" y="170"/>
                    </a:lnTo>
                    <a:lnTo>
                      <a:pt x="1310" y="170"/>
                    </a:lnTo>
                    <a:lnTo>
                      <a:pt x="1312" y="170"/>
                    </a:lnTo>
                    <a:lnTo>
                      <a:pt x="1315" y="170"/>
                    </a:lnTo>
                    <a:lnTo>
                      <a:pt x="1315" y="169"/>
                    </a:lnTo>
                    <a:lnTo>
                      <a:pt x="1315" y="167"/>
                    </a:lnTo>
                    <a:lnTo>
                      <a:pt x="1315" y="164"/>
                    </a:lnTo>
                    <a:lnTo>
                      <a:pt x="1313" y="163"/>
                    </a:lnTo>
                    <a:lnTo>
                      <a:pt x="1317" y="161"/>
                    </a:lnTo>
                    <a:lnTo>
                      <a:pt x="1317" y="159"/>
                    </a:lnTo>
                    <a:lnTo>
                      <a:pt x="1317" y="158"/>
                    </a:lnTo>
                    <a:lnTo>
                      <a:pt x="1317" y="158"/>
                    </a:lnTo>
                    <a:lnTo>
                      <a:pt x="1315" y="156"/>
                    </a:lnTo>
                    <a:lnTo>
                      <a:pt x="1312" y="155"/>
                    </a:lnTo>
                    <a:lnTo>
                      <a:pt x="1310" y="153"/>
                    </a:lnTo>
                    <a:lnTo>
                      <a:pt x="1309" y="149"/>
                    </a:lnTo>
                    <a:lnTo>
                      <a:pt x="1307" y="147"/>
                    </a:lnTo>
                    <a:lnTo>
                      <a:pt x="1306" y="144"/>
                    </a:lnTo>
                    <a:lnTo>
                      <a:pt x="1304" y="142"/>
                    </a:lnTo>
                    <a:lnTo>
                      <a:pt x="1301" y="141"/>
                    </a:lnTo>
                    <a:lnTo>
                      <a:pt x="1299" y="139"/>
                    </a:lnTo>
                    <a:lnTo>
                      <a:pt x="1295" y="134"/>
                    </a:lnTo>
                    <a:lnTo>
                      <a:pt x="1295" y="133"/>
                    </a:lnTo>
                    <a:lnTo>
                      <a:pt x="1293" y="131"/>
                    </a:lnTo>
                    <a:lnTo>
                      <a:pt x="1290" y="130"/>
                    </a:lnTo>
                    <a:lnTo>
                      <a:pt x="1285" y="128"/>
                    </a:lnTo>
                    <a:lnTo>
                      <a:pt x="1287" y="127"/>
                    </a:lnTo>
                    <a:lnTo>
                      <a:pt x="1287" y="125"/>
                    </a:lnTo>
                    <a:lnTo>
                      <a:pt x="1287" y="124"/>
                    </a:lnTo>
                    <a:lnTo>
                      <a:pt x="1285" y="124"/>
                    </a:lnTo>
                    <a:lnTo>
                      <a:pt x="1282" y="124"/>
                    </a:lnTo>
                    <a:lnTo>
                      <a:pt x="1279" y="122"/>
                    </a:lnTo>
                    <a:lnTo>
                      <a:pt x="1278" y="119"/>
                    </a:lnTo>
                    <a:lnTo>
                      <a:pt x="1274" y="114"/>
                    </a:lnTo>
                    <a:lnTo>
                      <a:pt x="1271" y="109"/>
                    </a:lnTo>
                    <a:lnTo>
                      <a:pt x="1270" y="108"/>
                    </a:lnTo>
                    <a:lnTo>
                      <a:pt x="1268" y="105"/>
                    </a:lnTo>
                    <a:lnTo>
                      <a:pt x="1265" y="100"/>
                    </a:lnTo>
                    <a:lnTo>
                      <a:pt x="1267" y="98"/>
                    </a:lnTo>
                    <a:lnTo>
                      <a:pt x="1270" y="98"/>
                    </a:lnTo>
                    <a:lnTo>
                      <a:pt x="1273" y="100"/>
                    </a:lnTo>
                    <a:lnTo>
                      <a:pt x="1278" y="103"/>
                    </a:lnTo>
                    <a:lnTo>
                      <a:pt x="1284" y="111"/>
                    </a:lnTo>
                    <a:lnTo>
                      <a:pt x="1285" y="111"/>
                    </a:lnTo>
                    <a:lnTo>
                      <a:pt x="1287" y="111"/>
                    </a:lnTo>
                    <a:lnTo>
                      <a:pt x="1285" y="109"/>
                    </a:lnTo>
                    <a:lnTo>
                      <a:pt x="1284" y="103"/>
                    </a:lnTo>
                    <a:lnTo>
                      <a:pt x="1284" y="98"/>
                    </a:lnTo>
                    <a:lnTo>
                      <a:pt x="1284" y="100"/>
                    </a:lnTo>
                    <a:lnTo>
                      <a:pt x="1287" y="103"/>
                    </a:lnTo>
                    <a:lnTo>
                      <a:pt x="1290" y="109"/>
                    </a:lnTo>
                    <a:lnTo>
                      <a:pt x="1295" y="114"/>
                    </a:lnTo>
                    <a:lnTo>
                      <a:pt x="1296" y="116"/>
                    </a:lnTo>
                    <a:lnTo>
                      <a:pt x="1298" y="116"/>
                    </a:lnTo>
                    <a:lnTo>
                      <a:pt x="1299" y="116"/>
                    </a:lnTo>
                    <a:lnTo>
                      <a:pt x="1299" y="117"/>
                    </a:lnTo>
                    <a:lnTo>
                      <a:pt x="1301" y="119"/>
                    </a:lnTo>
                    <a:lnTo>
                      <a:pt x="1303" y="120"/>
                    </a:lnTo>
                    <a:lnTo>
                      <a:pt x="1303" y="122"/>
                    </a:lnTo>
                    <a:lnTo>
                      <a:pt x="1303" y="124"/>
                    </a:lnTo>
                    <a:lnTo>
                      <a:pt x="1304" y="125"/>
                    </a:lnTo>
                    <a:lnTo>
                      <a:pt x="1304" y="125"/>
                    </a:lnTo>
                    <a:lnTo>
                      <a:pt x="1306" y="125"/>
                    </a:lnTo>
                    <a:lnTo>
                      <a:pt x="1306" y="124"/>
                    </a:lnTo>
                    <a:lnTo>
                      <a:pt x="1304" y="119"/>
                    </a:lnTo>
                    <a:lnTo>
                      <a:pt x="1306" y="117"/>
                    </a:lnTo>
                    <a:lnTo>
                      <a:pt x="1306" y="119"/>
                    </a:lnTo>
                    <a:lnTo>
                      <a:pt x="1307" y="124"/>
                    </a:lnTo>
                    <a:lnTo>
                      <a:pt x="1309" y="127"/>
                    </a:lnTo>
                    <a:lnTo>
                      <a:pt x="1312" y="128"/>
                    </a:lnTo>
                    <a:lnTo>
                      <a:pt x="1312" y="128"/>
                    </a:lnTo>
                    <a:lnTo>
                      <a:pt x="1313" y="128"/>
                    </a:lnTo>
                    <a:lnTo>
                      <a:pt x="1312" y="125"/>
                    </a:lnTo>
                    <a:lnTo>
                      <a:pt x="1312" y="124"/>
                    </a:lnTo>
                    <a:lnTo>
                      <a:pt x="1312" y="124"/>
                    </a:lnTo>
                    <a:lnTo>
                      <a:pt x="1317" y="128"/>
                    </a:lnTo>
                    <a:lnTo>
                      <a:pt x="1318" y="130"/>
                    </a:lnTo>
                    <a:lnTo>
                      <a:pt x="1318" y="131"/>
                    </a:lnTo>
                    <a:lnTo>
                      <a:pt x="1320" y="131"/>
                    </a:lnTo>
                    <a:lnTo>
                      <a:pt x="1320" y="131"/>
                    </a:lnTo>
                    <a:lnTo>
                      <a:pt x="1320" y="131"/>
                    </a:lnTo>
                    <a:lnTo>
                      <a:pt x="1321" y="130"/>
                    </a:lnTo>
                    <a:lnTo>
                      <a:pt x="1324" y="133"/>
                    </a:lnTo>
                    <a:lnTo>
                      <a:pt x="1328" y="136"/>
                    </a:lnTo>
                    <a:lnTo>
                      <a:pt x="1329" y="139"/>
                    </a:lnTo>
                    <a:lnTo>
                      <a:pt x="1331" y="141"/>
                    </a:lnTo>
                    <a:lnTo>
                      <a:pt x="1332" y="142"/>
                    </a:lnTo>
                    <a:lnTo>
                      <a:pt x="1334" y="141"/>
                    </a:lnTo>
                    <a:lnTo>
                      <a:pt x="1334" y="139"/>
                    </a:lnTo>
                    <a:lnTo>
                      <a:pt x="1331" y="130"/>
                    </a:lnTo>
                    <a:lnTo>
                      <a:pt x="1332" y="130"/>
                    </a:lnTo>
                    <a:lnTo>
                      <a:pt x="1335" y="133"/>
                    </a:lnTo>
                    <a:lnTo>
                      <a:pt x="1337" y="133"/>
                    </a:lnTo>
                    <a:lnTo>
                      <a:pt x="1339" y="133"/>
                    </a:lnTo>
                    <a:lnTo>
                      <a:pt x="1340" y="131"/>
                    </a:lnTo>
                    <a:lnTo>
                      <a:pt x="1340" y="131"/>
                    </a:lnTo>
                    <a:lnTo>
                      <a:pt x="1339" y="130"/>
                    </a:lnTo>
                    <a:lnTo>
                      <a:pt x="1339" y="128"/>
                    </a:lnTo>
                    <a:lnTo>
                      <a:pt x="1337" y="125"/>
                    </a:lnTo>
                    <a:lnTo>
                      <a:pt x="1335" y="124"/>
                    </a:lnTo>
                    <a:lnTo>
                      <a:pt x="1334" y="119"/>
                    </a:lnTo>
                    <a:lnTo>
                      <a:pt x="1332" y="117"/>
                    </a:lnTo>
                    <a:lnTo>
                      <a:pt x="1332" y="117"/>
                    </a:lnTo>
                    <a:lnTo>
                      <a:pt x="1334" y="117"/>
                    </a:lnTo>
                    <a:lnTo>
                      <a:pt x="1334" y="116"/>
                    </a:lnTo>
                    <a:lnTo>
                      <a:pt x="1334" y="111"/>
                    </a:lnTo>
                    <a:lnTo>
                      <a:pt x="1332" y="105"/>
                    </a:lnTo>
                    <a:lnTo>
                      <a:pt x="1332" y="102"/>
                    </a:lnTo>
                    <a:lnTo>
                      <a:pt x="1331" y="98"/>
                    </a:lnTo>
                    <a:lnTo>
                      <a:pt x="1331" y="98"/>
                    </a:lnTo>
                    <a:lnTo>
                      <a:pt x="1334" y="103"/>
                    </a:lnTo>
                    <a:lnTo>
                      <a:pt x="1335" y="105"/>
                    </a:lnTo>
                    <a:lnTo>
                      <a:pt x="1335" y="106"/>
                    </a:lnTo>
                    <a:lnTo>
                      <a:pt x="1340" y="117"/>
                    </a:lnTo>
                    <a:lnTo>
                      <a:pt x="1340" y="119"/>
                    </a:lnTo>
                    <a:lnTo>
                      <a:pt x="1342" y="119"/>
                    </a:lnTo>
                    <a:lnTo>
                      <a:pt x="1343" y="117"/>
                    </a:lnTo>
                    <a:lnTo>
                      <a:pt x="1343" y="114"/>
                    </a:lnTo>
                    <a:lnTo>
                      <a:pt x="1343" y="109"/>
                    </a:lnTo>
                    <a:lnTo>
                      <a:pt x="1342" y="106"/>
                    </a:lnTo>
                    <a:lnTo>
                      <a:pt x="1342" y="102"/>
                    </a:lnTo>
                    <a:lnTo>
                      <a:pt x="1343" y="102"/>
                    </a:lnTo>
                    <a:lnTo>
                      <a:pt x="1345" y="10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2" name="Freeform 39">
                <a:extLst>
                  <a:ext uri="{FF2B5EF4-FFF2-40B4-BE49-F238E27FC236}">
                    <a16:creationId xmlns:a16="http://schemas.microsoft.com/office/drawing/2014/main" id="{5AA0C57A-1591-FBB6-35CE-CDBB78BD1F8D}"/>
                  </a:ext>
                </a:extLst>
              </p:cNvPr>
              <p:cNvSpPr>
                <a:spLocks/>
              </p:cNvSpPr>
              <p:nvPr/>
            </p:nvSpPr>
            <p:spPr bwMode="gray">
              <a:xfrm>
                <a:off x="2889" y="1484"/>
                <a:ext cx="335" cy="330"/>
              </a:xfrm>
              <a:custGeom>
                <a:avLst/>
                <a:gdLst>
                  <a:gd name="T0" fmla="*/ 277 w 335"/>
                  <a:gd name="T1" fmla="*/ 14 h 330"/>
                  <a:gd name="T2" fmla="*/ 290 w 335"/>
                  <a:gd name="T3" fmla="*/ 14 h 330"/>
                  <a:gd name="T4" fmla="*/ 310 w 335"/>
                  <a:gd name="T5" fmla="*/ 17 h 330"/>
                  <a:gd name="T6" fmla="*/ 324 w 335"/>
                  <a:gd name="T7" fmla="*/ 29 h 330"/>
                  <a:gd name="T8" fmla="*/ 326 w 335"/>
                  <a:gd name="T9" fmla="*/ 37 h 330"/>
                  <a:gd name="T10" fmla="*/ 327 w 335"/>
                  <a:gd name="T11" fmla="*/ 51 h 330"/>
                  <a:gd name="T12" fmla="*/ 335 w 335"/>
                  <a:gd name="T13" fmla="*/ 56 h 330"/>
                  <a:gd name="T14" fmla="*/ 312 w 335"/>
                  <a:gd name="T15" fmla="*/ 79 h 330"/>
                  <a:gd name="T16" fmla="*/ 307 w 335"/>
                  <a:gd name="T17" fmla="*/ 95 h 330"/>
                  <a:gd name="T18" fmla="*/ 304 w 335"/>
                  <a:gd name="T19" fmla="*/ 117 h 330"/>
                  <a:gd name="T20" fmla="*/ 297 w 335"/>
                  <a:gd name="T21" fmla="*/ 131 h 330"/>
                  <a:gd name="T22" fmla="*/ 296 w 335"/>
                  <a:gd name="T23" fmla="*/ 140 h 330"/>
                  <a:gd name="T24" fmla="*/ 299 w 335"/>
                  <a:gd name="T25" fmla="*/ 159 h 330"/>
                  <a:gd name="T26" fmla="*/ 302 w 335"/>
                  <a:gd name="T27" fmla="*/ 183 h 330"/>
                  <a:gd name="T28" fmla="*/ 304 w 335"/>
                  <a:gd name="T29" fmla="*/ 203 h 330"/>
                  <a:gd name="T30" fmla="*/ 319 w 335"/>
                  <a:gd name="T31" fmla="*/ 223 h 330"/>
                  <a:gd name="T32" fmla="*/ 304 w 335"/>
                  <a:gd name="T33" fmla="*/ 241 h 330"/>
                  <a:gd name="T34" fmla="*/ 288 w 335"/>
                  <a:gd name="T35" fmla="*/ 251 h 330"/>
                  <a:gd name="T36" fmla="*/ 288 w 335"/>
                  <a:gd name="T37" fmla="*/ 275 h 330"/>
                  <a:gd name="T38" fmla="*/ 285 w 335"/>
                  <a:gd name="T39" fmla="*/ 298 h 330"/>
                  <a:gd name="T40" fmla="*/ 302 w 335"/>
                  <a:gd name="T41" fmla="*/ 311 h 330"/>
                  <a:gd name="T42" fmla="*/ 308 w 335"/>
                  <a:gd name="T43" fmla="*/ 309 h 330"/>
                  <a:gd name="T44" fmla="*/ 307 w 335"/>
                  <a:gd name="T45" fmla="*/ 330 h 330"/>
                  <a:gd name="T46" fmla="*/ 296 w 335"/>
                  <a:gd name="T47" fmla="*/ 328 h 330"/>
                  <a:gd name="T48" fmla="*/ 285 w 335"/>
                  <a:gd name="T49" fmla="*/ 316 h 330"/>
                  <a:gd name="T50" fmla="*/ 269 w 335"/>
                  <a:gd name="T51" fmla="*/ 308 h 330"/>
                  <a:gd name="T52" fmla="*/ 258 w 335"/>
                  <a:gd name="T53" fmla="*/ 302 h 330"/>
                  <a:gd name="T54" fmla="*/ 241 w 335"/>
                  <a:gd name="T55" fmla="*/ 302 h 330"/>
                  <a:gd name="T56" fmla="*/ 230 w 335"/>
                  <a:gd name="T57" fmla="*/ 291 h 330"/>
                  <a:gd name="T58" fmla="*/ 215 w 335"/>
                  <a:gd name="T59" fmla="*/ 294 h 330"/>
                  <a:gd name="T60" fmla="*/ 208 w 335"/>
                  <a:gd name="T61" fmla="*/ 284 h 330"/>
                  <a:gd name="T62" fmla="*/ 196 w 335"/>
                  <a:gd name="T63" fmla="*/ 286 h 330"/>
                  <a:gd name="T64" fmla="*/ 177 w 335"/>
                  <a:gd name="T65" fmla="*/ 289 h 330"/>
                  <a:gd name="T66" fmla="*/ 177 w 335"/>
                  <a:gd name="T67" fmla="*/ 273 h 330"/>
                  <a:gd name="T68" fmla="*/ 169 w 335"/>
                  <a:gd name="T69" fmla="*/ 234 h 330"/>
                  <a:gd name="T70" fmla="*/ 147 w 335"/>
                  <a:gd name="T71" fmla="*/ 220 h 330"/>
                  <a:gd name="T72" fmla="*/ 132 w 335"/>
                  <a:gd name="T73" fmla="*/ 216 h 330"/>
                  <a:gd name="T74" fmla="*/ 118 w 335"/>
                  <a:gd name="T75" fmla="*/ 233 h 330"/>
                  <a:gd name="T76" fmla="*/ 97 w 335"/>
                  <a:gd name="T77" fmla="*/ 234 h 330"/>
                  <a:gd name="T78" fmla="*/ 83 w 335"/>
                  <a:gd name="T79" fmla="*/ 219 h 330"/>
                  <a:gd name="T80" fmla="*/ 77 w 335"/>
                  <a:gd name="T81" fmla="*/ 198 h 330"/>
                  <a:gd name="T82" fmla="*/ 43 w 335"/>
                  <a:gd name="T83" fmla="*/ 195 h 330"/>
                  <a:gd name="T84" fmla="*/ 18 w 335"/>
                  <a:gd name="T85" fmla="*/ 195 h 330"/>
                  <a:gd name="T86" fmla="*/ 0 w 335"/>
                  <a:gd name="T87" fmla="*/ 195 h 330"/>
                  <a:gd name="T88" fmla="*/ 5 w 335"/>
                  <a:gd name="T89" fmla="*/ 181 h 330"/>
                  <a:gd name="T90" fmla="*/ 16 w 335"/>
                  <a:gd name="T91" fmla="*/ 173 h 330"/>
                  <a:gd name="T92" fmla="*/ 25 w 335"/>
                  <a:gd name="T93" fmla="*/ 175 h 330"/>
                  <a:gd name="T94" fmla="*/ 32 w 335"/>
                  <a:gd name="T95" fmla="*/ 170 h 330"/>
                  <a:gd name="T96" fmla="*/ 38 w 335"/>
                  <a:gd name="T97" fmla="*/ 175 h 330"/>
                  <a:gd name="T98" fmla="*/ 47 w 335"/>
                  <a:gd name="T99" fmla="*/ 175 h 330"/>
                  <a:gd name="T100" fmla="*/ 69 w 335"/>
                  <a:gd name="T101" fmla="*/ 153 h 330"/>
                  <a:gd name="T102" fmla="*/ 80 w 335"/>
                  <a:gd name="T103" fmla="*/ 117 h 330"/>
                  <a:gd name="T104" fmla="*/ 100 w 335"/>
                  <a:gd name="T105" fmla="*/ 89 h 330"/>
                  <a:gd name="T106" fmla="*/ 110 w 335"/>
                  <a:gd name="T107" fmla="*/ 42 h 330"/>
                  <a:gd name="T108" fmla="*/ 116 w 335"/>
                  <a:gd name="T109" fmla="*/ 14 h 330"/>
                  <a:gd name="T110" fmla="*/ 146 w 335"/>
                  <a:gd name="T111" fmla="*/ 14 h 330"/>
                  <a:gd name="T112" fmla="*/ 166 w 335"/>
                  <a:gd name="T113" fmla="*/ 18 h 330"/>
                  <a:gd name="T114" fmla="*/ 190 w 335"/>
                  <a:gd name="T115" fmla="*/ 11 h 330"/>
                  <a:gd name="T116" fmla="*/ 213 w 335"/>
                  <a:gd name="T117" fmla="*/ 6 h 330"/>
                  <a:gd name="T118" fmla="*/ 240 w 335"/>
                  <a:gd name="T119" fmla="*/ 1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330">
                    <a:moveTo>
                      <a:pt x="266" y="4"/>
                    </a:moveTo>
                    <a:lnTo>
                      <a:pt x="268" y="4"/>
                    </a:lnTo>
                    <a:lnTo>
                      <a:pt x="268" y="6"/>
                    </a:lnTo>
                    <a:lnTo>
                      <a:pt x="271" y="9"/>
                    </a:lnTo>
                    <a:lnTo>
                      <a:pt x="272" y="9"/>
                    </a:lnTo>
                    <a:lnTo>
                      <a:pt x="272" y="11"/>
                    </a:lnTo>
                    <a:lnTo>
                      <a:pt x="274" y="12"/>
                    </a:lnTo>
                    <a:lnTo>
                      <a:pt x="274" y="12"/>
                    </a:lnTo>
                    <a:lnTo>
                      <a:pt x="276" y="14"/>
                    </a:lnTo>
                    <a:lnTo>
                      <a:pt x="277" y="14"/>
                    </a:lnTo>
                    <a:lnTo>
                      <a:pt x="277" y="15"/>
                    </a:lnTo>
                    <a:lnTo>
                      <a:pt x="279" y="15"/>
                    </a:lnTo>
                    <a:lnTo>
                      <a:pt x="280" y="17"/>
                    </a:lnTo>
                    <a:lnTo>
                      <a:pt x="282" y="17"/>
                    </a:lnTo>
                    <a:lnTo>
                      <a:pt x="283" y="17"/>
                    </a:lnTo>
                    <a:lnTo>
                      <a:pt x="283" y="17"/>
                    </a:lnTo>
                    <a:lnTo>
                      <a:pt x="285" y="17"/>
                    </a:lnTo>
                    <a:lnTo>
                      <a:pt x="287" y="17"/>
                    </a:lnTo>
                    <a:lnTo>
                      <a:pt x="288" y="15"/>
                    </a:lnTo>
                    <a:lnTo>
                      <a:pt x="290" y="14"/>
                    </a:lnTo>
                    <a:lnTo>
                      <a:pt x="294" y="15"/>
                    </a:lnTo>
                    <a:lnTo>
                      <a:pt x="296" y="15"/>
                    </a:lnTo>
                    <a:lnTo>
                      <a:pt x="297" y="17"/>
                    </a:lnTo>
                    <a:lnTo>
                      <a:pt x="299" y="17"/>
                    </a:lnTo>
                    <a:lnTo>
                      <a:pt x="302" y="14"/>
                    </a:lnTo>
                    <a:lnTo>
                      <a:pt x="304" y="12"/>
                    </a:lnTo>
                    <a:lnTo>
                      <a:pt x="305" y="12"/>
                    </a:lnTo>
                    <a:lnTo>
                      <a:pt x="307" y="12"/>
                    </a:lnTo>
                    <a:lnTo>
                      <a:pt x="308" y="15"/>
                    </a:lnTo>
                    <a:lnTo>
                      <a:pt x="310" y="17"/>
                    </a:lnTo>
                    <a:lnTo>
                      <a:pt x="312" y="18"/>
                    </a:lnTo>
                    <a:lnTo>
                      <a:pt x="313" y="20"/>
                    </a:lnTo>
                    <a:lnTo>
                      <a:pt x="316" y="23"/>
                    </a:lnTo>
                    <a:lnTo>
                      <a:pt x="319" y="25"/>
                    </a:lnTo>
                    <a:lnTo>
                      <a:pt x="321" y="26"/>
                    </a:lnTo>
                    <a:lnTo>
                      <a:pt x="322" y="26"/>
                    </a:lnTo>
                    <a:lnTo>
                      <a:pt x="322" y="28"/>
                    </a:lnTo>
                    <a:lnTo>
                      <a:pt x="322" y="29"/>
                    </a:lnTo>
                    <a:lnTo>
                      <a:pt x="322" y="29"/>
                    </a:lnTo>
                    <a:lnTo>
                      <a:pt x="324" y="29"/>
                    </a:lnTo>
                    <a:lnTo>
                      <a:pt x="324" y="29"/>
                    </a:lnTo>
                    <a:lnTo>
                      <a:pt x="326" y="29"/>
                    </a:lnTo>
                    <a:lnTo>
                      <a:pt x="327" y="31"/>
                    </a:lnTo>
                    <a:lnTo>
                      <a:pt x="327" y="31"/>
                    </a:lnTo>
                    <a:lnTo>
                      <a:pt x="327" y="32"/>
                    </a:lnTo>
                    <a:lnTo>
                      <a:pt x="329" y="32"/>
                    </a:lnTo>
                    <a:lnTo>
                      <a:pt x="329" y="34"/>
                    </a:lnTo>
                    <a:lnTo>
                      <a:pt x="327" y="34"/>
                    </a:lnTo>
                    <a:lnTo>
                      <a:pt x="327" y="36"/>
                    </a:lnTo>
                    <a:lnTo>
                      <a:pt x="326" y="37"/>
                    </a:lnTo>
                    <a:lnTo>
                      <a:pt x="326" y="40"/>
                    </a:lnTo>
                    <a:lnTo>
                      <a:pt x="326" y="40"/>
                    </a:lnTo>
                    <a:lnTo>
                      <a:pt x="327" y="42"/>
                    </a:lnTo>
                    <a:lnTo>
                      <a:pt x="327" y="42"/>
                    </a:lnTo>
                    <a:lnTo>
                      <a:pt x="327" y="42"/>
                    </a:lnTo>
                    <a:lnTo>
                      <a:pt x="327" y="43"/>
                    </a:lnTo>
                    <a:lnTo>
                      <a:pt x="326" y="46"/>
                    </a:lnTo>
                    <a:lnTo>
                      <a:pt x="326" y="48"/>
                    </a:lnTo>
                    <a:lnTo>
                      <a:pt x="326" y="50"/>
                    </a:lnTo>
                    <a:lnTo>
                      <a:pt x="327" y="51"/>
                    </a:lnTo>
                    <a:lnTo>
                      <a:pt x="329" y="51"/>
                    </a:lnTo>
                    <a:lnTo>
                      <a:pt x="330" y="51"/>
                    </a:lnTo>
                    <a:lnTo>
                      <a:pt x="330" y="53"/>
                    </a:lnTo>
                    <a:lnTo>
                      <a:pt x="332" y="53"/>
                    </a:lnTo>
                    <a:lnTo>
                      <a:pt x="332" y="53"/>
                    </a:lnTo>
                    <a:lnTo>
                      <a:pt x="333" y="53"/>
                    </a:lnTo>
                    <a:lnTo>
                      <a:pt x="333" y="54"/>
                    </a:lnTo>
                    <a:lnTo>
                      <a:pt x="333" y="54"/>
                    </a:lnTo>
                    <a:lnTo>
                      <a:pt x="335" y="56"/>
                    </a:lnTo>
                    <a:lnTo>
                      <a:pt x="335" y="56"/>
                    </a:lnTo>
                    <a:lnTo>
                      <a:pt x="335" y="57"/>
                    </a:lnTo>
                    <a:lnTo>
                      <a:pt x="333" y="59"/>
                    </a:lnTo>
                    <a:lnTo>
                      <a:pt x="329" y="64"/>
                    </a:lnTo>
                    <a:lnTo>
                      <a:pt x="321" y="72"/>
                    </a:lnTo>
                    <a:lnTo>
                      <a:pt x="321" y="72"/>
                    </a:lnTo>
                    <a:lnTo>
                      <a:pt x="318" y="72"/>
                    </a:lnTo>
                    <a:lnTo>
                      <a:pt x="316" y="73"/>
                    </a:lnTo>
                    <a:lnTo>
                      <a:pt x="316" y="76"/>
                    </a:lnTo>
                    <a:lnTo>
                      <a:pt x="313" y="78"/>
                    </a:lnTo>
                    <a:lnTo>
                      <a:pt x="312" y="79"/>
                    </a:lnTo>
                    <a:lnTo>
                      <a:pt x="312" y="79"/>
                    </a:lnTo>
                    <a:lnTo>
                      <a:pt x="312" y="81"/>
                    </a:lnTo>
                    <a:lnTo>
                      <a:pt x="312" y="84"/>
                    </a:lnTo>
                    <a:lnTo>
                      <a:pt x="310" y="86"/>
                    </a:lnTo>
                    <a:lnTo>
                      <a:pt x="308" y="89"/>
                    </a:lnTo>
                    <a:lnTo>
                      <a:pt x="308" y="90"/>
                    </a:lnTo>
                    <a:lnTo>
                      <a:pt x="308" y="90"/>
                    </a:lnTo>
                    <a:lnTo>
                      <a:pt x="307" y="92"/>
                    </a:lnTo>
                    <a:lnTo>
                      <a:pt x="307" y="93"/>
                    </a:lnTo>
                    <a:lnTo>
                      <a:pt x="307" y="95"/>
                    </a:lnTo>
                    <a:lnTo>
                      <a:pt x="305" y="101"/>
                    </a:lnTo>
                    <a:lnTo>
                      <a:pt x="307" y="103"/>
                    </a:lnTo>
                    <a:lnTo>
                      <a:pt x="305" y="104"/>
                    </a:lnTo>
                    <a:lnTo>
                      <a:pt x="305" y="106"/>
                    </a:lnTo>
                    <a:lnTo>
                      <a:pt x="305" y="109"/>
                    </a:lnTo>
                    <a:lnTo>
                      <a:pt x="305" y="111"/>
                    </a:lnTo>
                    <a:lnTo>
                      <a:pt x="305" y="112"/>
                    </a:lnTo>
                    <a:lnTo>
                      <a:pt x="305" y="117"/>
                    </a:lnTo>
                    <a:lnTo>
                      <a:pt x="305" y="117"/>
                    </a:lnTo>
                    <a:lnTo>
                      <a:pt x="304" y="117"/>
                    </a:lnTo>
                    <a:lnTo>
                      <a:pt x="304" y="118"/>
                    </a:lnTo>
                    <a:lnTo>
                      <a:pt x="302" y="118"/>
                    </a:lnTo>
                    <a:lnTo>
                      <a:pt x="301" y="120"/>
                    </a:lnTo>
                    <a:lnTo>
                      <a:pt x="299" y="122"/>
                    </a:lnTo>
                    <a:lnTo>
                      <a:pt x="299" y="123"/>
                    </a:lnTo>
                    <a:lnTo>
                      <a:pt x="297" y="125"/>
                    </a:lnTo>
                    <a:lnTo>
                      <a:pt x="297" y="125"/>
                    </a:lnTo>
                    <a:lnTo>
                      <a:pt x="297" y="128"/>
                    </a:lnTo>
                    <a:lnTo>
                      <a:pt x="297" y="129"/>
                    </a:lnTo>
                    <a:lnTo>
                      <a:pt x="297" y="131"/>
                    </a:lnTo>
                    <a:lnTo>
                      <a:pt x="297" y="133"/>
                    </a:lnTo>
                    <a:lnTo>
                      <a:pt x="294" y="133"/>
                    </a:lnTo>
                    <a:lnTo>
                      <a:pt x="293" y="134"/>
                    </a:lnTo>
                    <a:lnTo>
                      <a:pt x="293" y="134"/>
                    </a:lnTo>
                    <a:lnTo>
                      <a:pt x="293" y="136"/>
                    </a:lnTo>
                    <a:lnTo>
                      <a:pt x="293" y="137"/>
                    </a:lnTo>
                    <a:lnTo>
                      <a:pt x="293" y="139"/>
                    </a:lnTo>
                    <a:lnTo>
                      <a:pt x="293" y="140"/>
                    </a:lnTo>
                    <a:lnTo>
                      <a:pt x="296" y="140"/>
                    </a:lnTo>
                    <a:lnTo>
                      <a:pt x="296" y="140"/>
                    </a:lnTo>
                    <a:lnTo>
                      <a:pt x="296" y="142"/>
                    </a:lnTo>
                    <a:lnTo>
                      <a:pt x="296" y="142"/>
                    </a:lnTo>
                    <a:lnTo>
                      <a:pt x="297" y="145"/>
                    </a:lnTo>
                    <a:lnTo>
                      <a:pt x="299" y="147"/>
                    </a:lnTo>
                    <a:lnTo>
                      <a:pt x="299" y="148"/>
                    </a:lnTo>
                    <a:lnTo>
                      <a:pt x="299" y="150"/>
                    </a:lnTo>
                    <a:lnTo>
                      <a:pt x="299" y="151"/>
                    </a:lnTo>
                    <a:lnTo>
                      <a:pt x="299" y="153"/>
                    </a:lnTo>
                    <a:lnTo>
                      <a:pt x="299" y="158"/>
                    </a:lnTo>
                    <a:lnTo>
                      <a:pt x="299" y="159"/>
                    </a:lnTo>
                    <a:lnTo>
                      <a:pt x="299" y="161"/>
                    </a:lnTo>
                    <a:lnTo>
                      <a:pt x="301" y="164"/>
                    </a:lnTo>
                    <a:lnTo>
                      <a:pt x="302" y="169"/>
                    </a:lnTo>
                    <a:lnTo>
                      <a:pt x="302" y="170"/>
                    </a:lnTo>
                    <a:lnTo>
                      <a:pt x="302" y="172"/>
                    </a:lnTo>
                    <a:lnTo>
                      <a:pt x="301" y="175"/>
                    </a:lnTo>
                    <a:lnTo>
                      <a:pt x="301" y="178"/>
                    </a:lnTo>
                    <a:lnTo>
                      <a:pt x="301" y="178"/>
                    </a:lnTo>
                    <a:lnTo>
                      <a:pt x="301" y="180"/>
                    </a:lnTo>
                    <a:lnTo>
                      <a:pt x="302" y="183"/>
                    </a:lnTo>
                    <a:lnTo>
                      <a:pt x="304" y="186"/>
                    </a:lnTo>
                    <a:lnTo>
                      <a:pt x="304" y="187"/>
                    </a:lnTo>
                    <a:lnTo>
                      <a:pt x="304" y="189"/>
                    </a:lnTo>
                    <a:lnTo>
                      <a:pt x="305" y="192"/>
                    </a:lnTo>
                    <a:lnTo>
                      <a:pt x="305" y="194"/>
                    </a:lnTo>
                    <a:lnTo>
                      <a:pt x="305" y="194"/>
                    </a:lnTo>
                    <a:lnTo>
                      <a:pt x="304" y="197"/>
                    </a:lnTo>
                    <a:lnTo>
                      <a:pt x="304" y="198"/>
                    </a:lnTo>
                    <a:lnTo>
                      <a:pt x="304" y="201"/>
                    </a:lnTo>
                    <a:lnTo>
                      <a:pt x="304" y="203"/>
                    </a:lnTo>
                    <a:lnTo>
                      <a:pt x="305" y="205"/>
                    </a:lnTo>
                    <a:lnTo>
                      <a:pt x="307" y="209"/>
                    </a:lnTo>
                    <a:lnTo>
                      <a:pt x="308" y="209"/>
                    </a:lnTo>
                    <a:lnTo>
                      <a:pt x="312" y="212"/>
                    </a:lnTo>
                    <a:lnTo>
                      <a:pt x="315" y="214"/>
                    </a:lnTo>
                    <a:lnTo>
                      <a:pt x="315" y="216"/>
                    </a:lnTo>
                    <a:lnTo>
                      <a:pt x="316" y="216"/>
                    </a:lnTo>
                    <a:lnTo>
                      <a:pt x="318" y="219"/>
                    </a:lnTo>
                    <a:lnTo>
                      <a:pt x="319" y="222"/>
                    </a:lnTo>
                    <a:lnTo>
                      <a:pt x="319" y="223"/>
                    </a:lnTo>
                    <a:lnTo>
                      <a:pt x="321" y="226"/>
                    </a:lnTo>
                    <a:lnTo>
                      <a:pt x="322" y="230"/>
                    </a:lnTo>
                    <a:lnTo>
                      <a:pt x="324" y="233"/>
                    </a:lnTo>
                    <a:lnTo>
                      <a:pt x="326" y="234"/>
                    </a:lnTo>
                    <a:lnTo>
                      <a:pt x="326" y="236"/>
                    </a:lnTo>
                    <a:lnTo>
                      <a:pt x="322" y="237"/>
                    </a:lnTo>
                    <a:lnTo>
                      <a:pt x="318" y="237"/>
                    </a:lnTo>
                    <a:lnTo>
                      <a:pt x="313" y="239"/>
                    </a:lnTo>
                    <a:lnTo>
                      <a:pt x="308" y="239"/>
                    </a:lnTo>
                    <a:lnTo>
                      <a:pt x="304" y="241"/>
                    </a:lnTo>
                    <a:lnTo>
                      <a:pt x="299" y="241"/>
                    </a:lnTo>
                    <a:lnTo>
                      <a:pt x="294" y="241"/>
                    </a:lnTo>
                    <a:lnTo>
                      <a:pt x="293" y="242"/>
                    </a:lnTo>
                    <a:lnTo>
                      <a:pt x="294" y="244"/>
                    </a:lnTo>
                    <a:lnTo>
                      <a:pt x="293" y="245"/>
                    </a:lnTo>
                    <a:lnTo>
                      <a:pt x="293" y="247"/>
                    </a:lnTo>
                    <a:lnTo>
                      <a:pt x="291" y="248"/>
                    </a:lnTo>
                    <a:lnTo>
                      <a:pt x="291" y="250"/>
                    </a:lnTo>
                    <a:lnTo>
                      <a:pt x="290" y="251"/>
                    </a:lnTo>
                    <a:lnTo>
                      <a:pt x="288" y="251"/>
                    </a:lnTo>
                    <a:lnTo>
                      <a:pt x="287" y="253"/>
                    </a:lnTo>
                    <a:lnTo>
                      <a:pt x="285" y="255"/>
                    </a:lnTo>
                    <a:lnTo>
                      <a:pt x="285" y="256"/>
                    </a:lnTo>
                    <a:lnTo>
                      <a:pt x="287" y="259"/>
                    </a:lnTo>
                    <a:lnTo>
                      <a:pt x="288" y="262"/>
                    </a:lnTo>
                    <a:lnTo>
                      <a:pt x="288" y="266"/>
                    </a:lnTo>
                    <a:lnTo>
                      <a:pt x="288" y="267"/>
                    </a:lnTo>
                    <a:lnTo>
                      <a:pt x="288" y="270"/>
                    </a:lnTo>
                    <a:lnTo>
                      <a:pt x="288" y="273"/>
                    </a:lnTo>
                    <a:lnTo>
                      <a:pt x="288" y="275"/>
                    </a:lnTo>
                    <a:lnTo>
                      <a:pt x="288" y="278"/>
                    </a:lnTo>
                    <a:lnTo>
                      <a:pt x="288" y="280"/>
                    </a:lnTo>
                    <a:lnTo>
                      <a:pt x="287" y="283"/>
                    </a:lnTo>
                    <a:lnTo>
                      <a:pt x="287" y="284"/>
                    </a:lnTo>
                    <a:lnTo>
                      <a:pt x="285" y="287"/>
                    </a:lnTo>
                    <a:lnTo>
                      <a:pt x="285" y="292"/>
                    </a:lnTo>
                    <a:lnTo>
                      <a:pt x="283" y="295"/>
                    </a:lnTo>
                    <a:lnTo>
                      <a:pt x="283" y="297"/>
                    </a:lnTo>
                    <a:lnTo>
                      <a:pt x="285" y="297"/>
                    </a:lnTo>
                    <a:lnTo>
                      <a:pt x="285" y="298"/>
                    </a:lnTo>
                    <a:lnTo>
                      <a:pt x="287" y="300"/>
                    </a:lnTo>
                    <a:lnTo>
                      <a:pt x="287" y="302"/>
                    </a:lnTo>
                    <a:lnTo>
                      <a:pt x="288" y="302"/>
                    </a:lnTo>
                    <a:lnTo>
                      <a:pt x="291" y="305"/>
                    </a:lnTo>
                    <a:lnTo>
                      <a:pt x="293" y="306"/>
                    </a:lnTo>
                    <a:lnTo>
                      <a:pt x="294" y="308"/>
                    </a:lnTo>
                    <a:lnTo>
                      <a:pt x="296" y="309"/>
                    </a:lnTo>
                    <a:lnTo>
                      <a:pt x="299" y="311"/>
                    </a:lnTo>
                    <a:lnTo>
                      <a:pt x="301" y="311"/>
                    </a:lnTo>
                    <a:lnTo>
                      <a:pt x="302" y="311"/>
                    </a:lnTo>
                    <a:lnTo>
                      <a:pt x="304" y="311"/>
                    </a:lnTo>
                    <a:lnTo>
                      <a:pt x="304" y="311"/>
                    </a:lnTo>
                    <a:lnTo>
                      <a:pt x="304" y="309"/>
                    </a:lnTo>
                    <a:lnTo>
                      <a:pt x="304" y="309"/>
                    </a:lnTo>
                    <a:lnTo>
                      <a:pt x="304" y="308"/>
                    </a:lnTo>
                    <a:lnTo>
                      <a:pt x="305" y="308"/>
                    </a:lnTo>
                    <a:lnTo>
                      <a:pt x="307" y="308"/>
                    </a:lnTo>
                    <a:lnTo>
                      <a:pt x="308" y="306"/>
                    </a:lnTo>
                    <a:lnTo>
                      <a:pt x="308" y="306"/>
                    </a:lnTo>
                    <a:lnTo>
                      <a:pt x="308" y="309"/>
                    </a:lnTo>
                    <a:lnTo>
                      <a:pt x="308" y="313"/>
                    </a:lnTo>
                    <a:lnTo>
                      <a:pt x="308" y="316"/>
                    </a:lnTo>
                    <a:lnTo>
                      <a:pt x="308" y="319"/>
                    </a:lnTo>
                    <a:lnTo>
                      <a:pt x="308" y="322"/>
                    </a:lnTo>
                    <a:lnTo>
                      <a:pt x="308" y="325"/>
                    </a:lnTo>
                    <a:lnTo>
                      <a:pt x="308" y="328"/>
                    </a:lnTo>
                    <a:lnTo>
                      <a:pt x="308" y="328"/>
                    </a:lnTo>
                    <a:lnTo>
                      <a:pt x="308" y="330"/>
                    </a:lnTo>
                    <a:lnTo>
                      <a:pt x="307" y="330"/>
                    </a:lnTo>
                    <a:lnTo>
                      <a:pt x="307" y="330"/>
                    </a:lnTo>
                    <a:lnTo>
                      <a:pt x="307" y="328"/>
                    </a:lnTo>
                    <a:lnTo>
                      <a:pt x="305" y="327"/>
                    </a:lnTo>
                    <a:lnTo>
                      <a:pt x="305" y="327"/>
                    </a:lnTo>
                    <a:lnTo>
                      <a:pt x="305" y="327"/>
                    </a:lnTo>
                    <a:lnTo>
                      <a:pt x="304" y="327"/>
                    </a:lnTo>
                    <a:lnTo>
                      <a:pt x="302" y="328"/>
                    </a:lnTo>
                    <a:lnTo>
                      <a:pt x="299" y="328"/>
                    </a:lnTo>
                    <a:lnTo>
                      <a:pt x="299" y="328"/>
                    </a:lnTo>
                    <a:lnTo>
                      <a:pt x="297" y="328"/>
                    </a:lnTo>
                    <a:lnTo>
                      <a:pt x="296" y="328"/>
                    </a:lnTo>
                    <a:lnTo>
                      <a:pt x="294" y="327"/>
                    </a:lnTo>
                    <a:lnTo>
                      <a:pt x="293" y="325"/>
                    </a:lnTo>
                    <a:lnTo>
                      <a:pt x="293" y="323"/>
                    </a:lnTo>
                    <a:lnTo>
                      <a:pt x="291" y="322"/>
                    </a:lnTo>
                    <a:lnTo>
                      <a:pt x="290" y="320"/>
                    </a:lnTo>
                    <a:lnTo>
                      <a:pt x="290" y="319"/>
                    </a:lnTo>
                    <a:lnTo>
                      <a:pt x="288" y="319"/>
                    </a:lnTo>
                    <a:lnTo>
                      <a:pt x="287" y="319"/>
                    </a:lnTo>
                    <a:lnTo>
                      <a:pt x="287" y="317"/>
                    </a:lnTo>
                    <a:lnTo>
                      <a:pt x="285" y="316"/>
                    </a:lnTo>
                    <a:lnTo>
                      <a:pt x="285" y="314"/>
                    </a:lnTo>
                    <a:lnTo>
                      <a:pt x="285" y="313"/>
                    </a:lnTo>
                    <a:lnTo>
                      <a:pt x="283" y="313"/>
                    </a:lnTo>
                    <a:lnTo>
                      <a:pt x="282" y="311"/>
                    </a:lnTo>
                    <a:lnTo>
                      <a:pt x="279" y="311"/>
                    </a:lnTo>
                    <a:lnTo>
                      <a:pt x="276" y="309"/>
                    </a:lnTo>
                    <a:lnTo>
                      <a:pt x="272" y="309"/>
                    </a:lnTo>
                    <a:lnTo>
                      <a:pt x="271" y="309"/>
                    </a:lnTo>
                    <a:lnTo>
                      <a:pt x="269" y="308"/>
                    </a:lnTo>
                    <a:lnTo>
                      <a:pt x="269" y="308"/>
                    </a:lnTo>
                    <a:lnTo>
                      <a:pt x="268" y="305"/>
                    </a:lnTo>
                    <a:lnTo>
                      <a:pt x="268" y="303"/>
                    </a:lnTo>
                    <a:lnTo>
                      <a:pt x="265" y="300"/>
                    </a:lnTo>
                    <a:lnTo>
                      <a:pt x="263" y="297"/>
                    </a:lnTo>
                    <a:lnTo>
                      <a:pt x="263" y="297"/>
                    </a:lnTo>
                    <a:lnTo>
                      <a:pt x="261" y="297"/>
                    </a:lnTo>
                    <a:lnTo>
                      <a:pt x="260" y="297"/>
                    </a:lnTo>
                    <a:lnTo>
                      <a:pt x="260" y="298"/>
                    </a:lnTo>
                    <a:lnTo>
                      <a:pt x="260" y="300"/>
                    </a:lnTo>
                    <a:lnTo>
                      <a:pt x="258" y="302"/>
                    </a:lnTo>
                    <a:lnTo>
                      <a:pt x="258" y="303"/>
                    </a:lnTo>
                    <a:lnTo>
                      <a:pt x="258" y="303"/>
                    </a:lnTo>
                    <a:lnTo>
                      <a:pt x="257" y="303"/>
                    </a:lnTo>
                    <a:lnTo>
                      <a:pt x="255" y="303"/>
                    </a:lnTo>
                    <a:lnTo>
                      <a:pt x="252" y="303"/>
                    </a:lnTo>
                    <a:lnTo>
                      <a:pt x="249" y="303"/>
                    </a:lnTo>
                    <a:lnTo>
                      <a:pt x="247" y="303"/>
                    </a:lnTo>
                    <a:lnTo>
                      <a:pt x="244" y="302"/>
                    </a:lnTo>
                    <a:lnTo>
                      <a:pt x="243" y="302"/>
                    </a:lnTo>
                    <a:lnTo>
                      <a:pt x="241" y="302"/>
                    </a:lnTo>
                    <a:lnTo>
                      <a:pt x="240" y="300"/>
                    </a:lnTo>
                    <a:lnTo>
                      <a:pt x="235" y="300"/>
                    </a:lnTo>
                    <a:lnTo>
                      <a:pt x="233" y="300"/>
                    </a:lnTo>
                    <a:lnTo>
                      <a:pt x="233" y="298"/>
                    </a:lnTo>
                    <a:lnTo>
                      <a:pt x="232" y="298"/>
                    </a:lnTo>
                    <a:lnTo>
                      <a:pt x="230" y="297"/>
                    </a:lnTo>
                    <a:lnTo>
                      <a:pt x="230" y="295"/>
                    </a:lnTo>
                    <a:lnTo>
                      <a:pt x="230" y="294"/>
                    </a:lnTo>
                    <a:lnTo>
                      <a:pt x="230" y="292"/>
                    </a:lnTo>
                    <a:lnTo>
                      <a:pt x="230" y="291"/>
                    </a:lnTo>
                    <a:lnTo>
                      <a:pt x="230" y="291"/>
                    </a:lnTo>
                    <a:lnTo>
                      <a:pt x="229" y="291"/>
                    </a:lnTo>
                    <a:lnTo>
                      <a:pt x="229" y="291"/>
                    </a:lnTo>
                    <a:lnTo>
                      <a:pt x="226" y="291"/>
                    </a:lnTo>
                    <a:lnTo>
                      <a:pt x="222" y="292"/>
                    </a:lnTo>
                    <a:lnTo>
                      <a:pt x="221" y="292"/>
                    </a:lnTo>
                    <a:lnTo>
                      <a:pt x="219" y="292"/>
                    </a:lnTo>
                    <a:lnTo>
                      <a:pt x="219" y="292"/>
                    </a:lnTo>
                    <a:lnTo>
                      <a:pt x="216" y="294"/>
                    </a:lnTo>
                    <a:lnTo>
                      <a:pt x="215" y="294"/>
                    </a:lnTo>
                    <a:lnTo>
                      <a:pt x="213" y="294"/>
                    </a:lnTo>
                    <a:lnTo>
                      <a:pt x="213" y="292"/>
                    </a:lnTo>
                    <a:lnTo>
                      <a:pt x="213" y="292"/>
                    </a:lnTo>
                    <a:lnTo>
                      <a:pt x="215" y="291"/>
                    </a:lnTo>
                    <a:lnTo>
                      <a:pt x="213" y="289"/>
                    </a:lnTo>
                    <a:lnTo>
                      <a:pt x="213" y="287"/>
                    </a:lnTo>
                    <a:lnTo>
                      <a:pt x="210" y="286"/>
                    </a:lnTo>
                    <a:lnTo>
                      <a:pt x="210" y="286"/>
                    </a:lnTo>
                    <a:lnTo>
                      <a:pt x="210" y="286"/>
                    </a:lnTo>
                    <a:lnTo>
                      <a:pt x="208" y="284"/>
                    </a:lnTo>
                    <a:lnTo>
                      <a:pt x="207" y="284"/>
                    </a:lnTo>
                    <a:lnTo>
                      <a:pt x="207" y="284"/>
                    </a:lnTo>
                    <a:lnTo>
                      <a:pt x="205" y="284"/>
                    </a:lnTo>
                    <a:lnTo>
                      <a:pt x="205" y="284"/>
                    </a:lnTo>
                    <a:lnTo>
                      <a:pt x="205" y="286"/>
                    </a:lnTo>
                    <a:lnTo>
                      <a:pt x="204" y="286"/>
                    </a:lnTo>
                    <a:lnTo>
                      <a:pt x="202" y="286"/>
                    </a:lnTo>
                    <a:lnTo>
                      <a:pt x="199" y="286"/>
                    </a:lnTo>
                    <a:lnTo>
                      <a:pt x="197" y="286"/>
                    </a:lnTo>
                    <a:lnTo>
                      <a:pt x="196" y="286"/>
                    </a:lnTo>
                    <a:lnTo>
                      <a:pt x="193" y="287"/>
                    </a:lnTo>
                    <a:lnTo>
                      <a:pt x="191" y="287"/>
                    </a:lnTo>
                    <a:lnTo>
                      <a:pt x="186" y="287"/>
                    </a:lnTo>
                    <a:lnTo>
                      <a:pt x="183" y="287"/>
                    </a:lnTo>
                    <a:lnTo>
                      <a:pt x="182" y="287"/>
                    </a:lnTo>
                    <a:lnTo>
                      <a:pt x="180" y="287"/>
                    </a:lnTo>
                    <a:lnTo>
                      <a:pt x="179" y="289"/>
                    </a:lnTo>
                    <a:lnTo>
                      <a:pt x="177" y="289"/>
                    </a:lnTo>
                    <a:lnTo>
                      <a:pt x="177" y="289"/>
                    </a:lnTo>
                    <a:lnTo>
                      <a:pt x="177" y="289"/>
                    </a:lnTo>
                    <a:lnTo>
                      <a:pt x="176" y="287"/>
                    </a:lnTo>
                    <a:lnTo>
                      <a:pt x="176" y="286"/>
                    </a:lnTo>
                    <a:lnTo>
                      <a:pt x="176" y="284"/>
                    </a:lnTo>
                    <a:lnTo>
                      <a:pt x="176" y="283"/>
                    </a:lnTo>
                    <a:lnTo>
                      <a:pt x="177" y="283"/>
                    </a:lnTo>
                    <a:lnTo>
                      <a:pt x="177" y="281"/>
                    </a:lnTo>
                    <a:lnTo>
                      <a:pt x="177" y="278"/>
                    </a:lnTo>
                    <a:lnTo>
                      <a:pt x="177" y="277"/>
                    </a:lnTo>
                    <a:lnTo>
                      <a:pt x="177" y="275"/>
                    </a:lnTo>
                    <a:lnTo>
                      <a:pt x="177" y="273"/>
                    </a:lnTo>
                    <a:lnTo>
                      <a:pt x="176" y="269"/>
                    </a:lnTo>
                    <a:lnTo>
                      <a:pt x="174" y="266"/>
                    </a:lnTo>
                    <a:lnTo>
                      <a:pt x="171" y="264"/>
                    </a:lnTo>
                    <a:lnTo>
                      <a:pt x="169" y="261"/>
                    </a:lnTo>
                    <a:lnTo>
                      <a:pt x="169" y="259"/>
                    </a:lnTo>
                    <a:lnTo>
                      <a:pt x="169" y="253"/>
                    </a:lnTo>
                    <a:lnTo>
                      <a:pt x="169" y="248"/>
                    </a:lnTo>
                    <a:lnTo>
                      <a:pt x="171" y="245"/>
                    </a:lnTo>
                    <a:lnTo>
                      <a:pt x="171" y="239"/>
                    </a:lnTo>
                    <a:lnTo>
                      <a:pt x="169" y="234"/>
                    </a:lnTo>
                    <a:lnTo>
                      <a:pt x="168" y="231"/>
                    </a:lnTo>
                    <a:lnTo>
                      <a:pt x="169" y="226"/>
                    </a:lnTo>
                    <a:lnTo>
                      <a:pt x="169" y="223"/>
                    </a:lnTo>
                    <a:lnTo>
                      <a:pt x="169" y="222"/>
                    </a:lnTo>
                    <a:lnTo>
                      <a:pt x="168" y="220"/>
                    </a:lnTo>
                    <a:lnTo>
                      <a:pt x="168" y="220"/>
                    </a:lnTo>
                    <a:lnTo>
                      <a:pt x="163" y="220"/>
                    </a:lnTo>
                    <a:lnTo>
                      <a:pt x="158" y="220"/>
                    </a:lnTo>
                    <a:lnTo>
                      <a:pt x="154" y="220"/>
                    </a:lnTo>
                    <a:lnTo>
                      <a:pt x="147" y="220"/>
                    </a:lnTo>
                    <a:lnTo>
                      <a:pt x="147" y="220"/>
                    </a:lnTo>
                    <a:lnTo>
                      <a:pt x="146" y="219"/>
                    </a:lnTo>
                    <a:lnTo>
                      <a:pt x="146" y="217"/>
                    </a:lnTo>
                    <a:lnTo>
                      <a:pt x="147" y="214"/>
                    </a:lnTo>
                    <a:lnTo>
                      <a:pt x="147" y="214"/>
                    </a:lnTo>
                    <a:lnTo>
                      <a:pt x="146" y="214"/>
                    </a:lnTo>
                    <a:lnTo>
                      <a:pt x="140" y="214"/>
                    </a:lnTo>
                    <a:lnTo>
                      <a:pt x="136" y="216"/>
                    </a:lnTo>
                    <a:lnTo>
                      <a:pt x="135" y="216"/>
                    </a:lnTo>
                    <a:lnTo>
                      <a:pt x="132" y="216"/>
                    </a:lnTo>
                    <a:lnTo>
                      <a:pt x="129" y="219"/>
                    </a:lnTo>
                    <a:lnTo>
                      <a:pt x="129" y="220"/>
                    </a:lnTo>
                    <a:lnTo>
                      <a:pt x="129" y="222"/>
                    </a:lnTo>
                    <a:lnTo>
                      <a:pt x="127" y="223"/>
                    </a:lnTo>
                    <a:lnTo>
                      <a:pt x="127" y="225"/>
                    </a:lnTo>
                    <a:lnTo>
                      <a:pt x="125" y="226"/>
                    </a:lnTo>
                    <a:lnTo>
                      <a:pt x="125" y="228"/>
                    </a:lnTo>
                    <a:lnTo>
                      <a:pt x="125" y="233"/>
                    </a:lnTo>
                    <a:lnTo>
                      <a:pt x="122" y="233"/>
                    </a:lnTo>
                    <a:lnTo>
                      <a:pt x="118" y="233"/>
                    </a:lnTo>
                    <a:lnTo>
                      <a:pt x="118" y="233"/>
                    </a:lnTo>
                    <a:lnTo>
                      <a:pt x="113" y="231"/>
                    </a:lnTo>
                    <a:lnTo>
                      <a:pt x="111" y="231"/>
                    </a:lnTo>
                    <a:lnTo>
                      <a:pt x="110" y="233"/>
                    </a:lnTo>
                    <a:lnTo>
                      <a:pt x="108" y="233"/>
                    </a:lnTo>
                    <a:lnTo>
                      <a:pt x="105" y="233"/>
                    </a:lnTo>
                    <a:lnTo>
                      <a:pt x="102" y="234"/>
                    </a:lnTo>
                    <a:lnTo>
                      <a:pt x="102" y="234"/>
                    </a:lnTo>
                    <a:lnTo>
                      <a:pt x="100" y="234"/>
                    </a:lnTo>
                    <a:lnTo>
                      <a:pt x="97" y="234"/>
                    </a:lnTo>
                    <a:lnTo>
                      <a:pt x="96" y="234"/>
                    </a:lnTo>
                    <a:lnTo>
                      <a:pt x="94" y="234"/>
                    </a:lnTo>
                    <a:lnTo>
                      <a:pt x="94" y="234"/>
                    </a:lnTo>
                    <a:lnTo>
                      <a:pt x="91" y="231"/>
                    </a:lnTo>
                    <a:lnTo>
                      <a:pt x="88" y="226"/>
                    </a:lnTo>
                    <a:lnTo>
                      <a:pt x="86" y="223"/>
                    </a:lnTo>
                    <a:lnTo>
                      <a:pt x="86" y="223"/>
                    </a:lnTo>
                    <a:lnTo>
                      <a:pt x="85" y="222"/>
                    </a:lnTo>
                    <a:lnTo>
                      <a:pt x="83" y="220"/>
                    </a:lnTo>
                    <a:lnTo>
                      <a:pt x="83" y="219"/>
                    </a:lnTo>
                    <a:lnTo>
                      <a:pt x="83" y="217"/>
                    </a:lnTo>
                    <a:lnTo>
                      <a:pt x="83" y="214"/>
                    </a:lnTo>
                    <a:lnTo>
                      <a:pt x="82" y="211"/>
                    </a:lnTo>
                    <a:lnTo>
                      <a:pt x="80" y="209"/>
                    </a:lnTo>
                    <a:lnTo>
                      <a:pt x="79" y="206"/>
                    </a:lnTo>
                    <a:lnTo>
                      <a:pt x="79" y="205"/>
                    </a:lnTo>
                    <a:lnTo>
                      <a:pt x="79" y="201"/>
                    </a:lnTo>
                    <a:lnTo>
                      <a:pt x="79" y="201"/>
                    </a:lnTo>
                    <a:lnTo>
                      <a:pt x="79" y="200"/>
                    </a:lnTo>
                    <a:lnTo>
                      <a:pt x="77" y="198"/>
                    </a:lnTo>
                    <a:lnTo>
                      <a:pt x="77" y="198"/>
                    </a:lnTo>
                    <a:lnTo>
                      <a:pt x="75" y="197"/>
                    </a:lnTo>
                    <a:lnTo>
                      <a:pt x="74" y="197"/>
                    </a:lnTo>
                    <a:lnTo>
                      <a:pt x="72" y="195"/>
                    </a:lnTo>
                    <a:lnTo>
                      <a:pt x="68" y="195"/>
                    </a:lnTo>
                    <a:lnTo>
                      <a:pt x="61" y="195"/>
                    </a:lnTo>
                    <a:lnTo>
                      <a:pt x="57" y="195"/>
                    </a:lnTo>
                    <a:lnTo>
                      <a:pt x="50" y="195"/>
                    </a:lnTo>
                    <a:lnTo>
                      <a:pt x="44" y="195"/>
                    </a:lnTo>
                    <a:lnTo>
                      <a:pt x="43" y="195"/>
                    </a:lnTo>
                    <a:lnTo>
                      <a:pt x="38" y="197"/>
                    </a:lnTo>
                    <a:lnTo>
                      <a:pt x="35" y="195"/>
                    </a:lnTo>
                    <a:lnTo>
                      <a:pt x="33" y="195"/>
                    </a:lnTo>
                    <a:lnTo>
                      <a:pt x="32" y="195"/>
                    </a:lnTo>
                    <a:lnTo>
                      <a:pt x="27" y="195"/>
                    </a:lnTo>
                    <a:lnTo>
                      <a:pt x="25" y="195"/>
                    </a:lnTo>
                    <a:lnTo>
                      <a:pt x="21" y="195"/>
                    </a:lnTo>
                    <a:lnTo>
                      <a:pt x="21" y="195"/>
                    </a:lnTo>
                    <a:lnTo>
                      <a:pt x="19" y="195"/>
                    </a:lnTo>
                    <a:lnTo>
                      <a:pt x="18" y="195"/>
                    </a:lnTo>
                    <a:lnTo>
                      <a:pt x="16" y="195"/>
                    </a:lnTo>
                    <a:lnTo>
                      <a:pt x="14" y="195"/>
                    </a:lnTo>
                    <a:lnTo>
                      <a:pt x="11" y="195"/>
                    </a:lnTo>
                    <a:lnTo>
                      <a:pt x="10" y="195"/>
                    </a:lnTo>
                    <a:lnTo>
                      <a:pt x="8" y="197"/>
                    </a:lnTo>
                    <a:lnTo>
                      <a:pt x="5" y="198"/>
                    </a:lnTo>
                    <a:lnTo>
                      <a:pt x="5" y="198"/>
                    </a:lnTo>
                    <a:lnTo>
                      <a:pt x="4" y="198"/>
                    </a:lnTo>
                    <a:lnTo>
                      <a:pt x="2" y="197"/>
                    </a:lnTo>
                    <a:lnTo>
                      <a:pt x="0" y="195"/>
                    </a:lnTo>
                    <a:lnTo>
                      <a:pt x="0" y="194"/>
                    </a:lnTo>
                    <a:lnTo>
                      <a:pt x="0" y="194"/>
                    </a:lnTo>
                    <a:lnTo>
                      <a:pt x="4" y="194"/>
                    </a:lnTo>
                    <a:lnTo>
                      <a:pt x="5" y="194"/>
                    </a:lnTo>
                    <a:lnTo>
                      <a:pt x="5" y="192"/>
                    </a:lnTo>
                    <a:lnTo>
                      <a:pt x="5" y="187"/>
                    </a:lnTo>
                    <a:lnTo>
                      <a:pt x="5" y="183"/>
                    </a:lnTo>
                    <a:lnTo>
                      <a:pt x="5" y="183"/>
                    </a:lnTo>
                    <a:lnTo>
                      <a:pt x="5" y="183"/>
                    </a:lnTo>
                    <a:lnTo>
                      <a:pt x="5" y="181"/>
                    </a:lnTo>
                    <a:lnTo>
                      <a:pt x="5" y="181"/>
                    </a:lnTo>
                    <a:lnTo>
                      <a:pt x="7" y="180"/>
                    </a:lnTo>
                    <a:lnTo>
                      <a:pt x="7" y="180"/>
                    </a:lnTo>
                    <a:lnTo>
                      <a:pt x="8" y="178"/>
                    </a:lnTo>
                    <a:lnTo>
                      <a:pt x="11" y="176"/>
                    </a:lnTo>
                    <a:lnTo>
                      <a:pt x="13" y="175"/>
                    </a:lnTo>
                    <a:lnTo>
                      <a:pt x="14" y="175"/>
                    </a:lnTo>
                    <a:lnTo>
                      <a:pt x="16" y="173"/>
                    </a:lnTo>
                    <a:lnTo>
                      <a:pt x="16" y="173"/>
                    </a:lnTo>
                    <a:lnTo>
                      <a:pt x="16" y="173"/>
                    </a:lnTo>
                    <a:lnTo>
                      <a:pt x="16" y="173"/>
                    </a:lnTo>
                    <a:lnTo>
                      <a:pt x="18" y="175"/>
                    </a:lnTo>
                    <a:lnTo>
                      <a:pt x="18" y="175"/>
                    </a:lnTo>
                    <a:lnTo>
                      <a:pt x="19" y="176"/>
                    </a:lnTo>
                    <a:lnTo>
                      <a:pt x="21" y="178"/>
                    </a:lnTo>
                    <a:lnTo>
                      <a:pt x="21" y="178"/>
                    </a:lnTo>
                    <a:lnTo>
                      <a:pt x="22" y="176"/>
                    </a:lnTo>
                    <a:lnTo>
                      <a:pt x="24" y="176"/>
                    </a:lnTo>
                    <a:lnTo>
                      <a:pt x="25" y="175"/>
                    </a:lnTo>
                    <a:lnTo>
                      <a:pt x="25" y="175"/>
                    </a:lnTo>
                    <a:lnTo>
                      <a:pt x="27" y="173"/>
                    </a:lnTo>
                    <a:lnTo>
                      <a:pt x="27" y="172"/>
                    </a:lnTo>
                    <a:lnTo>
                      <a:pt x="27" y="170"/>
                    </a:lnTo>
                    <a:lnTo>
                      <a:pt x="27" y="170"/>
                    </a:lnTo>
                    <a:lnTo>
                      <a:pt x="27" y="170"/>
                    </a:lnTo>
                    <a:lnTo>
                      <a:pt x="29" y="170"/>
                    </a:lnTo>
                    <a:lnTo>
                      <a:pt x="30" y="172"/>
                    </a:lnTo>
                    <a:lnTo>
                      <a:pt x="30" y="172"/>
                    </a:lnTo>
                    <a:lnTo>
                      <a:pt x="32" y="170"/>
                    </a:lnTo>
                    <a:lnTo>
                      <a:pt x="32" y="170"/>
                    </a:lnTo>
                    <a:lnTo>
                      <a:pt x="33" y="170"/>
                    </a:lnTo>
                    <a:lnTo>
                      <a:pt x="36" y="169"/>
                    </a:lnTo>
                    <a:lnTo>
                      <a:pt x="38" y="169"/>
                    </a:lnTo>
                    <a:lnTo>
                      <a:pt x="38" y="169"/>
                    </a:lnTo>
                    <a:lnTo>
                      <a:pt x="38" y="169"/>
                    </a:lnTo>
                    <a:lnTo>
                      <a:pt x="39" y="170"/>
                    </a:lnTo>
                    <a:lnTo>
                      <a:pt x="39" y="170"/>
                    </a:lnTo>
                    <a:lnTo>
                      <a:pt x="39" y="172"/>
                    </a:lnTo>
                    <a:lnTo>
                      <a:pt x="38" y="173"/>
                    </a:lnTo>
                    <a:lnTo>
                      <a:pt x="38" y="175"/>
                    </a:lnTo>
                    <a:lnTo>
                      <a:pt x="39" y="176"/>
                    </a:lnTo>
                    <a:lnTo>
                      <a:pt x="39" y="178"/>
                    </a:lnTo>
                    <a:lnTo>
                      <a:pt x="39" y="178"/>
                    </a:lnTo>
                    <a:lnTo>
                      <a:pt x="39" y="178"/>
                    </a:lnTo>
                    <a:lnTo>
                      <a:pt x="41" y="178"/>
                    </a:lnTo>
                    <a:lnTo>
                      <a:pt x="41" y="178"/>
                    </a:lnTo>
                    <a:lnTo>
                      <a:pt x="43" y="178"/>
                    </a:lnTo>
                    <a:lnTo>
                      <a:pt x="44" y="178"/>
                    </a:lnTo>
                    <a:lnTo>
                      <a:pt x="46" y="178"/>
                    </a:lnTo>
                    <a:lnTo>
                      <a:pt x="47" y="175"/>
                    </a:lnTo>
                    <a:lnTo>
                      <a:pt x="50" y="170"/>
                    </a:lnTo>
                    <a:lnTo>
                      <a:pt x="54" y="169"/>
                    </a:lnTo>
                    <a:lnTo>
                      <a:pt x="57" y="167"/>
                    </a:lnTo>
                    <a:lnTo>
                      <a:pt x="58" y="165"/>
                    </a:lnTo>
                    <a:lnTo>
                      <a:pt x="58" y="164"/>
                    </a:lnTo>
                    <a:lnTo>
                      <a:pt x="60" y="164"/>
                    </a:lnTo>
                    <a:lnTo>
                      <a:pt x="63" y="162"/>
                    </a:lnTo>
                    <a:lnTo>
                      <a:pt x="64" y="162"/>
                    </a:lnTo>
                    <a:lnTo>
                      <a:pt x="66" y="159"/>
                    </a:lnTo>
                    <a:lnTo>
                      <a:pt x="69" y="153"/>
                    </a:lnTo>
                    <a:lnTo>
                      <a:pt x="71" y="148"/>
                    </a:lnTo>
                    <a:lnTo>
                      <a:pt x="71" y="145"/>
                    </a:lnTo>
                    <a:lnTo>
                      <a:pt x="71" y="136"/>
                    </a:lnTo>
                    <a:lnTo>
                      <a:pt x="71" y="133"/>
                    </a:lnTo>
                    <a:lnTo>
                      <a:pt x="71" y="131"/>
                    </a:lnTo>
                    <a:lnTo>
                      <a:pt x="71" y="129"/>
                    </a:lnTo>
                    <a:lnTo>
                      <a:pt x="74" y="128"/>
                    </a:lnTo>
                    <a:lnTo>
                      <a:pt x="75" y="125"/>
                    </a:lnTo>
                    <a:lnTo>
                      <a:pt x="77" y="123"/>
                    </a:lnTo>
                    <a:lnTo>
                      <a:pt x="80" y="117"/>
                    </a:lnTo>
                    <a:lnTo>
                      <a:pt x="82" y="115"/>
                    </a:lnTo>
                    <a:lnTo>
                      <a:pt x="82" y="114"/>
                    </a:lnTo>
                    <a:lnTo>
                      <a:pt x="83" y="112"/>
                    </a:lnTo>
                    <a:lnTo>
                      <a:pt x="86" y="112"/>
                    </a:lnTo>
                    <a:lnTo>
                      <a:pt x="90" y="111"/>
                    </a:lnTo>
                    <a:lnTo>
                      <a:pt x="94" y="106"/>
                    </a:lnTo>
                    <a:lnTo>
                      <a:pt x="97" y="103"/>
                    </a:lnTo>
                    <a:lnTo>
                      <a:pt x="97" y="98"/>
                    </a:lnTo>
                    <a:lnTo>
                      <a:pt x="97" y="93"/>
                    </a:lnTo>
                    <a:lnTo>
                      <a:pt x="100" y="89"/>
                    </a:lnTo>
                    <a:lnTo>
                      <a:pt x="100" y="84"/>
                    </a:lnTo>
                    <a:lnTo>
                      <a:pt x="100" y="78"/>
                    </a:lnTo>
                    <a:lnTo>
                      <a:pt x="100" y="73"/>
                    </a:lnTo>
                    <a:lnTo>
                      <a:pt x="102" y="68"/>
                    </a:lnTo>
                    <a:lnTo>
                      <a:pt x="104" y="67"/>
                    </a:lnTo>
                    <a:lnTo>
                      <a:pt x="104" y="64"/>
                    </a:lnTo>
                    <a:lnTo>
                      <a:pt x="104" y="57"/>
                    </a:lnTo>
                    <a:lnTo>
                      <a:pt x="105" y="51"/>
                    </a:lnTo>
                    <a:lnTo>
                      <a:pt x="108" y="46"/>
                    </a:lnTo>
                    <a:lnTo>
                      <a:pt x="110" y="42"/>
                    </a:lnTo>
                    <a:lnTo>
                      <a:pt x="111" y="39"/>
                    </a:lnTo>
                    <a:lnTo>
                      <a:pt x="113" y="36"/>
                    </a:lnTo>
                    <a:lnTo>
                      <a:pt x="113" y="32"/>
                    </a:lnTo>
                    <a:lnTo>
                      <a:pt x="113" y="29"/>
                    </a:lnTo>
                    <a:lnTo>
                      <a:pt x="113" y="25"/>
                    </a:lnTo>
                    <a:lnTo>
                      <a:pt x="113" y="21"/>
                    </a:lnTo>
                    <a:lnTo>
                      <a:pt x="111" y="18"/>
                    </a:lnTo>
                    <a:lnTo>
                      <a:pt x="113" y="17"/>
                    </a:lnTo>
                    <a:lnTo>
                      <a:pt x="115" y="17"/>
                    </a:lnTo>
                    <a:lnTo>
                      <a:pt x="116" y="14"/>
                    </a:lnTo>
                    <a:lnTo>
                      <a:pt x="121" y="7"/>
                    </a:lnTo>
                    <a:lnTo>
                      <a:pt x="125" y="4"/>
                    </a:lnTo>
                    <a:lnTo>
                      <a:pt x="129" y="3"/>
                    </a:lnTo>
                    <a:lnTo>
                      <a:pt x="132" y="3"/>
                    </a:lnTo>
                    <a:lnTo>
                      <a:pt x="133" y="4"/>
                    </a:lnTo>
                    <a:lnTo>
                      <a:pt x="135" y="6"/>
                    </a:lnTo>
                    <a:lnTo>
                      <a:pt x="136" y="6"/>
                    </a:lnTo>
                    <a:lnTo>
                      <a:pt x="141" y="9"/>
                    </a:lnTo>
                    <a:lnTo>
                      <a:pt x="144" y="11"/>
                    </a:lnTo>
                    <a:lnTo>
                      <a:pt x="146" y="14"/>
                    </a:lnTo>
                    <a:lnTo>
                      <a:pt x="147" y="15"/>
                    </a:lnTo>
                    <a:lnTo>
                      <a:pt x="149" y="15"/>
                    </a:lnTo>
                    <a:lnTo>
                      <a:pt x="150" y="15"/>
                    </a:lnTo>
                    <a:lnTo>
                      <a:pt x="154" y="15"/>
                    </a:lnTo>
                    <a:lnTo>
                      <a:pt x="157" y="17"/>
                    </a:lnTo>
                    <a:lnTo>
                      <a:pt x="158" y="18"/>
                    </a:lnTo>
                    <a:lnTo>
                      <a:pt x="160" y="17"/>
                    </a:lnTo>
                    <a:lnTo>
                      <a:pt x="160" y="18"/>
                    </a:lnTo>
                    <a:lnTo>
                      <a:pt x="165" y="18"/>
                    </a:lnTo>
                    <a:lnTo>
                      <a:pt x="166" y="18"/>
                    </a:lnTo>
                    <a:lnTo>
                      <a:pt x="171" y="18"/>
                    </a:lnTo>
                    <a:lnTo>
                      <a:pt x="180" y="21"/>
                    </a:lnTo>
                    <a:lnTo>
                      <a:pt x="180" y="20"/>
                    </a:lnTo>
                    <a:lnTo>
                      <a:pt x="180" y="20"/>
                    </a:lnTo>
                    <a:lnTo>
                      <a:pt x="180" y="20"/>
                    </a:lnTo>
                    <a:lnTo>
                      <a:pt x="183" y="15"/>
                    </a:lnTo>
                    <a:lnTo>
                      <a:pt x="185" y="12"/>
                    </a:lnTo>
                    <a:lnTo>
                      <a:pt x="185" y="12"/>
                    </a:lnTo>
                    <a:lnTo>
                      <a:pt x="186" y="11"/>
                    </a:lnTo>
                    <a:lnTo>
                      <a:pt x="190" y="11"/>
                    </a:lnTo>
                    <a:lnTo>
                      <a:pt x="191" y="11"/>
                    </a:lnTo>
                    <a:lnTo>
                      <a:pt x="193" y="11"/>
                    </a:lnTo>
                    <a:lnTo>
                      <a:pt x="196" y="12"/>
                    </a:lnTo>
                    <a:lnTo>
                      <a:pt x="197" y="12"/>
                    </a:lnTo>
                    <a:lnTo>
                      <a:pt x="199" y="11"/>
                    </a:lnTo>
                    <a:lnTo>
                      <a:pt x="202" y="9"/>
                    </a:lnTo>
                    <a:lnTo>
                      <a:pt x="205" y="9"/>
                    </a:lnTo>
                    <a:lnTo>
                      <a:pt x="207" y="7"/>
                    </a:lnTo>
                    <a:lnTo>
                      <a:pt x="211" y="6"/>
                    </a:lnTo>
                    <a:lnTo>
                      <a:pt x="213" y="6"/>
                    </a:lnTo>
                    <a:lnTo>
                      <a:pt x="215" y="6"/>
                    </a:lnTo>
                    <a:lnTo>
                      <a:pt x="221" y="7"/>
                    </a:lnTo>
                    <a:lnTo>
                      <a:pt x="224" y="6"/>
                    </a:lnTo>
                    <a:lnTo>
                      <a:pt x="226" y="6"/>
                    </a:lnTo>
                    <a:lnTo>
                      <a:pt x="229" y="6"/>
                    </a:lnTo>
                    <a:lnTo>
                      <a:pt x="230" y="4"/>
                    </a:lnTo>
                    <a:lnTo>
                      <a:pt x="232" y="1"/>
                    </a:lnTo>
                    <a:lnTo>
                      <a:pt x="233" y="0"/>
                    </a:lnTo>
                    <a:lnTo>
                      <a:pt x="236" y="1"/>
                    </a:lnTo>
                    <a:lnTo>
                      <a:pt x="240" y="1"/>
                    </a:lnTo>
                    <a:lnTo>
                      <a:pt x="246" y="3"/>
                    </a:lnTo>
                    <a:lnTo>
                      <a:pt x="254" y="4"/>
                    </a:lnTo>
                    <a:lnTo>
                      <a:pt x="255" y="4"/>
                    </a:lnTo>
                    <a:lnTo>
                      <a:pt x="257" y="4"/>
                    </a:lnTo>
                    <a:lnTo>
                      <a:pt x="257" y="4"/>
                    </a:lnTo>
                    <a:lnTo>
                      <a:pt x="260" y="3"/>
                    </a:lnTo>
                    <a:lnTo>
                      <a:pt x="261" y="3"/>
                    </a:lnTo>
                    <a:lnTo>
                      <a:pt x="261" y="3"/>
                    </a:lnTo>
                    <a:lnTo>
                      <a:pt x="266"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3" name="Freeform 40">
                <a:extLst>
                  <a:ext uri="{FF2B5EF4-FFF2-40B4-BE49-F238E27FC236}">
                    <a16:creationId xmlns:a16="http://schemas.microsoft.com/office/drawing/2014/main" id="{109652DC-39A4-719D-7519-5D5626461AFF}"/>
                  </a:ext>
                </a:extLst>
              </p:cNvPr>
              <p:cNvSpPr>
                <a:spLocks/>
              </p:cNvSpPr>
              <p:nvPr/>
            </p:nvSpPr>
            <p:spPr bwMode="gray">
              <a:xfrm>
                <a:off x="2928" y="1383"/>
                <a:ext cx="227" cy="154"/>
              </a:xfrm>
              <a:custGeom>
                <a:avLst/>
                <a:gdLst>
                  <a:gd name="T0" fmla="*/ 158 w 227"/>
                  <a:gd name="T1" fmla="*/ 16 h 154"/>
                  <a:gd name="T2" fmla="*/ 162 w 227"/>
                  <a:gd name="T3" fmla="*/ 32 h 154"/>
                  <a:gd name="T4" fmla="*/ 160 w 227"/>
                  <a:gd name="T5" fmla="*/ 40 h 154"/>
                  <a:gd name="T6" fmla="*/ 171 w 227"/>
                  <a:gd name="T7" fmla="*/ 43 h 154"/>
                  <a:gd name="T8" fmla="*/ 176 w 227"/>
                  <a:gd name="T9" fmla="*/ 49 h 154"/>
                  <a:gd name="T10" fmla="*/ 190 w 227"/>
                  <a:gd name="T11" fmla="*/ 60 h 154"/>
                  <a:gd name="T12" fmla="*/ 201 w 227"/>
                  <a:gd name="T13" fmla="*/ 71 h 154"/>
                  <a:gd name="T14" fmla="*/ 208 w 227"/>
                  <a:gd name="T15" fmla="*/ 82 h 154"/>
                  <a:gd name="T16" fmla="*/ 213 w 227"/>
                  <a:gd name="T17" fmla="*/ 88 h 154"/>
                  <a:gd name="T18" fmla="*/ 224 w 227"/>
                  <a:gd name="T19" fmla="*/ 94 h 154"/>
                  <a:gd name="T20" fmla="*/ 227 w 227"/>
                  <a:gd name="T21" fmla="*/ 105 h 154"/>
                  <a:gd name="T22" fmla="*/ 216 w 227"/>
                  <a:gd name="T23" fmla="*/ 105 h 154"/>
                  <a:gd name="T24" fmla="*/ 193 w 227"/>
                  <a:gd name="T25" fmla="*/ 102 h 154"/>
                  <a:gd name="T26" fmla="*/ 176 w 227"/>
                  <a:gd name="T27" fmla="*/ 107 h 154"/>
                  <a:gd name="T28" fmla="*/ 160 w 227"/>
                  <a:gd name="T29" fmla="*/ 112 h 154"/>
                  <a:gd name="T30" fmla="*/ 147 w 227"/>
                  <a:gd name="T31" fmla="*/ 112 h 154"/>
                  <a:gd name="T32" fmla="*/ 141 w 227"/>
                  <a:gd name="T33" fmla="*/ 121 h 154"/>
                  <a:gd name="T34" fmla="*/ 121 w 227"/>
                  <a:gd name="T35" fmla="*/ 118 h 154"/>
                  <a:gd name="T36" fmla="*/ 108 w 227"/>
                  <a:gd name="T37" fmla="*/ 116 h 154"/>
                  <a:gd name="T38" fmla="*/ 94 w 227"/>
                  <a:gd name="T39" fmla="*/ 105 h 154"/>
                  <a:gd name="T40" fmla="*/ 76 w 227"/>
                  <a:gd name="T41" fmla="*/ 118 h 154"/>
                  <a:gd name="T42" fmla="*/ 74 w 227"/>
                  <a:gd name="T43" fmla="*/ 133 h 154"/>
                  <a:gd name="T44" fmla="*/ 66 w 227"/>
                  <a:gd name="T45" fmla="*/ 133 h 154"/>
                  <a:gd name="T46" fmla="*/ 61 w 227"/>
                  <a:gd name="T47" fmla="*/ 132 h 154"/>
                  <a:gd name="T48" fmla="*/ 51 w 227"/>
                  <a:gd name="T49" fmla="*/ 130 h 154"/>
                  <a:gd name="T50" fmla="*/ 38 w 227"/>
                  <a:gd name="T51" fmla="*/ 133 h 154"/>
                  <a:gd name="T52" fmla="*/ 36 w 227"/>
                  <a:gd name="T53" fmla="*/ 143 h 154"/>
                  <a:gd name="T54" fmla="*/ 30 w 227"/>
                  <a:gd name="T55" fmla="*/ 152 h 154"/>
                  <a:gd name="T56" fmla="*/ 29 w 227"/>
                  <a:gd name="T57" fmla="*/ 146 h 154"/>
                  <a:gd name="T58" fmla="*/ 25 w 227"/>
                  <a:gd name="T59" fmla="*/ 140 h 154"/>
                  <a:gd name="T60" fmla="*/ 16 w 227"/>
                  <a:gd name="T61" fmla="*/ 132 h 154"/>
                  <a:gd name="T62" fmla="*/ 11 w 227"/>
                  <a:gd name="T63" fmla="*/ 124 h 154"/>
                  <a:gd name="T64" fmla="*/ 8 w 227"/>
                  <a:gd name="T65" fmla="*/ 116 h 154"/>
                  <a:gd name="T66" fmla="*/ 4 w 227"/>
                  <a:gd name="T67" fmla="*/ 102 h 154"/>
                  <a:gd name="T68" fmla="*/ 4 w 227"/>
                  <a:gd name="T69" fmla="*/ 97 h 154"/>
                  <a:gd name="T70" fmla="*/ 0 w 227"/>
                  <a:gd name="T71" fmla="*/ 90 h 154"/>
                  <a:gd name="T72" fmla="*/ 5 w 227"/>
                  <a:gd name="T73" fmla="*/ 85 h 154"/>
                  <a:gd name="T74" fmla="*/ 11 w 227"/>
                  <a:gd name="T75" fmla="*/ 76 h 154"/>
                  <a:gd name="T76" fmla="*/ 16 w 227"/>
                  <a:gd name="T77" fmla="*/ 65 h 154"/>
                  <a:gd name="T78" fmla="*/ 29 w 227"/>
                  <a:gd name="T79" fmla="*/ 61 h 154"/>
                  <a:gd name="T80" fmla="*/ 38 w 227"/>
                  <a:gd name="T81" fmla="*/ 57 h 154"/>
                  <a:gd name="T82" fmla="*/ 43 w 227"/>
                  <a:gd name="T83" fmla="*/ 60 h 154"/>
                  <a:gd name="T84" fmla="*/ 54 w 227"/>
                  <a:gd name="T85" fmla="*/ 55 h 154"/>
                  <a:gd name="T86" fmla="*/ 72 w 227"/>
                  <a:gd name="T87" fmla="*/ 54 h 154"/>
                  <a:gd name="T88" fmla="*/ 80 w 227"/>
                  <a:gd name="T89" fmla="*/ 44 h 154"/>
                  <a:gd name="T90" fmla="*/ 79 w 227"/>
                  <a:gd name="T91" fmla="*/ 40 h 154"/>
                  <a:gd name="T92" fmla="*/ 83 w 227"/>
                  <a:gd name="T93" fmla="*/ 36 h 154"/>
                  <a:gd name="T94" fmla="*/ 99 w 227"/>
                  <a:gd name="T95" fmla="*/ 33 h 154"/>
                  <a:gd name="T96" fmla="*/ 111 w 227"/>
                  <a:gd name="T97" fmla="*/ 29 h 154"/>
                  <a:gd name="T98" fmla="*/ 122 w 227"/>
                  <a:gd name="T99" fmla="*/ 19 h 154"/>
                  <a:gd name="T100" fmla="*/ 129 w 227"/>
                  <a:gd name="T101" fmla="*/ 11 h 154"/>
                  <a:gd name="T102" fmla="*/ 132 w 227"/>
                  <a:gd name="T103" fmla="*/ 5 h 154"/>
                  <a:gd name="T104" fmla="*/ 137 w 227"/>
                  <a:gd name="T105" fmla="*/ 2 h 154"/>
                  <a:gd name="T106" fmla="*/ 147 w 227"/>
                  <a:gd name="T107"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154">
                    <a:moveTo>
                      <a:pt x="147" y="2"/>
                    </a:moveTo>
                    <a:lnTo>
                      <a:pt x="149" y="5"/>
                    </a:lnTo>
                    <a:lnTo>
                      <a:pt x="151" y="5"/>
                    </a:lnTo>
                    <a:lnTo>
                      <a:pt x="155" y="10"/>
                    </a:lnTo>
                    <a:lnTo>
                      <a:pt x="157" y="11"/>
                    </a:lnTo>
                    <a:lnTo>
                      <a:pt x="158" y="16"/>
                    </a:lnTo>
                    <a:lnTo>
                      <a:pt x="160" y="18"/>
                    </a:lnTo>
                    <a:lnTo>
                      <a:pt x="162" y="22"/>
                    </a:lnTo>
                    <a:lnTo>
                      <a:pt x="162" y="24"/>
                    </a:lnTo>
                    <a:lnTo>
                      <a:pt x="162" y="25"/>
                    </a:lnTo>
                    <a:lnTo>
                      <a:pt x="162" y="30"/>
                    </a:lnTo>
                    <a:lnTo>
                      <a:pt x="162" y="32"/>
                    </a:lnTo>
                    <a:lnTo>
                      <a:pt x="158" y="35"/>
                    </a:lnTo>
                    <a:lnTo>
                      <a:pt x="158" y="35"/>
                    </a:lnTo>
                    <a:lnTo>
                      <a:pt x="158" y="36"/>
                    </a:lnTo>
                    <a:lnTo>
                      <a:pt x="160" y="36"/>
                    </a:lnTo>
                    <a:lnTo>
                      <a:pt x="160" y="38"/>
                    </a:lnTo>
                    <a:lnTo>
                      <a:pt x="160" y="40"/>
                    </a:lnTo>
                    <a:lnTo>
                      <a:pt x="162" y="41"/>
                    </a:lnTo>
                    <a:lnTo>
                      <a:pt x="163" y="41"/>
                    </a:lnTo>
                    <a:lnTo>
                      <a:pt x="166" y="41"/>
                    </a:lnTo>
                    <a:lnTo>
                      <a:pt x="169" y="41"/>
                    </a:lnTo>
                    <a:lnTo>
                      <a:pt x="171" y="43"/>
                    </a:lnTo>
                    <a:lnTo>
                      <a:pt x="171" y="43"/>
                    </a:lnTo>
                    <a:lnTo>
                      <a:pt x="172" y="43"/>
                    </a:lnTo>
                    <a:lnTo>
                      <a:pt x="171" y="46"/>
                    </a:lnTo>
                    <a:lnTo>
                      <a:pt x="172" y="47"/>
                    </a:lnTo>
                    <a:lnTo>
                      <a:pt x="172" y="49"/>
                    </a:lnTo>
                    <a:lnTo>
                      <a:pt x="174" y="49"/>
                    </a:lnTo>
                    <a:lnTo>
                      <a:pt x="176" y="49"/>
                    </a:lnTo>
                    <a:lnTo>
                      <a:pt x="180" y="50"/>
                    </a:lnTo>
                    <a:lnTo>
                      <a:pt x="183" y="52"/>
                    </a:lnTo>
                    <a:lnTo>
                      <a:pt x="187" y="55"/>
                    </a:lnTo>
                    <a:lnTo>
                      <a:pt x="190" y="57"/>
                    </a:lnTo>
                    <a:lnTo>
                      <a:pt x="190" y="58"/>
                    </a:lnTo>
                    <a:lnTo>
                      <a:pt x="190" y="60"/>
                    </a:lnTo>
                    <a:lnTo>
                      <a:pt x="188" y="61"/>
                    </a:lnTo>
                    <a:lnTo>
                      <a:pt x="190" y="63"/>
                    </a:lnTo>
                    <a:lnTo>
                      <a:pt x="191" y="65"/>
                    </a:lnTo>
                    <a:lnTo>
                      <a:pt x="193" y="66"/>
                    </a:lnTo>
                    <a:lnTo>
                      <a:pt x="196" y="68"/>
                    </a:lnTo>
                    <a:lnTo>
                      <a:pt x="201" y="71"/>
                    </a:lnTo>
                    <a:lnTo>
                      <a:pt x="204" y="72"/>
                    </a:lnTo>
                    <a:lnTo>
                      <a:pt x="205" y="74"/>
                    </a:lnTo>
                    <a:lnTo>
                      <a:pt x="207" y="76"/>
                    </a:lnTo>
                    <a:lnTo>
                      <a:pt x="208" y="77"/>
                    </a:lnTo>
                    <a:lnTo>
                      <a:pt x="210" y="79"/>
                    </a:lnTo>
                    <a:lnTo>
                      <a:pt x="208" y="82"/>
                    </a:lnTo>
                    <a:lnTo>
                      <a:pt x="208" y="82"/>
                    </a:lnTo>
                    <a:lnTo>
                      <a:pt x="210" y="83"/>
                    </a:lnTo>
                    <a:lnTo>
                      <a:pt x="210" y="85"/>
                    </a:lnTo>
                    <a:lnTo>
                      <a:pt x="212" y="86"/>
                    </a:lnTo>
                    <a:lnTo>
                      <a:pt x="212" y="88"/>
                    </a:lnTo>
                    <a:lnTo>
                      <a:pt x="213" y="88"/>
                    </a:lnTo>
                    <a:lnTo>
                      <a:pt x="216" y="90"/>
                    </a:lnTo>
                    <a:lnTo>
                      <a:pt x="218" y="90"/>
                    </a:lnTo>
                    <a:lnTo>
                      <a:pt x="219" y="91"/>
                    </a:lnTo>
                    <a:lnTo>
                      <a:pt x="222" y="93"/>
                    </a:lnTo>
                    <a:lnTo>
                      <a:pt x="224" y="94"/>
                    </a:lnTo>
                    <a:lnTo>
                      <a:pt x="224" y="94"/>
                    </a:lnTo>
                    <a:lnTo>
                      <a:pt x="224" y="96"/>
                    </a:lnTo>
                    <a:lnTo>
                      <a:pt x="224" y="97"/>
                    </a:lnTo>
                    <a:lnTo>
                      <a:pt x="226" y="99"/>
                    </a:lnTo>
                    <a:lnTo>
                      <a:pt x="226" y="102"/>
                    </a:lnTo>
                    <a:lnTo>
                      <a:pt x="227" y="104"/>
                    </a:lnTo>
                    <a:lnTo>
                      <a:pt x="227" y="105"/>
                    </a:lnTo>
                    <a:lnTo>
                      <a:pt x="222" y="104"/>
                    </a:lnTo>
                    <a:lnTo>
                      <a:pt x="222" y="104"/>
                    </a:lnTo>
                    <a:lnTo>
                      <a:pt x="221" y="104"/>
                    </a:lnTo>
                    <a:lnTo>
                      <a:pt x="218" y="105"/>
                    </a:lnTo>
                    <a:lnTo>
                      <a:pt x="218" y="105"/>
                    </a:lnTo>
                    <a:lnTo>
                      <a:pt x="216" y="105"/>
                    </a:lnTo>
                    <a:lnTo>
                      <a:pt x="215" y="105"/>
                    </a:lnTo>
                    <a:lnTo>
                      <a:pt x="207" y="104"/>
                    </a:lnTo>
                    <a:lnTo>
                      <a:pt x="201" y="102"/>
                    </a:lnTo>
                    <a:lnTo>
                      <a:pt x="197" y="102"/>
                    </a:lnTo>
                    <a:lnTo>
                      <a:pt x="194" y="101"/>
                    </a:lnTo>
                    <a:lnTo>
                      <a:pt x="193" y="102"/>
                    </a:lnTo>
                    <a:lnTo>
                      <a:pt x="191" y="105"/>
                    </a:lnTo>
                    <a:lnTo>
                      <a:pt x="190" y="107"/>
                    </a:lnTo>
                    <a:lnTo>
                      <a:pt x="187" y="107"/>
                    </a:lnTo>
                    <a:lnTo>
                      <a:pt x="185" y="107"/>
                    </a:lnTo>
                    <a:lnTo>
                      <a:pt x="182" y="108"/>
                    </a:lnTo>
                    <a:lnTo>
                      <a:pt x="176" y="107"/>
                    </a:lnTo>
                    <a:lnTo>
                      <a:pt x="174" y="107"/>
                    </a:lnTo>
                    <a:lnTo>
                      <a:pt x="172" y="107"/>
                    </a:lnTo>
                    <a:lnTo>
                      <a:pt x="168" y="108"/>
                    </a:lnTo>
                    <a:lnTo>
                      <a:pt x="166" y="110"/>
                    </a:lnTo>
                    <a:lnTo>
                      <a:pt x="163" y="110"/>
                    </a:lnTo>
                    <a:lnTo>
                      <a:pt x="160" y="112"/>
                    </a:lnTo>
                    <a:lnTo>
                      <a:pt x="158" y="113"/>
                    </a:lnTo>
                    <a:lnTo>
                      <a:pt x="157" y="113"/>
                    </a:lnTo>
                    <a:lnTo>
                      <a:pt x="154" y="112"/>
                    </a:lnTo>
                    <a:lnTo>
                      <a:pt x="152" y="112"/>
                    </a:lnTo>
                    <a:lnTo>
                      <a:pt x="151" y="112"/>
                    </a:lnTo>
                    <a:lnTo>
                      <a:pt x="147" y="112"/>
                    </a:lnTo>
                    <a:lnTo>
                      <a:pt x="146" y="113"/>
                    </a:lnTo>
                    <a:lnTo>
                      <a:pt x="146" y="113"/>
                    </a:lnTo>
                    <a:lnTo>
                      <a:pt x="144" y="116"/>
                    </a:lnTo>
                    <a:lnTo>
                      <a:pt x="141" y="121"/>
                    </a:lnTo>
                    <a:lnTo>
                      <a:pt x="141" y="121"/>
                    </a:lnTo>
                    <a:lnTo>
                      <a:pt x="141" y="121"/>
                    </a:lnTo>
                    <a:lnTo>
                      <a:pt x="141" y="122"/>
                    </a:lnTo>
                    <a:lnTo>
                      <a:pt x="132" y="119"/>
                    </a:lnTo>
                    <a:lnTo>
                      <a:pt x="127" y="119"/>
                    </a:lnTo>
                    <a:lnTo>
                      <a:pt x="126" y="119"/>
                    </a:lnTo>
                    <a:lnTo>
                      <a:pt x="121" y="119"/>
                    </a:lnTo>
                    <a:lnTo>
                      <a:pt x="121" y="118"/>
                    </a:lnTo>
                    <a:lnTo>
                      <a:pt x="119" y="119"/>
                    </a:lnTo>
                    <a:lnTo>
                      <a:pt x="118" y="118"/>
                    </a:lnTo>
                    <a:lnTo>
                      <a:pt x="115" y="116"/>
                    </a:lnTo>
                    <a:lnTo>
                      <a:pt x="111" y="116"/>
                    </a:lnTo>
                    <a:lnTo>
                      <a:pt x="110" y="116"/>
                    </a:lnTo>
                    <a:lnTo>
                      <a:pt x="108" y="116"/>
                    </a:lnTo>
                    <a:lnTo>
                      <a:pt x="107" y="115"/>
                    </a:lnTo>
                    <a:lnTo>
                      <a:pt x="105" y="112"/>
                    </a:lnTo>
                    <a:lnTo>
                      <a:pt x="102" y="110"/>
                    </a:lnTo>
                    <a:lnTo>
                      <a:pt x="97" y="107"/>
                    </a:lnTo>
                    <a:lnTo>
                      <a:pt x="96" y="107"/>
                    </a:lnTo>
                    <a:lnTo>
                      <a:pt x="94" y="105"/>
                    </a:lnTo>
                    <a:lnTo>
                      <a:pt x="93" y="104"/>
                    </a:lnTo>
                    <a:lnTo>
                      <a:pt x="90" y="104"/>
                    </a:lnTo>
                    <a:lnTo>
                      <a:pt x="86" y="105"/>
                    </a:lnTo>
                    <a:lnTo>
                      <a:pt x="82" y="108"/>
                    </a:lnTo>
                    <a:lnTo>
                      <a:pt x="77" y="115"/>
                    </a:lnTo>
                    <a:lnTo>
                      <a:pt x="76" y="118"/>
                    </a:lnTo>
                    <a:lnTo>
                      <a:pt x="74" y="118"/>
                    </a:lnTo>
                    <a:lnTo>
                      <a:pt x="72" y="119"/>
                    </a:lnTo>
                    <a:lnTo>
                      <a:pt x="74" y="122"/>
                    </a:lnTo>
                    <a:lnTo>
                      <a:pt x="74" y="126"/>
                    </a:lnTo>
                    <a:lnTo>
                      <a:pt x="74" y="130"/>
                    </a:lnTo>
                    <a:lnTo>
                      <a:pt x="74" y="133"/>
                    </a:lnTo>
                    <a:lnTo>
                      <a:pt x="72" y="133"/>
                    </a:lnTo>
                    <a:lnTo>
                      <a:pt x="71" y="130"/>
                    </a:lnTo>
                    <a:lnTo>
                      <a:pt x="71" y="130"/>
                    </a:lnTo>
                    <a:lnTo>
                      <a:pt x="68" y="132"/>
                    </a:lnTo>
                    <a:lnTo>
                      <a:pt x="68" y="132"/>
                    </a:lnTo>
                    <a:lnTo>
                      <a:pt x="66" y="133"/>
                    </a:lnTo>
                    <a:lnTo>
                      <a:pt x="66" y="133"/>
                    </a:lnTo>
                    <a:lnTo>
                      <a:pt x="65" y="132"/>
                    </a:lnTo>
                    <a:lnTo>
                      <a:pt x="65" y="132"/>
                    </a:lnTo>
                    <a:lnTo>
                      <a:pt x="63" y="132"/>
                    </a:lnTo>
                    <a:lnTo>
                      <a:pt x="61" y="132"/>
                    </a:lnTo>
                    <a:lnTo>
                      <a:pt x="61" y="132"/>
                    </a:lnTo>
                    <a:lnTo>
                      <a:pt x="61" y="132"/>
                    </a:lnTo>
                    <a:lnTo>
                      <a:pt x="60" y="132"/>
                    </a:lnTo>
                    <a:lnTo>
                      <a:pt x="55" y="130"/>
                    </a:lnTo>
                    <a:lnTo>
                      <a:pt x="54" y="130"/>
                    </a:lnTo>
                    <a:lnTo>
                      <a:pt x="54" y="130"/>
                    </a:lnTo>
                    <a:lnTo>
                      <a:pt x="51" y="130"/>
                    </a:lnTo>
                    <a:lnTo>
                      <a:pt x="49" y="132"/>
                    </a:lnTo>
                    <a:lnTo>
                      <a:pt x="46" y="132"/>
                    </a:lnTo>
                    <a:lnTo>
                      <a:pt x="41" y="132"/>
                    </a:lnTo>
                    <a:lnTo>
                      <a:pt x="40" y="132"/>
                    </a:lnTo>
                    <a:lnTo>
                      <a:pt x="38" y="133"/>
                    </a:lnTo>
                    <a:lnTo>
                      <a:pt x="38" y="133"/>
                    </a:lnTo>
                    <a:lnTo>
                      <a:pt x="38" y="135"/>
                    </a:lnTo>
                    <a:lnTo>
                      <a:pt x="36" y="138"/>
                    </a:lnTo>
                    <a:lnTo>
                      <a:pt x="36" y="138"/>
                    </a:lnTo>
                    <a:lnTo>
                      <a:pt x="36" y="140"/>
                    </a:lnTo>
                    <a:lnTo>
                      <a:pt x="36" y="141"/>
                    </a:lnTo>
                    <a:lnTo>
                      <a:pt x="36" y="143"/>
                    </a:lnTo>
                    <a:lnTo>
                      <a:pt x="36" y="144"/>
                    </a:lnTo>
                    <a:lnTo>
                      <a:pt x="35" y="147"/>
                    </a:lnTo>
                    <a:lnTo>
                      <a:pt x="33" y="149"/>
                    </a:lnTo>
                    <a:lnTo>
                      <a:pt x="32" y="152"/>
                    </a:lnTo>
                    <a:lnTo>
                      <a:pt x="30" y="154"/>
                    </a:lnTo>
                    <a:lnTo>
                      <a:pt x="30" y="152"/>
                    </a:lnTo>
                    <a:lnTo>
                      <a:pt x="30" y="151"/>
                    </a:lnTo>
                    <a:lnTo>
                      <a:pt x="29" y="149"/>
                    </a:lnTo>
                    <a:lnTo>
                      <a:pt x="30" y="147"/>
                    </a:lnTo>
                    <a:lnTo>
                      <a:pt x="29" y="147"/>
                    </a:lnTo>
                    <a:lnTo>
                      <a:pt x="29" y="147"/>
                    </a:lnTo>
                    <a:lnTo>
                      <a:pt x="29" y="146"/>
                    </a:lnTo>
                    <a:lnTo>
                      <a:pt x="29" y="144"/>
                    </a:lnTo>
                    <a:lnTo>
                      <a:pt x="29" y="143"/>
                    </a:lnTo>
                    <a:lnTo>
                      <a:pt x="29" y="141"/>
                    </a:lnTo>
                    <a:lnTo>
                      <a:pt x="27" y="141"/>
                    </a:lnTo>
                    <a:lnTo>
                      <a:pt x="27" y="140"/>
                    </a:lnTo>
                    <a:lnTo>
                      <a:pt x="25" y="140"/>
                    </a:lnTo>
                    <a:lnTo>
                      <a:pt x="25" y="140"/>
                    </a:lnTo>
                    <a:lnTo>
                      <a:pt x="24" y="140"/>
                    </a:lnTo>
                    <a:lnTo>
                      <a:pt x="22" y="138"/>
                    </a:lnTo>
                    <a:lnTo>
                      <a:pt x="21" y="137"/>
                    </a:lnTo>
                    <a:lnTo>
                      <a:pt x="18" y="133"/>
                    </a:lnTo>
                    <a:lnTo>
                      <a:pt x="16" y="132"/>
                    </a:lnTo>
                    <a:lnTo>
                      <a:pt x="15" y="129"/>
                    </a:lnTo>
                    <a:lnTo>
                      <a:pt x="13" y="127"/>
                    </a:lnTo>
                    <a:lnTo>
                      <a:pt x="11" y="126"/>
                    </a:lnTo>
                    <a:lnTo>
                      <a:pt x="11" y="124"/>
                    </a:lnTo>
                    <a:lnTo>
                      <a:pt x="11" y="124"/>
                    </a:lnTo>
                    <a:lnTo>
                      <a:pt x="11" y="124"/>
                    </a:lnTo>
                    <a:lnTo>
                      <a:pt x="13" y="124"/>
                    </a:lnTo>
                    <a:lnTo>
                      <a:pt x="13" y="122"/>
                    </a:lnTo>
                    <a:lnTo>
                      <a:pt x="11" y="121"/>
                    </a:lnTo>
                    <a:lnTo>
                      <a:pt x="11" y="119"/>
                    </a:lnTo>
                    <a:lnTo>
                      <a:pt x="10" y="118"/>
                    </a:lnTo>
                    <a:lnTo>
                      <a:pt x="8" y="116"/>
                    </a:lnTo>
                    <a:lnTo>
                      <a:pt x="7" y="115"/>
                    </a:lnTo>
                    <a:lnTo>
                      <a:pt x="5" y="113"/>
                    </a:lnTo>
                    <a:lnTo>
                      <a:pt x="5" y="113"/>
                    </a:lnTo>
                    <a:lnTo>
                      <a:pt x="4" y="105"/>
                    </a:lnTo>
                    <a:lnTo>
                      <a:pt x="4" y="104"/>
                    </a:lnTo>
                    <a:lnTo>
                      <a:pt x="4" y="102"/>
                    </a:lnTo>
                    <a:lnTo>
                      <a:pt x="2" y="102"/>
                    </a:lnTo>
                    <a:lnTo>
                      <a:pt x="2" y="102"/>
                    </a:lnTo>
                    <a:lnTo>
                      <a:pt x="2" y="101"/>
                    </a:lnTo>
                    <a:lnTo>
                      <a:pt x="4" y="99"/>
                    </a:lnTo>
                    <a:lnTo>
                      <a:pt x="4" y="99"/>
                    </a:lnTo>
                    <a:lnTo>
                      <a:pt x="4" y="97"/>
                    </a:lnTo>
                    <a:lnTo>
                      <a:pt x="4" y="91"/>
                    </a:lnTo>
                    <a:lnTo>
                      <a:pt x="4" y="91"/>
                    </a:lnTo>
                    <a:lnTo>
                      <a:pt x="2" y="91"/>
                    </a:lnTo>
                    <a:lnTo>
                      <a:pt x="2" y="91"/>
                    </a:lnTo>
                    <a:lnTo>
                      <a:pt x="2" y="91"/>
                    </a:lnTo>
                    <a:lnTo>
                      <a:pt x="0" y="90"/>
                    </a:lnTo>
                    <a:lnTo>
                      <a:pt x="0" y="88"/>
                    </a:lnTo>
                    <a:lnTo>
                      <a:pt x="0" y="88"/>
                    </a:lnTo>
                    <a:lnTo>
                      <a:pt x="0" y="86"/>
                    </a:lnTo>
                    <a:lnTo>
                      <a:pt x="2" y="86"/>
                    </a:lnTo>
                    <a:lnTo>
                      <a:pt x="2" y="86"/>
                    </a:lnTo>
                    <a:lnTo>
                      <a:pt x="5" y="85"/>
                    </a:lnTo>
                    <a:lnTo>
                      <a:pt x="5" y="85"/>
                    </a:lnTo>
                    <a:lnTo>
                      <a:pt x="7" y="83"/>
                    </a:lnTo>
                    <a:lnTo>
                      <a:pt x="7" y="83"/>
                    </a:lnTo>
                    <a:lnTo>
                      <a:pt x="8" y="79"/>
                    </a:lnTo>
                    <a:lnTo>
                      <a:pt x="10" y="76"/>
                    </a:lnTo>
                    <a:lnTo>
                      <a:pt x="11" y="76"/>
                    </a:lnTo>
                    <a:lnTo>
                      <a:pt x="11" y="72"/>
                    </a:lnTo>
                    <a:lnTo>
                      <a:pt x="13" y="71"/>
                    </a:lnTo>
                    <a:lnTo>
                      <a:pt x="13" y="69"/>
                    </a:lnTo>
                    <a:lnTo>
                      <a:pt x="15" y="68"/>
                    </a:lnTo>
                    <a:lnTo>
                      <a:pt x="15" y="66"/>
                    </a:lnTo>
                    <a:lnTo>
                      <a:pt x="16" y="65"/>
                    </a:lnTo>
                    <a:lnTo>
                      <a:pt x="19" y="63"/>
                    </a:lnTo>
                    <a:lnTo>
                      <a:pt x="21" y="63"/>
                    </a:lnTo>
                    <a:lnTo>
                      <a:pt x="22" y="63"/>
                    </a:lnTo>
                    <a:lnTo>
                      <a:pt x="25" y="63"/>
                    </a:lnTo>
                    <a:lnTo>
                      <a:pt x="27" y="63"/>
                    </a:lnTo>
                    <a:lnTo>
                      <a:pt x="29" y="61"/>
                    </a:lnTo>
                    <a:lnTo>
                      <a:pt x="32" y="60"/>
                    </a:lnTo>
                    <a:lnTo>
                      <a:pt x="35" y="60"/>
                    </a:lnTo>
                    <a:lnTo>
                      <a:pt x="35" y="58"/>
                    </a:lnTo>
                    <a:lnTo>
                      <a:pt x="36" y="57"/>
                    </a:lnTo>
                    <a:lnTo>
                      <a:pt x="36" y="57"/>
                    </a:lnTo>
                    <a:lnTo>
                      <a:pt x="38" y="57"/>
                    </a:lnTo>
                    <a:lnTo>
                      <a:pt x="38" y="57"/>
                    </a:lnTo>
                    <a:lnTo>
                      <a:pt x="38" y="58"/>
                    </a:lnTo>
                    <a:lnTo>
                      <a:pt x="40" y="60"/>
                    </a:lnTo>
                    <a:lnTo>
                      <a:pt x="41" y="61"/>
                    </a:lnTo>
                    <a:lnTo>
                      <a:pt x="43" y="61"/>
                    </a:lnTo>
                    <a:lnTo>
                      <a:pt x="43" y="60"/>
                    </a:lnTo>
                    <a:lnTo>
                      <a:pt x="46" y="60"/>
                    </a:lnTo>
                    <a:lnTo>
                      <a:pt x="47" y="60"/>
                    </a:lnTo>
                    <a:lnTo>
                      <a:pt x="49" y="57"/>
                    </a:lnTo>
                    <a:lnTo>
                      <a:pt x="52" y="55"/>
                    </a:lnTo>
                    <a:lnTo>
                      <a:pt x="54" y="55"/>
                    </a:lnTo>
                    <a:lnTo>
                      <a:pt x="54" y="55"/>
                    </a:lnTo>
                    <a:lnTo>
                      <a:pt x="57" y="54"/>
                    </a:lnTo>
                    <a:lnTo>
                      <a:pt x="58" y="54"/>
                    </a:lnTo>
                    <a:lnTo>
                      <a:pt x="61" y="54"/>
                    </a:lnTo>
                    <a:lnTo>
                      <a:pt x="68" y="54"/>
                    </a:lnTo>
                    <a:lnTo>
                      <a:pt x="71" y="54"/>
                    </a:lnTo>
                    <a:lnTo>
                      <a:pt x="72" y="54"/>
                    </a:lnTo>
                    <a:lnTo>
                      <a:pt x="74" y="52"/>
                    </a:lnTo>
                    <a:lnTo>
                      <a:pt x="74" y="50"/>
                    </a:lnTo>
                    <a:lnTo>
                      <a:pt x="74" y="50"/>
                    </a:lnTo>
                    <a:lnTo>
                      <a:pt x="76" y="49"/>
                    </a:lnTo>
                    <a:lnTo>
                      <a:pt x="79" y="47"/>
                    </a:lnTo>
                    <a:lnTo>
                      <a:pt x="80" y="44"/>
                    </a:lnTo>
                    <a:lnTo>
                      <a:pt x="82" y="44"/>
                    </a:lnTo>
                    <a:lnTo>
                      <a:pt x="82" y="44"/>
                    </a:lnTo>
                    <a:lnTo>
                      <a:pt x="82" y="43"/>
                    </a:lnTo>
                    <a:lnTo>
                      <a:pt x="82" y="43"/>
                    </a:lnTo>
                    <a:lnTo>
                      <a:pt x="82" y="41"/>
                    </a:lnTo>
                    <a:lnTo>
                      <a:pt x="79" y="40"/>
                    </a:lnTo>
                    <a:lnTo>
                      <a:pt x="79" y="40"/>
                    </a:lnTo>
                    <a:lnTo>
                      <a:pt x="79" y="38"/>
                    </a:lnTo>
                    <a:lnTo>
                      <a:pt x="79" y="38"/>
                    </a:lnTo>
                    <a:lnTo>
                      <a:pt x="80" y="38"/>
                    </a:lnTo>
                    <a:lnTo>
                      <a:pt x="82" y="36"/>
                    </a:lnTo>
                    <a:lnTo>
                      <a:pt x="83" y="36"/>
                    </a:lnTo>
                    <a:lnTo>
                      <a:pt x="88" y="36"/>
                    </a:lnTo>
                    <a:lnTo>
                      <a:pt x="91" y="36"/>
                    </a:lnTo>
                    <a:lnTo>
                      <a:pt x="93" y="36"/>
                    </a:lnTo>
                    <a:lnTo>
                      <a:pt x="94" y="35"/>
                    </a:lnTo>
                    <a:lnTo>
                      <a:pt x="97" y="35"/>
                    </a:lnTo>
                    <a:lnTo>
                      <a:pt x="99" y="33"/>
                    </a:lnTo>
                    <a:lnTo>
                      <a:pt x="104" y="33"/>
                    </a:lnTo>
                    <a:lnTo>
                      <a:pt x="108" y="32"/>
                    </a:lnTo>
                    <a:lnTo>
                      <a:pt x="108" y="30"/>
                    </a:lnTo>
                    <a:lnTo>
                      <a:pt x="110" y="30"/>
                    </a:lnTo>
                    <a:lnTo>
                      <a:pt x="110" y="30"/>
                    </a:lnTo>
                    <a:lnTo>
                      <a:pt x="111" y="29"/>
                    </a:lnTo>
                    <a:lnTo>
                      <a:pt x="113" y="27"/>
                    </a:lnTo>
                    <a:lnTo>
                      <a:pt x="115" y="25"/>
                    </a:lnTo>
                    <a:lnTo>
                      <a:pt x="116" y="24"/>
                    </a:lnTo>
                    <a:lnTo>
                      <a:pt x="121" y="19"/>
                    </a:lnTo>
                    <a:lnTo>
                      <a:pt x="122" y="19"/>
                    </a:lnTo>
                    <a:lnTo>
                      <a:pt x="122" y="19"/>
                    </a:lnTo>
                    <a:lnTo>
                      <a:pt x="124" y="16"/>
                    </a:lnTo>
                    <a:lnTo>
                      <a:pt x="124" y="14"/>
                    </a:lnTo>
                    <a:lnTo>
                      <a:pt x="126" y="14"/>
                    </a:lnTo>
                    <a:lnTo>
                      <a:pt x="127" y="14"/>
                    </a:lnTo>
                    <a:lnTo>
                      <a:pt x="127" y="13"/>
                    </a:lnTo>
                    <a:lnTo>
                      <a:pt x="129" y="11"/>
                    </a:lnTo>
                    <a:lnTo>
                      <a:pt x="129" y="10"/>
                    </a:lnTo>
                    <a:lnTo>
                      <a:pt x="127" y="8"/>
                    </a:lnTo>
                    <a:lnTo>
                      <a:pt x="127" y="8"/>
                    </a:lnTo>
                    <a:lnTo>
                      <a:pt x="129" y="8"/>
                    </a:lnTo>
                    <a:lnTo>
                      <a:pt x="129" y="7"/>
                    </a:lnTo>
                    <a:lnTo>
                      <a:pt x="132" y="5"/>
                    </a:lnTo>
                    <a:lnTo>
                      <a:pt x="133" y="5"/>
                    </a:lnTo>
                    <a:lnTo>
                      <a:pt x="133" y="4"/>
                    </a:lnTo>
                    <a:lnTo>
                      <a:pt x="135" y="4"/>
                    </a:lnTo>
                    <a:lnTo>
                      <a:pt x="137" y="4"/>
                    </a:lnTo>
                    <a:lnTo>
                      <a:pt x="137" y="4"/>
                    </a:lnTo>
                    <a:lnTo>
                      <a:pt x="137" y="2"/>
                    </a:lnTo>
                    <a:lnTo>
                      <a:pt x="140" y="2"/>
                    </a:lnTo>
                    <a:lnTo>
                      <a:pt x="141" y="0"/>
                    </a:lnTo>
                    <a:lnTo>
                      <a:pt x="144" y="2"/>
                    </a:lnTo>
                    <a:lnTo>
                      <a:pt x="146" y="2"/>
                    </a:lnTo>
                    <a:lnTo>
                      <a:pt x="147" y="2"/>
                    </a:lnTo>
                    <a:lnTo>
                      <a:pt x="147"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4" name="Freeform 41">
                <a:extLst>
                  <a:ext uri="{FF2B5EF4-FFF2-40B4-BE49-F238E27FC236}">
                    <a16:creationId xmlns:a16="http://schemas.microsoft.com/office/drawing/2014/main" id="{489558BB-0412-FC4D-A9D3-9B97B651D535}"/>
                  </a:ext>
                </a:extLst>
              </p:cNvPr>
              <p:cNvSpPr>
                <a:spLocks/>
              </p:cNvSpPr>
              <p:nvPr/>
            </p:nvSpPr>
            <p:spPr bwMode="gray">
              <a:xfrm>
                <a:off x="2871" y="1513"/>
                <a:ext cx="131" cy="152"/>
              </a:xfrm>
              <a:custGeom>
                <a:avLst/>
                <a:gdLst>
                  <a:gd name="T0" fmla="*/ 123 w 131"/>
                  <a:gd name="T1" fmla="*/ 22 h 152"/>
                  <a:gd name="T2" fmla="*/ 118 w 131"/>
                  <a:gd name="T3" fmla="*/ 49 h 152"/>
                  <a:gd name="T4" fmla="*/ 112 w 131"/>
                  <a:gd name="T5" fmla="*/ 77 h 152"/>
                  <a:gd name="T6" fmla="*/ 98 w 131"/>
                  <a:gd name="T7" fmla="*/ 88 h 152"/>
                  <a:gd name="T8" fmla="*/ 89 w 131"/>
                  <a:gd name="T9" fmla="*/ 104 h 152"/>
                  <a:gd name="T10" fmla="*/ 82 w 131"/>
                  <a:gd name="T11" fmla="*/ 133 h 152"/>
                  <a:gd name="T12" fmla="*/ 72 w 131"/>
                  <a:gd name="T13" fmla="*/ 140 h 152"/>
                  <a:gd name="T14" fmla="*/ 59 w 131"/>
                  <a:gd name="T15" fmla="*/ 149 h 152"/>
                  <a:gd name="T16" fmla="*/ 56 w 131"/>
                  <a:gd name="T17" fmla="*/ 146 h 152"/>
                  <a:gd name="T18" fmla="*/ 56 w 131"/>
                  <a:gd name="T19" fmla="*/ 140 h 152"/>
                  <a:gd name="T20" fmla="*/ 48 w 131"/>
                  <a:gd name="T21" fmla="*/ 143 h 152"/>
                  <a:gd name="T22" fmla="*/ 45 w 131"/>
                  <a:gd name="T23" fmla="*/ 143 h 152"/>
                  <a:gd name="T24" fmla="*/ 39 w 131"/>
                  <a:gd name="T25" fmla="*/ 149 h 152"/>
                  <a:gd name="T26" fmla="*/ 34 w 131"/>
                  <a:gd name="T27" fmla="*/ 144 h 152"/>
                  <a:gd name="T28" fmla="*/ 29 w 131"/>
                  <a:gd name="T29" fmla="*/ 141 h 152"/>
                  <a:gd name="T30" fmla="*/ 22 w 131"/>
                  <a:gd name="T31" fmla="*/ 146 h 152"/>
                  <a:gd name="T32" fmla="*/ 15 w 131"/>
                  <a:gd name="T33" fmla="*/ 152 h 152"/>
                  <a:gd name="T34" fmla="*/ 11 w 131"/>
                  <a:gd name="T35" fmla="*/ 146 h 152"/>
                  <a:gd name="T36" fmla="*/ 0 w 131"/>
                  <a:gd name="T37" fmla="*/ 130 h 152"/>
                  <a:gd name="T38" fmla="*/ 11 w 131"/>
                  <a:gd name="T39" fmla="*/ 129 h 152"/>
                  <a:gd name="T40" fmla="*/ 12 w 131"/>
                  <a:gd name="T41" fmla="*/ 125 h 152"/>
                  <a:gd name="T42" fmla="*/ 11 w 131"/>
                  <a:gd name="T43" fmla="*/ 121 h 152"/>
                  <a:gd name="T44" fmla="*/ 9 w 131"/>
                  <a:gd name="T45" fmla="*/ 115 h 152"/>
                  <a:gd name="T46" fmla="*/ 7 w 131"/>
                  <a:gd name="T47" fmla="*/ 110 h 152"/>
                  <a:gd name="T48" fmla="*/ 12 w 131"/>
                  <a:gd name="T49" fmla="*/ 105 h 152"/>
                  <a:gd name="T50" fmla="*/ 23 w 131"/>
                  <a:gd name="T51" fmla="*/ 102 h 152"/>
                  <a:gd name="T52" fmla="*/ 23 w 131"/>
                  <a:gd name="T53" fmla="*/ 97 h 152"/>
                  <a:gd name="T54" fmla="*/ 31 w 131"/>
                  <a:gd name="T55" fmla="*/ 102 h 152"/>
                  <a:gd name="T56" fmla="*/ 45 w 131"/>
                  <a:gd name="T57" fmla="*/ 102 h 152"/>
                  <a:gd name="T58" fmla="*/ 47 w 131"/>
                  <a:gd name="T59" fmla="*/ 107 h 152"/>
                  <a:gd name="T60" fmla="*/ 53 w 131"/>
                  <a:gd name="T61" fmla="*/ 104 h 152"/>
                  <a:gd name="T62" fmla="*/ 54 w 131"/>
                  <a:gd name="T63" fmla="*/ 97 h 152"/>
                  <a:gd name="T64" fmla="*/ 57 w 131"/>
                  <a:gd name="T65" fmla="*/ 91 h 152"/>
                  <a:gd name="T66" fmla="*/ 57 w 131"/>
                  <a:gd name="T67" fmla="*/ 75 h 152"/>
                  <a:gd name="T68" fmla="*/ 51 w 131"/>
                  <a:gd name="T69" fmla="*/ 69 h 152"/>
                  <a:gd name="T70" fmla="*/ 48 w 131"/>
                  <a:gd name="T71" fmla="*/ 61 h 152"/>
                  <a:gd name="T72" fmla="*/ 54 w 131"/>
                  <a:gd name="T73" fmla="*/ 55 h 152"/>
                  <a:gd name="T74" fmla="*/ 57 w 131"/>
                  <a:gd name="T75" fmla="*/ 49 h 152"/>
                  <a:gd name="T76" fmla="*/ 53 w 131"/>
                  <a:gd name="T77" fmla="*/ 39 h 152"/>
                  <a:gd name="T78" fmla="*/ 37 w 131"/>
                  <a:gd name="T79" fmla="*/ 43 h 152"/>
                  <a:gd name="T80" fmla="*/ 36 w 131"/>
                  <a:gd name="T81" fmla="*/ 38 h 152"/>
                  <a:gd name="T82" fmla="*/ 42 w 131"/>
                  <a:gd name="T83" fmla="*/ 27 h 152"/>
                  <a:gd name="T84" fmla="*/ 61 w 131"/>
                  <a:gd name="T85" fmla="*/ 27 h 152"/>
                  <a:gd name="T86" fmla="*/ 65 w 131"/>
                  <a:gd name="T87" fmla="*/ 28 h 152"/>
                  <a:gd name="T88" fmla="*/ 72 w 131"/>
                  <a:gd name="T89" fmla="*/ 30 h 152"/>
                  <a:gd name="T90" fmla="*/ 84 w 131"/>
                  <a:gd name="T91" fmla="*/ 33 h 152"/>
                  <a:gd name="T92" fmla="*/ 86 w 131"/>
                  <a:gd name="T93" fmla="*/ 30 h 152"/>
                  <a:gd name="T94" fmla="*/ 87 w 131"/>
                  <a:gd name="T95" fmla="*/ 24 h 152"/>
                  <a:gd name="T96" fmla="*/ 93 w 131"/>
                  <a:gd name="T97" fmla="*/ 11 h 152"/>
                  <a:gd name="T98" fmla="*/ 95 w 131"/>
                  <a:gd name="T99" fmla="*/ 3 h 152"/>
                  <a:gd name="T100" fmla="*/ 111 w 131"/>
                  <a:gd name="T101" fmla="*/ 0 h 152"/>
                  <a:gd name="T102" fmla="*/ 118 w 131"/>
                  <a:gd name="T103" fmla="*/ 2 h 152"/>
                  <a:gd name="T104" fmla="*/ 125 w 131"/>
                  <a:gd name="T10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 h="152">
                    <a:moveTo>
                      <a:pt x="131" y="3"/>
                    </a:moveTo>
                    <a:lnTo>
                      <a:pt x="131" y="7"/>
                    </a:lnTo>
                    <a:lnTo>
                      <a:pt x="129" y="10"/>
                    </a:lnTo>
                    <a:lnTo>
                      <a:pt x="128" y="13"/>
                    </a:lnTo>
                    <a:lnTo>
                      <a:pt x="126" y="17"/>
                    </a:lnTo>
                    <a:lnTo>
                      <a:pt x="123" y="22"/>
                    </a:lnTo>
                    <a:lnTo>
                      <a:pt x="122" y="28"/>
                    </a:lnTo>
                    <a:lnTo>
                      <a:pt x="122" y="35"/>
                    </a:lnTo>
                    <a:lnTo>
                      <a:pt x="122" y="38"/>
                    </a:lnTo>
                    <a:lnTo>
                      <a:pt x="120" y="39"/>
                    </a:lnTo>
                    <a:lnTo>
                      <a:pt x="118" y="44"/>
                    </a:lnTo>
                    <a:lnTo>
                      <a:pt x="118" y="49"/>
                    </a:lnTo>
                    <a:lnTo>
                      <a:pt x="118" y="55"/>
                    </a:lnTo>
                    <a:lnTo>
                      <a:pt x="118" y="60"/>
                    </a:lnTo>
                    <a:lnTo>
                      <a:pt x="115" y="64"/>
                    </a:lnTo>
                    <a:lnTo>
                      <a:pt x="115" y="69"/>
                    </a:lnTo>
                    <a:lnTo>
                      <a:pt x="115" y="74"/>
                    </a:lnTo>
                    <a:lnTo>
                      <a:pt x="112" y="77"/>
                    </a:lnTo>
                    <a:lnTo>
                      <a:pt x="108" y="82"/>
                    </a:lnTo>
                    <a:lnTo>
                      <a:pt x="104" y="83"/>
                    </a:lnTo>
                    <a:lnTo>
                      <a:pt x="101" y="83"/>
                    </a:lnTo>
                    <a:lnTo>
                      <a:pt x="100" y="85"/>
                    </a:lnTo>
                    <a:lnTo>
                      <a:pt x="100" y="86"/>
                    </a:lnTo>
                    <a:lnTo>
                      <a:pt x="98" y="88"/>
                    </a:lnTo>
                    <a:lnTo>
                      <a:pt x="95" y="94"/>
                    </a:lnTo>
                    <a:lnTo>
                      <a:pt x="93" y="96"/>
                    </a:lnTo>
                    <a:lnTo>
                      <a:pt x="92" y="99"/>
                    </a:lnTo>
                    <a:lnTo>
                      <a:pt x="89" y="100"/>
                    </a:lnTo>
                    <a:lnTo>
                      <a:pt x="89" y="102"/>
                    </a:lnTo>
                    <a:lnTo>
                      <a:pt x="89" y="104"/>
                    </a:lnTo>
                    <a:lnTo>
                      <a:pt x="89" y="107"/>
                    </a:lnTo>
                    <a:lnTo>
                      <a:pt x="89" y="116"/>
                    </a:lnTo>
                    <a:lnTo>
                      <a:pt x="89" y="119"/>
                    </a:lnTo>
                    <a:lnTo>
                      <a:pt x="87" y="124"/>
                    </a:lnTo>
                    <a:lnTo>
                      <a:pt x="84" y="130"/>
                    </a:lnTo>
                    <a:lnTo>
                      <a:pt x="82" y="133"/>
                    </a:lnTo>
                    <a:lnTo>
                      <a:pt x="81" y="133"/>
                    </a:lnTo>
                    <a:lnTo>
                      <a:pt x="78" y="135"/>
                    </a:lnTo>
                    <a:lnTo>
                      <a:pt x="76" y="135"/>
                    </a:lnTo>
                    <a:lnTo>
                      <a:pt x="76" y="136"/>
                    </a:lnTo>
                    <a:lnTo>
                      <a:pt x="75" y="138"/>
                    </a:lnTo>
                    <a:lnTo>
                      <a:pt x="72" y="140"/>
                    </a:lnTo>
                    <a:lnTo>
                      <a:pt x="68" y="141"/>
                    </a:lnTo>
                    <a:lnTo>
                      <a:pt x="65" y="146"/>
                    </a:lnTo>
                    <a:lnTo>
                      <a:pt x="64" y="149"/>
                    </a:lnTo>
                    <a:lnTo>
                      <a:pt x="62" y="149"/>
                    </a:lnTo>
                    <a:lnTo>
                      <a:pt x="61" y="149"/>
                    </a:lnTo>
                    <a:lnTo>
                      <a:pt x="59" y="149"/>
                    </a:lnTo>
                    <a:lnTo>
                      <a:pt x="59" y="149"/>
                    </a:lnTo>
                    <a:lnTo>
                      <a:pt x="57" y="149"/>
                    </a:lnTo>
                    <a:lnTo>
                      <a:pt x="57" y="149"/>
                    </a:lnTo>
                    <a:lnTo>
                      <a:pt x="57" y="149"/>
                    </a:lnTo>
                    <a:lnTo>
                      <a:pt x="57" y="147"/>
                    </a:lnTo>
                    <a:lnTo>
                      <a:pt x="56" y="146"/>
                    </a:lnTo>
                    <a:lnTo>
                      <a:pt x="56" y="144"/>
                    </a:lnTo>
                    <a:lnTo>
                      <a:pt x="57" y="143"/>
                    </a:lnTo>
                    <a:lnTo>
                      <a:pt x="57" y="141"/>
                    </a:lnTo>
                    <a:lnTo>
                      <a:pt x="57" y="141"/>
                    </a:lnTo>
                    <a:lnTo>
                      <a:pt x="56" y="140"/>
                    </a:lnTo>
                    <a:lnTo>
                      <a:pt x="56" y="140"/>
                    </a:lnTo>
                    <a:lnTo>
                      <a:pt x="56" y="140"/>
                    </a:lnTo>
                    <a:lnTo>
                      <a:pt x="54" y="140"/>
                    </a:lnTo>
                    <a:lnTo>
                      <a:pt x="51" y="141"/>
                    </a:lnTo>
                    <a:lnTo>
                      <a:pt x="50" y="141"/>
                    </a:lnTo>
                    <a:lnTo>
                      <a:pt x="50" y="141"/>
                    </a:lnTo>
                    <a:lnTo>
                      <a:pt x="48" y="143"/>
                    </a:lnTo>
                    <a:lnTo>
                      <a:pt x="48" y="143"/>
                    </a:lnTo>
                    <a:lnTo>
                      <a:pt x="47" y="141"/>
                    </a:lnTo>
                    <a:lnTo>
                      <a:pt x="45" y="141"/>
                    </a:lnTo>
                    <a:lnTo>
                      <a:pt x="45" y="141"/>
                    </a:lnTo>
                    <a:lnTo>
                      <a:pt x="45" y="141"/>
                    </a:lnTo>
                    <a:lnTo>
                      <a:pt x="45" y="143"/>
                    </a:lnTo>
                    <a:lnTo>
                      <a:pt x="45" y="144"/>
                    </a:lnTo>
                    <a:lnTo>
                      <a:pt x="43" y="146"/>
                    </a:lnTo>
                    <a:lnTo>
                      <a:pt x="43" y="146"/>
                    </a:lnTo>
                    <a:lnTo>
                      <a:pt x="42" y="147"/>
                    </a:lnTo>
                    <a:lnTo>
                      <a:pt x="40" y="147"/>
                    </a:lnTo>
                    <a:lnTo>
                      <a:pt x="39" y="149"/>
                    </a:lnTo>
                    <a:lnTo>
                      <a:pt x="39" y="149"/>
                    </a:lnTo>
                    <a:lnTo>
                      <a:pt x="37" y="147"/>
                    </a:lnTo>
                    <a:lnTo>
                      <a:pt x="36" y="146"/>
                    </a:lnTo>
                    <a:lnTo>
                      <a:pt x="36" y="146"/>
                    </a:lnTo>
                    <a:lnTo>
                      <a:pt x="34" y="144"/>
                    </a:lnTo>
                    <a:lnTo>
                      <a:pt x="34" y="144"/>
                    </a:lnTo>
                    <a:lnTo>
                      <a:pt x="34" y="144"/>
                    </a:lnTo>
                    <a:lnTo>
                      <a:pt x="34" y="144"/>
                    </a:lnTo>
                    <a:lnTo>
                      <a:pt x="32" y="144"/>
                    </a:lnTo>
                    <a:lnTo>
                      <a:pt x="31" y="143"/>
                    </a:lnTo>
                    <a:lnTo>
                      <a:pt x="29" y="141"/>
                    </a:lnTo>
                    <a:lnTo>
                      <a:pt x="29" y="141"/>
                    </a:lnTo>
                    <a:lnTo>
                      <a:pt x="28" y="141"/>
                    </a:lnTo>
                    <a:lnTo>
                      <a:pt x="28" y="143"/>
                    </a:lnTo>
                    <a:lnTo>
                      <a:pt x="26" y="143"/>
                    </a:lnTo>
                    <a:lnTo>
                      <a:pt x="23" y="144"/>
                    </a:lnTo>
                    <a:lnTo>
                      <a:pt x="22" y="144"/>
                    </a:lnTo>
                    <a:lnTo>
                      <a:pt x="22" y="146"/>
                    </a:lnTo>
                    <a:lnTo>
                      <a:pt x="20" y="146"/>
                    </a:lnTo>
                    <a:lnTo>
                      <a:pt x="20" y="147"/>
                    </a:lnTo>
                    <a:lnTo>
                      <a:pt x="18" y="147"/>
                    </a:lnTo>
                    <a:lnTo>
                      <a:pt x="17" y="149"/>
                    </a:lnTo>
                    <a:lnTo>
                      <a:pt x="15" y="151"/>
                    </a:lnTo>
                    <a:lnTo>
                      <a:pt x="15" y="152"/>
                    </a:lnTo>
                    <a:lnTo>
                      <a:pt x="15" y="151"/>
                    </a:lnTo>
                    <a:lnTo>
                      <a:pt x="14" y="151"/>
                    </a:lnTo>
                    <a:lnTo>
                      <a:pt x="12" y="149"/>
                    </a:lnTo>
                    <a:lnTo>
                      <a:pt x="11" y="147"/>
                    </a:lnTo>
                    <a:lnTo>
                      <a:pt x="11" y="146"/>
                    </a:lnTo>
                    <a:lnTo>
                      <a:pt x="11" y="146"/>
                    </a:lnTo>
                    <a:lnTo>
                      <a:pt x="11" y="144"/>
                    </a:lnTo>
                    <a:lnTo>
                      <a:pt x="9" y="141"/>
                    </a:lnTo>
                    <a:lnTo>
                      <a:pt x="4" y="138"/>
                    </a:lnTo>
                    <a:lnTo>
                      <a:pt x="3" y="136"/>
                    </a:lnTo>
                    <a:lnTo>
                      <a:pt x="0" y="132"/>
                    </a:lnTo>
                    <a:lnTo>
                      <a:pt x="0" y="130"/>
                    </a:lnTo>
                    <a:lnTo>
                      <a:pt x="1" y="129"/>
                    </a:lnTo>
                    <a:lnTo>
                      <a:pt x="3" y="127"/>
                    </a:lnTo>
                    <a:lnTo>
                      <a:pt x="6" y="125"/>
                    </a:lnTo>
                    <a:lnTo>
                      <a:pt x="6" y="125"/>
                    </a:lnTo>
                    <a:lnTo>
                      <a:pt x="9" y="129"/>
                    </a:lnTo>
                    <a:lnTo>
                      <a:pt x="11" y="129"/>
                    </a:lnTo>
                    <a:lnTo>
                      <a:pt x="11" y="129"/>
                    </a:lnTo>
                    <a:lnTo>
                      <a:pt x="12" y="129"/>
                    </a:lnTo>
                    <a:lnTo>
                      <a:pt x="12" y="129"/>
                    </a:lnTo>
                    <a:lnTo>
                      <a:pt x="12" y="127"/>
                    </a:lnTo>
                    <a:lnTo>
                      <a:pt x="12" y="127"/>
                    </a:lnTo>
                    <a:lnTo>
                      <a:pt x="12" y="125"/>
                    </a:lnTo>
                    <a:lnTo>
                      <a:pt x="12" y="124"/>
                    </a:lnTo>
                    <a:lnTo>
                      <a:pt x="12" y="124"/>
                    </a:lnTo>
                    <a:lnTo>
                      <a:pt x="14" y="122"/>
                    </a:lnTo>
                    <a:lnTo>
                      <a:pt x="14" y="122"/>
                    </a:lnTo>
                    <a:lnTo>
                      <a:pt x="12" y="121"/>
                    </a:lnTo>
                    <a:lnTo>
                      <a:pt x="11" y="121"/>
                    </a:lnTo>
                    <a:lnTo>
                      <a:pt x="9" y="119"/>
                    </a:lnTo>
                    <a:lnTo>
                      <a:pt x="9" y="119"/>
                    </a:lnTo>
                    <a:lnTo>
                      <a:pt x="9" y="118"/>
                    </a:lnTo>
                    <a:lnTo>
                      <a:pt x="11" y="116"/>
                    </a:lnTo>
                    <a:lnTo>
                      <a:pt x="11" y="116"/>
                    </a:lnTo>
                    <a:lnTo>
                      <a:pt x="9" y="115"/>
                    </a:lnTo>
                    <a:lnTo>
                      <a:pt x="9" y="115"/>
                    </a:lnTo>
                    <a:lnTo>
                      <a:pt x="7" y="115"/>
                    </a:lnTo>
                    <a:lnTo>
                      <a:pt x="6" y="113"/>
                    </a:lnTo>
                    <a:lnTo>
                      <a:pt x="7" y="113"/>
                    </a:lnTo>
                    <a:lnTo>
                      <a:pt x="7" y="110"/>
                    </a:lnTo>
                    <a:lnTo>
                      <a:pt x="7" y="110"/>
                    </a:lnTo>
                    <a:lnTo>
                      <a:pt x="7" y="105"/>
                    </a:lnTo>
                    <a:lnTo>
                      <a:pt x="7" y="105"/>
                    </a:lnTo>
                    <a:lnTo>
                      <a:pt x="7" y="105"/>
                    </a:lnTo>
                    <a:lnTo>
                      <a:pt x="9" y="105"/>
                    </a:lnTo>
                    <a:lnTo>
                      <a:pt x="9" y="105"/>
                    </a:lnTo>
                    <a:lnTo>
                      <a:pt x="12" y="105"/>
                    </a:lnTo>
                    <a:lnTo>
                      <a:pt x="14" y="105"/>
                    </a:lnTo>
                    <a:lnTo>
                      <a:pt x="14" y="105"/>
                    </a:lnTo>
                    <a:lnTo>
                      <a:pt x="15" y="107"/>
                    </a:lnTo>
                    <a:lnTo>
                      <a:pt x="23" y="105"/>
                    </a:lnTo>
                    <a:lnTo>
                      <a:pt x="23" y="104"/>
                    </a:lnTo>
                    <a:lnTo>
                      <a:pt x="23" y="102"/>
                    </a:lnTo>
                    <a:lnTo>
                      <a:pt x="23" y="100"/>
                    </a:lnTo>
                    <a:lnTo>
                      <a:pt x="23" y="100"/>
                    </a:lnTo>
                    <a:lnTo>
                      <a:pt x="22" y="100"/>
                    </a:lnTo>
                    <a:lnTo>
                      <a:pt x="22" y="99"/>
                    </a:lnTo>
                    <a:lnTo>
                      <a:pt x="22" y="97"/>
                    </a:lnTo>
                    <a:lnTo>
                      <a:pt x="23" y="97"/>
                    </a:lnTo>
                    <a:lnTo>
                      <a:pt x="25" y="96"/>
                    </a:lnTo>
                    <a:lnTo>
                      <a:pt x="26" y="96"/>
                    </a:lnTo>
                    <a:lnTo>
                      <a:pt x="28" y="97"/>
                    </a:lnTo>
                    <a:lnTo>
                      <a:pt x="28" y="97"/>
                    </a:lnTo>
                    <a:lnTo>
                      <a:pt x="29" y="100"/>
                    </a:lnTo>
                    <a:lnTo>
                      <a:pt x="31" y="102"/>
                    </a:lnTo>
                    <a:lnTo>
                      <a:pt x="32" y="104"/>
                    </a:lnTo>
                    <a:lnTo>
                      <a:pt x="36" y="105"/>
                    </a:lnTo>
                    <a:lnTo>
                      <a:pt x="39" y="107"/>
                    </a:lnTo>
                    <a:lnTo>
                      <a:pt x="40" y="105"/>
                    </a:lnTo>
                    <a:lnTo>
                      <a:pt x="43" y="104"/>
                    </a:lnTo>
                    <a:lnTo>
                      <a:pt x="45" y="102"/>
                    </a:lnTo>
                    <a:lnTo>
                      <a:pt x="45" y="102"/>
                    </a:lnTo>
                    <a:lnTo>
                      <a:pt x="47" y="102"/>
                    </a:lnTo>
                    <a:lnTo>
                      <a:pt x="47" y="104"/>
                    </a:lnTo>
                    <a:lnTo>
                      <a:pt x="48" y="105"/>
                    </a:lnTo>
                    <a:lnTo>
                      <a:pt x="48" y="105"/>
                    </a:lnTo>
                    <a:lnTo>
                      <a:pt x="47" y="107"/>
                    </a:lnTo>
                    <a:lnTo>
                      <a:pt x="48" y="107"/>
                    </a:lnTo>
                    <a:lnTo>
                      <a:pt x="50" y="107"/>
                    </a:lnTo>
                    <a:lnTo>
                      <a:pt x="51" y="107"/>
                    </a:lnTo>
                    <a:lnTo>
                      <a:pt x="51" y="107"/>
                    </a:lnTo>
                    <a:lnTo>
                      <a:pt x="53" y="105"/>
                    </a:lnTo>
                    <a:lnTo>
                      <a:pt x="53" y="104"/>
                    </a:lnTo>
                    <a:lnTo>
                      <a:pt x="53" y="104"/>
                    </a:lnTo>
                    <a:lnTo>
                      <a:pt x="53" y="102"/>
                    </a:lnTo>
                    <a:lnTo>
                      <a:pt x="53" y="102"/>
                    </a:lnTo>
                    <a:lnTo>
                      <a:pt x="54" y="100"/>
                    </a:lnTo>
                    <a:lnTo>
                      <a:pt x="54" y="99"/>
                    </a:lnTo>
                    <a:lnTo>
                      <a:pt x="54" y="97"/>
                    </a:lnTo>
                    <a:lnTo>
                      <a:pt x="56" y="97"/>
                    </a:lnTo>
                    <a:lnTo>
                      <a:pt x="56" y="97"/>
                    </a:lnTo>
                    <a:lnTo>
                      <a:pt x="57" y="94"/>
                    </a:lnTo>
                    <a:lnTo>
                      <a:pt x="56" y="93"/>
                    </a:lnTo>
                    <a:lnTo>
                      <a:pt x="56" y="91"/>
                    </a:lnTo>
                    <a:lnTo>
                      <a:pt x="57" y="91"/>
                    </a:lnTo>
                    <a:lnTo>
                      <a:pt x="57" y="88"/>
                    </a:lnTo>
                    <a:lnTo>
                      <a:pt x="57" y="85"/>
                    </a:lnTo>
                    <a:lnTo>
                      <a:pt x="57" y="83"/>
                    </a:lnTo>
                    <a:lnTo>
                      <a:pt x="57" y="82"/>
                    </a:lnTo>
                    <a:lnTo>
                      <a:pt x="57" y="79"/>
                    </a:lnTo>
                    <a:lnTo>
                      <a:pt x="57" y="75"/>
                    </a:lnTo>
                    <a:lnTo>
                      <a:pt x="57" y="74"/>
                    </a:lnTo>
                    <a:lnTo>
                      <a:pt x="57" y="72"/>
                    </a:lnTo>
                    <a:lnTo>
                      <a:pt x="56" y="72"/>
                    </a:lnTo>
                    <a:lnTo>
                      <a:pt x="53" y="71"/>
                    </a:lnTo>
                    <a:lnTo>
                      <a:pt x="53" y="71"/>
                    </a:lnTo>
                    <a:lnTo>
                      <a:pt x="51" y="69"/>
                    </a:lnTo>
                    <a:lnTo>
                      <a:pt x="51" y="69"/>
                    </a:lnTo>
                    <a:lnTo>
                      <a:pt x="48" y="68"/>
                    </a:lnTo>
                    <a:lnTo>
                      <a:pt x="47" y="68"/>
                    </a:lnTo>
                    <a:lnTo>
                      <a:pt x="48" y="66"/>
                    </a:lnTo>
                    <a:lnTo>
                      <a:pt x="48" y="63"/>
                    </a:lnTo>
                    <a:lnTo>
                      <a:pt x="48" y="61"/>
                    </a:lnTo>
                    <a:lnTo>
                      <a:pt x="48" y="60"/>
                    </a:lnTo>
                    <a:lnTo>
                      <a:pt x="48" y="58"/>
                    </a:lnTo>
                    <a:lnTo>
                      <a:pt x="50" y="57"/>
                    </a:lnTo>
                    <a:lnTo>
                      <a:pt x="51" y="55"/>
                    </a:lnTo>
                    <a:lnTo>
                      <a:pt x="51" y="55"/>
                    </a:lnTo>
                    <a:lnTo>
                      <a:pt x="54" y="55"/>
                    </a:lnTo>
                    <a:lnTo>
                      <a:pt x="54" y="53"/>
                    </a:lnTo>
                    <a:lnTo>
                      <a:pt x="56" y="53"/>
                    </a:lnTo>
                    <a:lnTo>
                      <a:pt x="56" y="52"/>
                    </a:lnTo>
                    <a:lnTo>
                      <a:pt x="56" y="50"/>
                    </a:lnTo>
                    <a:lnTo>
                      <a:pt x="57" y="50"/>
                    </a:lnTo>
                    <a:lnTo>
                      <a:pt x="57" y="49"/>
                    </a:lnTo>
                    <a:lnTo>
                      <a:pt x="57" y="49"/>
                    </a:lnTo>
                    <a:lnTo>
                      <a:pt x="56" y="46"/>
                    </a:lnTo>
                    <a:lnTo>
                      <a:pt x="56" y="46"/>
                    </a:lnTo>
                    <a:lnTo>
                      <a:pt x="54" y="44"/>
                    </a:lnTo>
                    <a:lnTo>
                      <a:pt x="54" y="41"/>
                    </a:lnTo>
                    <a:lnTo>
                      <a:pt x="53" y="39"/>
                    </a:lnTo>
                    <a:lnTo>
                      <a:pt x="51" y="39"/>
                    </a:lnTo>
                    <a:lnTo>
                      <a:pt x="47" y="39"/>
                    </a:lnTo>
                    <a:lnTo>
                      <a:pt x="45" y="39"/>
                    </a:lnTo>
                    <a:lnTo>
                      <a:pt x="42" y="41"/>
                    </a:lnTo>
                    <a:lnTo>
                      <a:pt x="39" y="43"/>
                    </a:lnTo>
                    <a:lnTo>
                      <a:pt x="37" y="43"/>
                    </a:lnTo>
                    <a:lnTo>
                      <a:pt x="36" y="43"/>
                    </a:lnTo>
                    <a:lnTo>
                      <a:pt x="36" y="41"/>
                    </a:lnTo>
                    <a:lnTo>
                      <a:pt x="36" y="41"/>
                    </a:lnTo>
                    <a:lnTo>
                      <a:pt x="37" y="39"/>
                    </a:lnTo>
                    <a:lnTo>
                      <a:pt x="36" y="38"/>
                    </a:lnTo>
                    <a:lnTo>
                      <a:pt x="36" y="38"/>
                    </a:lnTo>
                    <a:lnTo>
                      <a:pt x="36" y="35"/>
                    </a:lnTo>
                    <a:lnTo>
                      <a:pt x="36" y="33"/>
                    </a:lnTo>
                    <a:lnTo>
                      <a:pt x="36" y="30"/>
                    </a:lnTo>
                    <a:lnTo>
                      <a:pt x="37" y="27"/>
                    </a:lnTo>
                    <a:lnTo>
                      <a:pt x="37" y="27"/>
                    </a:lnTo>
                    <a:lnTo>
                      <a:pt x="42" y="27"/>
                    </a:lnTo>
                    <a:lnTo>
                      <a:pt x="45" y="27"/>
                    </a:lnTo>
                    <a:lnTo>
                      <a:pt x="50" y="27"/>
                    </a:lnTo>
                    <a:lnTo>
                      <a:pt x="54" y="27"/>
                    </a:lnTo>
                    <a:lnTo>
                      <a:pt x="57" y="27"/>
                    </a:lnTo>
                    <a:lnTo>
                      <a:pt x="59" y="25"/>
                    </a:lnTo>
                    <a:lnTo>
                      <a:pt x="61" y="27"/>
                    </a:lnTo>
                    <a:lnTo>
                      <a:pt x="62" y="27"/>
                    </a:lnTo>
                    <a:lnTo>
                      <a:pt x="62" y="27"/>
                    </a:lnTo>
                    <a:lnTo>
                      <a:pt x="64" y="28"/>
                    </a:lnTo>
                    <a:lnTo>
                      <a:pt x="65" y="27"/>
                    </a:lnTo>
                    <a:lnTo>
                      <a:pt x="65" y="28"/>
                    </a:lnTo>
                    <a:lnTo>
                      <a:pt x="65" y="28"/>
                    </a:lnTo>
                    <a:lnTo>
                      <a:pt x="67" y="28"/>
                    </a:lnTo>
                    <a:lnTo>
                      <a:pt x="68" y="28"/>
                    </a:lnTo>
                    <a:lnTo>
                      <a:pt x="68" y="28"/>
                    </a:lnTo>
                    <a:lnTo>
                      <a:pt x="70" y="28"/>
                    </a:lnTo>
                    <a:lnTo>
                      <a:pt x="70" y="28"/>
                    </a:lnTo>
                    <a:lnTo>
                      <a:pt x="72" y="30"/>
                    </a:lnTo>
                    <a:lnTo>
                      <a:pt x="73" y="30"/>
                    </a:lnTo>
                    <a:lnTo>
                      <a:pt x="75" y="30"/>
                    </a:lnTo>
                    <a:lnTo>
                      <a:pt x="78" y="30"/>
                    </a:lnTo>
                    <a:lnTo>
                      <a:pt x="81" y="30"/>
                    </a:lnTo>
                    <a:lnTo>
                      <a:pt x="82" y="32"/>
                    </a:lnTo>
                    <a:lnTo>
                      <a:pt x="84" y="33"/>
                    </a:lnTo>
                    <a:lnTo>
                      <a:pt x="86" y="35"/>
                    </a:lnTo>
                    <a:lnTo>
                      <a:pt x="86" y="35"/>
                    </a:lnTo>
                    <a:lnTo>
                      <a:pt x="87" y="35"/>
                    </a:lnTo>
                    <a:lnTo>
                      <a:pt x="87" y="33"/>
                    </a:lnTo>
                    <a:lnTo>
                      <a:pt x="87" y="33"/>
                    </a:lnTo>
                    <a:lnTo>
                      <a:pt x="86" y="30"/>
                    </a:lnTo>
                    <a:lnTo>
                      <a:pt x="86" y="28"/>
                    </a:lnTo>
                    <a:lnTo>
                      <a:pt x="86" y="27"/>
                    </a:lnTo>
                    <a:lnTo>
                      <a:pt x="87" y="25"/>
                    </a:lnTo>
                    <a:lnTo>
                      <a:pt x="87" y="25"/>
                    </a:lnTo>
                    <a:lnTo>
                      <a:pt x="87" y="24"/>
                    </a:lnTo>
                    <a:lnTo>
                      <a:pt x="87" y="24"/>
                    </a:lnTo>
                    <a:lnTo>
                      <a:pt x="89" y="22"/>
                    </a:lnTo>
                    <a:lnTo>
                      <a:pt x="90" y="19"/>
                    </a:lnTo>
                    <a:lnTo>
                      <a:pt x="92" y="17"/>
                    </a:lnTo>
                    <a:lnTo>
                      <a:pt x="93" y="14"/>
                    </a:lnTo>
                    <a:lnTo>
                      <a:pt x="93" y="13"/>
                    </a:lnTo>
                    <a:lnTo>
                      <a:pt x="93" y="11"/>
                    </a:lnTo>
                    <a:lnTo>
                      <a:pt x="93" y="10"/>
                    </a:lnTo>
                    <a:lnTo>
                      <a:pt x="93" y="8"/>
                    </a:lnTo>
                    <a:lnTo>
                      <a:pt x="93" y="8"/>
                    </a:lnTo>
                    <a:lnTo>
                      <a:pt x="95" y="5"/>
                    </a:lnTo>
                    <a:lnTo>
                      <a:pt x="95" y="3"/>
                    </a:lnTo>
                    <a:lnTo>
                      <a:pt x="95" y="3"/>
                    </a:lnTo>
                    <a:lnTo>
                      <a:pt x="97" y="2"/>
                    </a:lnTo>
                    <a:lnTo>
                      <a:pt x="98" y="2"/>
                    </a:lnTo>
                    <a:lnTo>
                      <a:pt x="103" y="2"/>
                    </a:lnTo>
                    <a:lnTo>
                      <a:pt x="106" y="2"/>
                    </a:lnTo>
                    <a:lnTo>
                      <a:pt x="108" y="0"/>
                    </a:lnTo>
                    <a:lnTo>
                      <a:pt x="111" y="0"/>
                    </a:lnTo>
                    <a:lnTo>
                      <a:pt x="111" y="0"/>
                    </a:lnTo>
                    <a:lnTo>
                      <a:pt x="112" y="0"/>
                    </a:lnTo>
                    <a:lnTo>
                      <a:pt x="117" y="2"/>
                    </a:lnTo>
                    <a:lnTo>
                      <a:pt x="118" y="2"/>
                    </a:lnTo>
                    <a:lnTo>
                      <a:pt x="118" y="2"/>
                    </a:lnTo>
                    <a:lnTo>
                      <a:pt x="118" y="2"/>
                    </a:lnTo>
                    <a:lnTo>
                      <a:pt x="120" y="2"/>
                    </a:lnTo>
                    <a:lnTo>
                      <a:pt x="122" y="2"/>
                    </a:lnTo>
                    <a:lnTo>
                      <a:pt x="122" y="2"/>
                    </a:lnTo>
                    <a:lnTo>
                      <a:pt x="123" y="3"/>
                    </a:lnTo>
                    <a:lnTo>
                      <a:pt x="123" y="3"/>
                    </a:lnTo>
                    <a:lnTo>
                      <a:pt x="125" y="2"/>
                    </a:lnTo>
                    <a:lnTo>
                      <a:pt x="125" y="2"/>
                    </a:lnTo>
                    <a:lnTo>
                      <a:pt x="128" y="0"/>
                    </a:lnTo>
                    <a:lnTo>
                      <a:pt x="128" y="0"/>
                    </a:lnTo>
                    <a:lnTo>
                      <a:pt x="129" y="3"/>
                    </a:lnTo>
                    <a:lnTo>
                      <a:pt x="131"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5" name="Freeform 42">
                <a:extLst>
                  <a:ext uri="{FF2B5EF4-FFF2-40B4-BE49-F238E27FC236}">
                    <a16:creationId xmlns:a16="http://schemas.microsoft.com/office/drawing/2014/main" id="{DD17EE27-F146-5449-9E02-947B9BA3AAA9}"/>
                  </a:ext>
                </a:extLst>
              </p:cNvPr>
              <p:cNvSpPr>
                <a:spLocks/>
              </p:cNvSpPr>
              <p:nvPr/>
            </p:nvSpPr>
            <p:spPr bwMode="gray">
              <a:xfrm>
                <a:off x="2780" y="624"/>
                <a:ext cx="78" cy="51"/>
              </a:xfrm>
              <a:custGeom>
                <a:avLst/>
                <a:gdLst>
                  <a:gd name="T0" fmla="*/ 64 w 78"/>
                  <a:gd name="T1" fmla="*/ 8 h 51"/>
                  <a:gd name="T2" fmla="*/ 61 w 78"/>
                  <a:gd name="T3" fmla="*/ 16 h 51"/>
                  <a:gd name="T4" fmla="*/ 61 w 78"/>
                  <a:gd name="T5" fmla="*/ 19 h 51"/>
                  <a:gd name="T6" fmla="*/ 66 w 78"/>
                  <a:gd name="T7" fmla="*/ 19 h 51"/>
                  <a:gd name="T8" fmla="*/ 69 w 78"/>
                  <a:gd name="T9" fmla="*/ 22 h 51"/>
                  <a:gd name="T10" fmla="*/ 73 w 78"/>
                  <a:gd name="T11" fmla="*/ 24 h 51"/>
                  <a:gd name="T12" fmla="*/ 78 w 78"/>
                  <a:gd name="T13" fmla="*/ 22 h 51"/>
                  <a:gd name="T14" fmla="*/ 78 w 78"/>
                  <a:gd name="T15" fmla="*/ 29 h 51"/>
                  <a:gd name="T16" fmla="*/ 78 w 78"/>
                  <a:gd name="T17" fmla="*/ 32 h 51"/>
                  <a:gd name="T18" fmla="*/ 73 w 78"/>
                  <a:gd name="T19" fmla="*/ 30 h 51"/>
                  <a:gd name="T20" fmla="*/ 72 w 78"/>
                  <a:gd name="T21" fmla="*/ 32 h 51"/>
                  <a:gd name="T22" fmla="*/ 72 w 78"/>
                  <a:gd name="T23" fmla="*/ 35 h 51"/>
                  <a:gd name="T24" fmla="*/ 73 w 78"/>
                  <a:gd name="T25" fmla="*/ 40 h 51"/>
                  <a:gd name="T26" fmla="*/ 72 w 78"/>
                  <a:gd name="T27" fmla="*/ 40 h 51"/>
                  <a:gd name="T28" fmla="*/ 69 w 78"/>
                  <a:gd name="T29" fmla="*/ 36 h 51"/>
                  <a:gd name="T30" fmla="*/ 62 w 78"/>
                  <a:gd name="T31" fmla="*/ 38 h 51"/>
                  <a:gd name="T32" fmla="*/ 61 w 78"/>
                  <a:gd name="T33" fmla="*/ 35 h 51"/>
                  <a:gd name="T34" fmla="*/ 58 w 78"/>
                  <a:gd name="T35" fmla="*/ 33 h 51"/>
                  <a:gd name="T36" fmla="*/ 58 w 78"/>
                  <a:gd name="T37" fmla="*/ 38 h 51"/>
                  <a:gd name="T38" fmla="*/ 53 w 78"/>
                  <a:gd name="T39" fmla="*/ 44 h 51"/>
                  <a:gd name="T40" fmla="*/ 53 w 78"/>
                  <a:gd name="T41" fmla="*/ 47 h 51"/>
                  <a:gd name="T42" fmla="*/ 52 w 78"/>
                  <a:gd name="T43" fmla="*/ 51 h 51"/>
                  <a:gd name="T44" fmla="*/ 48 w 78"/>
                  <a:gd name="T45" fmla="*/ 46 h 51"/>
                  <a:gd name="T46" fmla="*/ 47 w 78"/>
                  <a:gd name="T47" fmla="*/ 43 h 51"/>
                  <a:gd name="T48" fmla="*/ 44 w 78"/>
                  <a:gd name="T49" fmla="*/ 38 h 51"/>
                  <a:gd name="T50" fmla="*/ 42 w 78"/>
                  <a:gd name="T51" fmla="*/ 35 h 51"/>
                  <a:gd name="T52" fmla="*/ 39 w 78"/>
                  <a:gd name="T53" fmla="*/ 36 h 51"/>
                  <a:gd name="T54" fmla="*/ 37 w 78"/>
                  <a:gd name="T55" fmla="*/ 41 h 51"/>
                  <a:gd name="T56" fmla="*/ 36 w 78"/>
                  <a:gd name="T57" fmla="*/ 46 h 51"/>
                  <a:gd name="T58" fmla="*/ 28 w 78"/>
                  <a:gd name="T59" fmla="*/ 46 h 51"/>
                  <a:gd name="T60" fmla="*/ 23 w 78"/>
                  <a:gd name="T61" fmla="*/ 47 h 51"/>
                  <a:gd name="T62" fmla="*/ 19 w 78"/>
                  <a:gd name="T63" fmla="*/ 47 h 51"/>
                  <a:gd name="T64" fmla="*/ 16 w 78"/>
                  <a:gd name="T65" fmla="*/ 44 h 51"/>
                  <a:gd name="T66" fmla="*/ 14 w 78"/>
                  <a:gd name="T67" fmla="*/ 41 h 51"/>
                  <a:gd name="T68" fmla="*/ 14 w 78"/>
                  <a:gd name="T69" fmla="*/ 36 h 51"/>
                  <a:gd name="T70" fmla="*/ 11 w 78"/>
                  <a:gd name="T71" fmla="*/ 35 h 51"/>
                  <a:gd name="T72" fmla="*/ 5 w 78"/>
                  <a:gd name="T73" fmla="*/ 36 h 51"/>
                  <a:gd name="T74" fmla="*/ 5 w 78"/>
                  <a:gd name="T75" fmla="*/ 40 h 51"/>
                  <a:gd name="T76" fmla="*/ 0 w 78"/>
                  <a:gd name="T77" fmla="*/ 43 h 51"/>
                  <a:gd name="T78" fmla="*/ 2 w 78"/>
                  <a:gd name="T79" fmla="*/ 40 h 51"/>
                  <a:gd name="T80" fmla="*/ 3 w 78"/>
                  <a:gd name="T81" fmla="*/ 36 h 51"/>
                  <a:gd name="T82" fmla="*/ 2 w 78"/>
                  <a:gd name="T83" fmla="*/ 33 h 51"/>
                  <a:gd name="T84" fmla="*/ 5 w 78"/>
                  <a:gd name="T85" fmla="*/ 29 h 51"/>
                  <a:gd name="T86" fmla="*/ 8 w 78"/>
                  <a:gd name="T87" fmla="*/ 22 h 51"/>
                  <a:gd name="T88" fmla="*/ 12 w 78"/>
                  <a:gd name="T89" fmla="*/ 19 h 51"/>
                  <a:gd name="T90" fmla="*/ 17 w 78"/>
                  <a:gd name="T91" fmla="*/ 13 h 51"/>
                  <a:gd name="T92" fmla="*/ 17 w 78"/>
                  <a:gd name="T93" fmla="*/ 11 h 51"/>
                  <a:gd name="T94" fmla="*/ 16 w 78"/>
                  <a:gd name="T95" fmla="*/ 10 h 51"/>
                  <a:gd name="T96" fmla="*/ 20 w 78"/>
                  <a:gd name="T97" fmla="*/ 8 h 51"/>
                  <a:gd name="T98" fmla="*/ 22 w 78"/>
                  <a:gd name="T99" fmla="*/ 8 h 51"/>
                  <a:gd name="T100" fmla="*/ 25 w 78"/>
                  <a:gd name="T101" fmla="*/ 8 h 51"/>
                  <a:gd name="T102" fmla="*/ 28 w 78"/>
                  <a:gd name="T103" fmla="*/ 5 h 51"/>
                  <a:gd name="T104" fmla="*/ 37 w 78"/>
                  <a:gd name="T105" fmla="*/ 5 h 51"/>
                  <a:gd name="T106" fmla="*/ 42 w 78"/>
                  <a:gd name="T107" fmla="*/ 5 h 51"/>
                  <a:gd name="T108" fmla="*/ 44 w 78"/>
                  <a:gd name="T109" fmla="*/ 4 h 51"/>
                  <a:gd name="T110" fmla="*/ 45 w 78"/>
                  <a:gd name="T111" fmla="*/ 4 h 51"/>
                  <a:gd name="T112" fmla="*/ 42 w 78"/>
                  <a:gd name="T113" fmla="*/ 4 h 51"/>
                  <a:gd name="T114" fmla="*/ 44 w 78"/>
                  <a:gd name="T115" fmla="*/ 0 h 51"/>
                  <a:gd name="T116" fmla="*/ 48 w 78"/>
                  <a:gd name="T117" fmla="*/ 2 h 51"/>
                  <a:gd name="T118" fmla="*/ 50 w 78"/>
                  <a:gd name="T119" fmla="*/ 2 h 51"/>
                  <a:gd name="T120" fmla="*/ 52 w 78"/>
                  <a:gd name="T121" fmla="*/ 4 h 51"/>
                  <a:gd name="T122" fmla="*/ 59 w 78"/>
                  <a:gd name="T123"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 h="51">
                    <a:moveTo>
                      <a:pt x="62" y="7"/>
                    </a:moveTo>
                    <a:lnTo>
                      <a:pt x="62" y="7"/>
                    </a:lnTo>
                    <a:lnTo>
                      <a:pt x="64" y="8"/>
                    </a:lnTo>
                    <a:lnTo>
                      <a:pt x="64" y="10"/>
                    </a:lnTo>
                    <a:lnTo>
                      <a:pt x="62" y="13"/>
                    </a:lnTo>
                    <a:lnTo>
                      <a:pt x="61" y="16"/>
                    </a:lnTo>
                    <a:lnTo>
                      <a:pt x="61" y="18"/>
                    </a:lnTo>
                    <a:lnTo>
                      <a:pt x="61" y="19"/>
                    </a:lnTo>
                    <a:lnTo>
                      <a:pt x="61" y="19"/>
                    </a:lnTo>
                    <a:lnTo>
                      <a:pt x="62" y="19"/>
                    </a:lnTo>
                    <a:lnTo>
                      <a:pt x="64" y="19"/>
                    </a:lnTo>
                    <a:lnTo>
                      <a:pt x="66" y="19"/>
                    </a:lnTo>
                    <a:lnTo>
                      <a:pt x="67" y="19"/>
                    </a:lnTo>
                    <a:lnTo>
                      <a:pt x="69" y="21"/>
                    </a:lnTo>
                    <a:lnTo>
                      <a:pt x="69" y="22"/>
                    </a:lnTo>
                    <a:lnTo>
                      <a:pt x="70" y="22"/>
                    </a:lnTo>
                    <a:lnTo>
                      <a:pt x="73" y="24"/>
                    </a:lnTo>
                    <a:lnTo>
                      <a:pt x="73" y="24"/>
                    </a:lnTo>
                    <a:lnTo>
                      <a:pt x="77" y="21"/>
                    </a:lnTo>
                    <a:lnTo>
                      <a:pt x="78" y="21"/>
                    </a:lnTo>
                    <a:lnTo>
                      <a:pt x="78" y="22"/>
                    </a:lnTo>
                    <a:lnTo>
                      <a:pt x="78" y="24"/>
                    </a:lnTo>
                    <a:lnTo>
                      <a:pt x="78" y="27"/>
                    </a:lnTo>
                    <a:lnTo>
                      <a:pt x="78" y="29"/>
                    </a:lnTo>
                    <a:lnTo>
                      <a:pt x="78" y="30"/>
                    </a:lnTo>
                    <a:lnTo>
                      <a:pt x="78" y="30"/>
                    </a:lnTo>
                    <a:lnTo>
                      <a:pt x="78" y="32"/>
                    </a:lnTo>
                    <a:lnTo>
                      <a:pt x="77" y="32"/>
                    </a:lnTo>
                    <a:lnTo>
                      <a:pt x="75" y="32"/>
                    </a:lnTo>
                    <a:lnTo>
                      <a:pt x="73" y="30"/>
                    </a:lnTo>
                    <a:lnTo>
                      <a:pt x="73" y="30"/>
                    </a:lnTo>
                    <a:lnTo>
                      <a:pt x="72" y="30"/>
                    </a:lnTo>
                    <a:lnTo>
                      <a:pt x="72" y="32"/>
                    </a:lnTo>
                    <a:lnTo>
                      <a:pt x="70" y="33"/>
                    </a:lnTo>
                    <a:lnTo>
                      <a:pt x="72" y="35"/>
                    </a:lnTo>
                    <a:lnTo>
                      <a:pt x="72" y="35"/>
                    </a:lnTo>
                    <a:lnTo>
                      <a:pt x="72" y="36"/>
                    </a:lnTo>
                    <a:lnTo>
                      <a:pt x="73" y="38"/>
                    </a:lnTo>
                    <a:lnTo>
                      <a:pt x="73" y="40"/>
                    </a:lnTo>
                    <a:lnTo>
                      <a:pt x="73" y="40"/>
                    </a:lnTo>
                    <a:lnTo>
                      <a:pt x="72" y="40"/>
                    </a:lnTo>
                    <a:lnTo>
                      <a:pt x="72" y="40"/>
                    </a:lnTo>
                    <a:lnTo>
                      <a:pt x="70" y="38"/>
                    </a:lnTo>
                    <a:lnTo>
                      <a:pt x="69" y="36"/>
                    </a:lnTo>
                    <a:lnTo>
                      <a:pt x="69" y="36"/>
                    </a:lnTo>
                    <a:lnTo>
                      <a:pt x="67" y="36"/>
                    </a:lnTo>
                    <a:lnTo>
                      <a:pt x="64" y="38"/>
                    </a:lnTo>
                    <a:lnTo>
                      <a:pt x="62" y="38"/>
                    </a:lnTo>
                    <a:lnTo>
                      <a:pt x="62" y="38"/>
                    </a:lnTo>
                    <a:lnTo>
                      <a:pt x="61" y="36"/>
                    </a:lnTo>
                    <a:lnTo>
                      <a:pt x="61" y="35"/>
                    </a:lnTo>
                    <a:lnTo>
                      <a:pt x="61" y="33"/>
                    </a:lnTo>
                    <a:lnTo>
                      <a:pt x="59" y="33"/>
                    </a:lnTo>
                    <a:lnTo>
                      <a:pt x="58" y="33"/>
                    </a:lnTo>
                    <a:lnTo>
                      <a:pt x="58" y="33"/>
                    </a:lnTo>
                    <a:lnTo>
                      <a:pt x="58" y="36"/>
                    </a:lnTo>
                    <a:lnTo>
                      <a:pt x="58" y="38"/>
                    </a:lnTo>
                    <a:lnTo>
                      <a:pt x="56" y="40"/>
                    </a:lnTo>
                    <a:lnTo>
                      <a:pt x="55" y="43"/>
                    </a:lnTo>
                    <a:lnTo>
                      <a:pt x="53" y="44"/>
                    </a:lnTo>
                    <a:lnTo>
                      <a:pt x="53" y="46"/>
                    </a:lnTo>
                    <a:lnTo>
                      <a:pt x="53" y="46"/>
                    </a:lnTo>
                    <a:lnTo>
                      <a:pt x="53" y="47"/>
                    </a:lnTo>
                    <a:lnTo>
                      <a:pt x="53" y="49"/>
                    </a:lnTo>
                    <a:lnTo>
                      <a:pt x="53" y="49"/>
                    </a:lnTo>
                    <a:lnTo>
                      <a:pt x="52" y="51"/>
                    </a:lnTo>
                    <a:lnTo>
                      <a:pt x="52" y="49"/>
                    </a:lnTo>
                    <a:lnTo>
                      <a:pt x="52" y="47"/>
                    </a:lnTo>
                    <a:lnTo>
                      <a:pt x="48" y="46"/>
                    </a:lnTo>
                    <a:lnTo>
                      <a:pt x="50" y="44"/>
                    </a:lnTo>
                    <a:lnTo>
                      <a:pt x="50" y="44"/>
                    </a:lnTo>
                    <a:lnTo>
                      <a:pt x="47" y="43"/>
                    </a:lnTo>
                    <a:lnTo>
                      <a:pt x="45" y="41"/>
                    </a:lnTo>
                    <a:lnTo>
                      <a:pt x="44" y="40"/>
                    </a:lnTo>
                    <a:lnTo>
                      <a:pt x="44" y="38"/>
                    </a:lnTo>
                    <a:lnTo>
                      <a:pt x="44" y="35"/>
                    </a:lnTo>
                    <a:lnTo>
                      <a:pt x="44" y="35"/>
                    </a:lnTo>
                    <a:lnTo>
                      <a:pt x="42" y="35"/>
                    </a:lnTo>
                    <a:lnTo>
                      <a:pt x="42" y="35"/>
                    </a:lnTo>
                    <a:lnTo>
                      <a:pt x="41" y="35"/>
                    </a:lnTo>
                    <a:lnTo>
                      <a:pt x="39" y="36"/>
                    </a:lnTo>
                    <a:lnTo>
                      <a:pt x="37" y="38"/>
                    </a:lnTo>
                    <a:lnTo>
                      <a:pt x="37" y="40"/>
                    </a:lnTo>
                    <a:lnTo>
                      <a:pt x="37" y="41"/>
                    </a:lnTo>
                    <a:lnTo>
                      <a:pt x="37" y="41"/>
                    </a:lnTo>
                    <a:lnTo>
                      <a:pt x="36" y="44"/>
                    </a:lnTo>
                    <a:lnTo>
                      <a:pt x="36" y="46"/>
                    </a:lnTo>
                    <a:lnTo>
                      <a:pt x="33" y="47"/>
                    </a:lnTo>
                    <a:lnTo>
                      <a:pt x="31" y="47"/>
                    </a:lnTo>
                    <a:lnTo>
                      <a:pt x="28" y="46"/>
                    </a:lnTo>
                    <a:lnTo>
                      <a:pt x="27" y="46"/>
                    </a:lnTo>
                    <a:lnTo>
                      <a:pt x="25" y="47"/>
                    </a:lnTo>
                    <a:lnTo>
                      <a:pt x="23" y="47"/>
                    </a:lnTo>
                    <a:lnTo>
                      <a:pt x="20" y="49"/>
                    </a:lnTo>
                    <a:lnTo>
                      <a:pt x="19" y="47"/>
                    </a:lnTo>
                    <a:lnTo>
                      <a:pt x="19" y="47"/>
                    </a:lnTo>
                    <a:lnTo>
                      <a:pt x="17" y="47"/>
                    </a:lnTo>
                    <a:lnTo>
                      <a:pt x="17" y="46"/>
                    </a:lnTo>
                    <a:lnTo>
                      <a:pt x="16" y="44"/>
                    </a:lnTo>
                    <a:lnTo>
                      <a:pt x="16" y="43"/>
                    </a:lnTo>
                    <a:lnTo>
                      <a:pt x="14" y="43"/>
                    </a:lnTo>
                    <a:lnTo>
                      <a:pt x="14" y="41"/>
                    </a:lnTo>
                    <a:lnTo>
                      <a:pt x="14" y="38"/>
                    </a:lnTo>
                    <a:lnTo>
                      <a:pt x="14" y="38"/>
                    </a:lnTo>
                    <a:lnTo>
                      <a:pt x="14" y="36"/>
                    </a:lnTo>
                    <a:lnTo>
                      <a:pt x="14" y="35"/>
                    </a:lnTo>
                    <a:lnTo>
                      <a:pt x="14" y="35"/>
                    </a:lnTo>
                    <a:lnTo>
                      <a:pt x="11" y="35"/>
                    </a:lnTo>
                    <a:lnTo>
                      <a:pt x="8" y="35"/>
                    </a:lnTo>
                    <a:lnTo>
                      <a:pt x="6" y="35"/>
                    </a:lnTo>
                    <a:lnTo>
                      <a:pt x="5" y="36"/>
                    </a:lnTo>
                    <a:lnTo>
                      <a:pt x="5" y="38"/>
                    </a:lnTo>
                    <a:lnTo>
                      <a:pt x="5" y="38"/>
                    </a:lnTo>
                    <a:lnTo>
                      <a:pt x="5" y="40"/>
                    </a:lnTo>
                    <a:lnTo>
                      <a:pt x="3" y="41"/>
                    </a:lnTo>
                    <a:lnTo>
                      <a:pt x="2" y="41"/>
                    </a:lnTo>
                    <a:lnTo>
                      <a:pt x="0" y="43"/>
                    </a:lnTo>
                    <a:lnTo>
                      <a:pt x="0" y="41"/>
                    </a:lnTo>
                    <a:lnTo>
                      <a:pt x="0" y="40"/>
                    </a:lnTo>
                    <a:lnTo>
                      <a:pt x="2" y="40"/>
                    </a:lnTo>
                    <a:lnTo>
                      <a:pt x="2" y="38"/>
                    </a:lnTo>
                    <a:lnTo>
                      <a:pt x="2" y="36"/>
                    </a:lnTo>
                    <a:lnTo>
                      <a:pt x="3" y="36"/>
                    </a:lnTo>
                    <a:lnTo>
                      <a:pt x="2" y="35"/>
                    </a:lnTo>
                    <a:lnTo>
                      <a:pt x="2" y="33"/>
                    </a:lnTo>
                    <a:lnTo>
                      <a:pt x="2" y="33"/>
                    </a:lnTo>
                    <a:lnTo>
                      <a:pt x="3" y="32"/>
                    </a:lnTo>
                    <a:lnTo>
                      <a:pt x="3" y="30"/>
                    </a:lnTo>
                    <a:lnTo>
                      <a:pt x="5" y="29"/>
                    </a:lnTo>
                    <a:lnTo>
                      <a:pt x="8" y="27"/>
                    </a:lnTo>
                    <a:lnTo>
                      <a:pt x="8" y="24"/>
                    </a:lnTo>
                    <a:lnTo>
                      <a:pt x="8" y="22"/>
                    </a:lnTo>
                    <a:lnTo>
                      <a:pt x="8" y="21"/>
                    </a:lnTo>
                    <a:lnTo>
                      <a:pt x="11" y="21"/>
                    </a:lnTo>
                    <a:lnTo>
                      <a:pt x="12" y="19"/>
                    </a:lnTo>
                    <a:lnTo>
                      <a:pt x="12" y="19"/>
                    </a:lnTo>
                    <a:lnTo>
                      <a:pt x="14" y="16"/>
                    </a:lnTo>
                    <a:lnTo>
                      <a:pt x="17" y="13"/>
                    </a:lnTo>
                    <a:lnTo>
                      <a:pt x="17" y="13"/>
                    </a:lnTo>
                    <a:lnTo>
                      <a:pt x="17" y="11"/>
                    </a:lnTo>
                    <a:lnTo>
                      <a:pt x="17" y="11"/>
                    </a:lnTo>
                    <a:lnTo>
                      <a:pt x="17" y="11"/>
                    </a:lnTo>
                    <a:lnTo>
                      <a:pt x="17" y="11"/>
                    </a:lnTo>
                    <a:lnTo>
                      <a:pt x="16" y="10"/>
                    </a:lnTo>
                    <a:lnTo>
                      <a:pt x="17" y="8"/>
                    </a:lnTo>
                    <a:lnTo>
                      <a:pt x="19" y="8"/>
                    </a:lnTo>
                    <a:lnTo>
                      <a:pt x="20" y="8"/>
                    </a:lnTo>
                    <a:lnTo>
                      <a:pt x="20" y="8"/>
                    </a:lnTo>
                    <a:lnTo>
                      <a:pt x="20" y="8"/>
                    </a:lnTo>
                    <a:lnTo>
                      <a:pt x="22" y="8"/>
                    </a:lnTo>
                    <a:lnTo>
                      <a:pt x="22" y="10"/>
                    </a:lnTo>
                    <a:lnTo>
                      <a:pt x="23" y="8"/>
                    </a:lnTo>
                    <a:lnTo>
                      <a:pt x="25" y="8"/>
                    </a:lnTo>
                    <a:lnTo>
                      <a:pt x="27" y="7"/>
                    </a:lnTo>
                    <a:lnTo>
                      <a:pt x="27" y="7"/>
                    </a:lnTo>
                    <a:lnTo>
                      <a:pt x="28" y="5"/>
                    </a:lnTo>
                    <a:lnTo>
                      <a:pt x="30" y="5"/>
                    </a:lnTo>
                    <a:lnTo>
                      <a:pt x="34" y="5"/>
                    </a:lnTo>
                    <a:lnTo>
                      <a:pt x="37" y="5"/>
                    </a:lnTo>
                    <a:lnTo>
                      <a:pt x="39" y="5"/>
                    </a:lnTo>
                    <a:lnTo>
                      <a:pt x="41" y="5"/>
                    </a:lnTo>
                    <a:lnTo>
                      <a:pt x="42" y="5"/>
                    </a:lnTo>
                    <a:lnTo>
                      <a:pt x="42" y="5"/>
                    </a:lnTo>
                    <a:lnTo>
                      <a:pt x="44" y="5"/>
                    </a:lnTo>
                    <a:lnTo>
                      <a:pt x="44" y="4"/>
                    </a:lnTo>
                    <a:lnTo>
                      <a:pt x="45" y="4"/>
                    </a:lnTo>
                    <a:lnTo>
                      <a:pt x="45" y="4"/>
                    </a:lnTo>
                    <a:lnTo>
                      <a:pt x="45" y="4"/>
                    </a:lnTo>
                    <a:lnTo>
                      <a:pt x="45" y="4"/>
                    </a:lnTo>
                    <a:lnTo>
                      <a:pt x="44" y="4"/>
                    </a:lnTo>
                    <a:lnTo>
                      <a:pt x="42" y="4"/>
                    </a:lnTo>
                    <a:lnTo>
                      <a:pt x="42" y="2"/>
                    </a:lnTo>
                    <a:lnTo>
                      <a:pt x="44" y="2"/>
                    </a:lnTo>
                    <a:lnTo>
                      <a:pt x="44" y="0"/>
                    </a:lnTo>
                    <a:lnTo>
                      <a:pt x="45" y="0"/>
                    </a:lnTo>
                    <a:lnTo>
                      <a:pt x="47" y="0"/>
                    </a:lnTo>
                    <a:lnTo>
                      <a:pt x="48" y="2"/>
                    </a:lnTo>
                    <a:lnTo>
                      <a:pt x="48" y="2"/>
                    </a:lnTo>
                    <a:lnTo>
                      <a:pt x="48" y="2"/>
                    </a:lnTo>
                    <a:lnTo>
                      <a:pt x="50" y="2"/>
                    </a:lnTo>
                    <a:lnTo>
                      <a:pt x="50" y="2"/>
                    </a:lnTo>
                    <a:lnTo>
                      <a:pt x="50" y="4"/>
                    </a:lnTo>
                    <a:lnTo>
                      <a:pt x="52" y="4"/>
                    </a:lnTo>
                    <a:lnTo>
                      <a:pt x="55" y="4"/>
                    </a:lnTo>
                    <a:lnTo>
                      <a:pt x="56" y="4"/>
                    </a:lnTo>
                    <a:lnTo>
                      <a:pt x="59" y="5"/>
                    </a:lnTo>
                    <a:lnTo>
                      <a:pt x="62" y="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6" name="Freeform 43">
                <a:extLst>
                  <a:ext uri="{FF2B5EF4-FFF2-40B4-BE49-F238E27FC236}">
                    <a16:creationId xmlns:a16="http://schemas.microsoft.com/office/drawing/2014/main" id="{BFFA8657-A480-D438-97AD-CFD0110A3C5F}"/>
                  </a:ext>
                </a:extLst>
              </p:cNvPr>
              <p:cNvSpPr>
                <a:spLocks noEditPoints="1"/>
              </p:cNvSpPr>
              <p:nvPr/>
            </p:nvSpPr>
            <p:spPr bwMode="gray">
              <a:xfrm>
                <a:off x="2524" y="1388"/>
                <a:ext cx="107" cy="113"/>
              </a:xfrm>
              <a:custGeom>
                <a:avLst/>
                <a:gdLst>
                  <a:gd name="T0" fmla="*/ 106 w 107"/>
                  <a:gd name="T1" fmla="*/ 41 h 113"/>
                  <a:gd name="T2" fmla="*/ 103 w 107"/>
                  <a:gd name="T3" fmla="*/ 30 h 113"/>
                  <a:gd name="T4" fmla="*/ 104 w 107"/>
                  <a:gd name="T5" fmla="*/ 24 h 113"/>
                  <a:gd name="T6" fmla="*/ 100 w 107"/>
                  <a:gd name="T7" fmla="*/ 22 h 113"/>
                  <a:gd name="T8" fmla="*/ 95 w 107"/>
                  <a:gd name="T9" fmla="*/ 16 h 113"/>
                  <a:gd name="T10" fmla="*/ 81 w 107"/>
                  <a:gd name="T11" fmla="*/ 16 h 113"/>
                  <a:gd name="T12" fmla="*/ 71 w 107"/>
                  <a:gd name="T13" fmla="*/ 19 h 113"/>
                  <a:gd name="T14" fmla="*/ 64 w 107"/>
                  <a:gd name="T15" fmla="*/ 13 h 113"/>
                  <a:gd name="T16" fmla="*/ 54 w 107"/>
                  <a:gd name="T17" fmla="*/ 8 h 113"/>
                  <a:gd name="T18" fmla="*/ 46 w 107"/>
                  <a:gd name="T19" fmla="*/ 8 h 113"/>
                  <a:gd name="T20" fmla="*/ 42 w 107"/>
                  <a:gd name="T21" fmla="*/ 9 h 113"/>
                  <a:gd name="T22" fmla="*/ 42 w 107"/>
                  <a:gd name="T23" fmla="*/ 3 h 113"/>
                  <a:gd name="T24" fmla="*/ 39 w 107"/>
                  <a:gd name="T25" fmla="*/ 2 h 113"/>
                  <a:gd name="T26" fmla="*/ 39 w 107"/>
                  <a:gd name="T27" fmla="*/ 3 h 113"/>
                  <a:gd name="T28" fmla="*/ 34 w 107"/>
                  <a:gd name="T29" fmla="*/ 5 h 113"/>
                  <a:gd name="T30" fmla="*/ 29 w 107"/>
                  <a:gd name="T31" fmla="*/ 8 h 113"/>
                  <a:gd name="T32" fmla="*/ 28 w 107"/>
                  <a:gd name="T33" fmla="*/ 11 h 113"/>
                  <a:gd name="T34" fmla="*/ 21 w 107"/>
                  <a:gd name="T35" fmla="*/ 8 h 113"/>
                  <a:gd name="T36" fmla="*/ 18 w 107"/>
                  <a:gd name="T37" fmla="*/ 6 h 113"/>
                  <a:gd name="T38" fmla="*/ 12 w 107"/>
                  <a:gd name="T39" fmla="*/ 9 h 113"/>
                  <a:gd name="T40" fmla="*/ 7 w 107"/>
                  <a:gd name="T41" fmla="*/ 13 h 113"/>
                  <a:gd name="T42" fmla="*/ 9 w 107"/>
                  <a:gd name="T43" fmla="*/ 24 h 113"/>
                  <a:gd name="T44" fmla="*/ 14 w 107"/>
                  <a:gd name="T45" fmla="*/ 28 h 113"/>
                  <a:gd name="T46" fmla="*/ 12 w 107"/>
                  <a:gd name="T47" fmla="*/ 31 h 113"/>
                  <a:gd name="T48" fmla="*/ 14 w 107"/>
                  <a:gd name="T49" fmla="*/ 36 h 113"/>
                  <a:gd name="T50" fmla="*/ 15 w 107"/>
                  <a:gd name="T51" fmla="*/ 42 h 113"/>
                  <a:gd name="T52" fmla="*/ 9 w 107"/>
                  <a:gd name="T53" fmla="*/ 41 h 113"/>
                  <a:gd name="T54" fmla="*/ 6 w 107"/>
                  <a:gd name="T55" fmla="*/ 42 h 113"/>
                  <a:gd name="T56" fmla="*/ 10 w 107"/>
                  <a:gd name="T57" fmla="*/ 47 h 113"/>
                  <a:gd name="T58" fmla="*/ 9 w 107"/>
                  <a:gd name="T59" fmla="*/ 52 h 113"/>
                  <a:gd name="T60" fmla="*/ 6 w 107"/>
                  <a:gd name="T61" fmla="*/ 56 h 113"/>
                  <a:gd name="T62" fmla="*/ 3 w 107"/>
                  <a:gd name="T63" fmla="*/ 58 h 113"/>
                  <a:gd name="T64" fmla="*/ 4 w 107"/>
                  <a:gd name="T65" fmla="*/ 69 h 113"/>
                  <a:gd name="T66" fmla="*/ 1 w 107"/>
                  <a:gd name="T67" fmla="*/ 75 h 113"/>
                  <a:gd name="T68" fmla="*/ 4 w 107"/>
                  <a:gd name="T69" fmla="*/ 78 h 113"/>
                  <a:gd name="T70" fmla="*/ 12 w 107"/>
                  <a:gd name="T71" fmla="*/ 80 h 113"/>
                  <a:gd name="T72" fmla="*/ 15 w 107"/>
                  <a:gd name="T73" fmla="*/ 86 h 113"/>
                  <a:gd name="T74" fmla="*/ 20 w 107"/>
                  <a:gd name="T75" fmla="*/ 86 h 113"/>
                  <a:gd name="T76" fmla="*/ 20 w 107"/>
                  <a:gd name="T77" fmla="*/ 92 h 113"/>
                  <a:gd name="T78" fmla="*/ 18 w 107"/>
                  <a:gd name="T79" fmla="*/ 100 h 113"/>
                  <a:gd name="T80" fmla="*/ 18 w 107"/>
                  <a:gd name="T81" fmla="*/ 113 h 113"/>
                  <a:gd name="T82" fmla="*/ 31 w 107"/>
                  <a:gd name="T83" fmla="*/ 108 h 113"/>
                  <a:gd name="T84" fmla="*/ 61 w 107"/>
                  <a:gd name="T85" fmla="*/ 99 h 113"/>
                  <a:gd name="T86" fmla="*/ 64 w 107"/>
                  <a:gd name="T87" fmla="*/ 99 h 113"/>
                  <a:gd name="T88" fmla="*/ 70 w 107"/>
                  <a:gd name="T89" fmla="*/ 97 h 113"/>
                  <a:gd name="T90" fmla="*/ 92 w 107"/>
                  <a:gd name="T91" fmla="*/ 99 h 113"/>
                  <a:gd name="T92" fmla="*/ 96 w 107"/>
                  <a:gd name="T93" fmla="*/ 99 h 113"/>
                  <a:gd name="T94" fmla="*/ 101 w 107"/>
                  <a:gd name="T95" fmla="*/ 99 h 113"/>
                  <a:gd name="T96" fmla="*/ 101 w 107"/>
                  <a:gd name="T97" fmla="*/ 91 h 113"/>
                  <a:gd name="T98" fmla="*/ 96 w 107"/>
                  <a:gd name="T99" fmla="*/ 85 h 113"/>
                  <a:gd name="T100" fmla="*/ 95 w 107"/>
                  <a:gd name="T101" fmla="*/ 72 h 113"/>
                  <a:gd name="T102" fmla="*/ 98 w 107"/>
                  <a:gd name="T103" fmla="*/ 63 h 113"/>
                  <a:gd name="T104" fmla="*/ 101 w 107"/>
                  <a:gd name="T105" fmla="*/ 50 h 113"/>
                  <a:gd name="T106" fmla="*/ 104 w 107"/>
                  <a:gd name="T107" fmla="*/ 4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113">
                    <a:moveTo>
                      <a:pt x="95" y="99"/>
                    </a:moveTo>
                    <a:lnTo>
                      <a:pt x="93" y="100"/>
                    </a:lnTo>
                    <a:lnTo>
                      <a:pt x="96" y="100"/>
                    </a:lnTo>
                    <a:lnTo>
                      <a:pt x="96" y="99"/>
                    </a:lnTo>
                    <a:lnTo>
                      <a:pt x="95" y="99"/>
                    </a:lnTo>
                    <a:close/>
                    <a:moveTo>
                      <a:pt x="106" y="41"/>
                    </a:moveTo>
                    <a:lnTo>
                      <a:pt x="106" y="35"/>
                    </a:lnTo>
                    <a:lnTo>
                      <a:pt x="106" y="35"/>
                    </a:lnTo>
                    <a:lnTo>
                      <a:pt x="104" y="35"/>
                    </a:lnTo>
                    <a:lnTo>
                      <a:pt x="104" y="31"/>
                    </a:lnTo>
                    <a:lnTo>
                      <a:pt x="104" y="31"/>
                    </a:lnTo>
                    <a:lnTo>
                      <a:pt x="103" y="30"/>
                    </a:lnTo>
                    <a:lnTo>
                      <a:pt x="103" y="30"/>
                    </a:lnTo>
                    <a:lnTo>
                      <a:pt x="104" y="27"/>
                    </a:lnTo>
                    <a:lnTo>
                      <a:pt x="104" y="27"/>
                    </a:lnTo>
                    <a:lnTo>
                      <a:pt x="103" y="25"/>
                    </a:lnTo>
                    <a:lnTo>
                      <a:pt x="103" y="25"/>
                    </a:lnTo>
                    <a:lnTo>
                      <a:pt x="104" y="24"/>
                    </a:lnTo>
                    <a:lnTo>
                      <a:pt x="104" y="22"/>
                    </a:lnTo>
                    <a:lnTo>
                      <a:pt x="103" y="24"/>
                    </a:lnTo>
                    <a:lnTo>
                      <a:pt x="103" y="24"/>
                    </a:lnTo>
                    <a:lnTo>
                      <a:pt x="101" y="24"/>
                    </a:lnTo>
                    <a:lnTo>
                      <a:pt x="101" y="22"/>
                    </a:lnTo>
                    <a:lnTo>
                      <a:pt x="100" y="22"/>
                    </a:lnTo>
                    <a:lnTo>
                      <a:pt x="100" y="20"/>
                    </a:lnTo>
                    <a:lnTo>
                      <a:pt x="98" y="19"/>
                    </a:lnTo>
                    <a:lnTo>
                      <a:pt x="98" y="19"/>
                    </a:lnTo>
                    <a:lnTo>
                      <a:pt x="96" y="17"/>
                    </a:lnTo>
                    <a:lnTo>
                      <a:pt x="95" y="16"/>
                    </a:lnTo>
                    <a:lnTo>
                      <a:pt x="95" y="16"/>
                    </a:lnTo>
                    <a:lnTo>
                      <a:pt x="93" y="16"/>
                    </a:lnTo>
                    <a:lnTo>
                      <a:pt x="92" y="16"/>
                    </a:lnTo>
                    <a:lnTo>
                      <a:pt x="89" y="14"/>
                    </a:lnTo>
                    <a:lnTo>
                      <a:pt x="84" y="16"/>
                    </a:lnTo>
                    <a:lnTo>
                      <a:pt x="82" y="16"/>
                    </a:lnTo>
                    <a:lnTo>
                      <a:pt x="81" y="16"/>
                    </a:lnTo>
                    <a:lnTo>
                      <a:pt x="78" y="17"/>
                    </a:lnTo>
                    <a:lnTo>
                      <a:pt x="76" y="19"/>
                    </a:lnTo>
                    <a:lnTo>
                      <a:pt x="75" y="20"/>
                    </a:lnTo>
                    <a:lnTo>
                      <a:pt x="73" y="20"/>
                    </a:lnTo>
                    <a:lnTo>
                      <a:pt x="71" y="19"/>
                    </a:lnTo>
                    <a:lnTo>
                      <a:pt x="71" y="19"/>
                    </a:lnTo>
                    <a:lnTo>
                      <a:pt x="70" y="19"/>
                    </a:lnTo>
                    <a:lnTo>
                      <a:pt x="68" y="17"/>
                    </a:lnTo>
                    <a:lnTo>
                      <a:pt x="67" y="16"/>
                    </a:lnTo>
                    <a:lnTo>
                      <a:pt x="65" y="16"/>
                    </a:lnTo>
                    <a:lnTo>
                      <a:pt x="64" y="14"/>
                    </a:lnTo>
                    <a:lnTo>
                      <a:pt x="64" y="13"/>
                    </a:lnTo>
                    <a:lnTo>
                      <a:pt x="62" y="11"/>
                    </a:lnTo>
                    <a:lnTo>
                      <a:pt x="62" y="9"/>
                    </a:lnTo>
                    <a:lnTo>
                      <a:pt x="61" y="8"/>
                    </a:lnTo>
                    <a:lnTo>
                      <a:pt x="59" y="8"/>
                    </a:lnTo>
                    <a:lnTo>
                      <a:pt x="56" y="8"/>
                    </a:lnTo>
                    <a:lnTo>
                      <a:pt x="54" y="8"/>
                    </a:lnTo>
                    <a:lnTo>
                      <a:pt x="54" y="6"/>
                    </a:lnTo>
                    <a:lnTo>
                      <a:pt x="53" y="6"/>
                    </a:lnTo>
                    <a:lnTo>
                      <a:pt x="51" y="6"/>
                    </a:lnTo>
                    <a:lnTo>
                      <a:pt x="48" y="6"/>
                    </a:lnTo>
                    <a:lnTo>
                      <a:pt x="48" y="8"/>
                    </a:lnTo>
                    <a:lnTo>
                      <a:pt x="46" y="8"/>
                    </a:lnTo>
                    <a:lnTo>
                      <a:pt x="46" y="8"/>
                    </a:lnTo>
                    <a:lnTo>
                      <a:pt x="46" y="9"/>
                    </a:lnTo>
                    <a:lnTo>
                      <a:pt x="45" y="9"/>
                    </a:lnTo>
                    <a:lnTo>
                      <a:pt x="43" y="9"/>
                    </a:lnTo>
                    <a:lnTo>
                      <a:pt x="42" y="9"/>
                    </a:lnTo>
                    <a:lnTo>
                      <a:pt x="42" y="9"/>
                    </a:lnTo>
                    <a:lnTo>
                      <a:pt x="42" y="8"/>
                    </a:lnTo>
                    <a:lnTo>
                      <a:pt x="42" y="8"/>
                    </a:lnTo>
                    <a:lnTo>
                      <a:pt x="42" y="6"/>
                    </a:lnTo>
                    <a:lnTo>
                      <a:pt x="42" y="6"/>
                    </a:lnTo>
                    <a:lnTo>
                      <a:pt x="42" y="5"/>
                    </a:lnTo>
                    <a:lnTo>
                      <a:pt x="42" y="3"/>
                    </a:lnTo>
                    <a:lnTo>
                      <a:pt x="42" y="3"/>
                    </a:lnTo>
                    <a:lnTo>
                      <a:pt x="42" y="0"/>
                    </a:lnTo>
                    <a:lnTo>
                      <a:pt x="42" y="0"/>
                    </a:lnTo>
                    <a:lnTo>
                      <a:pt x="39" y="2"/>
                    </a:lnTo>
                    <a:lnTo>
                      <a:pt x="39" y="2"/>
                    </a:lnTo>
                    <a:lnTo>
                      <a:pt x="39" y="2"/>
                    </a:lnTo>
                    <a:lnTo>
                      <a:pt x="39" y="2"/>
                    </a:lnTo>
                    <a:lnTo>
                      <a:pt x="39" y="2"/>
                    </a:lnTo>
                    <a:lnTo>
                      <a:pt x="39" y="2"/>
                    </a:lnTo>
                    <a:lnTo>
                      <a:pt x="39" y="3"/>
                    </a:lnTo>
                    <a:lnTo>
                      <a:pt x="39" y="3"/>
                    </a:lnTo>
                    <a:lnTo>
                      <a:pt x="39" y="3"/>
                    </a:lnTo>
                    <a:lnTo>
                      <a:pt x="37" y="3"/>
                    </a:lnTo>
                    <a:lnTo>
                      <a:pt x="35" y="3"/>
                    </a:lnTo>
                    <a:lnTo>
                      <a:pt x="34" y="2"/>
                    </a:lnTo>
                    <a:lnTo>
                      <a:pt x="34" y="2"/>
                    </a:lnTo>
                    <a:lnTo>
                      <a:pt x="34" y="3"/>
                    </a:lnTo>
                    <a:lnTo>
                      <a:pt x="34" y="5"/>
                    </a:lnTo>
                    <a:lnTo>
                      <a:pt x="34" y="6"/>
                    </a:lnTo>
                    <a:lnTo>
                      <a:pt x="34" y="8"/>
                    </a:lnTo>
                    <a:lnTo>
                      <a:pt x="32" y="8"/>
                    </a:lnTo>
                    <a:lnTo>
                      <a:pt x="31" y="8"/>
                    </a:lnTo>
                    <a:lnTo>
                      <a:pt x="29" y="8"/>
                    </a:lnTo>
                    <a:lnTo>
                      <a:pt x="29" y="8"/>
                    </a:lnTo>
                    <a:lnTo>
                      <a:pt x="28" y="8"/>
                    </a:lnTo>
                    <a:lnTo>
                      <a:pt x="28" y="9"/>
                    </a:lnTo>
                    <a:lnTo>
                      <a:pt x="29" y="9"/>
                    </a:lnTo>
                    <a:lnTo>
                      <a:pt x="29" y="11"/>
                    </a:lnTo>
                    <a:lnTo>
                      <a:pt x="28" y="11"/>
                    </a:lnTo>
                    <a:lnTo>
                      <a:pt x="28" y="11"/>
                    </a:lnTo>
                    <a:lnTo>
                      <a:pt x="28" y="11"/>
                    </a:lnTo>
                    <a:lnTo>
                      <a:pt x="26" y="9"/>
                    </a:lnTo>
                    <a:lnTo>
                      <a:pt x="25" y="9"/>
                    </a:lnTo>
                    <a:lnTo>
                      <a:pt x="21" y="9"/>
                    </a:lnTo>
                    <a:lnTo>
                      <a:pt x="21" y="9"/>
                    </a:lnTo>
                    <a:lnTo>
                      <a:pt x="21" y="8"/>
                    </a:lnTo>
                    <a:lnTo>
                      <a:pt x="21" y="8"/>
                    </a:lnTo>
                    <a:lnTo>
                      <a:pt x="21" y="8"/>
                    </a:lnTo>
                    <a:lnTo>
                      <a:pt x="21" y="8"/>
                    </a:lnTo>
                    <a:lnTo>
                      <a:pt x="20" y="6"/>
                    </a:lnTo>
                    <a:lnTo>
                      <a:pt x="20" y="6"/>
                    </a:lnTo>
                    <a:lnTo>
                      <a:pt x="18" y="6"/>
                    </a:lnTo>
                    <a:lnTo>
                      <a:pt x="18" y="6"/>
                    </a:lnTo>
                    <a:lnTo>
                      <a:pt x="17" y="6"/>
                    </a:lnTo>
                    <a:lnTo>
                      <a:pt x="17" y="6"/>
                    </a:lnTo>
                    <a:lnTo>
                      <a:pt x="15" y="8"/>
                    </a:lnTo>
                    <a:lnTo>
                      <a:pt x="14" y="9"/>
                    </a:lnTo>
                    <a:lnTo>
                      <a:pt x="12" y="9"/>
                    </a:lnTo>
                    <a:lnTo>
                      <a:pt x="10" y="11"/>
                    </a:lnTo>
                    <a:lnTo>
                      <a:pt x="10" y="11"/>
                    </a:lnTo>
                    <a:lnTo>
                      <a:pt x="10" y="11"/>
                    </a:lnTo>
                    <a:lnTo>
                      <a:pt x="10" y="11"/>
                    </a:lnTo>
                    <a:lnTo>
                      <a:pt x="9" y="13"/>
                    </a:lnTo>
                    <a:lnTo>
                      <a:pt x="7" y="13"/>
                    </a:lnTo>
                    <a:lnTo>
                      <a:pt x="7" y="13"/>
                    </a:lnTo>
                    <a:lnTo>
                      <a:pt x="7" y="14"/>
                    </a:lnTo>
                    <a:lnTo>
                      <a:pt x="7" y="16"/>
                    </a:lnTo>
                    <a:lnTo>
                      <a:pt x="7" y="19"/>
                    </a:lnTo>
                    <a:lnTo>
                      <a:pt x="7" y="22"/>
                    </a:lnTo>
                    <a:lnTo>
                      <a:pt x="9" y="24"/>
                    </a:lnTo>
                    <a:lnTo>
                      <a:pt x="10" y="24"/>
                    </a:lnTo>
                    <a:lnTo>
                      <a:pt x="10" y="24"/>
                    </a:lnTo>
                    <a:lnTo>
                      <a:pt x="12" y="24"/>
                    </a:lnTo>
                    <a:lnTo>
                      <a:pt x="12" y="25"/>
                    </a:lnTo>
                    <a:lnTo>
                      <a:pt x="12" y="28"/>
                    </a:lnTo>
                    <a:lnTo>
                      <a:pt x="14" y="28"/>
                    </a:lnTo>
                    <a:lnTo>
                      <a:pt x="14" y="30"/>
                    </a:lnTo>
                    <a:lnTo>
                      <a:pt x="14" y="30"/>
                    </a:lnTo>
                    <a:lnTo>
                      <a:pt x="14" y="30"/>
                    </a:lnTo>
                    <a:lnTo>
                      <a:pt x="12" y="31"/>
                    </a:lnTo>
                    <a:lnTo>
                      <a:pt x="12" y="31"/>
                    </a:lnTo>
                    <a:lnTo>
                      <a:pt x="12" y="31"/>
                    </a:lnTo>
                    <a:lnTo>
                      <a:pt x="10" y="33"/>
                    </a:lnTo>
                    <a:lnTo>
                      <a:pt x="10" y="33"/>
                    </a:lnTo>
                    <a:lnTo>
                      <a:pt x="12" y="35"/>
                    </a:lnTo>
                    <a:lnTo>
                      <a:pt x="12" y="35"/>
                    </a:lnTo>
                    <a:lnTo>
                      <a:pt x="12" y="35"/>
                    </a:lnTo>
                    <a:lnTo>
                      <a:pt x="14" y="36"/>
                    </a:lnTo>
                    <a:lnTo>
                      <a:pt x="15" y="38"/>
                    </a:lnTo>
                    <a:lnTo>
                      <a:pt x="15" y="39"/>
                    </a:lnTo>
                    <a:lnTo>
                      <a:pt x="15" y="39"/>
                    </a:lnTo>
                    <a:lnTo>
                      <a:pt x="17" y="42"/>
                    </a:lnTo>
                    <a:lnTo>
                      <a:pt x="15" y="42"/>
                    </a:lnTo>
                    <a:lnTo>
                      <a:pt x="15" y="42"/>
                    </a:lnTo>
                    <a:lnTo>
                      <a:pt x="14" y="41"/>
                    </a:lnTo>
                    <a:lnTo>
                      <a:pt x="14" y="41"/>
                    </a:lnTo>
                    <a:lnTo>
                      <a:pt x="14" y="41"/>
                    </a:lnTo>
                    <a:lnTo>
                      <a:pt x="12" y="41"/>
                    </a:lnTo>
                    <a:lnTo>
                      <a:pt x="12" y="41"/>
                    </a:lnTo>
                    <a:lnTo>
                      <a:pt x="9" y="41"/>
                    </a:lnTo>
                    <a:lnTo>
                      <a:pt x="7" y="41"/>
                    </a:lnTo>
                    <a:lnTo>
                      <a:pt x="7" y="41"/>
                    </a:lnTo>
                    <a:lnTo>
                      <a:pt x="7" y="41"/>
                    </a:lnTo>
                    <a:lnTo>
                      <a:pt x="6" y="41"/>
                    </a:lnTo>
                    <a:lnTo>
                      <a:pt x="6" y="41"/>
                    </a:lnTo>
                    <a:lnTo>
                      <a:pt x="6" y="42"/>
                    </a:lnTo>
                    <a:lnTo>
                      <a:pt x="6" y="44"/>
                    </a:lnTo>
                    <a:lnTo>
                      <a:pt x="7" y="45"/>
                    </a:lnTo>
                    <a:lnTo>
                      <a:pt x="7" y="45"/>
                    </a:lnTo>
                    <a:lnTo>
                      <a:pt x="9" y="45"/>
                    </a:lnTo>
                    <a:lnTo>
                      <a:pt x="9" y="45"/>
                    </a:lnTo>
                    <a:lnTo>
                      <a:pt x="10" y="47"/>
                    </a:lnTo>
                    <a:lnTo>
                      <a:pt x="10" y="47"/>
                    </a:lnTo>
                    <a:lnTo>
                      <a:pt x="10" y="47"/>
                    </a:lnTo>
                    <a:lnTo>
                      <a:pt x="10" y="49"/>
                    </a:lnTo>
                    <a:lnTo>
                      <a:pt x="9" y="49"/>
                    </a:lnTo>
                    <a:lnTo>
                      <a:pt x="9" y="52"/>
                    </a:lnTo>
                    <a:lnTo>
                      <a:pt x="9" y="52"/>
                    </a:lnTo>
                    <a:lnTo>
                      <a:pt x="9" y="52"/>
                    </a:lnTo>
                    <a:lnTo>
                      <a:pt x="9" y="53"/>
                    </a:lnTo>
                    <a:lnTo>
                      <a:pt x="9" y="53"/>
                    </a:lnTo>
                    <a:lnTo>
                      <a:pt x="7" y="56"/>
                    </a:lnTo>
                    <a:lnTo>
                      <a:pt x="6" y="56"/>
                    </a:lnTo>
                    <a:lnTo>
                      <a:pt x="6" y="56"/>
                    </a:lnTo>
                    <a:lnTo>
                      <a:pt x="4" y="56"/>
                    </a:lnTo>
                    <a:lnTo>
                      <a:pt x="3" y="56"/>
                    </a:lnTo>
                    <a:lnTo>
                      <a:pt x="3" y="56"/>
                    </a:lnTo>
                    <a:lnTo>
                      <a:pt x="3" y="56"/>
                    </a:lnTo>
                    <a:lnTo>
                      <a:pt x="3" y="56"/>
                    </a:lnTo>
                    <a:lnTo>
                      <a:pt x="3" y="58"/>
                    </a:lnTo>
                    <a:lnTo>
                      <a:pt x="3" y="60"/>
                    </a:lnTo>
                    <a:lnTo>
                      <a:pt x="6" y="66"/>
                    </a:lnTo>
                    <a:lnTo>
                      <a:pt x="6" y="67"/>
                    </a:lnTo>
                    <a:lnTo>
                      <a:pt x="6" y="67"/>
                    </a:lnTo>
                    <a:lnTo>
                      <a:pt x="4" y="67"/>
                    </a:lnTo>
                    <a:lnTo>
                      <a:pt x="4" y="69"/>
                    </a:lnTo>
                    <a:lnTo>
                      <a:pt x="4" y="71"/>
                    </a:lnTo>
                    <a:lnTo>
                      <a:pt x="3" y="72"/>
                    </a:lnTo>
                    <a:lnTo>
                      <a:pt x="0" y="75"/>
                    </a:lnTo>
                    <a:lnTo>
                      <a:pt x="0" y="75"/>
                    </a:lnTo>
                    <a:lnTo>
                      <a:pt x="0" y="75"/>
                    </a:lnTo>
                    <a:lnTo>
                      <a:pt x="1" y="75"/>
                    </a:lnTo>
                    <a:lnTo>
                      <a:pt x="1" y="77"/>
                    </a:lnTo>
                    <a:lnTo>
                      <a:pt x="3" y="75"/>
                    </a:lnTo>
                    <a:lnTo>
                      <a:pt x="3" y="75"/>
                    </a:lnTo>
                    <a:lnTo>
                      <a:pt x="3" y="77"/>
                    </a:lnTo>
                    <a:lnTo>
                      <a:pt x="4" y="77"/>
                    </a:lnTo>
                    <a:lnTo>
                      <a:pt x="4" y="78"/>
                    </a:lnTo>
                    <a:lnTo>
                      <a:pt x="6" y="78"/>
                    </a:lnTo>
                    <a:lnTo>
                      <a:pt x="7" y="78"/>
                    </a:lnTo>
                    <a:lnTo>
                      <a:pt x="9" y="78"/>
                    </a:lnTo>
                    <a:lnTo>
                      <a:pt x="9" y="78"/>
                    </a:lnTo>
                    <a:lnTo>
                      <a:pt x="10" y="78"/>
                    </a:lnTo>
                    <a:lnTo>
                      <a:pt x="12" y="80"/>
                    </a:lnTo>
                    <a:lnTo>
                      <a:pt x="12" y="80"/>
                    </a:lnTo>
                    <a:lnTo>
                      <a:pt x="14" y="81"/>
                    </a:lnTo>
                    <a:lnTo>
                      <a:pt x="14" y="83"/>
                    </a:lnTo>
                    <a:lnTo>
                      <a:pt x="14" y="83"/>
                    </a:lnTo>
                    <a:lnTo>
                      <a:pt x="14" y="85"/>
                    </a:lnTo>
                    <a:lnTo>
                      <a:pt x="15" y="86"/>
                    </a:lnTo>
                    <a:lnTo>
                      <a:pt x="17" y="86"/>
                    </a:lnTo>
                    <a:lnTo>
                      <a:pt x="18" y="86"/>
                    </a:lnTo>
                    <a:lnTo>
                      <a:pt x="20" y="86"/>
                    </a:lnTo>
                    <a:lnTo>
                      <a:pt x="20" y="86"/>
                    </a:lnTo>
                    <a:lnTo>
                      <a:pt x="20" y="86"/>
                    </a:lnTo>
                    <a:lnTo>
                      <a:pt x="20" y="86"/>
                    </a:lnTo>
                    <a:lnTo>
                      <a:pt x="20" y="86"/>
                    </a:lnTo>
                    <a:lnTo>
                      <a:pt x="20" y="86"/>
                    </a:lnTo>
                    <a:lnTo>
                      <a:pt x="20" y="91"/>
                    </a:lnTo>
                    <a:lnTo>
                      <a:pt x="21" y="92"/>
                    </a:lnTo>
                    <a:lnTo>
                      <a:pt x="21" y="92"/>
                    </a:lnTo>
                    <a:lnTo>
                      <a:pt x="20" y="92"/>
                    </a:lnTo>
                    <a:lnTo>
                      <a:pt x="20" y="94"/>
                    </a:lnTo>
                    <a:lnTo>
                      <a:pt x="20" y="96"/>
                    </a:lnTo>
                    <a:lnTo>
                      <a:pt x="20" y="97"/>
                    </a:lnTo>
                    <a:lnTo>
                      <a:pt x="20" y="99"/>
                    </a:lnTo>
                    <a:lnTo>
                      <a:pt x="18" y="100"/>
                    </a:lnTo>
                    <a:lnTo>
                      <a:pt x="18" y="100"/>
                    </a:lnTo>
                    <a:lnTo>
                      <a:pt x="18" y="102"/>
                    </a:lnTo>
                    <a:lnTo>
                      <a:pt x="18" y="103"/>
                    </a:lnTo>
                    <a:lnTo>
                      <a:pt x="18" y="103"/>
                    </a:lnTo>
                    <a:lnTo>
                      <a:pt x="18" y="105"/>
                    </a:lnTo>
                    <a:lnTo>
                      <a:pt x="18" y="110"/>
                    </a:lnTo>
                    <a:lnTo>
                      <a:pt x="18" y="113"/>
                    </a:lnTo>
                    <a:lnTo>
                      <a:pt x="18" y="113"/>
                    </a:lnTo>
                    <a:lnTo>
                      <a:pt x="20" y="113"/>
                    </a:lnTo>
                    <a:lnTo>
                      <a:pt x="25" y="111"/>
                    </a:lnTo>
                    <a:lnTo>
                      <a:pt x="28" y="110"/>
                    </a:lnTo>
                    <a:lnTo>
                      <a:pt x="29" y="108"/>
                    </a:lnTo>
                    <a:lnTo>
                      <a:pt x="31" y="108"/>
                    </a:lnTo>
                    <a:lnTo>
                      <a:pt x="35" y="107"/>
                    </a:lnTo>
                    <a:lnTo>
                      <a:pt x="45" y="102"/>
                    </a:lnTo>
                    <a:lnTo>
                      <a:pt x="46" y="102"/>
                    </a:lnTo>
                    <a:lnTo>
                      <a:pt x="53" y="100"/>
                    </a:lnTo>
                    <a:lnTo>
                      <a:pt x="62" y="99"/>
                    </a:lnTo>
                    <a:lnTo>
                      <a:pt x="61" y="99"/>
                    </a:lnTo>
                    <a:lnTo>
                      <a:pt x="59" y="99"/>
                    </a:lnTo>
                    <a:lnTo>
                      <a:pt x="57" y="99"/>
                    </a:lnTo>
                    <a:lnTo>
                      <a:pt x="57" y="99"/>
                    </a:lnTo>
                    <a:lnTo>
                      <a:pt x="57" y="97"/>
                    </a:lnTo>
                    <a:lnTo>
                      <a:pt x="62" y="99"/>
                    </a:lnTo>
                    <a:lnTo>
                      <a:pt x="64" y="99"/>
                    </a:lnTo>
                    <a:lnTo>
                      <a:pt x="65" y="99"/>
                    </a:lnTo>
                    <a:lnTo>
                      <a:pt x="68" y="99"/>
                    </a:lnTo>
                    <a:lnTo>
                      <a:pt x="79" y="97"/>
                    </a:lnTo>
                    <a:lnTo>
                      <a:pt x="79" y="97"/>
                    </a:lnTo>
                    <a:lnTo>
                      <a:pt x="79" y="97"/>
                    </a:lnTo>
                    <a:lnTo>
                      <a:pt x="70" y="97"/>
                    </a:lnTo>
                    <a:lnTo>
                      <a:pt x="71" y="97"/>
                    </a:lnTo>
                    <a:lnTo>
                      <a:pt x="75" y="96"/>
                    </a:lnTo>
                    <a:lnTo>
                      <a:pt x="79" y="96"/>
                    </a:lnTo>
                    <a:lnTo>
                      <a:pt x="81" y="97"/>
                    </a:lnTo>
                    <a:lnTo>
                      <a:pt x="82" y="97"/>
                    </a:lnTo>
                    <a:lnTo>
                      <a:pt x="92" y="99"/>
                    </a:lnTo>
                    <a:lnTo>
                      <a:pt x="93" y="99"/>
                    </a:lnTo>
                    <a:lnTo>
                      <a:pt x="93" y="96"/>
                    </a:lnTo>
                    <a:lnTo>
                      <a:pt x="95" y="96"/>
                    </a:lnTo>
                    <a:lnTo>
                      <a:pt x="95" y="96"/>
                    </a:lnTo>
                    <a:lnTo>
                      <a:pt x="95" y="99"/>
                    </a:lnTo>
                    <a:lnTo>
                      <a:pt x="96" y="99"/>
                    </a:lnTo>
                    <a:lnTo>
                      <a:pt x="98" y="99"/>
                    </a:lnTo>
                    <a:lnTo>
                      <a:pt x="98" y="99"/>
                    </a:lnTo>
                    <a:lnTo>
                      <a:pt x="100" y="100"/>
                    </a:lnTo>
                    <a:lnTo>
                      <a:pt x="100" y="99"/>
                    </a:lnTo>
                    <a:lnTo>
                      <a:pt x="101" y="99"/>
                    </a:lnTo>
                    <a:lnTo>
                      <a:pt x="101" y="99"/>
                    </a:lnTo>
                    <a:lnTo>
                      <a:pt x="101" y="97"/>
                    </a:lnTo>
                    <a:lnTo>
                      <a:pt x="101" y="96"/>
                    </a:lnTo>
                    <a:lnTo>
                      <a:pt x="103" y="96"/>
                    </a:lnTo>
                    <a:lnTo>
                      <a:pt x="103" y="94"/>
                    </a:lnTo>
                    <a:lnTo>
                      <a:pt x="101" y="91"/>
                    </a:lnTo>
                    <a:lnTo>
                      <a:pt x="101" y="91"/>
                    </a:lnTo>
                    <a:lnTo>
                      <a:pt x="100" y="91"/>
                    </a:lnTo>
                    <a:lnTo>
                      <a:pt x="100" y="91"/>
                    </a:lnTo>
                    <a:lnTo>
                      <a:pt x="98" y="89"/>
                    </a:lnTo>
                    <a:lnTo>
                      <a:pt x="98" y="89"/>
                    </a:lnTo>
                    <a:lnTo>
                      <a:pt x="98" y="88"/>
                    </a:lnTo>
                    <a:lnTo>
                      <a:pt x="96" y="85"/>
                    </a:lnTo>
                    <a:lnTo>
                      <a:pt x="96" y="83"/>
                    </a:lnTo>
                    <a:lnTo>
                      <a:pt x="95" y="78"/>
                    </a:lnTo>
                    <a:lnTo>
                      <a:pt x="95" y="77"/>
                    </a:lnTo>
                    <a:lnTo>
                      <a:pt x="93" y="75"/>
                    </a:lnTo>
                    <a:lnTo>
                      <a:pt x="93" y="72"/>
                    </a:lnTo>
                    <a:lnTo>
                      <a:pt x="95" y="72"/>
                    </a:lnTo>
                    <a:lnTo>
                      <a:pt x="95" y="71"/>
                    </a:lnTo>
                    <a:lnTo>
                      <a:pt x="93" y="71"/>
                    </a:lnTo>
                    <a:lnTo>
                      <a:pt x="95" y="67"/>
                    </a:lnTo>
                    <a:lnTo>
                      <a:pt x="98" y="64"/>
                    </a:lnTo>
                    <a:lnTo>
                      <a:pt x="98" y="64"/>
                    </a:lnTo>
                    <a:lnTo>
                      <a:pt x="98" y="63"/>
                    </a:lnTo>
                    <a:lnTo>
                      <a:pt x="98" y="61"/>
                    </a:lnTo>
                    <a:lnTo>
                      <a:pt x="100" y="58"/>
                    </a:lnTo>
                    <a:lnTo>
                      <a:pt x="100" y="55"/>
                    </a:lnTo>
                    <a:lnTo>
                      <a:pt x="101" y="53"/>
                    </a:lnTo>
                    <a:lnTo>
                      <a:pt x="101" y="52"/>
                    </a:lnTo>
                    <a:lnTo>
                      <a:pt x="101" y="50"/>
                    </a:lnTo>
                    <a:lnTo>
                      <a:pt x="101" y="50"/>
                    </a:lnTo>
                    <a:lnTo>
                      <a:pt x="104" y="49"/>
                    </a:lnTo>
                    <a:lnTo>
                      <a:pt x="104" y="49"/>
                    </a:lnTo>
                    <a:lnTo>
                      <a:pt x="106" y="47"/>
                    </a:lnTo>
                    <a:lnTo>
                      <a:pt x="104" y="47"/>
                    </a:lnTo>
                    <a:lnTo>
                      <a:pt x="104" y="47"/>
                    </a:lnTo>
                    <a:lnTo>
                      <a:pt x="106" y="45"/>
                    </a:lnTo>
                    <a:lnTo>
                      <a:pt x="106" y="45"/>
                    </a:lnTo>
                    <a:lnTo>
                      <a:pt x="107" y="45"/>
                    </a:lnTo>
                    <a:lnTo>
                      <a:pt x="106" y="4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7" name="Freeform 44">
                <a:extLst>
                  <a:ext uri="{FF2B5EF4-FFF2-40B4-BE49-F238E27FC236}">
                    <a16:creationId xmlns:a16="http://schemas.microsoft.com/office/drawing/2014/main" id="{83209EBD-54D7-6683-B232-2E20B6AA92A3}"/>
                  </a:ext>
                </a:extLst>
              </p:cNvPr>
              <p:cNvSpPr>
                <a:spLocks noEditPoints="1"/>
              </p:cNvSpPr>
              <p:nvPr/>
            </p:nvSpPr>
            <p:spPr bwMode="gray">
              <a:xfrm>
                <a:off x="1346" y="1887"/>
                <a:ext cx="163" cy="873"/>
              </a:xfrm>
              <a:custGeom>
                <a:avLst/>
                <a:gdLst>
                  <a:gd name="T0" fmla="*/ 160 w 163"/>
                  <a:gd name="T1" fmla="*/ 853 h 873"/>
                  <a:gd name="T2" fmla="*/ 152 w 163"/>
                  <a:gd name="T3" fmla="*/ 852 h 873"/>
                  <a:gd name="T4" fmla="*/ 108 w 163"/>
                  <a:gd name="T5" fmla="*/ 858 h 873"/>
                  <a:gd name="T6" fmla="*/ 91 w 163"/>
                  <a:gd name="T7" fmla="*/ 844 h 873"/>
                  <a:gd name="T8" fmla="*/ 92 w 163"/>
                  <a:gd name="T9" fmla="*/ 852 h 873"/>
                  <a:gd name="T10" fmla="*/ 53 w 163"/>
                  <a:gd name="T11" fmla="*/ 803 h 873"/>
                  <a:gd name="T12" fmla="*/ 47 w 163"/>
                  <a:gd name="T13" fmla="*/ 811 h 873"/>
                  <a:gd name="T14" fmla="*/ 24 w 163"/>
                  <a:gd name="T15" fmla="*/ 784 h 873"/>
                  <a:gd name="T16" fmla="*/ 110 w 163"/>
                  <a:gd name="T17" fmla="*/ 772 h 873"/>
                  <a:gd name="T18" fmla="*/ 111 w 163"/>
                  <a:gd name="T19" fmla="*/ 798 h 873"/>
                  <a:gd name="T20" fmla="*/ 92 w 163"/>
                  <a:gd name="T21" fmla="*/ 816 h 873"/>
                  <a:gd name="T22" fmla="*/ 71 w 163"/>
                  <a:gd name="T23" fmla="*/ 830 h 873"/>
                  <a:gd name="T24" fmla="*/ 124 w 163"/>
                  <a:gd name="T25" fmla="*/ 776 h 873"/>
                  <a:gd name="T26" fmla="*/ 21 w 163"/>
                  <a:gd name="T27" fmla="*/ 756 h 873"/>
                  <a:gd name="T28" fmla="*/ 6 w 163"/>
                  <a:gd name="T29" fmla="*/ 723 h 873"/>
                  <a:gd name="T30" fmla="*/ 3 w 163"/>
                  <a:gd name="T31" fmla="*/ 675 h 873"/>
                  <a:gd name="T32" fmla="*/ 8 w 163"/>
                  <a:gd name="T33" fmla="*/ 683 h 873"/>
                  <a:gd name="T34" fmla="*/ 16 w 163"/>
                  <a:gd name="T35" fmla="*/ 700 h 873"/>
                  <a:gd name="T36" fmla="*/ 17 w 163"/>
                  <a:gd name="T37" fmla="*/ 651 h 873"/>
                  <a:gd name="T38" fmla="*/ 25 w 163"/>
                  <a:gd name="T39" fmla="*/ 584 h 873"/>
                  <a:gd name="T40" fmla="*/ 33 w 163"/>
                  <a:gd name="T41" fmla="*/ 562 h 873"/>
                  <a:gd name="T42" fmla="*/ 35 w 163"/>
                  <a:gd name="T43" fmla="*/ 557 h 873"/>
                  <a:gd name="T44" fmla="*/ 33 w 163"/>
                  <a:gd name="T45" fmla="*/ 573 h 873"/>
                  <a:gd name="T46" fmla="*/ 36 w 163"/>
                  <a:gd name="T47" fmla="*/ 517 h 873"/>
                  <a:gd name="T48" fmla="*/ 24 w 163"/>
                  <a:gd name="T49" fmla="*/ 528 h 873"/>
                  <a:gd name="T50" fmla="*/ 136 w 163"/>
                  <a:gd name="T51" fmla="*/ 89 h 873"/>
                  <a:gd name="T52" fmla="*/ 122 w 163"/>
                  <a:gd name="T53" fmla="*/ 49 h 873"/>
                  <a:gd name="T54" fmla="*/ 116 w 163"/>
                  <a:gd name="T55" fmla="*/ 17 h 873"/>
                  <a:gd name="T56" fmla="*/ 99 w 163"/>
                  <a:gd name="T57" fmla="*/ 14 h 873"/>
                  <a:gd name="T58" fmla="*/ 94 w 163"/>
                  <a:gd name="T59" fmla="*/ 113 h 873"/>
                  <a:gd name="T60" fmla="*/ 77 w 163"/>
                  <a:gd name="T61" fmla="*/ 213 h 873"/>
                  <a:gd name="T62" fmla="*/ 64 w 163"/>
                  <a:gd name="T63" fmla="*/ 330 h 873"/>
                  <a:gd name="T64" fmla="*/ 39 w 163"/>
                  <a:gd name="T65" fmla="*/ 423 h 873"/>
                  <a:gd name="T66" fmla="*/ 58 w 163"/>
                  <a:gd name="T67" fmla="*/ 489 h 873"/>
                  <a:gd name="T68" fmla="*/ 46 w 163"/>
                  <a:gd name="T69" fmla="*/ 534 h 873"/>
                  <a:gd name="T70" fmla="*/ 36 w 163"/>
                  <a:gd name="T71" fmla="*/ 596 h 873"/>
                  <a:gd name="T72" fmla="*/ 31 w 163"/>
                  <a:gd name="T73" fmla="*/ 582 h 873"/>
                  <a:gd name="T74" fmla="*/ 3 w 163"/>
                  <a:gd name="T75" fmla="*/ 615 h 873"/>
                  <a:gd name="T76" fmla="*/ 22 w 163"/>
                  <a:gd name="T77" fmla="*/ 637 h 873"/>
                  <a:gd name="T78" fmla="*/ 24 w 163"/>
                  <a:gd name="T79" fmla="*/ 662 h 873"/>
                  <a:gd name="T80" fmla="*/ 33 w 163"/>
                  <a:gd name="T81" fmla="*/ 692 h 873"/>
                  <a:gd name="T82" fmla="*/ 36 w 163"/>
                  <a:gd name="T83" fmla="*/ 720 h 873"/>
                  <a:gd name="T84" fmla="*/ 28 w 163"/>
                  <a:gd name="T85" fmla="*/ 745 h 873"/>
                  <a:gd name="T86" fmla="*/ 56 w 163"/>
                  <a:gd name="T87" fmla="*/ 764 h 873"/>
                  <a:gd name="T88" fmla="*/ 25 w 163"/>
                  <a:gd name="T89" fmla="*/ 761 h 873"/>
                  <a:gd name="T90" fmla="*/ 52 w 163"/>
                  <a:gd name="T91" fmla="*/ 776 h 873"/>
                  <a:gd name="T92" fmla="*/ 56 w 163"/>
                  <a:gd name="T93" fmla="*/ 794 h 873"/>
                  <a:gd name="T94" fmla="*/ 83 w 163"/>
                  <a:gd name="T95" fmla="*/ 803 h 873"/>
                  <a:gd name="T96" fmla="*/ 71 w 163"/>
                  <a:gd name="T97" fmla="*/ 758 h 873"/>
                  <a:gd name="T98" fmla="*/ 42 w 163"/>
                  <a:gd name="T99" fmla="*/ 717 h 873"/>
                  <a:gd name="T100" fmla="*/ 60 w 163"/>
                  <a:gd name="T101" fmla="*/ 654 h 873"/>
                  <a:gd name="T102" fmla="*/ 69 w 163"/>
                  <a:gd name="T103" fmla="*/ 600 h 873"/>
                  <a:gd name="T104" fmla="*/ 78 w 163"/>
                  <a:gd name="T105" fmla="*/ 567 h 873"/>
                  <a:gd name="T106" fmla="*/ 63 w 163"/>
                  <a:gd name="T107" fmla="*/ 518 h 873"/>
                  <a:gd name="T108" fmla="*/ 71 w 163"/>
                  <a:gd name="T109" fmla="*/ 462 h 873"/>
                  <a:gd name="T110" fmla="*/ 83 w 163"/>
                  <a:gd name="T111" fmla="*/ 424 h 873"/>
                  <a:gd name="T112" fmla="*/ 88 w 163"/>
                  <a:gd name="T113" fmla="*/ 373 h 873"/>
                  <a:gd name="T114" fmla="*/ 99 w 163"/>
                  <a:gd name="T115" fmla="*/ 329 h 873"/>
                  <a:gd name="T116" fmla="*/ 96 w 163"/>
                  <a:gd name="T117" fmla="*/ 287 h 873"/>
                  <a:gd name="T118" fmla="*/ 96 w 163"/>
                  <a:gd name="T119" fmla="*/ 254 h 873"/>
                  <a:gd name="T120" fmla="*/ 110 w 163"/>
                  <a:gd name="T121" fmla="*/ 204 h 873"/>
                  <a:gd name="T122" fmla="*/ 128 w 163"/>
                  <a:gd name="T123" fmla="*/ 161 h 873"/>
                  <a:gd name="T124" fmla="*/ 149 w 163"/>
                  <a:gd name="T125" fmla="*/ 11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873">
                    <a:moveTo>
                      <a:pt x="144" y="872"/>
                    </a:moveTo>
                    <a:lnTo>
                      <a:pt x="144" y="872"/>
                    </a:lnTo>
                    <a:lnTo>
                      <a:pt x="139" y="872"/>
                    </a:lnTo>
                    <a:lnTo>
                      <a:pt x="138" y="872"/>
                    </a:lnTo>
                    <a:lnTo>
                      <a:pt x="138" y="872"/>
                    </a:lnTo>
                    <a:lnTo>
                      <a:pt x="138" y="872"/>
                    </a:lnTo>
                    <a:lnTo>
                      <a:pt x="138" y="873"/>
                    </a:lnTo>
                    <a:lnTo>
                      <a:pt x="141" y="873"/>
                    </a:lnTo>
                    <a:lnTo>
                      <a:pt x="142" y="873"/>
                    </a:lnTo>
                    <a:lnTo>
                      <a:pt x="142" y="873"/>
                    </a:lnTo>
                    <a:lnTo>
                      <a:pt x="144" y="873"/>
                    </a:lnTo>
                    <a:lnTo>
                      <a:pt x="144" y="872"/>
                    </a:lnTo>
                    <a:lnTo>
                      <a:pt x="144" y="872"/>
                    </a:lnTo>
                    <a:close/>
                    <a:moveTo>
                      <a:pt x="147" y="867"/>
                    </a:moveTo>
                    <a:lnTo>
                      <a:pt x="147" y="866"/>
                    </a:lnTo>
                    <a:lnTo>
                      <a:pt x="146" y="864"/>
                    </a:lnTo>
                    <a:lnTo>
                      <a:pt x="146" y="864"/>
                    </a:lnTo>
                    <a:lnTo>
                      <a:pt x="146" y="866"/>
                    </a:lnTo>
                    <a:lnTo>
                      <a:pt x="144" y="867"/>
                    </a:lnTo>
                    <a:lnTo>
                      <a:pt x="144" y="867"/>
                    </a:lnTo>
                    <a:lnTo>
                      <a:pt x="142" y="869"/>
                    </a:lnTo>
                    <a:lnTo>
                      <a:pt x="142" y="869"/>
                    </a:lnTo>
                    <a:lnTo>
                      <a:pt x="146" y="869"/>
                    </a:lnTo>
                    <a:lnTo>
                      <a:pt x="147" y="870"/>
                    </a:lnTo>
                    <a:lnTo>
                      <a:pt x="147" y="870"/>
                    </a:lnTo>
                    <a:lnTo>
                      <a:pt x="147" y="870"/>
                    </a:lnTo>
                    <a:lnTo>
                      <a:pt x="149" y="870"/>
                    </a:lnTo>
                    <a:lnTo>
                      <a:pt x="149" y="869"/>
                    </a:lnTo>
                    <a:lnTo>
                      <a:pt x="147" y="867"/>
                    </a:lnTo>
                    <a:close/>
                    <a:moveTo>
                      <a:pt x="161" y="852"/>
                    </a:moveTo>
                    <a:lnTo>
                      <a:pt x="161" y="852"/>
                    </a:lnTo>
                    <a:lnTo>
                      <a:pt x="160" y="852"/>
                    </a:lnTo>
                    <a:lnTo>
                      <a:pt x="160" y="853"/>
                    </a:lnTo>
                    <a:lnTo>
                      <a:pt x="160" y="853"/>
                    </a:lnTo>
                    <a:lnTo>
                      <a:pt x="160" y="855"/>
                    </a:lnTo>
                    <a:lnTo>
                      <a:pt x="160" y="855"/>
                    </a:lnTo>
                    <a:lnTo>
                      <a:pt x="161" y="855"/>
                    </a:lnTo>
                    <a:lnTo>
                      <a:pt x="163" y="853"/>
                    </a:lnTo>
                    <a:lnTo>
                      <a:pt x="163" y="852"/>
                    </a:lnTo>
                    <a:lnTo>
                      <a:pt x="161" y="852"/>
                    </a:lnTo>
                    <a:close/>
                    <a:moveTo>
                      <a:pt x="152" y="850"/>
                    </a:moveTo>
                    <a:lnTo>
                      <a:pt x="150" y="848"/>
                    </a:lnTo>
                    <a:lnTo>
                      <a:pt x="149" y="845"/>
                    </a:lnTo>
                    <a:lnTo>
                      <a:pt x="146" y="845"/>
                    </a:lnTo>
                    <a:lnTo>
                      <a:pt x="138" y="844"/>
                    </a:lnTo>
                    <a:lnTo>
                      <a:pt x="133" y="844"/>
                    </a:lnTo>
                    <a:lnTo>
                      <a:pt x="130" y="845"/>
                    </a:lnTo>
                    <a:lnTo>
                      <a:pt x="132" y="848"/>
                    </a:lnTo>
                    <a:lnTo>
                      <a:pt x="133" y="852"/>
                    </a:lnTo>
                    <a:lnTo>
                      <a:pt x="133" y="853"/>
                    </a:lnTo>
                    <a:lnTo>
                      <a:pt x="135" y="853"/>
                    </a:lnTo>
                    <a:lnTo>
                      <a:pt x="139" y="855"/>
                    </a:lnTo>
                    <a:lnTo>
                      <a:pt x="139" y="855"/>
                    </a:lnTo>
                    <a:lnTo>
                      <a:pt x="141" y="853"/>
                    </a:lnTo>
                    <a:lnTo>
                      <a:pt x="142" y="852"/>
                    </a:lnTo>
                    <a:lnTo>
                      <a:pt x="144" y="852"/>
                    </a:lnTo>
                    <a:lnTo>
                      <a:pt x="144" y="852"/>
                    </a:lnTo>
                    <a:lnTo>
                      <a:pt x="144" y="852"/>
                    </a:lnTo>
                    <a:lnTo>
                      <a:pt x="146" y="852"/>
                    </a:lnTo>
                    <a:lnTo>
                      <a:pt x="146" y="853"/>
                    </a:lnTo>
                    <a:lnTo>
                      <a:pt x="146" y="855"/>
                    </a:lnTo>
                    <a:lnTo>
                      <a:pt x="147" y="855"/>
                    </a:lnTo>
                    <a:lnTo>
                      <a:pt x="149" y="855"/>
                    </a:lnTo>
                    <a:lnTo>
                      <a:pt x="150" y="853"/>
                    </a:lnTo>
                    <a:lnTo>
                      <a:pt x="150" y="852"/>
                    </a:lnTo>
                    <a:lnTo>
                      <a:pt x="152" y="852"/>
                    </a:lnTo>
                    <a:lnTo>
                      <a:pt x="152" y="850"/>
                    </a:lnTo>
                    <a:close/>
                    <a:moveTo>
                      <a:pt x="135" y="862"/>
                    </a:moveTo>
                    <a:lnTo>
                      <a:pt x="133" y="861"/>
                    </a:lnTo>
                    <a:lnTo>
                      <a:pt x="133" y="859"/>
                    </a:lnTo>
                    <a:lnTo>
                      <a:pt x="130" y="858"/>
                    </a:lnTo>
                    <a:lnTo>
                      <a:pt x="130" y="856"/>
                    </a:lnTo>
                    <a:lnTo>
                      <a:pt x="130" y="856"/>
                    </a:lnTo>
                    <a:lnTo>
                      <a:pt x="130" y="855"/>
                    </a:lnTo>
                    <a:lnTo>
                      <a:pt x="130" y="853"/>
                    </a:lnTo>
                    <a:lnTo>
                      <a:pt x="128" y="852"/>
                    </a:lnTo>
                    <a:lnTo>
                      <a:pt x="125" y="852"/>
                    </a:lnTo>
                    <a:lnTo>
                      <a:pt x="125" y="852"/>
                    </a:lnTo>
                    <a:lnTo>
                      <a:pt x="125" y="850"/>
                    </a:lnTo>
                    <a:lnTo>
                      <a:pt x="128" y="847"/>
                    </a:lnTo>
                    <a:lnTo>
                      <a:pt x="127" y="845"/>
                    </a:lnTo>
                    <a:lnTo>
                      <a:pt x="124" y="845"/>
                    </a:lnTo>
                    <a:lnTo>
                      <a:pt x="119" y="847"/>
                    </a:lnTo>
                    <a:lnTo>
                      <a:pt x="105" y="844"/>
                    </a:lnTo>
                    <a:lnTo>
                      <a:pt x="102" y="842"/>
                    </a:lnTo>
                    <a:lnTo>
                      <a:pt x="102" y="848"/>
                    </a:lnTo>
                    <a:lnTo>
                      <a:pt x="102" y="850"/>
                    </a:lnTo>
                    <a:lnTo>
                      <a:pt x="100" y="850"/>
                    </a:lnTo>
                    <a:lnTo>
                      <a:pt x="100" y="850"/>
                    </a:lnTo>
                    <a:lnTo>
                      <a:pt x="102" y="852"/>
                    </a:lnTo>
                    <a:lnTo>
                      <a:pt x="102" y="852"/>
                    </a:lnTo>
                    <a:lnTo>
                      <a:pt x="103" y="853"/>
                    </a:lnTo>
                    <a:lnTo>
                      <a:pt x="103" y="853"/>
                    </a:lnTo>
                    <a:lnTo>
                      <a:pt x="107" y="853"/>
                    </a:lnTo>
                    <a:lnTo>
                      <a:pt x="107" y="853"/>
                    </a:lnTo>
                    <a:lnTo>
                      <a:pt x="107" y="855"/>
                    </a:lnTo>
                    <a:lnTo>
                      <a:pt x="107" y="856"/>
                    </a:lnTo>
                    <a:lnTo>
                      <a:pt x="107" y="856"/>
                    </a:lnTo>
                    <a:lnTo>
                      <a:pt x="108" y="858"/>
                    </a:lnTo>
                    <a:lnTo>
                      <a:pt x="110" y="859"/>
                    </a:lnTo>
                    <a:lnTo>
                      <a:pt x="111" y="859"/>
                    </a:lnTo>
                    <a:lnTo>
                      <a:pt x="114" y="861"/>
                    </a:lnTo>
                    <a:lnTo>
                      <a:pt x="114" y="861"/>
                    </a:lnTo>
                    <a:lnTo>
                      <a:pt x="113" y="858"/>
                    </a:lnTo>
                    <a:lnTo>
                      <a:pt x="111" y="855"/>
                    </a:lnTo>
                    <a:lnTo>
                      <a:pt x="111" y="855"/>
                    </a:lnTo>
                    <a:lnTo>
                      <a:pt x="113" y="852"/>
                    </a:lnTo>
                    <a:lnTo>
                      <a:pt x="114" y="852"/>
                    </a:lnTo>
                    <a:lnTo>
                      <a:pt x="116" y="852"/>
                    </a:lnTo>
                    <a:lnTo>
                      <a:pt x="117" y="853"/>
                    </a:lnTo>
                    <a:lnTo>
                      <a:pt x="117" y="855"/>
                    </a:lnTo>
                    <a:lnTo>
                      <a:pt x="119" y="853"/>
                    </a:lnTo>
                    <a:lnTo>
                      <a:pt x="119" y="853"/>
                    </a:lnTo>
                    <a:lnTo>
                      <a:pt x="119" y="855"/>
                    </a:lnTo>
                    <a:lnTo>
                      <a:pt x="119" y="856"/>
                    </a:lnTo>
                    <a:lnTo>
                      <a:pt x="119" y="858"/>
                    </a:lnTo>
                    <a:lnTo>
                      <a:pt x="119" y="859"/>
                    </a:lnTo>
                    <a:lnTo>
                      <a:pt x="121" y="859"/>
                    </a:lnTo>
                    <a:lnTo>
                      <a:pt x="122" y="859"/>
                    </a:lnTo>
                    <a:lnTo>
                      <a:pt x="124" y="859"/>
                    </a:lnTo>
                    <a:lnTo>
                      <a:pt x="125" y="859"/>
                    </a:lnTo>
                    <a:lnTo>
                      <a:pt x="127" y="861"/>
                    </a:lnTo>
                    <a:lnTo>
                      <a:pt x="130" y="861"/>
                    </a:lnTo>
                    <a:lnTo>
                      <a:pt x="130" y="862"/>
                    </a:lnTo>
                    <a:lnTo>
                      <a:pt x="132" y="864"/>
                    </a:lnTo>
                    <a:lnTo>
                      <a:pt x="133" y="866"/>
                    </a:lnTo>
                    <a:lnTo>
                      <a:pt x="135" y="866"/>
                    </a:lnTo>
                    <a:lnTo>
                      <a:pt x="135" y="866"/>
                    </a:lnTo>
                    <a:lnTo>
                      <a:pt x="135" y="864"/>
                    </a:lnTo>
                    <a:lnTo>
                      <a:pt x="135" y="862"/>
                    </a:lnTo>
                    <a:close/>
                    <a:moveTo>
                      <a:pt x="92" y="844"/>
                    </a:moveTo>
                    <a:lnTo>
                      <a:pt x="91" y="844"/>
                    </a:lnTo>
                    <a:lnTo>
                      <a:pt x="89" y="844"/>
                    </a:lnTo>
                    <a:lnTo>
                      <a:pt x="88" y="845"/>
                    </a:lnTo>
                    <a:lnTo>
                      <a:pt x="86" y="845"/>
                    </a:lnTo>
                    <a:lnTo>
                      <a:pt x="85" y="844"/>
                    </a:lnTo>
                    <a:lnTo>
                      <a:pt x="83" y="844"/>
                    </a:lnTo>
                    <a:lnTo>
                      <a:pt x="83" y="842"/>
                    </a:lnTo>
                    <a:lnTo>
                      <a:pt x="81" y="842"/>
                    </a:lnTo>
                    <a:lnTo>
                      <a:pt x="80" y="842"/>
                    </a:lnTo>
                    <a:lnTo>
                      <a:pt x="77" y="841"/>
                    </a:lnTo>
                    <a:lnTo>
                      <a:pt x="75" y="841"/>
                    </a:lnTo>
                    <a:lnTo>
                      <a:pt x="75" y="842"/>
                    </a:lnTo>
                    <a:lnTo>
                      <a:pt x="75" y="844"/>
                    </a:lnTo>
                    <a:lnTo>
                      <a:pt x="75" y="844"/>
                    </a:lnTo>
                    <a:lnTo>
                      <a:pt x="75" y="844"/>
                    </a:lnTo>
                    <a:lnTo>
                      <a:pt x="77" y="844"/>
                    </a:lnTo>
                    <a:lnTo>
                      <a:pt x="77" y="842"/>
                    </a:lnTo>
                    <a:lnTo>
                      <a:pt x="78" y="842"/>
                    </a:lnTo>
                    <a:lnTo>
                      <a:pt x="78" y="842"/>
                    </a:lnTo>
                    <a:lnTo>
                      <a:pt x="80" y="844"/>
                    </a:lnTo>
                    <a:lnTo>
                      <a:pt x="83" y="845"/>
                    </a:lnTo>
                    <a:lnTo>
                      <a:pt x="83" y="847"/>
                    </a:lnTo>
                    <a:lnTo>
                      <a:pt x="83" y="847"/>
                    </a:lnTo>
                    <a:lnTo>
                      <a:pt x="83" y="848"/>
                    </a:lnTo>
                    <a:lnTo>
                      <a:pt x="86" y="848"/>
                    </a:lnTo>
                    <a:lnTo>
                      <a:pt x="88" y="850"/>
                    </a:lnTo>
                    <a:lnTo>
                      <a:pt x="88" y="850"/>
                    </a:lnTo>
                    <a:lnTo>
                      <a:pt x="89" y="848"/>
                    </a:lnTo>
                    <a:lnTo>
                      <a:pt x="89" y="848"/>
                    </a:lnTo>
                    <a:lnTo>
                      <a:pt x="91" y="850"/>
                    </a:lnTo>
                    <a:lnTo>
                      <a:pt x="91" y="850"/>
                    </a:lnTo>
                    <a:lnTo>
                      <a:pt x="91" y="852"/>
                    </a:lnTo>
                    <a:lnTo>
                      <a:pt x="92" y="852"/>
                    </a:lnTo>
                    <a:lnTo>
                      <a:pt x="92" y="852"/>
                    </a:lnTo>
                    <a:lnTo>
                      <a:pt x="96" y="850"/>
                    </a:lnTo>
                    <a:lnTo>
                      <a:pt x="96" y="848"/>
                    </a:lnTo>
                    <a:lnTo>
                      <a:pt x="92" y="844"/>
                    </a:lnTo>
                    <a:close/>
                    <a:moveTo>
                      <a:pt x="81" y="820"/>
                    </a:moveTo>
                    <a:lnTo>
                      <a:pt x="83" y="819"/>
                    </a:lnTo>
                    <a:lnTo>
                      <a:pt x="80" y="819"/>
                    </a:lnTo>
                    <a:lnTo>
                      <a:pt x="75" y="817"/>
                    </a:lnTo>
                    <a:lnTo>
                      <a:pt x="74" y="814"/>
                    </a:lnTo>
                    <a:lnTo>
                      <a:pt x="71" y="814"/>
                    </a:lnTo>
                    <a:lnTo>
                      <a:pt x="66" y="812"/>
                    </a:lnTo>
                    <a:lnTo>
                      <a:pt x="64" y="814"/>
                    </a:lnTo>
                    <a:lnTo>
                      <a:pt x="63" y="814"/>
                    </a:lnTo>
                    <a:lnTo>
                      <a:pt x="61" y="817"/>
                    </a:lnTo>
                    <a:lnTo>
                      <a:pt x="64" y="820"/>
                    </a:lnTo>
                    <a:lnTo>
                      <a:pt x="66" y="822"/>
                    </a:lnTo>
                    <a:lnTo>
                      <a:pt x="66" y="825"/>
                    </a:lnTo>
                    <a:lnTo>
                      <a:pt x="69" y="825"/>
                    </a:lnTo>
                    <a:lnTo>
                      <a:pt x="69" y="823"/>
                    </a:lnTo>
                    <a:lnTo>
                      <a:pt x="71" y="823"/>
                    </a:lnTo>
                    <a:lnTo>
                      <a:pt x="72" y="823"/>
                    </a:lnTo>
                    <a:lnTo>
                      <a:pt x="74" y="823"/>
                    </a:lnTo>
                    <a:lnTo>
                      <a:pt x="77" y="825"/>
                    </a:lnTo>
                    <a:lnTo>
                      <a:pt x="80" y="827"/>
                    </a:lnTo>
                    <a:lnTo>
                      <a:pt x="80" y="827"/>
                    </a:lnTo>
                    <a:lnTo>
                      <a:pt x="81" y="825"/>
                    </a:lnTo>
                    <a:lnTo>
                      <a:pt x="81" y="825"/>
                    </a:lnTo>
                    <a:lnTo>
                      <a:pt x="83" y="823"/>
                    </a:lnTo>
                    <a:lnTo>
                      <a:pt x="81" y="820"/>
                    </a:lnTo>
                    <a:close/>
                    <a:moveTo>
                      <a:pt x="60" y="808"/>
                    </a:moveTo>
                    <a:lnTo>
                      <a:pt x="58" y="806"/>
                    </a:lnTo>
                    <a:lnTo>
                      <a:pt x="56" y="805"/>
                    </a:lnTo>
                    <a:lnTo>
                      <a:pt x="56" y="803"/>
                    </a:lnTo>
                    <a:lnTo>
                      <a:pt x="53" y="803"/>
                    </a:lnTo>
                    <a:lnTo>
                      <a:pt x="50" y="803"/>
                    </a:lnTo>
                    <a:lnTo>
                      <a:pt x="50" y="803"/>
                    </a:lnTo>
                    <a:lnTo>
                      <a:pt x="49" y="803"/>
                    </a:lnTo>
                    <a:lnTo>
                      <a:pt x="49" y="800"/>
                    </a:lnTo>
                    <a:lnTo>
                      <a:pt x="49" y="800"/>
                    </a:lnTo>
                    <a:lnTo>
                      <a:pt x="49" y="798"/>
                    </a:lnTo>
                    <a:lnTo>
                      <a:pt x="47" y="798"/>
                    </a:lnTo>
                    <a:lnTo>
                      <a:pt x="47" y="798"/>
                    </a:lnTo>
                    <a:lnTo>
                      <a:pt x="46" y="798"/>
                    </a:lnTo>
                    <a:lnTo>
                      <a:pt x="46" y="798"/>
                    </a:lnTo>
                    <a:lnTo>
                      <a:pt x="46" y="800"/>
                    </a:lnTo>
                    <a:lnTo>
                      <a:pt x="46" y="801"/>
                    </a:lnTo>
                    <a:lnTo>
                      <a:pt x="41" y="800"/>
                    </a:lnTo>
                    <a:lnTo>
                      <a:pt x="39" y="798"/>
                    </a:lnTo>
                    <a:lnTo>
                      <a:pt x="36" y="798"/>
                    </a:lnTo>
                    <a:lnTo>
                      <a:pt x="33" y="803"/>
                    </a:lnTo>
                    <a:lnTo>
                      <a:pt x="36" y="803"/>
                    </a:lnTo>
                    <a:lnTo>
                      <a:pt x="38" y="806"/>
                    </a:lnTo>
                    <a:lnTo>
                      <a:pt x="39" y="808"/>
                    </a:lnTo>
                    <a:lnTo>
                      <a:pt x="41" y="808"/>
                    </a:lnTo>
                    <a:lnTo>
                      <a:pt x="42" y="808"/>
                    </a:lnTo>
                    <a:lnTo>
                      <a:pt x="42" y="808"/>
                    </a:lnTo>
                    <a:lnTo>
                      <a:pt x="42" y="809"/>
                    </a:lnTo>
                    <a:lnTo>
                      <a:pt x="42" y="811"/>
                    </a:lnTo>
                    <a:lnTo>
                      <a:pt x="42" y="814"/>
                    </a:lnTo>
                    <a:lnTo>
                      <a:pt x="42" y="814"/>
                    </a:lnTo>
                    <a:lnTo>
                      <a:pt x="44" y="816"/>
                    </a:lnTo>
                    <a:lnTo>
                      <a:pt x="46" y="816"/>
                    </a:lnTo>
                    <a:lnTo>
                      <a:pt x="46" y="816"/>
                    </a:lnTo>
                    <a:lnTo>
                      <a:pt x="47" y="816"/>
                    </a:lnTo>
                    <a:lnTo>
                      <a:pt x="46" y="814"/>
                    </a:lnTo>
                    <a:lnTo>
                      <a:pt x="46" y="812"/>
                    </a:lnTo>
                    <a:lnTo>
                      <a:pt x="47" y="811"/>
                    </a:lnTo>
                    <a:lnTo>
                      <a:pt x="47" y="812"/>
                    </a:lnTo>
                    <a:lnTo>
                      <a:pt x="49" y="812"/>
                    </a:lnTo>
                    <a:lnTo>
                      <a:pt x="50" y="811"/>
                    </a:lnTo>
                    <a:lnTo>
                      <a:pt x="52" y="812"/>
                    </a:lnTo>
                    <a:lnTo>
                      <a:pt x="52" y="814"/>
                    </a:lnTo>
                    <a:lnTo>
                      <a:pt x="50" y="817"/>
                    </a:lnTo>
                    <a:lnTo>
                      <a:pt x="49" y="819"/>
                    </a:lnTo>
                    <a:lnTo>
                      <a:pt x="49" y="819"/>
                    </a:lnTo>
                    <a:lnTo>
                      <a:pt x="49" y="819"/>
                    </a:lnTo>
                    <a:lnTo>
                      <a:pt x="50" y="820"/>
                    </a:lnTo>
                    <a:lnTo>
                      <a:pt x="50" y="820"/>
                    </a:lnTo>
                    <a:lnTo>
                      <a:pt x="52" y="819"/>
                    </a:lnTo>
                    <a:lnTo>
                      <a:pt x="53" y="819"/>
                    </a:lnTo>
                    <a:lnTo>
                      <a:pt x="55" y="819"/>
                    </a:lnTo>
                    <a:lnTo>
                      <a:pt x="56" y="817"/>
                    </a:lnTo>
                    <a:lnTo>
                      <a:pt x="58" y="816"/>
                    </a:lnTo>
                    <a:lnTo>
                      <a:pt x="58" y="816"/>
                    </a:lnTo>
                    <a:lnTo>
                      <a:pt x="58" y="814"/>
                    </a:lnTo>
                    <a:lnTo>
                      <a:pt x="60" y="812"/>
                    </a:lnTo>
                    <a:lnTo>
                      <a:pt x="61" y="811"/>
                    </a:lnTo>
                    <a:lnTo>
                      <a:pt x="60" y="808"/>
                    </a:lnTo>
                    <a:close/>
                    <a:moveTo>
                      <a:pt x="46" y="797"/>
                    </a:moveTo>
                    <a:lnTo>
                      <a:pt x="42" y="794"/>
                    </a:lnTo>
                    <a:lnTo>
                      <a:pt x="42" y="794"/>
                    </a:lnTo>
                    <a:lnTo>
                      <a:pt x="39" y="791"/>
                    </a:lnTo>
                    <a:lnTo>
                      <a:pt x="39" y="791"/>
                    </a:lnTo>
                    <a:lnTo>
                      <a:pt x="38" y="791"/>
                    </a:lnTo>
                    <a:lnTo>
                      <a:pt x="36" y="789"/>
                    </a:lnTo>
                    <a:lnTo>
                      <a:pt x="35" y="787"/>
                    </a:lnTo>
                    <a:lnTo>
                      <a:pt x="31" y="787"/>
                    </a:lnTo>
                    <a:lnTo>
                      <a:pt x="28" y="786"/>
                    </a:lnTo>
                    <a:lnTo>
                      <a:pt x="25" y="784"/>
                    </a:lnTo>
                    <a:lnTo>
                      <a:pt x="24" y="784"/>
                    </a:lnTo>
                    <a:lnTo>
                      <a:pt x="24" y="784"/>
                    </a:lnTo>
                    <a:lnTo>
                      <a:pt x="24" y="784"/>
                    </a:lnTo>
                    <a:lnTo>
                      <a:pt x="22" y="783"/>
                    </a:lnTo>
                    <a:lnTo>
                      <a:pt x="22" y="781"/>
                    </a:lnTo>
                    <a:lnTo>
                      <a:pt x="21" y="780"/>
                    </a:lnTo>
                    <a:lnTo>
                      <a:pt x="19" y="778"/>
                    </a:lnTo>
                    <a:lnTo>
                      <a:pt x="17" y="780"/>
                    </a:lnTo>
                    <a:lnTo>
                      <a:pt x="17" y="780"/>
                    </a:lnTo>
                    <a:lnTo>
                      <a:pt x="19" y="781"/>
                    </a:lnTo>
                    <a:lnTo>
                      <a:pt x="21" y="784"/>
                    </a:lnTo>
                    <a:lnTo>
                      <a:pt x="22" y="786"/>
                    </a:lnTo>
                    <a:lnTo>
                      <a:pt x="25" y="789"/>
                    </a:lnTo>
                    <a:lnTo>
                      <a:pt x="25" y="789"/>
                    </a:lnTo>
                    <a:lnTo>
                      <a:pt x="28" y="789"/>
                    </a:lnTo>
                    <a:lnTo>
                      <a:pt x="30" y="789"/>
                    </a:lnTo>
                    <a:lnTo>
                      <a:pt x="33" y="789"/>
                    </a:lnTo>
                    <a:lnTo>
                      <a:pt x="33" y="791"/>
                    </a:lnTo>
                    <a:lnTo>
                      <a:pt x="36" y="794"/>
                    </a:lnTo>
                    <a:lnTo>
                      <a:pt x="38" y="794"/>
                    </a:lnTo>
                    <a:lnTo>
                      <a:pt x="38" y="795"/>
                    </a:lnTo>
                    <a:lnTo>
                      <a:pt x="38" y="795"/>
                    </a:lnTo>
                    <a:lnTo>
                      <a:pt x="39" y="795"/>
                    </a:lnTo>
                    <a:lnTo>
                      <a:pt x="41" y="795"/>
                    </a:lnTo>
                    <a:lnTo>
                      <a:pt x="44" y="797"/>
                    </a:lnTo>
                    <a:lnTo>
                      <a:pt x="46" y="797"/>
                    </a:lnTo>
                    <a:lnTo>
                      <a:pt x="46" y="797"/>
                    </a:lnTo>
                    <a:close/>
                    <a:moveTo>
                      <a:pt x="124" y="776"/>
                    </a:moveTo>
                    <a:lnTo>
                      <a:pt x="122" y="775"/>
                    </a:lnTo>
                    <a:lnTo>
                      <a:pt x="122" y="775"/>
                    </a:lnTo>
                    <a:lnTo>
                      <a:pt x="116" y="776"/>
                    </a:lnTo>
                    <a:lnTo>
                      <a:pt x="114" y="776"/>
                    </a:lnTo>
                    <a:lnTo>
                      <a:pt x="111" y="772"/>
                    </a:lnTo>
                    <a:lnTo>
                      <a:pt x="110" y="772"/>
                    </a:lnTo>
                    <a:lnTo>
                      <a:pt x="108" y="773"/>
                    </a:lnTo>
                    <a:lnTo>
                      <a:pt x="107" y="776"/>
                    </a:lnTo>
                    <a:lnTo>
                      <a:pt x="105" y="778"/>
                    </a:lnTo>
                    <a:lnTo>
                      <a:pt x="102" y="781"/>
                    </a:lnTo>
                    <a:lnTo>
                      <a:pt x="102" y="781"/>
                    </a:lnTo>
                    <a:lnTo>
                      <a:pt x="100" y="781"/>
                    </a:lnTo>
                    <a:lnTo>
                      <a:pt x="99" y="780"/>
                    </a:lnTo>
                    <a:lnTo>
                      <a:pt x="97" y="778"/>
                    </a:lnTo>
                    <a:lnTo>
                      <a:pt x="94" y="778"/>
                    </a:lnTo>
                    <a:lnTo>
                      <a:pt x="94" y="780"/>
                    </a:lnTo>
                    <a:lnTo>
                      <a:pt x="96" y="781"/>
                    </a:lnTo>
                    <a:lnTo>
                      <a:pt x="96" y="783"/>
                    </a:lnTo>
                    <a:lnTo>
                      <a:pt x="97" y="784"/>
                    </a:lnTo>
                    <a:lnTo>
                      <a:pt x="97" y="784"/>
                    </a:lnTo>
                    <a:lnTo>
                      <a:pt x="99" y="784"/>
                    </a:lnTo>
                    <a:lnTo>
                      <a:pt x="97" y="786"/>
                    </a:lnTo>
                    <a:lnTo>
                      <a:pt x="97" y="786"/>
                    </a:lnTo>
                    <a:lnTo>
                      <a:pt x="96" y="787"/>
                    </a:lnTo>
                    <a:lnTo>
                      <a:pt x="94" y="786"/>
                    </a:lnTo>
                    <a:lnTo>
                      <a:pt x="94" y="787"/>
                    </a:lnTo>
                    <a:lnTo>
                      <a:pt x="92" y="789"/>
                    </a:lnTo>
                    <a:lnTo>
                      <a:pt x="92" y="791"/>
                    </a:lnTo>
                    <a:lnTo>
                      <a:pt x="92" y="792"/>
                    </a:lnTo>
                    <a:lnTo>
                      <a:pt x="92" y="795"/>
                    </a:lnTo>
                    <a:lnTo>
                      <a:pt x="94" y="797"/>
                    </a:lnTo>
                    <a:lnTo>
                      <a:pt x="97" y="798"/>
                    </a:lnTo>
                    <a:lnTo>
                      <a:pt x="99" y="798"/>
                    </a:lnTo>
                    <a:lnTo>
                      <a:pt x="102" y="797"/>
                    </a:lnTo>
                    <a:lnTo>
                      <a:pt x="105" y="797"/>
                    </a:lnTo>
                    <a:lnTo>
                      <a:pt x="107" y="797"/>
                    </a:lnTo>
                    <a:lnTo>
                      <a:pt x="108" y="797"/>
                    </a:lnTo>
                    <a:lnTo>
                      <a:pt x="111" y="797"/>
                    </a:lnTo>
                    <a:lnTo>
                      <a:pt x="111" y="798"/>
                    </a:lnTo>
                    <a:lnTo>
                      <a:pt x="111" y="800"/>
                    </a:lnTo>
                    <a:lnTo>
                      <a:pt x="111" y="801"/>
                    </a:lnTo>
                    <a:lnTo>
                      <a:pt x="105" y="805"/>
                    </a:lnTo>
                    <a:lnTo>
                      <a:pt x="102" y="806"/>
                    </a:lnTo>
                    <a:lnTo>
                      <a:pt x="99" y="808"/>
                    </a:lnTo>
                    <a:lnTo>
                      <a:pt x="97" y="809"/>
                    </a:lnTo>
                    <a:lnTo>
                      <a:pt x="97" y="812"/>
                    </a:lnTo>
                    <a:lnTo>
                      <a:pt x="99" y="816"/>
                    </a:lnTo>
                    <a:lnTo>
                      <a:pt x="100" y="819"/>
                    </a:lnTo>
                    <a:lnTo>
                      <a:pt x="114" y="827"/>
                    </a:lnTo>
                    <a:lnTo>
                      <a:pt x="117" y="828"/>
                    </a:lnTo>
                    <a:lnTo>
                      <a:pt x="117" y="828"/>
                    </a:lnTo>
                    <a:lnTo>
                      <a:pt x="116" y="830"/>
                    </a:lnTo>
                    <a:lnTo>
                      <a:pt x="116" y="830"/>
                    </a:lnTo>
                    <a:lnTo>
                      <a:pt x="114" y="831"/>
                    </a:lnTo>
                    <a:lnTo>
                      <a:pt x="113" y="833"/>
                    </a:lnTo>
                    <a:lnTo>
                      <a:pt x="113" y="833"/>
                    </a:lnTo>
                    <a:lnTo>
                      <a:pt x="113" y="833"/>
                    </a:lnTo>
                    <a:lnTo>
                      <a:pt x="113" y="831"/>
                    </a:lnTo>
                    <a:lnTo>
                      <a:pt x="111" y="830"/>
                    </a:lnTo>
                    <a:lnTo>
                      <a:pt x="111" y="828"/>
                    </a:lnTo>
                    <a:lnTo>
                      <a:pt x="107" y="827"/>
                    </a:lnTo>
                    <a:lnTo>
                      <a:pt x="105" y="825"/>
                    </a:lnTo>
                    <a:lnTo>
                      <a:pt x="103" y="825"/>
                    </a:lnTo>
                    <a:lnTo>
                      <a:pt x="102" y="827"/>
                    </a:lnTo>
                    <a:lnTo>
                      <a:pt x="100" y="828"/>
                    </a:lnTo>
                    <a:lnTo>
                      <a:pt x="97" y="828"/>
                    </a:lnTo>
                    <a:lnTo>
                      <a:pt x="96" y="827"/>
                    </a:lnTo>
                    <a:lnTo>
                      <a:pt x="96" y="825"/>
                    </a:lnTo>
                    <a:lnTo>
                      <a:pt x="94" y="822"/>
                    </a:lnTo>
                    <a:lnTo>
                      <a:pt x="91" y="820"/>
                    </a:lnTo>
                    <a:lnTo>
                      <a:pt x="89" y="816"/>
                    </a:lnTo>
                    <a:lnTo>
                      <a:pt x="92" y="816"/>
                    </a:lnTo>
                    <a:lnTo>
                      <a:pt x="94" y="816"/>
                    </a:lnTo>
                    <a:lnTo>
                      <a:pt x="92" y="812"/>
                    </a:lnTo>
                    <a:lnTo>
                      <a:pt x="91" y="805"/>
                    </a:lnTo>
                    <a:lnTo>
                      <a:pt x="89" y="806"/>
                    </a:lnTo>
                    <a:lnTo>
                      <a:pt x="88" y="808"/>
                    </a:lnTo>
                    <a:lnTo>
                      <a:pt x="89" y="811"/>
                    </a:lnTo>
                    <a:lnTo>
                      <a:pt x="85" y="812"/>
                    </a:lnTo>
                    <a:lnTo>
                      <a:pt x="85" y="816"/>
                    </a:lnTo>
                    <a:lnTo>
                      <a:pt x="85" y="819"/>
                    </a:lnTo>
                    <a:lnTo>
                      <a:pt x="86" y="823"/>
                    </a:lnTo>
                    <a:lnTo>
                      <a:pt x="89" y="823"/>
                    </a:lnTo>
                    <a:lnTo>
                      <a:pt x="91" y="825"/>
                    </a:lnTo>
                    <a:lnTo>
                      <a:pt x="92" y="827"/>
                    </a:lnTo>
                    <a:lnTo>
                      <a:pt x="96" y="831"/>
                    </a:lnTo>
                    <a:lnTo>
                      <a:pt x="94" y="831"/>
                    </a:lnTo>
                    <a:lnTo>
                      <a:pt x="92" y="831"/>
                    </a:lnTo>
                    <a:lnTo>
                      <a:pt x="91" y="831"/>
                    </a:lnTo>
                    <a:lnTo>
                      <a:pt x="88" y="831"/>
                    </a:lnTo>
                    <a:lnTo>
                      <a:pt x="88" y="828"/>
                    </a:lnTo>
                    <a:lnTo>
                      <a:pt x="88" y="827"/>
                    </a:lnTo>
                    <a:lnTo>
                      <a:pt x="86" y="827"/>
                    </a:lnTo>
                    <a:lnTo>
                      <a:pt x="85" y="827"/>
                    </a:lnTo>
                    <a:lnTo>
                      <a:pt x="85" y="827"/>
                    </a:lnTo>
                    <a:lnTo>
                      <a:pt x="83" y="828"/>
                    </a:lnTo>
                    <a:lnTo>
                      <a:pt x="83" y="828"/>
                    </a:lnTo>
                    <a:lnTo>
                      <a:pt x="81" y="830"/>
                    </a:lnTo>
                    <a:lnTo>
                      <a:pt x="80" y="830"/>
                    </a:lnTo>
                    <a:lnTo>
                      <a:pt x="77" y="828"/>
                    </a:lnTo>
                    <a:lnTo>
                      <a:pt x="75" y="828"/>
                    </a:lnTo>
                    <a:lnTo>
                      <a:pt x="74" y="830"/>
                    </a:lnTo>
                    <a:lnTo>
                      <a:pt x="72" y="831"/>
                    </a:lnTo>
                    <a:lnTo>
                      <a:pt x="72" y="831"/>
                    </a:lnTo>
                    <a:lnTo>
                      <a:pt x="71" y="830"/>
                    </a:lnTo>
                    <a:lnTo>
                      <a:pt x="69" y="830"/>
                    </a:lnTo>
                    <a:lnTo>
                      <a:pt x="69" y="830"/>
                    </a:lnTo>
                    <a:lnTo>
                      <a:pt x="67" y="831"/>
                    </a:lnTo>
                    <a:lnTo>
                      <a:pt x="66" y="831"/>
                    </a:lnTo>
                    <a:lnTo>
                      <a:pt x="67" y="834"/>
                    </a:lnTo>
                    <a:lnTo>
                      <a:pt x="67" y="834"/>
                    </a:lnTo>
                    <a:lnTo>
                      <a:pt x="75" y="834"/>
                    </a:lnTo>
                    <a:lnTo>
                      <a:pt x="78" y="837"/>
                    </a:lnTo>
                    <a:lnTo>
                      <a:pt x="85" y="837"/>
                    </a:lnTo>
                    <a:lnTo>
                      <a:pt x="88" y="839"/>
                    </a:lnTo>
                    <a:lnTo>
                      <a:pt x="91" y="841"/>
                    </a:lnTo>
                    <a:lnTo>
                      <a:pt x="96" y="839"/>
                    </a:lnTo>
                    <a:lnTo>
                      <a:pt x="96" y="839"/>
                    </a:lnTo>
                    <a:lnTo>
                      <a:pt x="96" y="839"/>
                    </a:lnTo>
                    <a:lnTo>
                      <a:pt x="97" y="841"/>
                    </a:lnTo>
                    <a:lnTo>
                      <a:pt x="100" y="841"/>
                    </a:lnTo>
                    <a:lnTo>
                      <a:pt x="102" y="839"/>
                    </a:lnTo>
                    <a:lnTo>
                      <a:pt x="105" y="837"/>
                    </a:lnTo>
                    <a:lnTo>
                      <a:pt x="105" y="837"/>
                    </a:lnTo>
                    <a:lnTo>
                      <a:pt x="108" y="841"/>
                    </a:lnTo>
                    <a:lnTo>
                      <a:pt x="110" y="842"/>
                    </a:lnTo>
                    <a:lnTo>
                      <a:pt x="116" y="844"/>
                    </a:lnTo>
                    <a:lnTo>
                      <a:pt x="121" y="842"/>
                    </a:lnTo>
                    <a:lnTo>
                      <a:pt x="121" y="842"/>
                    </a:lnTo>
                    <a:lnTo>
                      <a:pt x="124" y="842"/>
                    </a:lnTo>
                    <a:lnTo>
                      <a:pt x="124" y="842"/>
                    </a:lnTo>
                    <a:lnTo>
                      <a:pt x="124" y="834"/>
                    </a:lnTo>
                    <a:lnTo>
                      <a:pt x="124" y="825"/>
                    </a:lnTo>
                    <a:lnTo>
                      <a:pt x="124" y="817"/>
                    </a:lnTo>
                    <a:lnTo>
                      <a:pt x="124" y="809"/>
                    </a:lnTo>
                    <a:lnTo>
                      <a:pt x="124" y="801"/>
                    </a:lnTo>
                    <a:lnTo>
                      <a:pt x="124" y="784"/>
                    </a:lnTo>
                    <a:lnTo>
                      <a:pt x="124" y="776"/>
                    </a:lnTo>
                    <a:lnTo>
                      <a:pt x="124" y="776"/>
                    </a:lnTo>
                    <a:close/>
                    <a:moveTo>
                      <a:pt x="28" y="755"/>
                    </a:moveTo>
                    <a:lnTo>
                      <a:pt x="25" y="753"/>
                    </a:lnTo>
                    <a:lnTo>
                      <a:pt x="24" y="751"/>
                    </a:lnTo>
                    <a:lnTo>
                      <a:pt x="24" y="751"/>
                    </a:lnTo>
                    <a:lnTo>
                      <a:pt x="22" y="750"/>
                    </a:lnTo>
                    <a:lnTo>
                      <a:pt x="22" y="750"/>
                    </a:lnTo>
                    <a:lnTo>
                      <a:pt x="22" y="751"/>
                    </a:lnTo>
                    <a:lnTo>
                      <a:pt x="22" y="753"/>
                    </a:lnTo>
                    <a:lnTo>
                      <a:pt x="24" y="755"/>
                    </a:lnTo>
                    <a:lnTo>
                      <a:pt x="25" y="756"/>
                    </a:lnTo>
                    <a:lnTo>
                      <a:pt x="27" y="756"/>
                    </a:lnTo>
                    <a:lnTo>
                      <a:pt x="27" y="756"/>
                    </a:lnTo>
                    <a:lnTo>
                      <a:pt x="28" y="755"/>
                    </a:lnTo>
                    <a:lnTo>
                      <a:pt x="28" y="755"/>
                    </a:lnTo>
                    <a:lnTo>
                      <a:pt x="28" y="755"/>
                    </a:lnTo>
                    <a:close/>
                    <a:moveTo>
                      <a:pt x="21" y="756"/>
                    </a:moveTo>
                    <a:lnTo>
                      <a:pt x="19" y="755"/>
                    </a:lnTo>
                    <a:lnTo>
                      <a:pt x="17" y="753"/>
                    </a:lnTo>
                    <a:lnTo>
                      <a:pt x="16" y="753"/>
                    </a:lnTo>
                    <a:lnTo>
                      <a:pt x="16" y="747"/>
                    </a:lnTo>
                    <a:lnTo>
                      <a:pt x="14" y="748"/>
                    </a:lnTo>
                    <a:lnTo>
                      <a:pt x="14" y="750"/>
                    </a:lnTo>
                    <a:lnTo>
                      <a:pt x="13" y="750"/>
                    </a:lnTo>
                    <a:lnTo>
                      <a:pt x="11" y="751"/>
                    </a:lnTo>
                    <a:lnTo>
                      <a:pt x="11" y="755"/>
                    </a:lnTo>
                    <a:lnTo>
                      <a:pt x="13" y="759"/>
                    </a:lnTo>
                    <a:lnTo>
                      <a:pt x="14" y="762"/>
                    </a:lnTo>
                    <a:lnTo>
                      <a:pt x="16" y="765"/>
                    </a:lnTo>
                    <a:lnTo>
                      <a:pt x="17" y="765"/>
                    </a:lnTo>
                    <a:lnTo>
                      <a:pt x="19" y="762"/>
                    </a:lnTo>
                    <a:lnTo>
                      <a:pt x="21" y="758"/>
                    </a:lnTo>
                    <a:lnTo>
                      <a:pt x="21" y="756"/>
                    </a:lnTo>
                    <a:close/>
                    <a:moveTo>
                      <a:pt x="21" y="736"/>
                    </a:moveTo>
                    <a:lnTo>
                      <a:pt x="19" y="736"/>
                    </a:lnTo>
                    <a:lnTo>
                      <a:pt x="17" y="736"/>
                    </a:lnTo>
                    <a:lnTo>
                      <a:pt x="14" y="737"/>
                    </a:lnTo>
                    <a:lnTo>
                      <a:pt x="11" y="739"/>
                    </a:lnTo>
                    <a:lnTo>
                      <a:pt x="10" y="737"/>
                    </a:lnTo>
                    <a:lnTo>
                      <a:pt x="8" y="740"/>
                    </a:lnTo>
                    <a:lnTo>
                      <a:pt x="8" y="742"/>
                    </a:lnTo>
                    <a:lnTo>
                      <a:pt x="6" y="745"/>
                    </a:lnTo>
                    <a:lnTo>
                      <a:pt x="8" y="747"/>
                    </a:lnTo>
                    <a:lnTo>
                      <a:pt x="10" y="745"/>
                    </a:lnTo>
                    <a:lnTo>
                      <a:pt x="10" y="744"/>
                    </a:lnTo>
                    <a:lnTo>
                      <a:pt x="11" y="740"/>
                    </a:lnTo>
                    <a:lnTo>
                      <a:pt x="14" y="742"/>
                    </a:lnTo>
                    <a:lnTo>
                      <a:pt x="14" y="742"/>
                    </a:lnTo>
                    <a:lnTo>
                      <a:pt x="16" y="740"/>
                    </a:lnTo>
                    <a:lnTo>
                      <a:pt x="17" y="740"/>
                    </a:lnTo>
                    <a:lnTo>
                      <a:pt x="17" y="740"/>
                    </a:lnTo>
                    <a:lnTo>
                      <a:pt x="19" y="740"/>
                    </a:lnTo>
                    <a:lnTo>
                      <a:pt x="19" y="740"/>
                    </a:lnTo>
                    <a:lnTo>
                      <a:pt x="21" y="739"/>
                    </a:lnTo>
                    <a:lnTo>
                      <a:pt x="21" y="737"/>
                    </a:lnTo>
                    <a:lnTo>
                      <a:pt x="21" y="736"/>
                    </a:lnTo>
                    <a:close/>
                    <a:moveTo>
                      <a:pt x="10" y="715"/>
                    </a:moveTo>
                    <a:lnTo>
                      <a:pt x="6" y="715"/>
                    </a:lnTo>
                    <a:lnTo>
                      <a:pt x="5" y="715"/>
                    </a:lnTo>
                    <a:lnTo>
                      <a:pt x="5" y="717"/>
                    </a:lnTo>
                    <a:lnTo>
                      <a:pt x="5" y="719"/>
                    </a:lnTo>
                    <a:lnTo>
                      <a:pt x="3" y="720"/>
                    </a:lnTo>
                    <a:lnTo>
                      <a:pt x="5" y="720"/>
                    </a:lnTo>
                    <a:lnTo>
                      <a:pt x="5" y="722"/>
                    </a:lnTo>
                    <a:lnTo>
                      <a:pt x="5" y="723"/>
                    </a:lnTo>
                    <a:lnTo>
                      <a:pt x="6" y="723"/>
                    </a:lnTo>
                    <a:lnTo>
                      <a:pt x="6" y="720"/>
                    </a:lnTo>
                    <a:lnTo>
                      <a:pt x="8" y="719"/>
                    </a:lnTo>
                    <a:lnTo>
                      <a:pt x="10" y="719"/>
                    </a:lnTo>
                    <a:lnTo>
                      <a:pt x="10" y="717"/>
                    </a:lnTo>
                    <a:lnTo>
                      <a:pt x="11" y="715"/>
                    </a:lnTo>
                    <a:lnTo>
                      <a:pt x="10" y="715"/>
                    </a:lnTo>
                    <a:close/>
                    <a:moveTo>
                      <a:pt x="14" y="704"/>
                    </a:moveTo>
                    <a:lnTo>
                      <a:pt x="13" y="704"/>
                    </a:lnTo>
                    <a:lnTo>
                      <a:pt x="10" y="703"/>
                    </a:lnTo>
                    <a:lnTo>
                      <a:pt x="10" y="703"/>
                    </a:lnTo>
                    <a:lnTo>
                      <a:pt x="6" y="703"/>
                    </a:lnTo>
                    <a:lnTo>
                      <a:pt x="6" y="704"/>
                    </a:lnTo>
                    <a:lnTo>
                      <a:pt x="6" y="706"/>
                    </a:lnTo>
                    <a:lnTo>
                      <a:pt x="5" y="708"/>
                    </a:lnTo>
                    <a:lnTo>
                      <a:pt x="5" y="709"/>
                    </a:lnTo>
                    <a:lnTo>
                      <a:pt x="5" y="711"/>
                    </a:lnTo>
                    <a:lnTo>
                      <a:pt x="6" y="711"/>
                    </a:lnTo>
                    <a:lnTo>
                      <a:pt x="8" y="712"/>
                    </a:lnTo>
                    <a:lnTo>
                      <a:pt x="11" y="711"/>
                    </a:lnTo>
                    <a:lnTo>
                      <a:pt x="13" y="709"/>
                    </a:lnTo>
                    <a:lnTo>
                      <a:pt x="16" y="708"/>
                    </a:lnTo>
                    <a:lnTo>
                      <a:pt x="14" y="704"/>
                    </a:lnTo>
                    <a:close/>
                    <a:moveTo>
                      <a:pt x="11" y="668"/>
                    </a:moveTo>
                    <a:lnTo>
                      <a:pt x="8" y="668"/>
                    </a:lnTo>
                    <a:lnTo>
                      <a:pt x="8" y="670"/>
                    </a:lnTo>
                    <a:lnTo>
                      <a:pt x="3" y="672"/>
                    </a:lnTo>
                    <a:lnTo>
                      <a:pt x="3" y="670"/>
                    </a:lnTo>
                    <a:lnTo>
                      <a:pt x="2" y="672"/>
                    </a:lnTo>
                    <a:lnTo>
                      <a:pt x="2" y="672"/>
                    </a:lnTo>
                    <a:lnTo>
                      <a:pt x="2" y="673"/>
                    </a:lnTo>
                    <a:lnTo>
                      <a:pt x="2" y="675"/>
                    </a:lnTo>
                    <a:lnTo>
                      <a:pt x="3" y="675"/>
                    </a:lnTo>
                    <a:lnTo>
                      <a:pt x="3" y="675"/>
                    </a:lnTo>
                    <a:lnTo>
                      <a:pt x="3" y="678"/>
                    </a:lnTo>
                    <a:lnTo>
                      <a:pt x="2" y="679"/>
                    </a:lnTo>
                    <a:lnTo>
                      <a:pt x="2" y="681"/>
                    </a:lnTo>
                    <a:lnTo>
                      <a:pt x="2" y="681"/>
                    </a:lnTo>
                    <a:lnTo>
                      <a:pt x="3" y="681"/>
                    </a:lnTo>
                    <a:lnTo>
                      <a:pt x="5" y="679"/>
                    </a:lnTo>
                    <a:lnTo>
                      <a:pt x="8" y="676"/>
                    </a:lnTo>
                    <a:lnTo>
                      <a:pt x="11" y="673"/>
                    </a:lnTo>
                    <a:lnTo>
                      <a:pt x="11" y="670"/>
                    </a:lnTo>
                    <a:lnTo>
                      <a:pt x="11" y="668"/>
                    </a:lnTo>
                    <a:close/>
                    <a:moveTo>
                      <a:pt x="22" y="693"/>
                    </a:moveTo>
                    <a:lnTo>
                      <a:pt x="21" y="693"/>
                    </a:lnTo>
                    <a:lnTo>
                      <a:pt x="21" y="692"/>
                    </a:lnTo>
                    <a:lnTo>
                      <a:pt x="22" y="687"/>
                    </a:lnTo>
                    <a:lnTo>
                      <a:pt x="22" y="683"/>
                    </a:lnTo>
                    <a:lnTo>
                      <a:pt x="22" y="679"/>
                    </a:lnTo>
                    <a:lnTo>
                      <a:pt x="21" y="670"/>
                    </a:lnTo>
                    <a:lnTo>
                      <a:pt x="21" y="668"/>
                    </a:lnTo>
                    <a:lnTo>
                      <a:pt x="21" y="668"/>
                    </a:lnTo>
                    <a:lnTo>
                      <a:pt x="19" y="668"/>
                    </a:lnTo>
                    <a:lnTo>
                      <a:pt x="17" y="667"/>
                    </a:lnTo>
                    <a:lnTo>
                      <a:pt x="16" y="667"/>
                    </a:lnTo>
                    <a:lnTo>
                      <a:pt x="14" y="668"/>
                    </a:lnTo>
                    <a:lnTo>
                      <a:pt x="13" y="670"/>
                    </a:lnTo>
                    <a:lnTo>
                      <a:pt x="13" y="670"/>
                    </a:lnTo>
                    <a:lnTo>
                      <a:pt x="13" y="672"/>
                    </a:lnTo>
                    <a:lnTo>
                      <a:pt x="13" y="675"/>
                    </a:lnTo>
                    <a:lnTo>
                      <a:pt x="11" y="676"/>
                    </a:lnTo>
                    <a:lnTo>
                      <a:pt x="10" y="678"/>
                    </a:lnTo>
                    <a:lnTo>
                      <a:pt x="8" y="679"/>
                    </a:lnTo>
                    <a:lnTo>
                      <a:pt x="11" y="679"/>
                    </a:lnTo>
                    <a:lnTo>
                      <a:pt x="11" y="683"/>
                    </a:lnTo>
                    <a:lnTo>
                      <a:pt x="8" y="683"/>
                    </a:lnTo>
                    <a:lnTo>
                      <a:pt x="8" y="683"/>
                    </a:lnTo>
                    <a:lnTo>
                      <a:pt x="6" y="683"/>
                    </a:lnTo>
                    <a:lnTo>
                      <a:pt x="5" y="684"/>
                    </a:lnTo>
                    <a:lnTo>
                      <a:pt x="5" y="684"/>
                    </a:lnTo>
                    <a:lnTo>
                      <a:pt x="5" y="686"/>
                    </a:lnTo>
                    <a:lnTo>
                      <a:pt x="6" y="687"/>
                    </a:lnTo>
                    <a:lnTo>
                      <a:pt x="6" y="689"/>
                    </a:lnTo>
                    <a:lnTo>
                      <a:pt x="6" y="692"/>
                    </a:lnTo>
                    <a:lnTo>
                      <a:pt x="3" y="692"/>
                    </a:lnTo>
                    <a:lnTo>
                      <a:pt x="2" y="693"/>
                    </a:lnTo>
                    <a:lnTo>
                      <a:pt x="3" y="697"/>
                    </a:lnTo>
                    <a:lnTo>
                      <a:pt x="5" y="695"/>
                    </a:lnTo>
                    <a:lnTo>
                      <a:pt x="6" y="698"/>
                    </a:lnTo>
                    <a:lnTo>
                      <a:pt x="10" y="698"/>
                    </a:lnTo>
                    <a:lnTo>
                      <a:pt x="11" y="698"/>
                    </a:lnTo>
                    <a:lnTo>
                      <a:pt x="13" y="698"/>
                    </a:lnTo>
                    <a:lnTo>
                      <a:pt x="13" y="695"/>
                    </a:lnTo>
                    <a:lnTo>
                      <a:pt x="13" y="692"/>
                    </a:lnTo>
                    <a:lnTo>
                      <a:pt x="13" y="690"/>
                    </a:lnTo>
                    <a:lnTo>
                      <a:pt x="13" y="689"/>
                    </a:lnTo>
                    <a:lnTo>
                      <a:pt x="17" y="686"/>
                    </a:lnTo>
                    <a:lnTo>
                      <a:pt x="17" y="686"/>
                    </a:lnTo>
                    <a:lnTo>
                      <a:pt x="17" y="687"/>
                    </a:lnTo>
                    <a:lnTo>
                      <a:pt x="17" y="687"/>
                    </a:lnTo>
                    <a:lnTo>
                      <a:pt x="16" y="689"/>
                    </a:lnTo>
                    <a:lnTo>
                      <a:pt x="16" y="689"/>
                    </a:lnTo>
                    <a:lnTo>
                      <a:pt x="16" y="692"/>
                    </a:lnTo>
                    <a:lnTo>
                      <a:pt x="14" y="692"/>
                    </a:lnTo>
                    <a:lnTo>
                      <a:pt x="14" y="693"/>
                    </a:lnTo>
                    <a:lnTo>
                      <a:pt x="14" y="695"/>
                    </a:lnTo>
                    <a:lnTo>
                      <a:pt x="16" y="697"/>
                    </a:lnTo>
                    <a:lnTo>
                      <a:pt x="16" y="698"/>
                    </a:lnTo>
                    <a:lnTo>
                      <a:pt x="16" y="700"/>
                    </a:lnTo>
                    <a:lnTo>
                      <a:pt x="17" y="703"/>
                    </a:lnTo>
                    <a:lnTo>
                      <a:pt x="17" y="703"/>
                    </a:lnTo>
                    <a:lnTo>
                      <a:pt x="19" y="703"/>
                    </a:lnTo>
                    <a:lnTo>
                      <a:pt x="21" y="701"/>
                    </a:lnTo>
                    <a:lnTo>
                      <a:pt x="21" y="700"/>
                    </a:lnTo>
                    <a:lnTo>
                      <a:pt x="22" y="698"/>
                    </a:lnTo>
                    <a:lnTo>
                      <a:pt x="22" y="697"/>
                    </a:lnTo>
                    <a:lnTo>
                      <a:pt x="22" y="693"/>
                    </a:lnTo>
                    <a:lnTo>
                      <a:pt x="22" y="693"/>
                    </a:lnTo>
                    <a:close/>
                    <a:moveTo>
                      <a:pt x="8" y="654"/>
                    </a:moveTo>
                    <a:lnTo>
                      <a:pt x="6" y="651"/>
                    </a:lnTo>
                    <a:lnTo>
                      <a:pt x="5" y="650"/>
                    </a:lnTo>
                    <a:lnTo>
                      <a:pt x="3" y="651"/>
                    </a:lnTo>
                    <a:lnTo>
                      <a:pt x="2" y="651"/>
                    </a:lnTo>
                    <a:lnTo>
                      <a:pt x="3" y="653"/>
                    </a:lnTo>
                    <a:lnTo>
                      <a:pt x="3" y="654"/>
                    </a:lnTo>
                    <a:lnTo>
                      <a:pt x="3" y="658"/>
                    </a:lnTo>
                    <a:lnTo>
                      <a:pt x="2" y="664"/>
                    </a:lnTo>
                    <a:lnTo>
                      <a:pt x="2" y="668"/>
                    </a:lnTo>
                    <a:lnTo>
                      <a:pt x="3" y="668"/>
                    </a:lnTo>
                    <a:lnTo>
                      <a:pt x="5" y="667"/>
                    </a:lnTo>
                    <a:lnTo>
                      <a:pt x="8" y="667"/>
                    </a:lnTo>
                    <a:lnTo>
                      <a:pt x="10" y="665"/>
                    </a:lnTo>
                    <a:lnTo>
                      <a:pt x="10" y="659"/>
                    </a:lnTo>
                    <a:lnTo>
                      <a:pt x="8" y="654"/>
                    </a:lnTo>
                    <a:close/>
                    <a:moveTo>
                      <a:pt x="19" y="659"/>
                    </a:moveTo>
                    <a:lnTo>
                      <a:pt x="19" y="659"/>
                    </a:lnTo>
                    <a:lnTo>
                      <a:pt x="19" y="659"/>
                    </a:lnTo>
                    <a:lnTo>
                      <a:pt x="19" y="658"/>
                    </a:lnTo>
                    <a:lnTo>
                      <a:pt x="19" y="656"/>
                    </a:lnTo>
                    <a:lnTo>
                      <a:pt x="17" y="654"/>
                    </a:lnTo>
                    <a:lnTo>
                      <a:pt x="17" y="653"/>
                    </a:lnTo>
                    <a:lnTo>
                      <a:pt x="17" y="651"/>
                    </a:lnTo>
                    <a:lnTo>
                      <a:pt x="16" y="651"/>
                    </a:lnTo>
                    <a:lnTo>
                      <a:pt x="16" y="650"/>
                    </a:lnTo>
                    <a:lnTo>
                      <a:pt x="16" y="645"/>
                    </a:lnTo>
                    <a:lnTo>
                      <a:pt x="14" y="645"/>
                    </a:lnTo>
                    <a:lnTo>
                      <a:pt x="13" y="647"/>
                    </a:lnTo>
                    <a:lnTo>
                      <a:pt x="10" y="648"/>
                    </a:lnTo>
                    <a:lnTo>
                      <a:pt x="8" y="650"/>
                    </a:lnTo>
                    <a:lnTo>
                      <a:pt x="8" y="650"/>
                    </a:lnTo>
                    <a:lnTo>
                      <a:pt x="8" y="653"/>
                    </a:lnTo>
                    <a:lnTo>
                      <a:pt x="10" y="654"/>
                    </a:lnTo>
                    <a:lnTo>
                      <a:pt x="10" y="656"/>
                    </a:lnTo>
                    <a:lnTo>
                      <a:pt x="11" y="658"/>
                    </a:lnTo>
                    <a:lnTo>
                      <a:pt x="11" y="659"/>
                    </a:lnTo>
                    <a:lnTo>
                      <a:pt x="13" y="662"/>
                    </a:lnTo>
                    <a:lnTo>
                      <a:pt x="14" y="665"/>
                    </a:lnTo>
                    <a:lnTo>
                      <a:pt x="17" y="664"/>
                    </a:lnTo>
                    <a:lnTo>
                      <a:pt x="19" y="665"/>
                    </a:lnTo>
                    <a:lnTo>
                      <a:pt x="21" y="664"/>
                    </a:lnTo>
                    <a:lnTo>
                      <a:pt x="19" y="659"/>
                    </a:lnTo>
                    <a:close/>
                    <a:moveTo>
                      <a:pt x="14" y="642"/>
                    </a:moveTo>
                    <a:lnTo>
                      <a:pt x="13" y="640"/>
                    </a:lnTo>
                    <a:lnTo>
                      <a:pt x="11" y="640"/>
                    </a:lnTo>
                    <a:lnTo>
                      <a:pt x="10" y="642"/>
                    </a:lnTo>
                    <a:lnTo>
                      <a:pt x="8" y="642"/>
                    </a:lnTo>
                    <a:lnTo>
                      <a:pt x="10" y="643"/>
                    </a:lnTo>
                    <a:lnTo>
                      <a:pt x="10" y="645"/>
                    </a:lnTo>
                    <a:lnTo>
                      <a:pt x="11" y="645"/>
                    </a:lnTo>
                    <a:lnTo>
                      <a:pt x="11" y="643"/>
                    </a:lnTo>
                    <a:lnTo>
                      <a:pt x="11" y="643"/>
                    </a:lnTo>
                    <a:lnTo>
                      <a:pt x="14" y="642"/>
                    </a:lnTo>
                    <a:lnTo>
                      <a:pt x="14" y="642"/>
                    </a:lnTo>
                    <a:close/>
                    <a:moveTo>
                      <a:pt x="25" y="587"/>
                    </a:moveTo>
                    <a:lnTo>
                      <a:pt x="25" y="584"/>
                    </a:lnTo>
                    <a:lnTo>
                      <a:pt x="25" y="579"/>
                    </a:lnTo>
                    <a:lnTo>
                      <a:pt x="25" y="576"/>
                    </a:lnTo>
                    <a:lnTo>
                      <a:pt x="22" y="578"/>
                    </a:lnTo>
                    <a:lnTo>
                      <a:pt x="22" y="579"/>
                    </a:lnTo>
                    <a:lnTo>
                      <a:pt x="21" y="579"/>
                    </a:lnTo>
                    <a:lnTo>
                      <a:pt x="22" y="582"/>
                    </a:lnTo>
                    <a:lnTo>
                      <a:pt x="21" y="586"/>
                    </a:lnTo>
                    <a:lnTo>
                      <a:pt x="19" y="587"/>
                    </a:lnTo>
                    <a:lnTo>
                      <a:pt x="17" y="589"/>
                    </a:lnTo>
                    <a:lnTo>
                      <a:pt x="17" y="590"/>
                    </a:lnTo>
                    <a:lnTo>
                      <a:pt x="21" y="590"/>
                    </a:lnTo>
                    <a:lnTo>
                      <a:pt x="22" y="592"/>
                    </a:lnTo>
                    <a:lnTo>
                      <a:pt x="24" y="590"/>
                    </a:lnTo>
                    <a:lnTo>
                      <a:pt x="25" y="590"/>
                    </a:lnTo>
                    <a:lnTo>
                      <a:pt x="25" y="589"/>
                    </a:lnTo>
                    <a:lnTo>
                      <a:pt x="27" y="587"/>
                    </a:lnTo>
                    <a:lnTo>
                      <a:pt x="25" y="587"/>
                    </a:lnTo>
                    <a:close/>
                    <a:moveTo>
                      <a:pt x="11" y="568"/>
                    </a:moveTo>
                    <a:lnTo>
                      <a:pt x="11" y="567"/>
                    </a:lnTo>
                    <a:lnTo>
                      <a:pt x="11" y="567"/>
                    </a:lnTo>
                    <a:lnTo>
                      <a:pt x="10" y="568"/>
                    </a:lnTo>
                    <a:lnTo>
                      <a:pt x="10" y="568"/>
                    </a:lnTo>
                    <a:lnTo>
                      <a:pt x="11" y="570"/>
                    </a:lnTo>
                    <a:lnTo>
                      <a:pt x="11" y="570"/>
                    </a:lnTo>
                    <a:lnTo>
                      <a:pt x="11" y="570"/>
                    </a:lnTo>
                    <a:lnTo>
                      <a:pt x="11" y="568"/>
                    </a:lnTo>
                    <a:lnTo>
                      <a:pt x="11" y="568"/>
                    </a:lnTo>
                    <a:close/>
                    <a:moveTo>
                      <a:pt x="36" y="564"/>
                    </a:moveTo>
                    <a:lnTo>
                      <a:pt x="36" y="562"/>
                    </a:lnTo>
                    <a:lnTo>
                      <a:pt x="36" y="560"/>
                    </a:lnTo>
                    <a:lnTo>
                      <a:pt x="35" y="560"/>
                    </a:lnTo>
                    <a:lnTo>
                      <a:pt x="35" y="562"/>
                    </a:lnTo>
                    <a:lnTo>
                      <a:pt x="33" y="562"/>
                    </a:lnTo>
                    <a:lnTo>
                      <a:pt x="33" y="564"/>
                    </a:lnTo>
                    <a:lnTo>
                      <a:pt x="33" y="565"/>
                    </a:lnTo>
                    <a:lnTo>
                      <a:pt x="35" y="567"/>
                    </a:lnTo>
                    <a:lnTo>
                      <a:pt x="35" y="567"/>
                    </a:lnTo>
                    <a:lnTo>
                      <a:pt x="36" y="568"/>
                    </a:lnTo>
                    <a:lnTo>
                      <a:pt x="36" y="568"/>
                    </a:lnTo>
                    <a:lnTo>
                      <a:pt x="36" y="568"/>
                    </a:lnTo>
                    <a:lnTo>
                      <a:pt x="36" y="567"/>
                    </a:lnTo>
                    <a:lnTo>
                      <a:pt x="36" y="564"/>
                    </a:lnTo>
                    <a:close/>
                    <a:moveTo>
                      <a:pt x="52" y="560"/>
                    </a:moveTo>
                    <a:lnTo>
                      <a:pt x="50" y="559"/>
                    </a:lnTo>
                    <a:lnTo>
                      <a:pt x="47" y="557"/>
                    </a:lnTo>
                    <a:lnTo>
                      <a:pt x="44" y="556"/>
                    </a:lnTo>
                    <a:lnTo>
                      <a:pt x="42" y="556"/>
                    </a:lnTo>
                    <a:lnTo>
                      <a:pt x="42" y="557"/>
                    </a:lnTo>
                    <a:lnTo>
                      <a:pt x="42" y="559"/>
                    </a:lnTo>
                    <a:lnTo>
                      <a:pt x="42" y="559"/>
                    </a:lnTo>
                    <a:lnTo>
                      <a:pt x="42" y="560"/>
                    </a:lnTo>
                    <a:lnTo>
                      <a:pt x="41" y="562"/>
                    </a:lnTo>
                    <a:lnTo>
                      <a:pt x="39" y="564"/>
                    </a:lnTo>
                    <a:lnTo>
                      <a:pt x="41" y="565"/>
                    </a:lnTo>
                    <a:lnTo>
                      <a:pt x="41" y="567"/>
                    </a:lnTo>
                    <a:lnTo>
                      <a:pt x="41" y="568"/>
                    </a:lnTo>
                    <a:lnTo>
                      <a:pt x="44" y="568"/>
                    </a:lnTo>
                    <a:lnTo>
                      <a:pt x="47" y="567"/>
                    </a:lnTo>
                    <a:lnTo>
                      <a:pt x="49" y="565"/>
                    </a:lnTo>
                    <a:lnTo>
                      <a:pt x="50" y="564"/>
                    </a:lnTo>
                    <a:lnTo>
                      <a:pt x="52" y="560"/>
                    </a:lnTo>
                    <a:lnTo>
                      <a:pt x="52" y="560"/>
                    </a:lnTo>
                    <a:close/>
                    <a:moveTo>
                      <a:pt x="30" y="560"/>
                    </a:moveTo>
                    <a:lnTo>
                      <a:pt x="33" y="559"/>
                    </a:lnTo>
                    <a:lnTo>
                      <a:pt x="33" y="559"/>
                    </a:lnTo>
                    <a:lnTo>
                      <a:pt x="35" y="557"/>
                    </a:lnTo>
                    <a:lnTo>
                      <a:pt x="35" y="556"/>
                    </a:lnTo>
                    <a:lnTo>
                      <a:pt x="35" y="554"/>
                    </a:lnTo>
                    <a:lnTo>
                      <a:pt x="33" y="554"/>
                    </a:lnTo>
                    <a:lnTo>
                      <a:pt x="33" y="553"/>
                    </a:lnTo>
                    <a:lnTo>
                      <a:pt x="31" y="551"/>
                    </a:lnTo>
                    <a:lnTo>
                      <a:pt x="30" y="551"/>
                    </a:lnTo>
                    <a:lnTo>
                      <a:pt x="28" y="553"/>
                    </a:lnTo>
                    <a:lnTo>
                      <a:pt x="28" y="554"/>
                    </a:lnTo>
                    <a:lnTo>
                      <a:pt x="28" y="557"/>
                    </a:lnTo>
                    <a:lnTo>
                      <a:pt x="28" y="557"/>
                    </a:lnTo>
                    <a:lnTo>
                      <a:pt x="27" y="559"/>
                    </a:lnTo>
                    <a:lnTo>
                      <a:pt x="25" y="557"/>
                    </a:lnTo>
                    <a:lnTo>
                      <a:pt x="22" y="559"/>
                    </a:lnTo>
                    <a:lnTo>
                      <a:pt x="21" y="559"/>
                    </a:lnTo>
                    <a:lnTo>
                      <a:pt x="22" y="562"/>
                    </a:lnTo>
                    <a:lnTo>
                      <a:pt x="19" y="564"/>
                    </a:lnTo>
                    <a:lnTo>
                      <a:pt x="21" y="567"/>
                    </a:lnTo>
                    <a:lnTo>
                      <a:pt x="22" y="568"/>
                    </a:lnTo>
                    <a:lnTo>
                      <a:pt x="24" y="570"/>
                    </a:lnTo>
                    <a:lnTo>
                      <a:pt x="25" y="573"/>
                    </a:lnTo>
                    <a:lnTo>
                      <a:pt x="27" y="576"/>
                    </a:lnTo>
                    <a:lnTo>
                      <a:pt x="28" y="578"/>
                    </a:lnTo>
                    <a:lnTo>
                      <a:pt x="28" y="581"/>
                    </a:lnTo>
                    <a:lnTo>
                      <a:pt x="30" y="581"/>
                    </a:lnTo>
                    <a:lnTo>
                      <a:pt x="33" y="581"/>
                    </a:lnTo>
                    <a:lnTo>
                      <a:pt x="33" y="581"/>
                    </a:lnTo>
                    <a:lnTo>
                      <a:pt x="33" y="579"/>
                    </a:lnTo>
                    <a:lnTo>
                      <a:pt x="35" y="579"/>
                    </a:lnTo>
                    <a:lnTo>
                      <a:pt x="35" y="579"/>
                    </a:lnTo>
                    <a:lnTo>
                      <a:pt x="35" y="578"/>
                    </a:lnTo>
                    <a:lnTo>
                      <a:pt x="35" y="576"/>
                    </a:lnTo>
                    <a:lnTo>
                      <a:pt x="35" y="575"/>
                    </a:lnTo>
                    <a:lnTo>
                      <a:pt x="33" y="573"/>
                    </a:lnTo>
                    <a:lnTo>
                      <a:pt x="33" y="571"/>
                    </a:lnTo>
                    <a:lnTo>
                      <a:pt x="33" y="571"/>
                    </a:lnTo>
                    <a:lnTo>
                      <a:pt x="33" y="568"/>
                    </a:lnTo>
                    <a:lnTo>
                      <a:pt x="31" y="565"/>
                    </a:lnTo>
                    <a:lnTo>
                      <a:pt x="31" y="564"/>
                    </a:lnTo>
                    <a:lnTo>
                      <a:pt x="30" y="562"/>
                    </a:lnTo>
                    <a:lnTo>
                      <a:pt x="30" y="560"/>
                    </a:lnTo>
                    <a:lnTo>
                      <a:pt x="30" y="560"/>
                    </a:lnTo>
                    <a:close/>
                    <a:moveTo>
                      <a:pt x="33" y="543"/>
                    </a:moveTo>
                    <a:lnTo>
                      <a:pt x="33" y="543"/>
                    </a:lnTo>
                    <a:lnTo>
                      <a:pt x="33" y="542"/>
                    </a:lnTo>
                    <a:lnTo>
                      <a:pt x="30" y="543"/>
                    </a:lnTo>
                    <a:lnTo>
                      <a:pt x="28" y="543"/>
                    </a:lnTo>
                    <a:lnTo>
                      <a:pt x="27" y="545"/>
                    </a:lnTo>
                    <a:lnTo>
                      <a:pt x="28" y="545"/>
                    </a:lnTo>
                    <a:lnTo>
                      <a:pt x="31" y="546"/>
                    </a:lnTo>
                    <a:lnTo>
                      <a:pt x="31" y="546"/>
                    </a:lnTo>
                    <a:lnTo>
                      <a:pt x="31" y="545"/>
                    </a:lnTo>
                    <a:lnTo>
                      <a:pt x="33" y="545"/>
                    </a:lnTo>
                    <a:lnTo>
                      <a:pt x="33" y="545"/>
                    </a:lnTo>
                    <a:lnTo>
                      <a:pt x="33" y="543"/>
                    </a:lnTo>
                    <a:close/>
                    <a:moveTo>
                      <a:pt x="19" y="537"/>
                    </a:moveTo>
                    <a:lnTo>
                      <a:pt x="17" y="537"/>
                    </a:lnTo>
                    <a:lnTo>
                      <a:pt x="17" y="537"/>
                    </a:lnTo>
                    <a:lnTo>
                      <a:pt x="16" y="537"/>
                    </a:lnTo>
                    <a:lnTo>
                      <a:pt x="16" y="537"/>
                    </a:lnTo>
                    <a:lnTo>
                      <a:pt x="16" y="539"/>
                    </a:lnTo>
                    <a:lnTo>
                      <a:pt x="16" y="539"/>
                    </a:lnTo>
                    <a:lnTo>
                      <a:pt x="19" y="539"/>
                    </a:lnTo>
                    <a:lnTo>
                      <a:pt x="19" y="539"/>
                    </a:lnTo>
                    <a:lnTo>
                      <a:pt x="19" y="537"/>
                    </a:lnTo>
                    <a:close/>
                    <a:moveTo>
                      <a:pt x="38" y="518"/>
                    </a:moveTo>
                    <a:lnTo>
                      <a:pt x="36" y="517"/>
                    </a:lnTo>
                    <a:lnTo>
                      <a:pt x="35" y="515"/>
                    </a:lnTo>
                    <a:lnTo>
                      <a:pt x="33" y="514"/>
                    </a:lnTo>
                    <a:lnTo>
                      <a:pt x="35" y="512"/>
                    </a:lnTo>
                    <a:lnTo>
                      <a:pt x="36" y="512"/>
                    </a:lnTo>
                    <a:lnTo>
                      <a:pt x="36" y="512"/>
                    </a:lnTo>
                    <a:lnTo>
                      <a:pt x="38" y="512"/>
                    </a:lnTo>
                    <a:lnTo>
                      <a:pt x="39" y="510"/>
                    </a:lnTo>
                    <a:lnTo>
                      <a:pt x="38" y="509"/>
                    </a:lnTo>
                    <a:lnTo>
                      <a:pt x="38" y="507"/>
                    </a:lnTo>
                    <a:lnTo>
                      <a:pt x="39" y="506"/>
                    </a:lnTo>
                    <a:lnTo>
                      <a:pt x="41" y="504"/>
                    </a:lnTo>
                    <a:lnTo>
                      <a:pt x="39" y="504"/>
                    </a:lnTo>
                    <a:lnTo>
                      <a:pt x="39" y="501"/>
                    </a:lnTo>
                    <a:lnTo>
                      <a:pt x="38" y="499"/>
                    </a:lnTo>
                    <a:lnTo>
                      <a:pt x="38" y="498"/>
                    </a:lnTo>
                    <a:lnTo>
                      <a:pt x="35" y="496"/>
                    </a:lnTo>
                    <a:lnTo>
                      <a:pt x="30" y="495"/>
                    </a:lnTo>
                    <a:lnTo>
                      <a:pt x="28" y="496"/>
                    </a:lnTo>
                    <a:lnTo>
                      <a:pt x="30" y="496"/>
                    </a:lnTo>
                    <a:lnTo>
                      <a:pt x="30" y="498"/>
                    </a:lnTo>
                    <a:lnTo>
                      <a:pt x="28" y="499"/>
                    </a:lnTo>
                    <a:lnTo>
                      <a:pt x="28" y="501"/>
                    </a:lnTo>
                    <a:lnTo>
                      <a:pt x="28" y="503"/>
                    </a:lnTo>
                    <a:lnTo>
                      <a:pt x="27" y="506"/>
                    </a:lnTo>
                    <a:lnTo>
                      <a:pt x="27" y="506"/>
                    </a:lnTo>
                    <a:lnTo>
                      <a:pt x="27" y="507"/>
                    </a:lnTo>
                    <a:lnTo>
                      <a:pt x="27" y="509"/>
                    </a:lnTo>
                    <a:lnTo>
                      <a:pt x="27" y="510"/>
                    </a:lnTo>
                    <a:lnTo>
                      <a:pt x="27" y="512"/>
                    </a:lnTo>
                    <a:lnTo>
                      <a:pt x="27" y="514"/>
                    </a:lnTo>
                    <a:lnTo>
                      <a:pt x="27" y="521"/>
                    </a:lnTo>
                    <a:lnTo>
                      <a:pt x="25" y="526"/>
                    </a:lnTo>
                    <a:lnTo>
                      <a:pt x="24" y="528"/>
                    </a:lnTo>
                    <a:lnTo>
                      <a:pt x="24" y="529"/>
                    </a:lnTo>
                    <a:lnTo>
                      <a:pt x="24" y="529"/>
                    </a:lnTo>
                    <a:lnTo>
                      <a:pt x="25" y="531"/>
                    </a:lnTo>
                    <a:lnTo>
                      <a:pt x="28" y="532"/>
                    </a:lnTo>
                    <a:lnTo>
                      <a:pt x="30" y="532"/>
                    </a:lnTo>
                    <a:lnTo>
                      <a:pt x="31" y="532"/>
                    </a:lnTo>
                    <a:lnTo>
                      <a:pt x="33" y="532"/>
                    </a:lnTo>
                    <a:lnTo>
                      <a:pt x="35" y="532"/>
                    </a:lnTo>
                    <a:lnTo>
                      <a:pt x="35" y="531"/>
                    </a:lnTo>
                    <a:lnTo>
                      <a:pt x="35" y="528"/>
                    </a:lnTo>
                    <a:lnTo>
                      <a:pt x="36" y="526"/>
                    </a:lnTo>
                    <a:lnTo>
                      <a:pt x="38" y="526"/>
                    </a:lnTo>
                    <a:lnTo>
                      <a:pt x="39" y="523"/>
                    </a:lnTo>
                    <a:lnTo>
                      <a:pt x="39" y="521"/>
                    </a:lnTo>
                    <a:lnTo>
                      <a:pt x="39" y="520"/>
                    </a:lnTo>
                    <a:lnTo>
                      <a:pt x="38" y="518"/>
                    </a:lnTo>
                    <a:close/>
                    <a:moveTo>
                      <a:pt x="149" y="99"/>
                    </a:moveTo>
                    <a:lnTo>
                      <a:pt x="147" y="100"/>
                    </a:lnTo>
                    <a:lnTo>
                      <a:pt x="142" y="100"/>
                    </a:lnTo>
                    <a:lnTo>
                      <a:pt x="141" y="100"/>
                    </a:lnTo>
                    <a:lnTo>
                      <a:pt x="139" y="100"/>
                    </a:lnTo>
                    <a:lnTo>
                      <a:pt x="139" y="100"/>
                    </a:lnTo>
                    <a:lnTo>
                      <a:pt x="138" y="100"/>
                    </a:lnTo>
                    <a:lnTo>
                      <a:pt x="138" y="99"/>
                    </a:lnTo>
                    <a:lnTo>
                      <a:pt x="138" y="99"/>
                    </a:lnTo>
                    <a:lnTo>
                      <a:pt x="138" y="99"/>
                    </a:lnTo>
                    <a:lnTo>
                      <a:pt x="138" y="97"/>
                    </a:lnTo>
                    <a:lnTo>
                      <a:pt x="138" y="96"/>
                    </a:lnTo>
                    <a:lnTo>
                      <a:pt x="138" y="96"/>
                    </a:lnTo>
                    <a:lnTo>
                      <a:pt x="138" y="93"/>
                    </a:lnTo>
                    <a:lnTo>
                      <a:pt x="136" y="89"/>
                    </a:lnTo>
                    <a:lnTo>
                      <a:pt x="136" y="89"/>
                    </a:lnTo>
                    <a:lnTo>
                      <a:pt x="136" y="89"/>
                    </a:lnTo>
                    <a:lnTo>
                      <a:pt x="136" y="88"/>
                    </a:lnTo>
                    <a:lnTo>
                      <a:pt x="136" y="88"/>
                    </a:lnTo>
                    <a:lnTo>
                      <a:pt x="136" y="85"/>
                    </a:lnTo>
                    <a:lnTo>
                      <a:pt x="136" y="85"/>
                    </a:lnTo>
                    <a:lnTo>
                      <a:pt x="136" y="85"/>
                    </a:lnTo>
                    <a:lnTo>
                      <a:pt x="135" y="83"/>
                    </a:lnTo>
                    <a:lnTo>
                      <a:pt x="133" y="82"/>
                    </a:lnTo>
                    <a:lnTo>
                      <a:pt x="133" y="79"/>
                    </a:lnTo>
                    <a:lnTo>
                      <a:pt x="132" y="77"/>
                    </a:lnTo>
                    <a:lnTo>
                      <a:pt x="132" y="74"/>
                    </a:lnTo>
                    <a:lnTo>
                      <a:pt x="132" y="71"/>
                    </a:lnTo>
                    <a:lnTo>
                      <a:pt x="130" y="68"/>
                    </a:lnTo>
                    <a:lnTo>
                      <a:pt x="128" y="64"/>
                    </a:lnTo>
                    <a:lnTo>
                      <a:pt x="127" y="64"/>
                    </a:lnTo>
                    <a:lnTo>
                      <a:pt x="125" y="63"/>
                    </a:lnTo>
                    <a:lnTo>
                      <a:pt x="125" y="63"/>
                    </a:lnTo>
                    <a:lnTo>
                      <a:pt x="125" y="63"/>
                    </a:lnTo>
                    <a:lnTo>
                      <a:pt x="125" y="61"/>
                    </a:lnTo>
                    <a:lnTo>
                      <a:pt x="125" y="60"/>
                    </a:lnTo>
                    <a:lnTo>
                      <a:pt x="127" y="58"/>
                    </a:lnTo>
                    <a:lnTo>
                      <a:pt x="127" y="58"/>
                    </a:lnTo>
                    <a:lnTo>
                      <a:pt x="127" y="58"/>
                    </a:lnTo>
                    <a:lnTo>
                      <a:pt x="124" y="55"/>
                    </a:lnTo>
                    <a:lnTo>
                      <a:pt x="122" y="55"/>
                    </a:lnTo>
                    <a:lnTo>
                      <a:pt x="122" y="55"/>
                    </a:lnTo>
                    <a:lnTo>
                      <a:pt x="122" y="53"/>
                    </a:lnTo>
                    <a:lnTo>
                      <a:pt x="122" y="53"/>
                    </a:lnTo>
                    <a:lnTo>
                      <a:pt x="122" y="53"/>
                    </a:lnTo>
                    <a:lnTo>
                      <a:pt x="122" y="52"/>
                    </a:lnTo>
                    <a:lnTo>
                      <a:pt x="124" y="52"/>
                    </a:lnTo>
                    <a:lnTo>
                      <a:pt x="122" y="50"/>
                    </a:lnTo>
                    <a:lnTo>
                      <a:pt x="122" y="50"/>
                    </a:lnTo>
                    <a:lnTo>
                      <a:pt x="122" y="49"/>
                    </a:lnTo>
                    <a:lnTo>
                      <a:pt x="122" y="49"/>
                    </a:lnTo>
                    <a:lnTo>
                      <a:pt x="122" y="47"/>
                    </a:lnTo>
                    <a:lnTo>
                      <a:pt x="122" y="47"/>
                    </a:lnTo>
                    <a:lnTo>
                      <a:pt x="125" y="47"/>
                    </a:lnTo>
                    <a:lnTo>
                      <a:pt x="125" y="46"/>
                    </a:lnTo>
                    <a:lnTo>
                      <a:pt x="125" y="44"/>
                    </a:lnTo>
                    <a:lnTo>
                      <a:pt x="125" y="44"/>
                    </a:lnTo>
                    <a:lnTo>
                      <a:pt x="124" y="41"/>
                    </a:lnTo>
                    <a:lnTo>
                      <a:pt x="124" y="41"/>
                    </a:lnTo>
                    <a:lnTo>
                      <a:pt x="125" y="38"/>
                    </a:lnTo>
                    <a:lnTo>
                      <a:pt x="127" y="36"/>
                    </a:lnTo>
                    <a:lnTo>
                      <a:pt x="127" y="36"/>
                    </a:lnTo>
                    <a:lnTo>
                      <a:pt x="127" y="35"/>
                    </a:lnTo>
                    <a:lnTo>
                      <a:pt x="127" y="35"/>
                    </a:lnTo>
                    <a:lnTo>
                      <a:pt x="125" y="35"/>
                    </a:lnTo>
                    <a:lnTo>
                      <a:pt x="125" y="33"/>
                    </a:lnTo>
                    <a:lnTo>
                      <a:pt x="124" y="33"/>
                    </a:lnTo>
                    <a:lnTo>
                      <a:pt x="124" y="32"/>
                    </a:lnTo>
                    <a:lnTo>
                      <a:pt x="124" y="32"/>
                    </a:lnTo>
                    <a:lnTo>
                      <a:pt x="122" y="32"/>
                    </a:lnTo>
                    <a:lnTo>
                      <a:pt x="122" y="30"/>
                    </a:lnTo>
                    <a:lnTo>
                      <a:pt x="121" y="30"/>
                    </a:lnTo>
                    <a:lnTo>
                      <a:pt x="119" y="28"/>
                    </a:lnTo>
                    <a:lnTo>
                      <a:pt x="119" y="28"/>
                    </a:lnTo>
                    <a:lnTo>
                      <a:pt x="119" y="27"/>
                    </a:lnTo>
                    <a:lnTo>
                      <a:pt x="119" y="27"/>
                    </a:lnTo>
                    <a:lnTo>
                      <a:pt x="117" y="24"/>
                    </a:lnTo>
                    <a:lnTo>
                      <a:pt x="117" y="24"/>
                    </a:lnTo>
                    <a:lnTo>
                      <a:pt x="117" y="24"/>
                    </a:lnTo>
                    <a:lnTo>
                      <a:pt x="117" y="22"/>
                    </a:lnTo>
                    <a:lnTo>
                      <a:pt x="117" y="19"/>
                    </a:lnTo>
                    <a:lnTo>
                      <a:pt x="117" y="17"/>
                    </a:lnTo>
                    <a:lnTo>
                      <a:pt x="116" y="17"/>
                    </a:lnTo>
                    <a:lnTo>
                      <a:pt x="116" y="17"/>
                    </a:lnTo>
                    <a:lnTo>
                      <a:pt x="116" y="17"/>
                    </a:lnTo>
                    <a:lnTo>
                      <a:pt x="116" y="16"/>
                    </a:lnTo>
                    <a:lnTo>
                      <a:pt x="116" y="14"/>
                    </a:lnTo>
                    <a:lnTo>
                      <a:pt x="116" y="14"/>
                    </a:lnTo>
                    <a:lnTo>
                      <a:pt x="116" y="13"/>
                    </a:lnTo>
                    <a:lnTo>
                      <a:pt x="116" y="11"/>
                    </a:lnTo>
                    <a:lnTo>
                      <a:pt x="116" y="11"/>
                    </a:lnTo>
                    <a:lnTo>
                      <a:pt x="116" y="11"/>
                    </a:lnTo>
                    <a:lnTo>
                      <a:pt x="116" y="10"/>
                    </a:lnTo>
                    <a:lnTo>
                      <a:pt x="113" y="8"/>
                    </a:lnTo>
                    <a:lnTo>
                      <a:pt x="113" y="8"/>
                    </a:lnTo>
                    <a:lnTo>
                      <a:pt x="113" y="8"/>
                    </a:lnTo>
                    <a:lnTo>
                      <a:pt x="113" y="8"/>
                    </a:lnTo>
                    <a:lnTo>
                      <a:pt x="113" y="7"/>
                    </a:lnTo>
                    <a:lnTo>
                      <a:pt x="111" y="7"/>
                    </a:lnTo>
                    <a:lnTo>
                      <a:pt x="111" y="5"/>
                    </a:lnTo>
                    <a:lnTo>
                      <a:pt x="110" y="2"/>
                    </a:lnTo>
                    <a:lnTo>
                      <a:pt x="108" y="0"/>
                    </a:lnTo>
                    <a:lnTo>
                      <a:pt x="108" y="0"/>
                    </a:lnTo>
                    <a:lnTo>
                      <a:pt x="108" y="2"/>
                    </a:lnTo>
                    <a:lnTo>
                      <a:pt x="107" y="3"/>
                    </a:lnTo>
                    <a:lnTo>
                      <a:pt x="103" y="3"/>
                    </a:lnTo>
                    <a:lnTo>
                      <a:pt x="103" y="3"/>
                    </a:lnTo>
                    <a:lnTo>
                      <a:pt x="103" y="3"/>
                    </a:lnTo>
                    <a:lnTo>
                      <a:pt x="103" y="3"/>
                    </a:lnTo>
                    <a:lnTo>
                      <a:pt x="103" y="5"/>
                    </a:lnTo>
                    <a:lnTo>
                      <a:pt x="103" y="7"/>
                    </a:lnTo>
                    <a:lnTo>
                      <a:pt x="103" y="8"/>
                    </a:lnTo>
                    <a:lnTo>
                      <a:pt x="103" y="10"/>
                    </a:lnTo>
                    <a:lnTo>
                      <a:pt x="103" y="11"/>
                    </a:lnTo>
                    <a:lnTo>
                      <a:pt x="102" y="13"/>
                    </a:lnTo>
                    <a:lnTo>
                      <a:pt x="99" y="14"/>
                    </a:lnTo>
                    <a:lnTo>
                      <a:pt x="97" y="16"/>
                    </a:lnTo>
                    <a:lnTo>
                      <a:pt x="96" y="16"/>
                    </a:lnTo>
                    <a:lnTo>
                      <a:pt x="94" y="16"/>
                    </a:lnTo>
                    <a:lnTo>
                      <a:pt x="92" y="16"/>
                    </a:lnTo>
                    <a:lnTo>
                      <a:pt x="94" y="16"/>
                    </a:lnTo>
                    <a:lnTo>
                      <a:pt x="94" y="21"/>
                    </a:lnTo>
                    <a:lnTo>
                      <a:pt x="94" y="25"/>
                    </a:lnTo>
                    <a:lnTo>
                      <a:pt x="96" y="33"/>
                    </a:lnTo>
                    <a:lnTo>
                      <a:pt x="97" y="36"/>
                    </a:lnTo>
                    <a:lnTo>
                      <a:pt x="97" y="39"/>
                    </a:lnTo>
                    <a:lnTo>
                      <a:pt x="97" y="41"/>
                    </a:lnTo>
                    <a:lnTo>
                      <a:pt x="97" y="43"/>
                    </a:lnTo>
                    <a:lnTo>
                      <a:pt x="97" y="50"/>
                    </a:lnTo>
                    <a:lnTo>
                      <a:pt x="97" y="57"/>
                    </a:lnTo>
                    <a:lnTo>
                      <a:pt x="97" y="60"/>
                    </a:lnTo>
                    <a:lnTo>
                      <a:pt x="99" y="69"/>
                    </a:lnTo>
                    <a:lnTo>
                      <a:pt x="99" y="72"/>
                    </a:lnTo>
                    <a:lnTo>
                      <a:pt x="99" y="74"/>
                    </a:lnTo>
                    <a:lnTo>
                      <a:pt x="99" y="77"/>
                    </a:lnTo>
                    <a:lnTo>
                      <a:pt x="97" y="82"/>
                    </a:lnTo>
                    <a:lnTo>
                      <a:pt x="97" y="83"/>
                    </a:lnTo>
                    <a:lnTo>
                      <a:pt x="96" y="88"/>
                    </a:lnTo>
                    <a:lnTo>
                      <a:pt x="96" y="94"/>
                    </a:lnTo>
                    <a:lnTo>
                      <a:pt x="94" y="100"/>
                    </a:lnTo>
                    <a:lnTo>
                      <a:pt x="94" y="102"/>
                    </a:lnTo>
                    <a:lnTo>
                      <a:pt x="92" y="104"/>
                    </a:lnTo>
                    <a:lnTo>
                      <a:pt x="91" y="104"/>
                    </a:lnTo>
                    <a:lnTo>
                      <a:pt x="91" y="107"/>
                    </a:lnTo>
                    <a:lnTo>
                      <a:pt x="89" y="108"/>
                    </a:lnTo>
                    <a:lnTo>
                      <a:pt x="89" y="110"/>
                    </a:lnTo>
                    <a:lnTo>
                      <a:pt x="91" y="111"/>
                    </a:lnTo>
                    <a:lnTo>
                      <a:pt x="92" y="113"/>
                    </a:lnTo>
                    <a:lnTo>
                      <a:pt x="94" y="113"/>
                    </a:lnTo>
                    <a:lnTo>
                      <a:pt x="92" y="115"/>
                    </a:lnTo>
                    <a:lnTo>
                      <a:pt x="91" y="118"/>
                    </a:lnTo>
                    <a:lnTo>
                      <a:pt x="91" y="119"/>
                    </a:lnTo>
                    <a:lnTo>
                      <a:pt x="91" y="121"/>
                    </a:lnTo>
                    <a:lnTo>
                      <a:pt x="91" y="124"/>
                    </a:lnTo>
                    <a:lnTo>
                      <a:pt x="91" y="129"/>
                    </a:lnTo>
                    <a:lnTo>
                      <a:pt x="91" y="133"/>
                    </a:lnTo>
                    <a:lnTo>
                      <a:pt x="91" y="136"/>
                    </a:lnTo>
                    <a:lnTo>
                      <a:pt x="92" y="144"/>
                    </a:lnTo>
                    <a:lnTo>
                      <a:pt x="92" y="146"/>
                    </a:lnTo>
                    <a:lnTo>
                      <a:pt x="91" y="147"/>
                    </a:lnTo>
                    <a:lnTo>
                      <a:pt x="89" y="151"/>
                    </a:lnTo>
                    <a:lnTo>
                      <a:pt x="89" y="152"/>
                    </a:lnTo>
                    <a:lnTo>
                      <a:pt x="88" y="157"/>
                    </a:lnTo>
                    <a:lnTo>
                      <a:pt x="88" y="157"/>
                    </a:lnTo>
                    <a:lnTo>
                      <a:pt x="89" y="160"/>
                    </a:lnTo>
                    <a:lnTo>
                      <a:pt x="89" y="165"/>
                    </a:lnTo>
                    <a:lnTo>
                      <a:pt x="89" y="166"/>
                    </a:lnTo>
                    <a:lnTo>
                      <a:pt x="88" y="168"/>
                    </a:lnTo>
                    <a:lnTo>
                      <a:pt x="88" y="172"/>
                    </a:lnTo>
                    <a:lnTo>
                      <a:pt x="86" y="177"/>
                    </a:lnTo>
                    <a:lnTo>
                      <a:pt x="86" y="179"/>
                    </a:lnTo>
                    <a:lnTo>
                      <a:pt x="85" y="183"/>
                    </a:lnTo>
                    <a:lnTo>
                      <a:pt x="85" y="186"/>
                    </a:lnTo>
                    <a:lnTo>
                      <a:pt x="85" y="190"/>
                    </a:lnTo>
                    <a:lnTo>
                      <a:pt x="85" y="191"/>
                    </a:lnTo>
                    <a:lnTo>
                      <a:pt x="83" y="191"/>
                    </a:lnTo>
                    <a:lnTo>
                      <a:pt x="81" y="194"/>
                    </a:lnTo>
                    <a:lnTo>
                      <a:pt x="81" y="196"/>
                    </a:lnTo>
                    <a:lnTo>
                      <a:pt x="80" y="201"/>
                    </a:lnTo>
                    <a:lnTo>
                      <a:pt x="80" y="207"/>
                    </a:lnTo>
                    <a:lnTo>
                      <a:pt x="78" y="210"/>
                    </a:lnTo>
                    <a:lnTo>
                      <a:pt x="77" y="213"/>
                    </a:lnTo>
                    <a:lnTo>
                      <a:pt x="75" y="215"/>
                    </a:lnTo>
                    <a:lnTo>
                      <a:pt x="74" y="216"/>
                    </a:lnTo>
                    <a:lnTo>
                      <a:pt x="74" y="218"/>
                    </a:lnTo>
                    <a:lnTo>
                      <a:pt x="74" y="224"/>
                    </a:lnTo>
                    <a:lnTo>
                      <a:pt x="77" y="226"/>
                    </a:lnTo>
                    <a:lnTo>
                      <a:pt x="77" y="229"/>
                    </a:lnTo>
                    <a:lnTo>
                      <a:pt x="77" y="232"/>
                    </a:lnTo>
                    <a:lnTo>
                      <a:pt x="77" y="238"/>
                    </a:lnTo>
                    <a:lnTo>
                      <a:pt x="75" y="243"/>
                    </a:lnTo>
                    <a:lnTo>
                      <a:pt x="71" y="246"/>
                    </a:lnTo>
                    <a:lnTo>
                      <a:pt x="71" y="252"/>
                    </a:lnTo>
                    <a:lnTo>
                      <a:pt x="71" y="255"/>
                    </a:lnTo>
                    <a:lnTo>
                      <a:pt x="71" y="260"/>
                    </a:lnTo>
                    <a:lnTo>
                      <a:pt x="71" y="263"/>
                    </a:lnTo>
                    <a:lnTo>
                      <a:pt x="72" y="269"/>
                    </a:lnTo>
                    <a:lnTo>
                      <a:pt x="74" y="276"/>
                    </a:lnTo>
                    <a:lnTo>
                      <a:pt x="74" y="285"/>
                    </a:lnTo>
                    <a:lnTo>
                      <a:pt x="75" y="288"/>
                    </a:lnTo>
                    <a:lnTo>
                      <a:pt x="75" y="291"/>
                    </a:lnTo>
                    <a:lnTo>
                      <a:pt x="75" y="294"/>
                    </a:lnTo>
                    <a:lnTo>
                      <a:pt x="72" y="301"/>
                    </a:lnTo>
                    <a:lnTo>
                      <a:pt x="72" y="301"/>
                    </a:lnTo>
                    <a:lnTo>
                      <a:pt x="69" y="302"/>
                    </a:lnTo>
                    <a:lnTo>
                      <a:pt x="71" y="307"/>
                    </a:lnTo>
                    <a:lnTo>
                      <a:pt x="71" y="310"/>
                    </a:lnTo>
                    <a:lnTo>
                      <a:pt x="72" y="312"/>
                    </a:lnTo>
                    <a:lnTo>
                      <a:pt x="71" y="315"/>
                    </a:lnTo>
                    <a:lnTo>
                      <a:pt x="67" y="318"/>
                    </a:lnTo>
                    <a:lnTo>
                      <a:pt x="67" y="320"/>
                    </a:lnTo>
                    <a:lnTo>
                      <a:pt x="66" y="323"/>
                    </a:lnTo>
                    <a:lnTo>
                      <a:pt x="64" y="326"/>
                    </a:lnTo>
                    <a:lnTo>
                      <a:pt x="66" y="327"/>
                    </a:lnTo>
                    <a:lnTo>
                      <a:pt x="64" y="330"/>
                    </a:lnTo>
                    <a:lnTo>
                      <a:pt x="64" y="335"/>
                    </a:lnTo>
                    <a:lnTo>
                      <a:pt x="61" y="341"/>
                    </a:lnTo>
                    <a:lnTo>
                      <a:pt x="61" y="345"/>
                    </a:lnTo>
                    <a:lnTo>
                      <a:pt x="58" y="348"/>
                    </a:lnTo>
                    <a:lnTo>
                      <a:pt x="56" y="351"/>
                    </a:lnTo>
                    <a:lnTo>
                      <a:pt x="56" y="352"/>
                    </a:lnTo>
                    <a:lnTo>
                      <a:pt x="55" y="354"/>
                    </a:lnTo>
                    <a:lnTo>
                      <a:pt x="55" y="355"/>
                    </a:lnTo>
                    <a:lnTo>
                      <a:pt x="55" y="360"/>
                    </a:lnTo>
                    <a:lnTo>
                      <a:pt x="53" y="362"/>
                    </a:lnTo>
                    <a:lnTo>
                      <a:pt x="52" y="365"/>
                    </a:lnTo>
                    <a:lnTo>
                      <a:pt x="50" y="373"/>
                    </a:lnTo>
                    <a:lnTo>
                      <a:pt x="49" y="376"/>
                    </a:lnTo>
                    <a:lnTo>
                      <a:pt x="47" y="379"/>
                    </a:lnTo>
                    <a:lnTo>
                      <a:pt x="46" y="379"/>
                    </a:lnTo>
                    <a:lnTo>
                      <a:pt x="46" y="382"/>
                    </a:lnTo>
                    <a:lnTo>
                      <a:pt x="46" y="384"/>
                    </a:lnTo>
                    <a:lnTo>
                      <a:pt x="44" y="387"/>
                    </a:lnTo>
                    <a:lnTo>
                      <a:pt x="44" y="390"/>
                    </a:lnTo>
                    <a:lnTo>
                      <a:pt x="42" y="391"/>
                    </a:lnTo>
                    <a:lnTo>
                      <a:pt x="41" y="391"/>
                    </a:lnTo>
                    <a:lnTo>
                      <a:pt x="38" y="390"/>
                    </a:lnTo>
                    <a:lnTo>
                      <a:pt x="36" y="391"/>
                    </a:lnTo>
                    <a:lnTo>
                      <a:pt x="36" y="395"/>
                    </a:lnTo>
                    <a:lnTo>
                      <a:pt x="38" y="396"/>
                    </a:lnTo>
                    <a:lnTo>
                      <a:pt x="36" y="399"/>
                    </a:lnTo>
                    <a:lnTo>
                      <a:pt x="36" y="402"/>
                    </a:lnTo>
                    <a:lnTo>
                      <a:pt x="39" y="407"/>
                    </a:lnTo>
                    <a:lnTo>
                      <a:pt x="39" y="409"/>
                    </a:lnTo>
                    <a:lnTo>
                      <a:pt x="39" y="412"/>
                    </a:lnTo>
                    <a:lnTo>
                      <a:pt x="38" y="417"/>
                    </a:lnTo>
                    <a:lnTo>
                      <a:pt x="38" y="420"/>
                    </a:lnTo>
                    <a:lnTo>
                      <a:pt x="39" y="423"/>
                    </a:lnTo>
                    <a:lnTo>
                      <a:pt x="44" y="435"/>
                    </a:lnTo>
                    <a:lnTo>
                      <a:pt x="42" y="440"/>
                    </a:lnTo>
                    <a:lnTo>
                      <a:pt x="41" y="449"/>
                    </a:lnTo>
                    <a:lnTo>
                      <a:pt x="39" y="449"/>
                    </a:lnTo>
                    <a:lnTo>
                      <a:pt x="36" y="453"/>
                    </a:lnTo>
                    <a:lnTo>
                      <a:pt x="36" y="456"/>
                    </a:lnTo>
                    <a:lnTo>
                      <a:pt x="35" y="459"/>
                    </a:lnTo>
                    <a:lnTo>
                      <a:pt x="33" y="463"/>
                    </a:lnTo>
                    <a:lnTo>
                      <a:pt x="31" y="473"/>
                    </a:lnTo>
                    <a:lnTo>
                      <a:pt x="30" y="476"/>
                    </a:lnTo>
                    <a:lnTo>
                      <a:pt x="30" y="479"/>
                    </a:lnTo>
                    <a:lnTo>
                      <a:pt x="31" y="484"/>
                    </a:lnTo>
                    <a:lnTo>
                      <a:pt x="33" y="487"/>
                    </a:lnTo>
                    <a:lnTo>
                      <a:pt x="33" y="489"/>
                    </a:lnTo>
                    <a:lnTo>
                      <a:pt x="35" y="490"/>
                    </a:lnTo>
                    <a:lnTo>
                      <a:pt x="36" y="490"/>
                    </a:lnTo>
                    <a:lnTo>
                      <a:pt x="36" y="490"/>
                    </a:lnTo>
                    <a:lnTo>
                      <a:pt x="36" y="492"/>
                    </a:lnTo>
                    <a:lnTo>
                      <a:pt x="35" y="493"/>
                    </a:lnTo>
                    <a:lnTo>
                      <a:pt x="35" y="493"/>
                    </a:lnTo>
                    <a:lnTo>
                      <a:pt x="36" y="495"/>
                    </a:lnTo>
                    <a:lnTo>
                      <a:pt x="38" y="495"/>
                    </a:lnTo>
                    <a:lnTo>
                      <a:pt x="44" y="495"/>
                    </a:lnTo>
                    <a:lnTo>
                      <a:pt x="44" y="493"/>
                    </a:lnTo>
                    <a:lnTo>
                      <a:pt x="47" y="489"/>
                    </a:lnTo>
                    <a:lnTo>
                      <a:pt x="49" y="489"/>
                    </a:lnTo>
                    <a:lnTo>
                      <a:pt x="50" y="489"/>
                    </a:lnTo>
                    <a:lnTo>
                      <a:pt x="50" y="489"/>
                    </a:lnTo>
                    <a:lnTo>
                      <a:pt x="53" y="492"/>
                    </a:lnTo>
                    <a:lnTo>
                      <a:pt x="55" y="492"/>
                    </a:lnTo>
                    <a:lnTo>
                      <a:pt x="55" y="493"/>
                    </a:lnTo>
                    <a:lnTo>
                      <a:pt x="58" y="492"/>
                    </a:lnTo>
                    <a:lnTo>
                      <a:pt x="58" y="489"/>
                    </a:lnTo>
                    <a:lnTo>
                      <a:pt x="60" y="489"/>
                    </a:lnTo>
                    <a:lnTo>
                      <a:pt x="58" y="492"/>
                    </a:lnTo>
                    <a:lnTo>
                      <a:pt x="56" y="493"/>
                    </a:lnTo>
                    <a:lnTo>
                      <a:pt x="53" y="493"/>
                    </a:lnTo>
                    <a:lnTo>
                      <a:pt x="52" y="495"/>
                    </a:lnTo>
                    <a:lnTo>
                      <a:pt x="52" y="496"/>
                    </a:lnTo>
                    <a:lnTo>
                      <a:pt x="50" y="498"/>
                    </a:lnTo>
                    <a:lnTo>
                      <a:pt x="52" y="499"/>
                    </a:lnTo>
                    <a:lnTo>
                      <a:pt x="52" y="499"/>
                    </a:lnTo>
                    <a:lnTo>
                      <a:pt x="55" y="499"/>
                    </a:lnTo>
                    <a:lnTo>
                      <a:pt x="56" y="499"/>
                    </a:lnTo>
                    <a:lnTo>
                      <a:pt x="56" y="504"/>
                    </a:lnTo>
                    <a:lnTo>
                      <a:pt x="58" y="509"/>
                    </a:lnTo>
                    <a:lnTo>
                      <a:pt x="58" y="510"/>
                    </a:lnTo>
                    <a:lnTo>
                      <a:pt x="55" y="506"/>
                    </a:lnTo>
                    <a:lnTo>
                      <a:pt x="53" y="504"/>
                    </a:lnTo>
                    <a:lnTo>
                      <a:pt x="53" y="506"/>
                    </a:lnTo>
                    <a:lnTo>
                      <a:pt x="52" y="506"/>
                    </a:lnTo>
                    <a:lnTo>
                      <a:pt x="52" y="507"/>
                    </a:lnTo>
                    <a:lnTo>
                      <a:pt x="52" y="509"/>
                    </a:lnTo>
                    <a:lnTo>
                      <a:pt x="53" y="512"/>
                    </a:lnTo>
                    <a:lnTo>
                      <a:pt x="53" y="512"/>
                    </a:lnTo>
                    <a:lnTo>
                      <a:pt x="52" y="512"/>
                    </a:lnTo>
                    <a:lnTo>
                      <a:pt x="50" y="515"/>
                    </a:lnTo>
                    <a:lnTo>
                      <a:pt x="50" y="518"/>
                    </a:lnTo>
                    <a:lnTo>
                      <a:pt x="52" y="521"/>
                    </a:lnTo>
                    <a:lnTo>
                      <a:pt x="52" y="523"/>
                    </a:lnTo>
                    <a:lnTo>
                      <a:pt x="52" y="524"/>
                    </a:lnTo>
                    <a:lnTo>
                      <a:pt x="50" y="524"/>
                    </a:lnTo>
                    <a:lnTo>
                      <a:pt x="49" y="526"/>
                    </a:lnTo>
                    <a:lnTo>
                      <a:pt x="49" y="529"/>
                    </a:lnTo>
                    <a:lnTo>
                      <a:pt x="46" y="531"/>
                    </a:lnTo>
                    <a:lnTo>
                      <a:pt x="46" y="534"/>
                    </a:lnTo>
                    <a:lnTo>
                      <a:pt x="47" y="539"/>
                    </a:lnTo>
                    <a:lnTo>
                      <a:pt x="47" y="545"/>
                    </a:lnTo>
                    <a:lnTo>
                      <a:pt x="44" y="545"/>
                    </a:lnTo>
                    <a:lnTo>
                      <a:pt x="44" y="550"/>
                    </a:lnTo>
                    <a:lnTo>
                      <a:pt x="42" y="551"/>
                    </a:lnTo>
                    <a:lnTo>
                      <a:pt x="46" y="554"/>
                    </a:lnTo>
                    <a:lnTo>
                      <a:pt x="47" y="554"/>
                    </a:lnTo>
                    <a:lnTo>
                      <a:pt x="50" y="557"/>
                    </a:lnTo>
                    <a:lnTo>
                      <a:pt x="53" y="559"/>
                    </a:lnTo>
                    <a:lnTo>
                      <a:pt x="53" y="562"/>
                    </a:lnTo>
                    <a:lnTo>
                      <a:pt x="52" y="565"/>
                    </a:lnTo>
                    <a:lnTo>
                      <a:pt x="46" y="570"/>
                    </a:lnTo>
                    <a:lnTo>
                      <a:pt x="42" y="571"/>
                    </a:lnTo>
                    <a:lnTo>
                      <a:pt x="41" y="571"/>
                    </a:lnTo>
                    <a:lnTo>
                      <a:pt x="41" y="575"/>
                    </a:lnTo>
                    <a:lnTo>
                      <a:pt x="39" y="578"/>
                    </a:lnTo>
                    <a:lnTo>
                      <a:pt x="44" y="579"/>
                    </a:lnTo>
                    <a:lnTo>
                      <a:pt x="47" y="581"/>
                    </a:lnTo>
                    <a:lnTo>
                      <a:pt x="49" y="582"/>
                    </a:lnTo>
                    <a:lnTo>
                      <a:pt x="49" y="582"/>
                    </a:lnTo>
                    <a:lnTo>
                      <a:pt x="49" y="584"/>
                    </a:lnTo>
                    <a:lnTo>
                      <a:pt x="49" y="584"/>
                    </a:lnTo>
                    <a:lnTo>
                      <a:pt x="44" y="581"/>
                    </a:lnTo>
                    <a:lnTo>
                      <a:pt x="42" y="581"/>
                    </a:lnTo>
                    <a:lnTo>
                      <a:pt x="41" y="582"/>
                    </a:lnTo>
                    <a:lnTo>
                      <a:pt x="38" y="584"/>
                    </a:lnTo>
                    <a:lnTo>
                      <a:pt x="35" y="584"/>
                    </a:lnTo>
                    <a:lnTo>
                      <a:pt x="35" y="589"/>
                    </a:lnTo>
                    <a:lnTo>
                      <a:pt x="35" y="590"/>
                    </a:lnTo>
                    <a:lnTo>
                      <a:pt x="36" y="590"/>
                    </a:lnTo>
                    <a:lnTo>
                      <a:pt x="38" y="592"/>
                    </a:lnTo>
                    <a:lnTo>
                      <a:pt x="38" y="595"/>
                    </a:lnTo>
                    <a:lnTo>
                      <a:pt x="36" y="596"/>
                    </a:lnTo>
                    <a:lnTo>
                      <a:pt x="36" y="601"/>
                    </a:lnTo>
                    <a:lnTo>
                      <a:pt x="36" y="603"/>
                    </a:lnTo>
                    <a:lnTo>
                      <a:pt x="36" y="604"/>
                    </a:lnTo>
                    <a:lnTo>
                      <a:pt x="35" y="607"/>
                    </a:lnTo>
                    <a:lnTo>
                      <a:pt x="35" y="611"/>
                    </a:lnTo>
                    <a:lnTo>
                      <a:pt x="33" y="612"/>
                    </a:lnTo>
                    <a:lnTo>
                      <a:pt x="31" y="612"/>
                    </a:lnTo>
                    <a:lnTo>
                      <a:pt x="31" y="611"/>
                    </a:lnTo>
                    <a:lnTo>
                      <a:pt x="31" y="611"/>
                    </a:lnTo>
                    <a:lnTo>
                      <a:pt x="33" y="607"/>
                    </a:lnTo>
                    <a:lnTo>
                      <a:pt x="35" y="600"/>
                    </a:lnTo>
                    <a:lnTo>
                      <a:pt x="35" y="596"/>
                    </a:lnTo>
                    <a:lnTo>
                      <a:pt x="36" y="593"/>
                    </a:lnTo>
                    <a:lnTo>
                      <a:pt x="35" y="592"/>
                    </a:lnTo>
                    <a:lnTo>
                      <a:pt x="33" y="593"/>
                    </a:lnTo>
                    <a:lnTo>
                      <a:pt x="31" y="593"/>
                    </a:lnTo>
                    <a:lnTo>
                      <a:pt x="31" y="598"/>
                    </a:lnTo>
                    <a:lnTo>
                      <a:pt x="30" y="601"/>
                    </a:lnTo>
                    <a:lnTo>
                      <a:pt x="28" y="603"/>
                    </a:lnTo>
                    <a:lnTo>
                      <a:pt x="27" y="603"/>
                    </a:lnTo>
                    <a:lnTo>
                      <a:pt x="24" y="603"/>
                    </a:lnTo>
                    <a:lnTo>
                      <a:pt x="24" y="603"/>
                    </a:lnTo>
                    <a:lnTo>
                      <a:pt x="24" y="603"/>
                    </a:lnTo>
                    <a:lnTo>
                      <a:pt x="28" y="601"/>
                    </a:lnTo>
                    <a:lnTo>
                      <a:pt x="30" y="598"/>
                    </a:lnTo>
                    <a:lnTo>
                      <a:pt x="28" y="596"/>
                    </a:lnTo>
                    <a:lnTo>
                      <a:pt x="30" y="595"/>
                    </a:lnTo>
                    <a:lnTo>
                      <a:pt x="31" y="593"/>
                    </a:lnTo>
                    <a:lnTo>
                      <a:pt x="31" y="587"/>
                    </a:lnTo>
                    <a:lnTo>
                      <a:pt x="33" y="586"/>
                    </a:lnTo>
                    <a:lnTo>
                      <a:pt x="33" y="584"/>
                    </a:lnTo>
                    <a:lnTo>
                      <a:pt x="31" y="582"/>
                    </a:lnTo>
                    <a:lnTo>
                      <a:pt x="31" y="582"/>
                    </a:lnTo>
                    <a:lnTo>
                      <a:pt x="30" y="582"/>
                    </a:lnTo>
                    <a:lnTo>
                      <a:pt x="28" y="584"/>
                    </a:lnTo>
                    <a:lnTo>
                      <a:pt x="28" y="584"/>
                    </a:lnTo>
                    <a:lnTo>
                      <a:pt x="28" y="587"/>
                    </a:lnTo>
                    <a:lnTo>
                      <a:pt x="28" y="589"/>
                    </a:lnTo>
                    <a:lnTo>
                      <a:pt x="28" y="589"/>
                    </a:lnTo>
                    <a:lnTo>
                      <a:pt x="28" y="590"/>
                    </a:lnTo>
                    <a:lnTo>
                      <a:pt x="27" y="592"/>
                    </a:lnTo>
                    <a:lnTo>
                      <a:pt x="25" y="592"/>
                    </a:lnTo>
                    <a:lnTo>
                      <a:pt x="24" y="592"/>
                    </a:lnTo>
                    <a:lnTo>
                      <a:pt x="22" y="593"/>
                    </a:lnTo>
                    <a:lnTo>
                      <a:pt x="19" y="593"/>
                    </a:lnTo>
                    <a:lnTo>
                      <a:pt x="17" y="593"/>
                    </a:lnTo>
                    <a:lnTo>
                      <a:pt x="11" y="593"/>
                    </a:lnTo>
                    <a:lnTo>
                      <a:pt x="11" y="598"/>
                    </a:lnTo>
                    <a:lnTo>
                      <a:pt x="13" y="600"/>
                    </a:lnTo>
                    <a:lnTo>
                      <a:pt x="14" y="601"/>
                    </a:lnTo>
                    <a:lnTo>
                      <a:pt x="11" y="603"/>
                    </a:lnTo>
                    <a:lnTo>
                      <a:pt x="8" y="606"/>
                    </a:lnTo>
                    <a:lnTo>
                      <a:pt x="6" y="607"/>
                    </a:lnTo>
                    <a:lnTo>
                      <a:pt x="5" y="609"/>
                    </a:lnTo>
                    <a:lnTo>
                      <a:pt x="0" y="612"/>
                    </a:lnTo>
                    <a:lnTo>
                      <a:pt x="0" y="615"/>
                    </a:lnTo>
                    <a:lnTo>
                      <a:pt x="0" y="617"/>
                    </a:lnTo>
                    <a:lnTo>
                      <a:pt x="2" y="618"/>
                    </a:lnTo>
                    <a:lnTo>
                      <a:pt x="3" y="622"/>
                    </a:lnTo>
                    <a:lnTo>
                      <a:pt x="5" y="622"/>
                    </a:lnTo>
                    <a:lnTo>
                      <a:pt x="5" y="620"/>
                    </a:lnTo>
                    <a:lnTo>
                      <a:pt x="6" y="618"/>
                    </a:lnTo>
                    <a:lnTo>
                      <a:pt x="5" y="617"/>
                    </a:lnTo>
                    <a:lnTo>
                      <a:pt x="3" y="617"/>
                    </a:lnTo>
                    <a:lnTo>
                      <a:pt x="3" y="615"/>
                    </a:lnTo>
                    <a:lnTo>
                      <a:pt x="3" y="615"/>
                    </a:lnTo>
                    <a:lnTo>
                      <a:pt x="3" y="614"/>
                    </a:lnTo>
                    <a:lnTo>
                      <a:pt x="6" y="614"/>
                    </a:lnTo>
                    <a:lnTo>
                      <a:pt x="10" y="612"/>
                    </a:lnTo>
                    <a:lnTo>
                      <a:pt x="13" y="611"/>
                    </a:lnTo>
                    <a:lnTo>
                      <a:pt x="13" y="611"/>
                    </a:lnTo>
                    <a:lnTo>
                      <a:pt x="11" y="614"/>
                    </a:lnTo>
                    <a:lnTo>
                      <a:pt x="13" y="615"/>
                    </a:lnTo>
                    <a:lnTo>
                      <a:pt x="13" y="615"/>
                    </a:lnTo>
                    <a:lnTo>
                      <a:pt x="16" y="617"/>
                    </a:lnTo>
                    <a:lnTo>
                      <a:pt x="17" y="618"/>
                    </a:lnTo>
                    <a:lnTo>
                      <a:pt x="21" y="620"/>
                    </a:lnTo>
                    <a:lnTo>
                      <a:pt x="22" y="620"/>
                    </a:lnTo>
                    <a:lnTo>
                      <a:pt x="22" y="618"/>
                    </a:lnTo>
                    <a:lnTo>
                      <a:pt x="22" y="618"/>
                    </a:lnTo>
                    <a:lnTo>
                      <a:pt x="22" y="617"/>
                    </a:lnTo>
                    <a:lnTo>
                      <a:pt x="22" y="617"/>
                    </a:lnTo>
                    <a:lnTo>
                      <a:pt x="25" y="617"/>
                    </a:lnTo>
                    <a:lnTo>
                      <a:pt x="27" y="620"/>
                    </a:lnTo>
                    <a:lnTo>
                      <a:pt x="27" y="622"/>
                    </a:lnTo>
                    <a:lnTo>
                      <a:pt x="27" y="625"/>
                    </a:lnTo>
                    <a:lnTo>
                      <a:pt x="27" y="628"/>
                    </a:lnTo>
                    <a:lnTo>
                      <a:pt x="27" y="628"/>
                    </a:lnTo>
                    <a:lnTo>
                      <a:pt x="24" y="631"/>
                    </a:lnTo>
                    <a:lnTo>
                      <a:pt x="22" y="634"/>
                    </a:lnTo>
                    <a:lnTo>
                      <a:pt x="24" y="636"/>
                    </a:lnTo>
                    <a:lnTo>
                      <a:pt x="25" y="637"/>
                    </a:lnTo>
                    <a:lnTo>
                      <a:pt x="27" y="637"/>
                    </a:lnTo>
                    <a:lnTo>
                      <a:pt x="28" y="637"/>
                    </a:lnTo>
                    <a:lnTo>
                      <a:pt x="27" y="639"/>
                    </a:lnTo>
                    <a:lnTo>
                      <a:pt x="25" y="640"/>
                    </a:lnTo>
                    <a:lnTo>
                      <a:pt x="24" y="640"/>
                    </a:lnTo>
                    <a:lnTo>
                      <a:pt x="24" y="639"/>
                    </a:lnTo>
                    <a:lnTo>
                      <a:pt x="22" y="637"/>
                    </a:lnTo>
                    <a:lnTo>
                      <a:pt x="21" y="637"/>
                    </a:lnTo>
                    <a:lnTo>
                      <a:pt x="19" y="639"/>
                    </a:lnTo>
                    <a:lnTo>
                      <a:pt x="19" y="640"/>
                    </a:lnTo>
                    <a:lnTo>
                      <a:pt x="19" y="642"/>
                    </a:lnTo>
                    <a:lnTo>
                      <a:pt x="21" y="642"/>
                    </a:lnTo>
                    <a:lnTo>
                      <a:pt x="22" y="643"/>
                    </a:lnTo>
                    <a:lnTo>
                      <a:pt x="24" y="643"/>
                    </a:lnTo>
                    <a:lnTo>
                      <a:pt x="24" y="645"/>
                    </a:lnTo>
                    <a:lnTo>
                      <a:pt x="24" y="647"/>
                    </a:lnTo>
                    <a:lnTo>
                      <a:pt x="27" y="648"/>
                    </a:lnTo>
                    <a:lnTo>
                      <a:pt x="28" y="648"/>
                    </a:lnTo>
                    <a:lnTo>
                      <a:pt x="31" y="647"/>
                    </a:lnTo>
                    <a:lnTo>
                      <a:pt x="33" y="645"/>
                    </a:lnTo>
                    <a:lnTo>
                      <a:pt x="35" y="642"/>
                    </a:lnTo>
                    <a:lnTo>
                      <a:pt x="35" y="640"/>
                    </a:lnTo>
                    <a:lnTo>
                      <a:pt x="35" y="640"/>
                    </a:lnTo>
                    <a:lnTo>
                      <a:pt x="36" y="645"/>
                    </a:lnTo>
                    <a:lnTo>
                      <a:pt x="36" y="647"/>
                    </a:lnTo>
                    <a:lnTo>
                      <a:pt x="36" y="648"/>
                    </a:lnTo>
                    <a:lnTo>
                      <a:pt x="38" y="650"/>
                    </a:lnTo>
                    <a:lnTo>
                      <a:pt x="39" y="651"/>
                    </a:lnTo>
                    <a:lnTo>
                      <a:pt x="41" y="653"/>
                    </a:lnTo>
                    <a:lnTo>
                      <a:pt x="41" y="653"/>
                    </a:lnTo>
                    <a:lnTo>
                      <a:pt x="38" y="654"/>
                    </a:lnTo>
                    <a:lnTo>
                      <a:pt x="33" y="650"/>
                    </a:lnTo>
                    <a:lnTo>
                      <a:pt x="25" y="650"/>
                    </a:lnTo>
                    <a:lnTo>
                      <a:pt x="24" y="650"/>
                    </a:lnTo>
                    <a:lnTo>
                      <a:pt x="21" y="648"/>
                    </a:lnTo>
                    <a:lnTo>
                      <a:pt x="19" y="653"/>
                    </a:lnTo>
                    <a:lnTo>
                      <a:pt x="21" y="656"/>
                    </a:lnTo>
                    <a:lnTo>
                      <a:pt x="21" y="658"/>
                    </a:lnTo>
                    <a:lnTo>
                      <a:pt x="22" y="661"/>
                    </a:lnTo>
                    <a:lnTo>
                      <a:pt x="24" y="662"/>
                    </a:lnTo>
                    <a:lnTo>
                      <a:pt x="25" y="661"/>
                    </a:lnTo>
                    <a:lnTo>
                      <a:pt x="27" y="659"/>
                    </a:lnTo>
                    <a:lnTo>
                      <a:pt x="30" y="661"/>
                    </a:lnTo>
                    <a:lnTo>
                      <a:pt x="28" y="662"/>
                    </a:lnTo>
                    <a:lnTo>
                      <a:pt x="28" y="662"/>
                    </a:lnTo>
                    <a:lnTo>
                      <a:pt x="27" y="662"/>
                    </a:lnTo>
                    <a:lnTo>
                      <a:pt x="27" y="662"/>
                    </a:lnTo>
                    <a:lnTo>
                      <a:pt x="24" y="664"/>
                    </a:lnTo>
                    <a:lnTo>
                      <a:pt x="24" y="670"/>
                    </a:lnTo>
                    <a:lnTo>
                      <a:pt x="24" y="676"/>
                    </a:lnTo>
                    <a:lnTo>
                      <a:pt x="24" y="684"/>
                    </a:lnTo>
                    <a:lnTo>
                      <a:pt x="24" y="686"/>
                    </a:lnTo>
                    <a:lnTo>
                      <a:pt x="24" y="686"/>
                    </a:lnTo>
                    <a:lnTo>
                      <a:pt x="25" y="687"/>
                    </a:lnTo>
                    <a:lnTo>
                      <a:pt x="27" y="689"/>
                    </a:lnTo>
                    <a:lnTo>
                      <a:pt x="27" y="686"/>
                    </a:lnTo>
                    <a:lnTo>
                      <a:pt x="27" y="684"/>
                    </a:lnTo>
                    <a:lnTo>
                      <a:pt x="28" y="681"/>
                    </a:lnTo>
                    <a:lnTo>
                      <a:pt x="28" y="679"/>
                    </a:lnTo>
                    <a:lnTo>
                      <a:pt x="28" y="678"/>
                    </a:lnTo>
                    <a:lnTo>
                      <a:pt x="30" y="676"/>
                    </a:lnTo>
                    <a:lnTo>
                      <a:pt x="31" y="676"/>
                    </a:lnTo>
                    <a:lnTo>
                      <a:pt x="31" y="676"/>
                    </a:lnTo>
                    <a:lnTo>
                      <a:pt x="30" y="676"/>
                    </a:lnTo>
                    <a:lnTo>
                      <a:pt x="30" y="678"/>
                    </a:lnTo>
                    <a:lnTo>
                      <a:pt x="30" y="679"/>
                    </a:lnTo>
                    <a:lnTo>
                      <a:pt x="30" y="681"/>
                    </a:lnTo>
                    <a:lnTo>
                      <a:pt x="30" y="683"/>
                    </a:lnTo>
                    <a:lnTo>
                      <a:pt x="28" y="684"/>
                    </a:lnTo>
                    <a:lnTo>
                      <a:pt x="28" y="687"/>
                    </a:lnTo>
                    <a:lnTo>
                      <a:pt x="30" y="689"/>
                    </a:lnTo>
                    <a:lnTo>
                      <a:pt x="31" y="689"/>
                    </a:lnTo>
                    <a:lnTo>
                      <a:pt x="33" y="692"/>
                    </a:lnTo>
                    <a:lnTo>
                      <a:pt x="31" y="692"/>
                    </a:lnTo>
                    <a:lnTo>
                      <a:pt x="31" y="690"/>
                    </a:lnTo>
                    <a:lnTo>
                      <a:pt x="28" y="690"/>
                    </a:lnTo>
                    <a:lnTo>
                      <a:pt x="27" y="690"/>
                    </a:lnTo>
                    <a:lnTo>
                      <a:pt x="25" y="692"/>
                    </a:lnTo>
                    <a:lnTo>
                      <a:pt x="25" y="695"/>
                    </a:lnTo>
                    <a:lnTo>
                      <a:pt x="24" y="697"/>
                    </a:lnTo>
                    <a:lnTo>
                      <a:pt x="27" y="700"/>
                    </a:lnTo>
                    <a:lnTo>
                      <a:pt x="28" y="701"/>
                    </a:lnTo>
                    <a:lnTo>
                      <a:pt x="30" y="700"/>
                    </a:lnTo>
                    <a:lnTo>
                      <a:pt x="31" y="701"/>
                    </a:lnTo>
                    <a:lnTo>
                      <a:pt x="30" y="703"/>
                    </a:lnTo>
                    <a:lnTo>
                      <a:pt x="24" y="701"/>
                    </a:lnTo>
                    <a:lnTo>
                      <a:pt x="22" y="704"/>
                    </a:lnTo>
                    <a:lnTo>
                      <a:pt x="19" y="708"/>
                    </a:lnTo>
                    <a:lnTo>
                      <a:pt x="21" y="709"/>
                    </a:lnTo>
                    <a:lnTo>
                      <a:pt x="22" y="712"/>
                    </a:lnTo>
                    <a:lnTo>
                      <a:pt x="24" y="712"/>
                    </a:lnTo>
                    <a:lnTo>
                      <a:pt x="25" y="712"/>
                    </a:lnTo>
                    <a:lnTo>
                      <a:pt x="30" y="715"/>
                    </a:lnTo>
                    <a:lnTo>
                      <a:pt x="31" y="715"/>
                    </a:lnTo>
                    <a:lnTo>
                      <a:pt x="27" y="715"/>
                    </a:lnTo>
                    <a:lnTo>
                      <a:pt x="27" y="719"/>
                    </a:lnTo>
                    <a:lnTo>
                      <a:pt x="27" y="720"/>
                    </a:lnTo>
                    <a:lnTo>
                      <a:pt x="28" y="722"/>
                    </a:lnTo>
                    <a:lnTo>
                      <a:pt x="30" y="725"/>
                    </a:lnTo>
                    <a:lnTo>
                      <a:pt x="31" y="723"/>
                    </a:lnTo>
                    <a:lnTo>
                      <a:pt x="35" y="717"/>
                    </a:lnTo>
                    <a:lnTo>
                      <a:pt x="36" y="715"/>
                    </a:lnTo>
                    <a:lnTo>
                      <a:pt x="36" y="715"/>
                    </a:lnTo>
                    <a:lnTo>
                      <a:pt x="36" y="717"/>
                    </a:lnTo>
                    <a:lnTo>
                      <a:pt x="36" y="719"/>
                    </a:lnTo>
                    <a:lnTo>
                      <a:pt x="36" y="720"/>
                    </a:lnTo>
                    <a:lnTo>
                      <a:pt x="36" y="720"/>
                    </a:lnTo>
                    <a:lnTo>
                      <a:pt x="35" y="722"/>
                    </a:lnTo>
                    <a:lnTo>
                      <a:pt x="33" y="725"/>
                    </a:lnTo>
                    <a:lnTo>
                      <a:pt x="33" y="728"/>
                    </a:lnTo>
                    <a:lnTo>
                      <a:pt x="33" y="728"/>
                    </a:lnTo>
                    <a:lnTo>
                      <a:pt x="28" y="725"/>
                    </a:lnTo>
                    <a:lnTo>
                      <a:pt x="27" y="723"/>
                    </a:lnTo>
                    <a:lnTo>
                      <a:pt x="27" y="723"/>
                    </a:lnTo>
                    <a:lnTo>
                      <a:pt x="24" y="717"/>
                    </a:lnTo>
                    <a:lnTo>
                      <a:pt x="24" y="715"/>
                    </a:lnTo>
                    <a:lnTo>
                      <a:pt x="21" y="712"/>
                    </a:lnTo>
                    <a:lnTo>
                      <a:pt x="19" y="712"/>
                    </a:lnTo>
                    <a:lnTo>
                      <a:pt x="17" y="714"/>
                    </a:lnTo>
                    <a:lnTo>
                      <a:pt x="16" y="715"/>
                    </a:lnTo>
                    <a:lnTo>
                      <a:pt x="17" y="717"/>
                    </a:lnTo>
                    <a:lnTo>
                      <a:pt x="19" y="719"/>
                    </a:lnTo>
                    <a:lnTo>
                      <a:pt x="17" y="720"/>
                    </a:lnTo>
                    <a:lnTo>
                      <a:pt x="16" y="720"/>
                    </a:lnTo>
                    <a:lnTo>
                      <a:pt x="11" y="720"/>
                    </a:lnTo>
                    <a:lnTo>
                      <a:pt x="11" y="723"/>
                    </a:lnTo>
                    <a:lnTo>
                      <a:pt x="13" y="726"/>
                    </a:lnTo>
                    <a:lnTo>
                      <a:pt x="16" y="731"/>
                    </a:lnTo>
                    <a:lnTo>
                      <a:pt x="17" y="733"/>
                    </a:lnTo>
                    <a:lnTo>
                      <a:pt x="21" y="733"/>
                    </a:lnTo>
                    <a:lnTo>
                      <a:pt x="21" y="734"/>
                    </a:lnTo>
                    <a:lnTo>
                      <a:pt x="22" y="734"/>
                    </a:lnTo>
                    <a:lnTo>
                      <a:pt x="24" y="736"/>
                    </a:lnTo>
                    <a:lnTo>
                      <a:pt x="27" y="736"/>
                    </a:lnTo>
                    <a:lnTo>
                      <a:pt x="28" y="736"/>
                    </a:lnTo>
                    <a:lnTo>
                      <a:pt x="31" y="737"/>
                    </a:lnTo>
                    <a:lnTo>
                      <a:pt x="31" y="739"/>
                    </a:lnTo>
                    <a:lnTo>
                      <a:pt x="31" y="747"/>
                    </a:lnTo>
                    <a:lnTo>
                      <a:pt x="28" y="745"/>
                    </a:lnTo>
                    <a:lnTo>
                      <a:pt x="27" y="748"/>
                    </a:lnTo>
                    <a:lnTo>
                      <a:pt x="27" y="750"/>
                    </a:lnTo>
                    <a:lnTo>
                      <a:pt x="30" y="751"/>
                    </a:lnTo>
                    <a:lnTo>
                      <a:pt x="31" y="751"/>
                    </a:lnTo>
                    <a:lnTo>
                      <a:pt x="33" y="751"/>
                    </a:lnTo>
                    <a:lnTo>
                      <a:pt x="33" y="751"/>
                    </a:lnTo>
                    <a:lnTo>
                      <a:pt x="35" y="751"/>
                    </a:lnTo>
                    <a:lnTo>
                      <a:pt x="36" y="753"/>
                    </a:lnTo>
                    <a:lnTo>
                      <a:pt x="38" y="756"/>
                    </a:lnTo>
                    <a:lnTo>
                      <a:pt x="38" y="759"/>
                    </a:lnTo>
                    <a:lnTo>
                      <a:pt x="41" y="759"/>
                    </a:lnTo>
                    <a:lnTo>
                      <a:pt x="44" y="758"/>
                    </a:lnTo>
                    <a:lnTo>
                      <a:pt x="49" y="753"/>
                    </a:lnTo>
                    <a:lnTo>
                      <a:pt x="55" y="751"/>
                    </a:lnTo>
                    <a:lnTo>
                      <a:pt x="55" y="750"/>
                    </a:lnTo>
                    <a:lnTo>
                      <a:pt x="53" y="750"/>
                    </a:lnTo>
                    <a:lnTo>
                      <a:pt x="53" y="748"/>
                    </a:lnTo>
                    <a:lnTo>
                      <a:pt x="52" y="747"/>
                    </a:lnTo>
                    <a:lnTo>
                      <a:pt x="46" y="744"/>
                    </a:lnTo>
                    <a:lnTo>
                      <a:pt x="44" y="744"/>
                    </a:lnTo>
                    <a:lnTo>
                      <a:pt x="44" y="744"/>
                    </a:lnTo>
                    <a:lnTo>
                      <a:pt x="44" y="742"/>
                    </a:lnTo>
                    <a:lnTo>
                      <a:pt x="46" y="742"/>
                    </a:lnTo>
                    <a:lnTo>
                      <a:pt x="52" y="745"/>
                    </a:lnTo>
                    <a:lnTo>
                      <a:pt x="55" y="750"/>
                    </a:lnTo>
                    <a:lnTo>
                      <a:pt x="56" y="751"/>
                    </a:lnTo>
                    <a:lnTo>
                      <a:pt x="56" y="753"/>
                    </a:lnTo>
                    <a:lnTo>
                      <a:pt x="56" y="755"/>
                    </a:lnTo>
                    <a:lnTo>
                      <a:pt x="55" y="756"/>
                    </a:lnTo>
                    <a:lnTo>
                      <a:pt x="55" y="758"/>
                    </a:lnTo>
                    <a:lnTo>
                      <a:pt x="55" y="759"/>
                    </a:lnTo>
                    <a:lnTo>
                      <a:pt x="56" y="762"/>
                    </a:lnTo>
                    <a:lnTo>
                      <a:pt x="56" y="764"/>
                    </a:lnTo>
                    <a:lnTo>
                      <a:pt x="56" y="765"/>
                    </a:lnTo>
                    <a:lnTo>
                      <a:pt x="56" y="765"/>
                    </a:lnTo>
                    <a:lnTo>
                      <a:pt x="55" y="767"/>
                    </a:lnTo>
                    <a:lnTo>
                      <a:pt x="53" y="769"/>
                    </a:lnTo>
                    <a:lnTo>
                      <a:pt x="53" y="769"/>
                    </a:lnTo>
                    <a:lnTo>
                      <a:pt x="53" y="769"/>
                    </a:lnTo>
                    <a:lnTo>
                      <a:pt x="53" y="767"/>
                    </a:lnTo>
                    <a:lnTo>
                      <a:pt x="55" y="765"/>
                    </a:lnTo>
                    <a:lnTo>
                      <a:pt x="55" y="764"/>
                    </a:lnTo>
                    <a:lnTo>
                      <a:pt x="55" y="762"/>
                    </a:lnTo>
                    <a:lnTo>
                      <a:pt x="53" y="761"/>
                    </a:lnTo>
                    <a:lnTo>
                      <a:pt x="53" y="759"/>
                    </a:lnTo>
                    <a:lnTo>
                      <a:pt x="53" y="758"/>
                    </a:lnTo>
                    <a:lnTo>
                      <a:pt x="52" y="756"/>
                    </a:lnTo>
                    <a:lnTo>
                      <a:pt x="52" y="756"/>
                    </a:lnTo>
                    <a:lnTo>
                      <a:pt x="50" y="756"/>
                    </a:lnTo>
                    <a:lnTo>
                      <a:pt x="49" y="759"/>
                    </a:lnTo>
                    <a:lnTo>
                      <a:pt x="46" y="761"/>
                    </a:lnTo>
                    <a:lnTo>
                      <a:pt x="42" y="762"/>
                    </a:lnTo>
                    <a:lnTo>
                      <a:pt x="42" y="762"/>
                    </a:lnTo>
                    <a:lnTo>
                      <a:pt x="39" y="762"/>
                    </a:lnTo>
                    <a:lnTo>
                      <a:pt x="38" y="762"/>
                    </a:lnTo>
                    <a:lnTo>
                      <a:pt x="36" y="759"/>
                    </a:lnTo>
                    <a:lnTo>
                      <a:pt x="36" y="759"/>
                    </a:lnTo>
                    <a:lnTo>
                      <a:pt x="36" y="762"/>
                    </a:lnTo>
                    <a:lnTo>
                      <a:pt x="35" y="764"/>
                    </a:lnTo>
                    <a:lnTo>
                      <a:pt x="35" y="764"/>
                    </a:lnTo>
                    <a:lnTo>
                      <a:pt x="33" y="764"/>
                    </a:lnTo>
                    <a:lnTo>
                      <a:pt x="30" y="762"/>
                    </a:lnTo>
                    <a:lnTo>
                      <a:pt x="28" y="762"/>
                    </a:lnTo>
                    <a:lnTo>
                      <a:pt x="27" y="761"/>
                    </a:lnTo>
                    <a:lnTo>
                      <a:pt x="25" y="761"/>
                    </a:lnTo>
                    <a:lnTo>
                      <a:pt x="25" y="761"/>
                    </a:lnTo>
                    <a:lnTo>
                      <a:pt x="25" y="762"/>
                    </a:lnTo>
                    <a:lnTo>
                      <a:pt x="25" y="764"/>
                    </a:lnTo>
                    <a:lnTo>
                      <a:pt x="27" y="767"/>
                    </a:lnTo>
                    <a:lnTo>
                      <a:pt x="27" y="769"/>
                    </a:lnTo>
                    <a:lnTo>
                      <a:pt x="28" y="769"/>
                    </a:lnTo>
                    <a:lnTo>
                      <a:pt x="30" y="769"/>
                    </a:lnTo>
                    <a:lnTo>
                      <a:pt x="30" y="772"/>
                    </a:lnTo>
                    <a:lnTo>
                      <a:pt x="30" y="775"/>
                    </a:lnTo>
                    <a:lnTo>
                      <a:pt x="30" y="776"/>
                    </a:lnTo>
                    <a:lnTo>
                      <a:pt x="31" y="778"/>
                    </a:lnTo>
                    <a:lnTo>
                      <a:pt x="35" y="776"/>
                    </a:lnTo>
                    <a:lnTo>
                      <a:pt x="38" y="778"/>
                    </a:lnTo>
                    <a:lnTo>
                      <a:pt x="41" y="775"/>
                    </a:lnTo>
                    <a:lnTo>
                      <a:pt x="44" y="775"/>
                    </a:lnTo>
                    <a:lnTo>
                      <a:pt x="44" y="773"/>
                    </a:lnTo>
                    <a:lnTo>
                      <a:pt x="44" y="772"/>
                    </a:lnTo>
                    <a:lnTo>
                      <a:pt x="46" y="772"/>
                    </a:lnTo>
                    <a:lnTo>
                      <a:pt x="46" y="773"/>
                    </a:lnTo>
                    <a:lnTo>
                      <a:pt x="46" y="775"/>
                    </a:lnTo>
                    <a:lnTo>
                      <a:pt x="44" y="778"/>
                    </a:lnTo>
                    <a:lnTo>
                      <a:pt x="41" y="780"/>
                    </a:lnTo>
                    <a:lnTo>
                      <a:pt x="36" y="781"/>
                    </a:lnTo>
                    <a:lnTo>
                      <a:pt x="39" y="784"/>
                    </a:lnTo>
                    <a:lnTo>
                      <a:pt x="39" y="786"/>
                    </a:lnTo>
                    <a:lnTo>
                      <a:pt x="42" y="787"/>
                    </a:lnTo>
                    <a:lnTo>
                      <a:pt x="46" y="789"/>
                    </a:lnTo>
                    <a:lnTo>
                      <a:pt x="47" y="787"/>
                    </a:lnTo>
                    <a:lnTo>
                      <a:pt x="47" y="787"/>
                    </a:lnTo>
                    <a:lnTo>
                      <a:pt x="47" y="786"/>
                    </a:lnTo>
                    <a:lnTo>
                      <a:pt x="47" y="783"/>
                    </a:lnTo>
                    <a:lnTo>
                      <a:pt x="49" y="780"/>
                    </a:lnTo>
                    <a:lnTo>
                      <a:pt x="52" y="778"/>
                    </a:lnTo>
                    <a:lnTo>
                      <a:pt x="52" y="776"/>
                    </a:lnTo>
                    <a:lnTo>
                      <a:pt x="52" y="775"/>
                    </a:lnTo>
                    <a:lnTo>
                      <a:pt x="53" y="773"/>
                    </a:lnTo>
                    <a:lnTo>
                      <a:pt x="53" y="773"/>
                    </a:lnTo>
                    <a:lnTo>
                      <a:pt x="56" y="773"/>
                    </a:lnTo>
                    <a:lnTo>
                      <a:pt x="56" y="775"/>
                    </a:lnTo>
                    <a:lnTo>
                      <a:pt x="58" y="776"/>
                    </a:lnTo>
                    <a:lnTo>
                      <a:pt x="60" y="773"/>
                    </a:lnTo>
                    <a:lnTo>
                      <a:pt x="61" y="773"/>
                    </a:lnTo>
                    <a:lnTo>
                      <a:pt x="69" y="773"/>
                    </a:lnTo>
                    <a:lnTo>
                      <a:pt x="71" y="773"/>
                    </a:lnTo>
                    <a:lnTo>
                      <a:pt x="74" y="775"/>
                    </a:lnTo>
                    <a:lnTo>
                      <a:pt x="74" y="776"/>
                    </a:lnTo>
                    <a:lnTo>
                      <a:pt x="72" y="776"/>
                    </a:lnTo>
                    <a:lnTo>
                      <a:pt x="69" y="778"/>
                    </a:lnTo>
                    <a:lnTo>
                      <a:pt x="66" y="776"/>
                    </a:lnTo>
                    <a:lnTo>
                      <a:pt x="63" y="776"/>
                    </a:lnTo>
                    <a:lnTo>
                      <a:pt x="56" y="781"/>
                    </a:lnTo>
                    <a:lnTo>
                      <a:pt x="53" y="781"/>
                    </a:lnTo>
                    <a:lnTo>
                      <a:pt x="53" y="780"/>
                    </a:lnTo>
                    <a:lnTo>
                      <a:pt x="53" y="780"/>
                    </a:lnTo>
                    <a:lnTo>
                      <a:pt x="52" y="780"/>
                    </a:lnTo>
                    <a:lnTo>
                      <a:pt x="50" y="781"/>
                    </a:lnTo>
                    <a:lnTo>
                      <a:pt x="50" y="783"/>
                    </a:lnTo>
                    <a:lnTo>
                      <a:pt x="49" y="784"/>
                    </a:lnTo>
                    <a:lnTo>
                      <a:pt x="49" y="791"/>
                    </a:lnTo>
                    <a:lnTo>
                      <a:pt x="47" y="792"/>
                    </a:lnTo>
                    <a:lnTo>
                      <a:pt x="47" y="794"/>
                    </a:lnTo>
                    <a:lnTo>
                      <a:pt x="47" y="795"/>
                    </a:lnTo>
                    <a:lnTo>
                      <a:pt x="52" y="798"/>
                    </a:lnTo>
                    <a:lnTo>
                      <a:pt x="55" y="800"/>
                    </a:lnTo>
                    <a:lnTo>
                      <a:pt x="56" y="797"/>
                    </a:lnTo>
                    <a:lnTo>
                      <a:pt x="56" y="795"/>
                    </a:lnTo>
                    <a:lnTo>
                      <a:pt x="56" y="794"/>
                    </a:lnTo>
                    <a:lnTo>
                      <a:pt x="60" y="791"/>
                    </a:lnTo>
                    <a:lnTo>
                      <a:pt x="63" y="789"/>
                    </a:lnTo>
                    <a:lnTo>
                      <a:pt x="67" y="786"/>
                    </a:lnTo>
                    <a:lnTo>
                      <a:pt x="75" y="780"/>
                    </a:lnTo>
                    <a:lnTo>
                      <a:pt x="78" y="781"/>
                    </a:lnTo>
                    <a:lnTo>
                      <a:pt x="80" y="783"/>
                    </a:lnTo>
                    <a:lnTo>
                      <a:pt x="80" y="783"/>
                    </a:lnTo>
                    <a:lnTo>
                      <a:pt x="80" y="784"/>
                    </a:lnTo>
                    <a:lnTo>
                      <a:pt x="78" y="787"/>
                    </a:lnTo>
                    <a:lnTo>
                      <a:pt x="75" y="789"/>
                    </a:lnTo>
                    <a:lnTo>
                      <a:pt x="69" y="794"/>
                    </a:lnTo>
                    <a:lnTo>
                      <a:pt x="69" y="801"/>
                    </a:lnTo>
                    <a:lnTo>
                      <a:pt x="67" y="801"/>
                    </a:lnTo>
                    <a:lnTo>
                      <a:pt x="67" y="801"/>
                    </a:lnTo>
                    <a:lnTo>
                      <a:pt x="67" y="800"/>
                    </a:lnTo>
                    <a:lnTo>
                      <a:pt x="67" y="798"/>
                    </a:lnTo>
                    <a:lnTo>
                      <a:pt x="67" y="795"/>
                    </a:lnTo>
                    <a:lnTo>
                      <a:pt x="66" y="794"/>
                    </a:lnTo>
                    <a:lnTo>
                      <a:pt x="64" y="794"/>
                    </a:lnTo>
                    <a:lnTo>
                      <a:pt x="61" y="794"/>
                    </a:lnTo>
                    <a:lnTo>
                      <a:pt x="60" y="794"/>
                    </a:lnTo>
                    <a:lnTo>
                      <a:pt x="58" y="797"/>
                    </a:lnTo>
                    <a:lnTo>
                      <a:pt x="58" y="798"/>
                    </a:lnTo>
                    <a:lnTo>
                      <a:pt x="58" y="800"/>
                    </a:lnTo>
                    <a:lnTo>
                      <a:pt x="63" y="805"/>
                    </a:lnTo>
                    <a:lnTo>
                      <a:pt x="63" y="806"/>
                    </a:lnTo>
                    <a:lnTo>
                      <a:pt x="67" y="808"/>
                    </a:lnTo>
                    <a:lnTo>
                      <a:pt x="71" y="811"/>
                    </a:lnTo>
                    <a:lnTo>
                      <a:pt x="75" y="811"/>
                    </a:lnTo>
                    <a:lnTo>
                      <a:pt x="77" y="812"/>
                    </a:lnTo>
                    <a:lnTo>
                      <a:pt x="81" y="811"/>
                    </a:lnTo>
                    <a:lnTo>
                      <a:pt x="83" y="809"/>
                    </a:lnTo>
                    <a:lnTo>
                      <a:pt x="83" y="803"/>
                    </a:lnTo>
                    <a:lnTo>
                      <a:pt x="83" y="800"/>
                    </a:lnTo>
                    <a:lnTo>
                      <a:pt x="83" y="797"/>
                    </a:lnTo>
                    <a:lnTo>
                      <a:pt x="83" y="794"/>
                    </a:lnTo>
                    <a:lnTo>
                      <a:pt x="86" y="786"/>
                    </a:lnTo>
                    <a:lnTo>
                      <a:pt x="86" y="783"/>
                    </a:lnTo>
                    <a:lnTo>
                      <a:pt x="86" y="780"/>
                    </a:lnTo>
                    <a:lnTo>
                      <a:pt x="88" y="778"/>
                    </a:lnTo>
                    <a:lnTo>
                      <a:pt x="91" y="776"/>
                    </a:lnTo>
                    <a:lnTo>
                      <a:pt x="94" y="776"/>
                    </a:lnTo>
                    <a:lnTo>
                      <a:pt x="102" y="772"/>
                    </a:lnTo>
                    <a:lnTo>
                      <a:pt x="105" y="772"/>
                    </a:lnTo>
                    <a:lnTo>
                      <a:pt x="107" y="772"/>
                    </a:lnTo>
                    <a:lnTo>
                      <a:pt x="108" y="770"/>
                    </a:lnTo>
                    <a:lnTo>
                      <a:pt x="110" y="765"/>
                    </a:lnTo>
                    <a:lnTo>
                      <a:pt x="114" y="764"/>
                    </a:lnTo>
                    <a:lnTo>
                      <a:pt x="116" y="764"/>
                    </a:lnTo>
                    <a:lnTo>
                      <a:pt x="117" y="765"/>
                    </a:lnTo>
                    <a:lnTo>
                      <a:pt x="127" y="769"/>
                    </a:lnTo>
                    <a:lnTo>
                      <a:pt x="127" y="769"/>
                    </a:lnTo>
                    <a:lnTo>
                      <a:pt x="127" y="769"/>
                    </a:lnTo>
                    <a:lnTo>
                      <a:pt x="127" y="765"/>
                    </a:lnTo>
                    <a:lnTo>
                      <a:pt x="127" y="765"/>
                    </a:lnTo>
                    <a:lnTo>
                      <a:pt x="125" y="765"/>
                    </a:lnTo>
                    <a:lnTo>
                      <a:pt x="122" y="765"/>
                    </a:lnTo>
                    <a:lnTo>
                      <a:pt x="119" y="764"/>
                    </a:lnTo>
                    <a:lnTo>
                      <a:pt x="114" y="762"/>
                    </a:lnTo>
                    <a:lnTo>
                      <a:pt x="110" y="762"/>
                    </a:lnTo>
                    <a:lnTo>
                      <a:pt x="105" y="759"/>
                    </a:lnTo>
                    <a:lnTo>
                      <a:pt x="100" y="758"/>
                    </a:lnTo>
                    <a:lnTo>
                      <a:pt x="92" y="758"/>
                    </a:lnTo>
                    <a:lnTo>
                      <a:pt x="83" y="758"/>
                    </a:lnTo>
                    <a:lnTo>
                      <a:pt x="75" y="758"/>
                    </a:lnTo>
                    <a:lnTo>
                      <a:pt x="71" y="758"/>
                    </a:lnTo>
                    <a:lnTo>
                      <a:pt x="71" y="758"/>
                    </a:lnTo>
                    <a:lnTo>
                      <a:pt x="66" y="758"/>
                    </a:lnTo>
                    <a:lnTo>
                      <a:pt x="66" y="756"/>
                    </a:lnTo>
                    <a:lnTo>
                      <a:pt x="66" y="755"/>
                    </a:lnTo>
                    <a:lnTo>
                      <a:pt x="64" y="753"/>
                    </a:lnTo>
                    <a:lnTo>
                      <a:pt x="63" y="750"/>
                    </a:lnTo>
                    <a:lnTo>
                      <a:pt x="63" y="750"/>
                    </a:lnTo>
                    <a:lnTo>
                      <a:pt x="61" y="748"/>
                    </a:lnTo>
                    <a:lnTo>
                      <a:pt x="60" y="747"/>
                    </a:lnTo>
                    <a:lnTo>
                      <a:pt x="58" y="745"/>
                    </a:lnTo>
                    <a:lnTo>
                      <a:pt x="58" y="742"/>
                    </a:lnTo>
                    <a:lnTo>
                      <a:pt x="60" y="737"/>
                    </a:lnTo>
                    <a:lnTo>
                      <a:pt x="60" y="736"/>
                    </a:lnTo>
                    <a:lnTo>
                      <a:pt x="60" y="734"/>
                    </a:lnTo>
                    <a:lnTo>
                      <a:pt x="58" y="733"/>
                    </a:lnTo>
                    <a:lnTo>
                      <a:pt x="60" y="731"/>
                    </a:lnTo>
                    <a:lnTo>
                      <a:pt x="60" y="731"/>
                    </a:lnTo>
                    <a:lnTo>
                      <a:pt x="60" y="731"/>
                    </a:lnTo>
                    <a:lnTo>
                      <a:pt x="60" y="726"/>
                    </a:lnTo>
                    <a:lnTo>
                      <a:pt x="60" y="723"/>
                    </a:lnTo>
                    <a:lnTo>
                      <a:pt x="60" y="720"/>
                    </a:lnTo>
                    <a:lnTo>
                      <a:pt x="58" y="720"/>
                    </a:lnTo>
                    <a:lnTo>
                      <a:pt x="56" y="719"/>
                    </a:lnTo>
                    <a:lnTo>
                      <a:pt x="56" y="719"/>
                    </a:lnTo>
                    <a:lnTo>
                      <a:pt x="55" y="720"/>
                    </a:lnTo>
                    <a:lnTo>
                      <a:pt x="52" y="720"/>
                    </a:lnTo>
                    <a:lnTo>
                      <a:pt x="50" y="720"/>
                    </a:lnTo>
                    <a:lnTo>
                      <a:pt x="49" y="722"/>
                    </a:lnTo>
                    <a:lnTo>
                      <a:pt x="46" y="723"/>
                    </a:lnTo>
                    <a:lnTo>
                      <a:pt x="46" y="722"/>
                    </a:lnTo>
                    <a:lnTo>
                      <a:pt x="44" y="720"/>
                    </a:lnTo>
                    <a:lnTo>
                      <a:pt x="44" y="719"/>
                    </a:lnTo>
                    <a:lnTo>
                      <a:pt x="42" y="717"/>
                    </a:lnTo>
                    <a:lnTo>
                      <a:pt x="42" y="715"/>
                    </a:lnTo>
                    <a:lnTo>
                      <a:pt x="42" y="712"/>
                    </a:lnTo>
                    <a:lnTo>
                      <a:pt x="41" y="708"/>
                    </a:lnTo>
                    <a:lnTo>
                      <a:pt x="39" y="706"/>
                    </a:lnTo>
                    <a:lnTo>
                      <a:pt x="39" y="703"/>
                    </a:lnTo>
                    <a:lnTo>
                      <a:pt x="38" y="700"/>
                    </a:lnTo>
                    <a:lnTo>
                      <a:pt x="39" y="697"/>
                    </a:lnTo>
                    <a:lnTo>
                      <a:pt x="39" y="693"/>
                    </a:lnTo>
                    <a:lnTo>
                      <a:pt x="38" y="690"/>
                    </a:lnTo>
                    <a:lnTo>
                      <a:pt x="38" y="687"/>
                    </a:lnTo>
                    <a:lnTo>
                      <a:pt x="39" y="686"/>
                    </a:lnTo>
                    <a:lnTo>
                      <a:pt x="39" y="684"/>
                    </a:lnTo>
                    <a:lnTo>
                      <a:pt x="46" y="683"/>
                    </a:lnTo>
                    <a:lnTo>
                      <a:pt x="46" y="683"/>
                    </a:lnTo>
                    <a:lnTo>
                      <a:pt x="46" y="679"/>
                    </a:lnTo>
                    <a:lnTo>
                      <a:pt x="46" y="678"/>
                    </a:lnTo>
                    <a:lnTo>
                      <a:pt x="47" y="675"/>
                    </a:lnTo>
                    <a:lnTo>
                      <a:pt x="49" y="675"/>
                    </a:lnTo>
                    <a:lnTo>
                      <a:pt x="50" y="673"/>
                    </a:lnTo>
                    <a:lnTo>
                      <a:pt x="52" y="672"/>
                    </a:lnTo>
                    <a:lnTo>
                      <a:pt x="52" y="672"/>
                    </a:lnTo>
                    <a:lnTo>
                      <a:pt x="53" y="672"/>
                    </a:lnTo>
                    <a:lnTo>
                      <a:pt x="55" y="670"/>
                    </a:lnTo>
                    <a:lnTo>
                      <a:pt x="55" y="668"/>
                    </a:lnTo>
                    <a:lnTo>
                      <a:pt x="55" y="668"/>
                    </a:lnTo>
                    <a:lnTo>
                      <a:pt x="55" y="668"/>
                    </a:lnTo>
                    <a:lnTo>
                      <a:pt x="55" y="665"/>
                    </a:lnTo>
                    <a:lnTo>
                      <a:pt x="55" y="662"/>
                    </a:lnTo>
                    <a:lnTo>
                      <a:pt x="55" y="661"/>
                    </a:lnTo>
                    <a:lnTo>
                      <a:pt x="56" y="659"/>
                    </a:lnTo>
                    <a:lnTo>
                      <a:pt x="60" y="658"/>
                    </a:lnTo>
                    <a:lnTo>
                      <a:pt x="60" y="658"/>
                    </a:lnTo>
                    <a:lnTo>
                      <a:pt x="60" y="654"/>
                    </a:lnTo>
                    <a:lnTo>
                      <a:pt x="60" y="651"/>
                    </a:lnTo>
                    <a:lnTo>
                      <a:pt x="58" y="650"/>
                    </a:lnTo>
                    <a:lnTo>
                      <a:pt x="58" y="650"/>
                    </a:lnTo>
                    <a:lnTo>
                      <a:pt x="56" y="648"/>
                    </a:lnTo>
                    <a:lnTo>
                      <a:pt x="56" y="645"/>
                    </a:lnTo>
                    <a:lnTo>
                      <a:pt x="56" y="645"/>
                    </a:lnTo>
                    <a:lnTo>
                      <a:pt x="56" y="645"/>
                    </a:lnTo>
                    <a:lnTo>
                      <a:pt x="56" y="643"/>
                    </a:lnTo>
                    <a:lnTo>
                      <a:pt x="58" y="640"/>
                    </a:lnTo>
                    <a:lnTo>
                      <a:pt x="60" y="637"/>
                    </a:lnTo>
                    <a:lnTo>
                      <a:pt x="60" y="636"/>
                    </a:lnTo>
                    <a:lnTo>
                      <a:pt x="60" y="634"/>
                    </a:lnTo>
                    <a:lnTo>
                      <a:pt x="63" y="631"/>
                    </a:lnTo>
                    <a:lnTo>
                      <a:pt x="63" y="631"/>
                    </a:lnTo>
                    <a:lnTo>
                      <a:pt x="64" y="629"/>
                    </a:lnTo>
                    <a:lnTo>
                      <a:pt x="66" y="628"/>
                    </a:lnTo>
                    <a:lnTo>
                      <a:pt x="67" y="628"/>
                    </a:lnTo>
                    <a:lnTo>
                      <a:pt x="67" y="626"/>
                    </a:lnTo>
                    <a:lnTo>
                      <a:pt x="66" y="625"/>
                    </a:lnTo>
                    <a:lnTo>
                      <a:pt x="66" y="623"/>
                    </a:lnTo>
                    <a:lnTo>
                      <a:pt x="66" y="622"/>
                    </a:lnTo>
                    <a:lnTo>
                      <a:pt x="66" y="618"/>
                    </a:lnTo>
                    <a:lnTo>
                      <a:pt x="67" y="617"/>
                    </a:lnTo>
                    <a:lnTo>
                      <a:pt x="71" y="615"/>
                    </a:lnTo>
                    <a:lnTo>
                      <a:pt x="71" y="614"/>
                    </a:lnTo>
                    <a:lnTo>
                      <a:pt x="71" y="614"/>
                    </a:lnTo>
                    <a:lnTo>
                      <a:pt x="71" y="612"/>
                    </a:lnTo>
                    <a:lnTo>
                      <a:pt x="71" y="607"/>
                    </a:lnTo>
                    <a:lnTo>
                      <a:pt x="69" y="606"/>
                    </a:lnTo>
                    <a:lnTo>
                      <a:pt x="69" y="604"/>
                    </a:lnTo>
                    <a:lnTo>
                      <a:pt x="67" y="603"/>
                    </a:lnTo>
                    <a:lnTo>
                      <a:pt x="67" y="601"/>
                    </a:lnTo>
                    <a:lnTo>
                      <a:pt x="69" y="600"/>
                    </a:lnTo>
                    <a:lnTo>
                      <a:pt x="71" y="598"/>
                    </a:lnTo>
                    <a:lnTo>
                      <a:pt x="71" y="598"/>
                    </a:lnTo>
                    <a:lnTo>
                      <a:pt x="72" y="596"/>
                    </a:lnTo>
                    <a:lnTo>
                      <a:pt x="71" y="595"/>
                    </a:lnTo>
                    <a:lnTo>
                      <a:pt x="69" y="593"/>
                    </a:lnTo>
                    <a:lnTo>
                      <a:pt x="69" y="590"/>
                    </a:lnTo>
                    <a:lnTo>
                      <a:pt x="69" y="587"/>
                    </a:lnTo>
                    <a:lnTo>
                      <a:pt x="71" y="586"/>
                    </a:lnTo>
                    <a:lnTo>
                      <a:pt x="74" y="586"/>
                    </a:lnTo>
                    <a:lnTo>
                      <a:pt x="74" y="586"/>
                    </a:lnTo>
                    <a:lnTo>
                      <a:pt x="74" y="582"/>
                    </a:lnTo>
                    <a:lnTo>
                      <a:pt x="77" y="581"/>
                    </a:lnTo>
                    <a:lnTo>
                      <a:pt x="77" y="578"/>
                    </a:lnTo>
                    <a:lnTo>
                      <a:pt x="77" y="578"/>
                    </a:lnTo>
                    <a:lnTo>
                      <a:pt x="75" y="576"/>
                    </a:lnTo>
                    <a:lnTo>
                      <a:pt x="74" y="575"/>
                    </a:lnTo>
                    <a:lnTo>
                      <a:pt x="72" y="571"/>
                    </a:lnTo>
                    <a:lnTo>
                      <a:pt x="72" y="571"/>
                    </a:lnTo>
                    <a:lnTo>
                      <a:pt x="69" y="570"/>
                    </a:lnTo>
                    <a:lnTo>
                      <a:pt x="64" y="570"/>
                    </a:lnTo>
                    <a:lnTo>
                      <a:pt x="64" y="568"/>
                    </a:lnTo>
                    <a:lnTo>
                      <a:pt x="64" y="567"/>
                    </a:lnTo>
                    <a:lnTo>
                      <a:pt x="64" y="567"/>
                    </a:lnTo>
                    <a:lnTo>
                      <a:pt x="66" y="567"/>
                    </a:lnTo>
                    <a:lnTo>
                      <a:pt x="66" y="567"/>
                    </a:lnTo>
                    <a:lnTo>
                      <a:pt x="66" y="567"/>
                    </a:lnTo>
                    <a:lnTo>
                      <a:pt x="69" y="567"/>
                    </a:lnTo>
                    <a:lnTo>
                      <a:pt x="71" y="567"/>
                    </a:lnTo>
                    <a:lnTo>
                      <a:pt x="72" y="567"/>
                    </a:lnTo>
                    <a:lnTo>
                      <a:pt x="75" y="567"/>
                    </a:lnTo>
                    <a:lnTo>
                      <a:pt x="77" y="567"/>
                    </a:lnTo>
                    <a:lnTo>
                      <a:pt x="78" y="567"/>
                    </a:lnTo>
                    <a:lnTo>
                      <a:pt x="78" y="567"/>
                    </a:lnTo>
                    <a:lnTo>
                      <a:pt x="78" y="564"/>
                    </a:lnTo>
                    <a:lnTo>
                      <a:pt x="80" y="562"/>
                    </a:lnTo>
                    <a:lnTo>
                      <a:pt x="80" y="560"/>
                    </a:lnTo>
                    <a:lnTo>
                      <a:pt x="78" y="559"/>
                    </a:lnTo>
                    <a:lnTo>
                      <a:pt x="78" y="559"/>
                    </a:lnTo>
                    <a:lnTo>
                      <a:pt x="77" y="557"/>
                    </a:lnTo>
                    <a:lnTo>
                      <a:pt x="69" y="557"/>
                    </a:lnTo>
                    <a:lnTo>
                      <a:pt x="67" y="556"/>
                    </a:lnTo>
                    <a:lnTo>
                      <a:pt x="67" y="554"/>
                    </a:lnTo>
                    <a:lnTo>
                      <a:pt x="69" y="551"/>
                    </a:lnTo>
                    <a:lnTo>
                      <a:pt x="69" y="550"/>
                    </a:lnTo>
                    <a:lnTo>
                      <a:pt x="69" y="550"/>
                    </a:lnTo>
                    <a:lnTo>
                      <a:pt x="71" y="548"/>
                    </a:lnTo>
                    <a:lnTo>
                      <a:pt x="71" y="546"/>
                    </a:lnTo>
                    <a:lnTo>
                      <a:pt x="71" y="545"/>
                    </a:lnTo>
                    <a:lnTo>
                      <a:pt x="69" y="542"/>
                    </a:lnTo>
                    <a:lnTo>
                      <a:pt x="69" y="540"/>
                    </a:lnTo>
                    <a:lnTo>
                      <a:pt x="71" y="539"/>
                    </a:lnTo>
                    <a:lnTo>
                      <a:pt x="71" y="539"/>
                    </a:lnTo>
                    <a:lnTo>
                      <a:pt x="69" y="537"/>
                    </a:lnTo>
                    <a:lnTo>
                      <a:pt x="67" y="537"/>
                    </a:lnTo>
                    <a:lnTo>
                      <a:pt x="67" y="534"/>
                    </a:lnTo>
                    <a:lnTo>
                      <a:pt x="67" y="532"/>
                    </a:lnTo>
                    <a:lnTo>
                      <a:pt x="69" y="531"/>
                    </a:lnTo>
                    <a:lnTo>
                      <a:pt x="69" y="531"/>
                    </a:lnTo>
                    <a:lnTo>
                      <a:pt x="69" y="531"/>
                    </a:lnTo>
                    <a:lnTo>
                      <a:pt x="69" y="529"/>
                    </a:lnTo>
                    <a:lnTo>
                      <a:pt x="69" y="528"/>
                    </a:lnTo>
                    <a:lnTo>
                      <a:pt x="67" y="528"/>
                    </a:lnTo>
                    <a:lnTo>
                      <a:pt x="64" y="526"/>
                    </a:lnTo>
                    <a:lnTo>
                      <a:pt x="63" y="524"/>
                    </a:lnTo>
                    <a:lnTo>
                      <a:pt x="63" y="523"/>
                    </a:lnTo>
                    <a:lnTo>
                      <a:pt x="63" y="518"/>
                    </a:lnTo>
                    <a:lnTo>
                      <a:pt x="63" y="515"/>
                    </a:lnTo>
                    <a:lnTo>
                      <a:pt x="63" y="514"/>
                    </a:lnTo>
                    <a:lnTo>
                      <a:pt x="63" y="512"/>
                    </a:lnTo>
                    <a:lnTo>
                      <a:pt x="64" y="510"/>
                    </a:lnTo>
                    <a:lnTo>
                      <a:pt x="64" y="509"/>
                    </a:lnTo>
                    <a:lnTo>
                      <a:pt x="63" y="507"/>
                    </a:lnTo>
                    <a:lnTo>
                      <a:pt x="63" y="506"/>
                    </a:lnTo>
                    <a:lnTo>
                      <a:pt x="64" y="504"/>
                    </a:lnTo>
                    <a:lnTo>
                      <a:pt x="64" y="503"/>
                    </a:lnTo>
                    <a:lnTo>
                      <a:pt x="66" y="503"/>
                    </a:lnTo>
                    <a:lnTo>
                      <a:pt x="66" y="504"/>
                    </a:lnTo>
                    <a:lnTo>
                      <a:pt x="67" y="503"/>
                    </a:lnTo>
                    <a:lnTo>
                      <a:pt x="69" y="503"/>
                    </a:lnTo>
                    <a:lnTo>
                      <a:pt x="69" y="501"/>
                    </a:lnTo>
                    <a:lnTo>
                      <a:pt x="69" y="499"/>
                    </a:lnTo>
                    <a:lnTo>
                      <a:pt x="67" y="495"/>
                    </a:lnTo>
                    <a:lnTo>
                      <a:pt x="67" y="492"/>
                    </a:lnTo>
                    <a:lnTo>
                      <a:pt x="67" y="490"/>
                    </a:lnTo>
                    <a:lnTo>
                      <a:pt x="67" y="490"/>
                    </a:lnTo>
                    <a:lnTo>
                      <a:pt x="67" y="490"/>
                    </a:lnTo>
                    <a:lnTo>
                      <a:pt x="67" y="485"/>
                    </a:lnTo>
                    <a:lnTo>
                      <a:pt x="67" y="484"/>
                    </a:lnTo>
                    <a:lnTo>
                      <a:pt x="67" y="484"/>
                    </a:lnTo>
                    <a:lnTo>
                      <a:pt x="67" y="476"/>
                    </a:lnTo>
                    <a:lnTo>
                      <a:pt x="67" y="474"/>
                    </a:lnTo>
                    <a:lnTo>
                      <a:pt x="66" y="471"/>
                    </a:lnTo>
                    <a:lnTo>
                      <a:pt x="66" y="470"/>
                    </a:lnTo>
                    <a:lnTo>
                      <a:pt x="67" y="468"/>
                    </a:lnTo>
                    <a:lnTo>
                      <a:pt x="67" y="465"/>
                    </a:lnTo>
                    <a:lnTo>
                      <a:pt x="69" y="463"/>
                    </a:lnTo>
                    <a:lnTo>
                      <a:pt x="69" y="462"/>
                    </a:lnTo>
                    <a:lnTo>
                      <a:pt x="71" y="462"/>
                    </a:lnTo>
                    <a:lnTo>
                      <a:pt x="71" y="462"/>
                    </a:lnTo>
                    <a:lnTo>
                      <a:pt x="71" y="462"/>
                    </a:lnTo>
                    <a:lnTo>
                      <a:pt x="71" y="460"/>
                    </a:lnTo>
                    <a:lnTo>
                      <a:pt x="71" y="460"/>
                    </a:lnTo>
                    <a:lnTo>
                      <a:pt x="69" y="459"/>
                    </a:lnTo>
                    <a:lnTo>
                      <a:pt x="69" y="457"/>
                    </a:lnTo>
                    <a:lnTo>
                      <a:pt x="69" y="456"/>
                    </a:lnTo>
                    <a:lnTo>
                      <a:pt x="69" y="456"/>
                    </a:lnTo>
                    <a:lnTo>
                      <a:pt x="71" y="456"/>
                    </a:lnTo>
                    <a:lnTo>
                      <a:pt x="71" y="454"/>
                    </a:lnTo>
                    <a:lnTo>
                      <a:pt x="71" y="453"/>
                    </a:lnTo>
                    <a:lnTo>
                      <a:pt x="72" y="451"/>
                    </a:lnTo>
                    <a:lnTo>
                      <a:pt x="71" y="449"/>
                    </a:lnTo>
                    <a:lnTo>
                      <a:pt x="71" y="446"/>
                    </a:lnTo>
                    <a:lnTo>
                      <a:pt x="71" y="445"/>
                    </a:lnTo>
                    <a:lnTo>
                      <a:pt x="71" y="445"/>
                    </a:lnTo>
                    <a:lnTo>
                      <a:pt x="71" y="445"/>
                    </a:lnTo>
                    <a:lnTo>
                      <a:pt x="72" y="445"/>
                    </a:lnTo>
                    <a:lnTo>
                      <a:pt x="74" y="445"/>
                    </a:lnTo>
                    <a:lnTo>
                      <a:pt x="74" y="443"/>
                    </a:lnTo>
                    <a:lnTo>
                      <a:pt x="74" y="443"/>
                    </a:lnTo>
                    <a:lnTo>
                      <a:pt x="74" y="442"/>
                    </a:lnTo>
                    <a:lnTo>
                      <a:pt x="75" y="440"/>
                    </a:lnTo>
                    <a:lnTo>
                      <a:pt x="75" y="440"/>
                    </a:lnTo>
                    <a:lnTo>
                      <a:pt x="75" y="437"/>
                    </a:lnTo>
                    <a:lnTo>
                      <a:pt x="75" y="435"/>
                    </a:lnTo>
                    <a:lnTo>
                      <a:pt x="75" y="431"/>
                    </a:lnTo>
                    <a:lnTo>
                      <a:pt x="75" y="429"/>
                    </a:lnTo>
                    <a:lnTo>
                      <a:pt x="77" y="429"/>
                    </a:lnTo>
                    <a:lnTo>
                      <a:pt x="78" y="427"/>
                    </a:lnTo>
                    <a:lnTo>
                      <a:pt x="78" y="427"/>
                    </a:lnTo>
                    <a:lnTo>
                      <a:pt x="80" y="426"/>
                    </a:lnTo>
                    <a:lnTo>
                      <a:pt x="81" y="426"/>
                    </a:lnTo>
                    <a:lnTo>
                      <a:pt x="83" y="424"/>
                    </a:lnTo>
                    <a:lnTo>
                      <a:pt x="85" y="424"/>
                    </a:lnTo>
                    <a:lnTo>
                      <a:pt x="85" y="421"/>
                    </a:lnTo>
                    <a:lnTo>
                      <a:pt x="85" y="421"/>
                    </a:lnTo>
                    <a:lnTo>
                      <a:pt x="85" y="421"/>
                    </a:lnTo>
                    <a:lnTo>
                      <a:pt x="85" y="420"/>
                    </a:lnTo>
                    <a:lnTo>
                      <a:pt x="83" y="418"/>
                    </a:lnTo>
                    <a:lnTo>
                      <a:pt x="83" y="415"/>
                    </a:lnTo>
                    <a:lnTo>
                      <a:pt x="83" y="413"/>
                    </a:lnTo>
                    <a:lnTo>
                      <a:pt x="81" y="409"/>
                    </a:lnTo>
                    <a:lnTo>
                      <a:pt x="81" y="407"/>
                    </a:lnTo>
                    <a:lnTo>
                      <a:pt x="81" y="407"/>
                    </a:lnTo>
                    <a:lnTo>
                      <a:pt x="80" y="402"/>
                    </a:lnTo>
                    <a:lnTo>
                      <a:pt x="80" y="401"/>
                    </a:lnTo>
                    <a:lnTo>
                      <a:pt x="80" y="399"/>
                    </a:lnTo>
                    <a:lnTo>
                      <a:pt x="80" y="396"/>
                    </a:lnTo>
                    <a:lnTo>
                      <a:pt x="80" y="395"/>
                    </a:lnTo>
                    <a:lnTo>
                      <a:pt x="80" y="393"/>
                    </a:lnTo>
                    <a:lnTo>
                      <a:pt x="80" y="391"/>
                    </a:lnTo>
                    <a:lnTo>
                      <a:pt x="80" y="388"/>
                    </a:lnTo>
                    <a:lnTo>
                      <a:pt x="80" y="388"/>
                    </a:lnTo>
                    <a:lnTo>
                      <a:pt x="80" y="385"/>
                    </a:lnTo>
                    <a:lnTo>
                      <a:pt x="80" y="384"/>
                    </a:lnTo>
                    <a:lnTo>
                      <a:pt x="80" y="381"/>
                    </a:lnTo>
                    <a:lnTo>
                      <a:pt x="81" y="379"/>
                    </a:lnTo>
                    <a:lnTo>
                      <a:pt x="81" y="379"/>
                    </a:lnTo>
                    <a:lnTo>
                      <a:pt x="81" y="377"/>
                    </a:lnTo>
                    <a:lnTo>
                      <a:pt x="81" y="376"/>
                    </a:lnTo>
                    <a:lnTo>
                      <a:pt x="83" y="376"/>
                    </a:lnTo>
                    <a:lnTo>
                      <a:pt x="83" y="376"/>
                    </a:lnTo>
                    <a:lnTo>
                      <a:pt x="85" y="374"/>
                    </a:lnTo>
                    <a:lnTo>
                      <a:pt x="85" y="374"/>
                    </a:lnTo>
                    <a:lnTo>
                      <a:pt x="86" y="374"/>
                    </a:lnTo>
                    <a:lnTo>
                      <a:pt x="88" y="373"/>
                    </a:lnTo>
                    <a:lnTo>
                      <a:pt x="88" y="373"/>
                    </a:lnTo>
                    <a:lnTo>
                      <a:pt x="88" y="371"/>
                    </a:lnTo>
                    <a:lnTo>
                      <a:pt x="89" y="370"/>
                    </a:lnTo>
                    <a:lnTo>
                      <a:pt x="89" y="370"/>
                    </a:lnTo>
                    <a:lnTo>
                      <a:pt x="91" y="368"/>
                    </a:lnTo>
                    <a:lnTo>
                      <a:pt x="92" y="368"/>
                    </a:lnTo>
                    <a:lnTo>
                      <a:pt x="92" y="366"/>
                    </a:lnTo>
                    <a:lnTo>
                      <a:pt x="92" y="363"/>
                    </a:lnTo>
                    <a:lnTo>
                      <a:pt x="92" y="362"/>
                    </a:lnTo>
                    <a:lnTo>
                      <a:pt x="94" y="360"/>
                    </a:lnTo>
                    <a:lnTo>
                      <a:pt x="92" y="355"/>
                    </a:lnTo>
                    <a:lnTo>
                      <a:pt x="92" y="354"/>
                    </a:lnTo>
                    <a:lnTo>
                      <a:pt x="92" y="352"/>
                    </a:lnTo>
                    <a:lnTo>
                      <a:pt x="92" y="351"/>
                    </a:lnTo>
                    <a:lnTo>
                      <a:pt x="92" y="351"/>
                    </a:lnTo>
                    <a:lnTo>
                      <a:pt x="92" y="351"/>
                    </a:lnTo>
                    <a:lnTo>
                      <a:pt x="92" y="351"/>
                    </a:lnTo>
                    <a:lnTo>
                      <a:pt x="91" y="349"/>
                    </a:lnTo>
                    <a:lnTo>
                      <a:pt x="91" y="349"/>
                    </a:lnTo>
                    <a:lnTo>
                      <a:pt x="91" y="348"/>
                    </a:lnTo>
                    <a:lnTo>
                      <a:pt x="92" y="348"/>
                    </a:lnTo>
                    <a:lnTo>
                      <a:pt x="94" y="346"/>
                    </a:lnTo>
                    <a:lnTo>
                      <a:pt x="94" y="346"/>
                    </a:lnTo>
                    <a:lnTo>
                      <a:pt x="94" y="341"/>
                    </a:lnTo>
                    <a:lnTo>
                      <a:pt x="94" y="340"/>
                    </a:lnTo>
                    <a:lnTo>
                      <a:pt x="96" y="338"/>
                    </a:lnTo>
                    <a:lnTo>
                      <a:pt x="96" y="337"/>
                    </a:lnTo>
                    <a:lnTo>
                      <a:pt x="96" y="337"/>
                    </a:lnTo>
                    <a:lnTo>
                      <a:pt x="97" y="334"/>
                    </a:lnTo>
                    <a:lnTo>
                      <a:pt x="97" y="334"/>
                    </a:lnTo>
                    <a:lnTo>
                      <a:pt x="97" y="332"/>
                    </a:lnTo>
                    <a:lnTo>
                      <a:pt x="99" y="330"/>
                    </a:lnTo>
                    <a:lnTo>
                      <a:pt x="99" y="329"/>
                    </a:lnTo>
                    <a:lnTo>
                      <a:pt x="99" y="329"/>
                    </a:lnTo>
                    <a:lnTo>
                      <a:pt x="100" y="327"/>
                    </a:lnTo>
                    <a:lnTo>
                      <a:pt x="100" y="327"/>
                    </a:lnTo>
                    <a:lnTo>
                      <a:pt x="102" y="327"/>
                    </a:lnTo>
                    <a:lnTo>
                      <a:pt x="102" y="327"/>
                    </a:lnTo>
                    <a:lnTo>
                      <a:pt x="103" y="327"/>
                    </a:lnTo>
                    <a:lnTo>
                      <a:pt x="103" y="326"/>
                    </a:lnTo>
                    <a:lnTo>
                      <a:pt x="103" y="324"/>
                    </a:lnTo>
                    <a:lnTo>
                      <a:pt x="102" y="321"/>
                    </a:lnTo>
                    <a:lnTo>
                      <a:pt x="102" y="316"/>
                    </a:lnTo>
                    <a:lnTo>
                      <a:pt x="102" y="313"/>
                    </a:lnTo>
                    <a:lnTo>
                      <a:pt x="103" y="310"/>
                    </a:lnTo>
                    <a:lnTo>
                      <a:pt x="103" y="309"/>
                    </a:lnTo>
                    <a:lnTo>
                      <a:pt x="103" y="309"/>
                    </a:lnTo>
                    <a:lnTo>
                      <a:pt x="103" y="307"/>
                    </a:lnTo>
                    <a:lnTo>
                      <a:pt x="103" y="307"/>
                    </a:lnTo>
                    <a:lnTo>
                      <a:pt x="102" y="307"/>
                    </a:lnTo>
                    <a:lnTo>
                      <a:pt x="100" y="307"/>
                    </a:lnTo>
                    <a:lnTo>
                      <a:pt x="100" y="307"/>
                    </a:lnTo>
                    <a:lnTo>
                      <a:pt x="99" y="305"/>
                    </a:lnTo>
                    <a:lnTo>
                      <a:pt x="99" y="304"/>
                    </a:lnTo>
                    <a:lnTo>
                      <a:pt x="99" y="302"/>
                    </a:lnTo>
                    <a:lnTo>
                      <a:pt x="99" y="301"/>
                    </a:lnTo>
                    <a:lnTo>
                      <a:pt x="100" y="299"/>
                    </a:lnTo>
                    <a:lnTo>
                      <a:pt x="100" y="299"/>
                    </a:lnTo>
                    <a:lnTo>
                      <a:pt x="99" y="298"/>
                    </a:lnTo>
                    <a:lnTo>
                      <a:pt x="99" y="298"/>
                    </a:lnTo>
                    <a:lnTo>
                      <a:pt x="99" y="298"/>
                    </a:lnTo>
                    <a:lnTo>
                      <a:pt x="97" y="293"/>
                    </a:lnTo>
                    <a:lnTo>
                      <a:pt x="97" y="290"/>
                    </a:lnTo>
                    <a:lnTo>
                      <a:pt x="97" y="290"/>
                    </a:lnTo>
                    <a:lnTo>
                      <a:pt x="96" y="290"/>
                    </a:lnTo>
                    <a:lnTo>
                      <a:pt x="96" y="287"/>
                    </a:lnTo>
                    <a:lnTo>
                      <a:pt x="96" y="287"/>
                    </a:lnTo>
                    <a:lnTo>
                      <a:pt x="94" y="285"/>
                    </a:lnTo>
                    <a:lnTo>
                      <a:pt x="94" y="284"/>
                    </a:lnTo>
                    <a:lnTo>
                      <a:pt x="94" y="282"/>
                    </a:lnTo>
                    <a:lnTo>
                      <a:pt x="94" y="280"/>
                    </a:lnTo>
                    <a:lnTo>
                      <a:pt x="96" y="280"/>
                    </a:lnTo>
                    <a:lnTo>
                      <a:pt x="96" y="280"/>
                    </a:lnTo>
                    <a:lnTo>
                      <a:pt x="96" y="279"/>
                    </a:lnTo>
                    <a:lnTo>
                      <a:pt x="96" y="279"/>
                    </a:lnTo>
                    <a:lnTo>
                      <a:pt x="94" y="277"/>
                    </a:lnTo>
                    <a:lnTo>
                      <a:pt x="94" y="277"/>
                    </a:lnTo>
                    <a:lnTo>
                      <a:pt x="92" y="277"/>
                    </a:lnTo>
                    <a:lnTo>
                      <a:pt x="92" y="277"/>
                    </a:lnTo>
                    <a:lnTo>
                      <a:pt x="92" y="277"/>
                    </a:lnTo>
                    <a:lnTo>
                      <a:pt x="92" y="276"/>
                    </a:lnTo>
                    <a:lnTo>
                      <a:pt x="91" y="274"/>
                    </a:lnTo>
                    <a:lnTo>
                      <a:pt x="89" y="271"/>
                    </a:lnTo>
                    <a:lnTo>
                      <a:pt x="91" y="268"/>
                    </a:lnTo>
                    <a:lnTo>
                      <a:pt x="91" y="266"/>
                    </a:lnTo>
                    <a:lnTo>
                      <a:pt x="91" y="265"/>
                    </a:lnTo>
                    <a:lnTo>
                      <a:pt x="91" y="263"/>
                    </a:lnTo>
                    <a:lnTo>
                      <a:pt x="92" y="262"/>
                    </a:lnTo>
                    <a:lnTo>
                      <a:pt x="92" y="262"/>
                    </a:lnTo>
                    <a:lnTo>
                      <a:pt x="92" y="262"/>
                    </a:lnTo>
                    <a:lnTo>
                      <a:pt x="94" y="262"/>
                    </a:lnTo>
                    <a:lnTo>
                      <a:pt x="94" y="262"/>
                    </a:lnTo>
                    <a:lnTo>
                      <a:pt x="96" y="260"/>
                    </a:lnTo>
                    <a:lnTo>
                      <a:pt x="94" y="260"/>
                    </a:lnTo>
                    <a:lnTo>
                      <a:pt x="94" y="260"/>
                    </a:lnTo>
                    <a:lnTo>
                      <a:pt x="94" y="258"/>
                    </a:lnTo>
                    <a:lnTo>
                      <a:pt x="94" y="258"/>
                    </a:lnTo>
                    <a:lnTo>
                      <a:pt x="94" y="257"/>
                    </a:lnTo>
                    <a:lnTo>
                      <a:pt x="96" y="254"/>
                    </a:lnTo>
                    <a:lnTo>
                      <a:pt x="97" y="249"/>
                    </a:lnTo>
                    <a:lnTo>
                      <a:pt x="97" y="249"/>
                    </a:lnTo>
                    <a:lnTo>
                      <a:pt x="97" y="248"/>
                    </a:lnTo>
                    <a:lnTo>
                      <a:pt x="97" y="248"/>
                    </a:lnTo>
                    <a:lnTo>
                      <a:pt x="99" y="248"/>
                    </a:lnTo>
                    <a:lnTo>
                      <a:pt x="100" y="246"/>
                    </a:lnTo>
                    <a:lnTo>
                      <a:pt x="102" y="244"/>
                    </a:lnTo>
                    <a:lnTo>
                      <a:pt x="102" y="244"/>
                    </a:lnTo>
                    <a:lnTo>
                      <a:pt x="103" y="243"/>
                    </a:lnTo>
                    <a:lnTo>
                      <a:pt x="103" y="241"/>
                    </a:lnTo>
                    <a:lnTo>
                      <a:pt x="102" y="241"/>
                    </a:lnTo>
                    <a:lnTo>
                      <a:pt x="102" y="241"/>
                    </a:lnTo>
                    <a:lnTo>
                      <a:pt x="100" y="241"/>
                    </a:lnTo>
                    <a:lnTo>
                      <a:pt x="102" y="240"/>
                    </a:lnTo>
                    <a:lnTo>
                      <a:pt x="102" y="237"/>
                    </a:lnTo>
                    <a:lnTo>
                      <a:pt x="102" y="235"/>
                    </a:lnTo>
                    <a:lnTo>
                      <a:pt x="100" y="230"/>
                    </a:lnTo>
                    <a:lnTo>
                      <a:pt x="100" y="227"/>
                    </a:lnTo>
                    <a:lnTo>
                      <a:pt x="100" y="226"/>
                    </a:lnTo>
                    <a:lnTo>
                      <a:pt x="100" y="226"/>
                    </a:lnTo>
                    <a:lnTo>
                      <a:pt x="100" y="224"/>
                    </a:lnTo>
                    <a:lnTo>
                      <a:pt x="102" y="222"/>
                    </a:lnTo>
                    <a:lnTo>
                      <a:pt x="103" y="221"/>
                    </a:lnTo>
                    <a:lnTo>
                      <a:pt x="103" y="221"/>
                    </a:lnTo>
                    <a:lnTo>
                      <a:pt x="103" y="221"/>
                    </a:lnTo>
                    <a:lnTo>
                      <a:pt x="105" y="215"/>
                    </a:lnTo>
                    <a:lnTo>
                      <a:pt x="105" y="212"/>
                    </a:lnTo>
                    <a:lnTo>
                      <a:pt x="105" y="210"/>
                    </a:lnTo>
                    <a:lnTo>
                      <a:pt x="107" y="208"/>
                    </a:lnTo>
                    <a:lnTo>
                      <a:pt x="108" y="205"/>
                    </a:lnTo>
                    <a:lnTo>
                      <a:pt x="108" y="205"/>
                    </a:lnTo>
                    <a:lnTo>
                      <a:pt x="110" y="204"/>
                    </a:lnTo>
                    <a:lnTo>
                      <a:pt x="110" y="204"/>
                    </a:lnTo>
                    <a:lnTo>
                      <a:pt x="110" y="204"/>
                    </a:lnTo>
                    <a:lnTo>
                      <a:pt x="111" y="202"/>
                    </a:lnTo>
                    <a:lnTo>
                      <a:pt x="111" y="201"/>
                    </a:lnTo>
                    <a:lnTo>
                      <a:pt x="113" y="199"/>
                    </a:lnTo>
                    <a:lnTo>
                      <a:pt x="114" y="197"/>
                    </a:lnTo>
                    <a:lnTo>
                      <a:pt x="114" y="196"/>
                    </a:lnTo>
                    <a:lnTo>
                      <a:pt x="116" y="194"/>
                    </a:lnTo>
                    <a:lnTo>
                      <a:pt x="117" y="191"/>
                    </a:lnTo>
                    <a:lnTo>
                      <a:pt x="117" y="188"/>
                    </a:lnTo>
                    <a:lnTo>
                      <a:pt x="119" y="188"/>
                    </a:lnTo>
                    <a:lnTo>
                      <a:pt x="121" y="185"/>
                    </a:lnTo>
                    <a:lnTo>
                      <a:pt x="121" y="183"/>
                    </a:lnTo>
                    <a:lnTo>
                      <a:pt x="122" y="182"/>
                    </a:lnTo>
                    <a:lnTo>
                      <a:pt x="122" y="182"/>
                    </a:lnTo>
                    <a:lnTo>
                      <a:pt x="122" y="182"/>
                    </a:lnTo>
                    <a:lnTo>
                      <a:pt x="124" y="183"/>
                    </a:lnTo>
                    <a:lnTo>
                      <a:pt x="125" y="182"/>
                    </a:lnTo>
                    <a:lnTo>
                      <a:pt x="125" y="182"/>
                    </a:lnTo>
                    <a:lnTo>
                      <a:pt x="125" y="182"/>
                    </a:lnTo>
                    <a:lnTo>
                      <a:pt x="128" y="180"/>
                    </a:lnTo>
                    <a:lnTo>
                      <a:pt x="130" y="180"/>
                    </a:lnTo>
                    <a:lnTo>
                      <a:pt x="130" y="180"/>
                    </a:lnTo>
                    <a:lnTo>
                      <a:pt x="130" y="179"/>
                    </a:lnTo>
                    <a:lnTo>
                      <a:pt x="130" y="177"/>
                    </a:lnTo>
                    <a:lnTo>
                      <a:pt x="128" y="176"/>
                    </a:lnTo>
                    <a:lnTo>
                      <a:pt x="127" y="174"/>
                    </a:lnTo>
                    <a:lnTo>
                      <a:pt x="125" y="171"/>
                    </a:lnTo>
                    <a:lnTo>
                      <a:pt x="125" y="169"/>
                    </a:lnTo>
                    <a:lnTo>
                      <a:pt x="125" y="168"/>
                    </a:lnTo>
                    <a:lnTo>
                      <a:pt x="125" y="168"/>
                    </a:lnTo>
                    <a:lnTo>
                      <a:pt x="125" y="166"/>
                    </a:lnTo>
                    <a:lnTo>
                      <a:pt x="128" y="163"/>
                    </a:lnTo>
                    <a:lnTo>
                      <a:pt x="128" y="161"/>
                    </a:lnTo>
                    <a:lnTo>
                      <a:pt x="127" y="155"/>
                    </a:lnTo>
                    <a:lnTo>
                      <a:pt x="125" y="154"/>
                    </a:lnTo>
                    <a:lnTo>
                      <a:pt x="125" y="151"/>
                    </a:lnTo>
                    <a:lnTo>
                      <a:pt x="125" y="149"/>
                    </a:lnTo>
                    <a:lnTo>
                      <a:pt x="125" y="146"/>
                    </a:lnTo>
                    <a:lnTo>
                      <a:pt x="127" y="144"/>
                    </a:lnTo>
                    <a:lnTo>
                      <a:pt x="128" y="144"/>
                    </a:lnTo>
                    <a:lnTo>
                      <a:pt x="128" y="144"/>
                    </a:lnTo>
                    <a:lnTo>
                      <a:pt x="128" y="143"/>
                    </a:lnTo>
                    <a:lnTo>
                      <a:pt x="128" y="143"/>
                    </a:lnTo>
                    <a:lnTo>
                      <a:pt x="128" y="143"/>
                    </a:lnTo>
                    <a:lnTo>
                      <a:pt x="128" y="141"/>
                    </a:lnTo>
                    <a:lnTo>
                      <a:pt x="127" y="141"/>
                    </a:lnTo>
                    <a:lnTo>
                      <a:pt x="127" y="140"/>
                    </a:lnTo>
                    <a:lnTo>
                      <a:pt x="127" y="140"/>
                    </a:lnTo>
                    <a:lnTo>
                      <a:pt x="127" y="140"/>
                    </a:lnTo>
                    <a:lnTo>
                      <a:pt x="125" y="138"/>
                    </a:lnTo>
                    <a:lnTo>
                      <a:pt x="125" y="136"/>
                    </a:lnTo>
                    <a:lnTo>
                      <a:pt x="127" y="133"/>
                    </a:lnTo>
                    <a:lnTo>
                      <a:pt x="127" y="133"/>
                    </a:lnTo>
                    <a:lnTo>
                      <a:pt x="128" y="132"/>
                    </a:lnTo>
                    <a:lnTo>
                      <a:pt x="128" y="132"/>
                    </a:lnTo>
                    <a:lnTo>
                      <a:pt x="128" y="132"/>
                    </a:lnTo>
                    <a:lnTo>
                      <a:pt x="130" y="130"/>
                    </a:lnTo>
                    <a:lnTo>
                      <a:pt x="132" y="129"/>
                    </a:lnTo>
                    <a:lnTo>
                      <a:pt x="135" y="127"/>
                    </a:lnTo>
                    <a:lnTo>
                      <a:pt x="138" y="127"/>
                    </a:lnTo>
                    <a:lnTo>
                      <a:pt x="142" y="124"/>
                    </a:lnTo>
                    <a:lnTo>
                      <a:pt x="147" y="122"/>
                    </a:lnTo>
                    <a:lnTo>
                      <a:pt x="147" y="122"/>
                    </a:lnTo>
                    <a:lnTo>
                      <a:pt x="147" y="121"/>
                    </a:lnTo>
                    <a:lnTo>
                      <a:pt x="147" y="121"/>
                    </a:lnTo>
                    <a:lnTo>
                      <a:pt x="149" y="115"/>
                    </a:lnTo>
                    <a:lnTo>
                      <a:pt x="152" y="107"/>
                    </a:lnTo>
                    <a:lnTo>
                      <a:pt x="153" y="102"/>
                    </a:lnTo>
                    <a:lnTo>
                      <a:pt x="149" y="9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8" name="Freeform 45">
                <a:extLst>
                  <a:ext uri="{FF2B5EF4-FFF2-40B4-BE49-F238E27FC236}">
                    <a16:creationId xmlns:a16="http://schemas.microsoft.com/office/drawing/2014/main" id="{02D5A4A8-E84C-F606-1ED0-F33C290FDA73}"/>
                  </a:ext>
                </a:extLst>
              </p:cNvPr>
              <p:cNvSpPr>
                <a:spLocks/>
              </p:cNvSpPr>
              <p:nvPr/>
            </p:nvSpPr>
            <p:spPr bwMode="gray">
              <a:xfrm>
                <a:off x="2825" y="1347"/>
                <a:ext cx="133" cy="201"/>
              </a:xfrm>
              <a:custGeom>
                <a:avLst/>
                <a:gdLst>
                  <a:gd name="T0" fmla="*/ 116 w 133"/>
                  <a:gd name="T1" fmla="*/ 107 h 201"/>
                  <a:gd name="T2" fmla="*/ 110 w 133"/>
                  <a:gd name="T3" fmla="*/ 119 h 201"/>
                  <a:gd name="T4" fmla="*/ 103 w 133"/>
                  <a:gd name="T5" fmla="*/ 124 h 201"/>
                  <a:gd name="T6" fmla="*/ 107 w 133"/>
                  <a:gd name="T7" fmla="*/ 127 h 201"/>
                  <a:gd name="T8" fmla="*/ 105 w 133"/>
                  <a:gd name="T9" fmla="*/ 138 h 201"/>
                  <a:gd name="T10" fmla="*/ 108 w 133"/>
                  <a:gd name="T11" fmla="*/ 149 h 201"/>
                  <a:gd name="T12" fmla="*/ 116 w 133"/>
                  <a:gd name="T13" fmla="*/ 158 h 201"/>
                  <a:gd name="T14" fmla="*/ 116 w 133"/>
                  <a:gd name="T15" fmla="*/ 163 h 201"/>
                  <a:gd name="T16" fmla="*/ 127 w 133"/>
                  <a:gd name="T17" fmla="*/ 176 h 201"/>
                  <a:gd name="T18" fmla="*/ 132 w 133"/>
                  <a:gd name="T19" fmla="*/ 179 h 201"/>
                  <a:gd name="T20" fmla="*/ 132 w 133"/>
                  <a:gd name="T21" fmla="*/ 185 h 201"/>
                  <a:gd name="T22" fmla="*/ 133 w 133"/>
                  <a:gd name="T23" fmla="*/ 191 h 201"/>
                  <a:gd name="T24" fmla="*/ 133 w 133"/>
                  <a:gd name="T25" fmla="*/ 201 h 201"/>
                  <a:gd name="T26" fmla="*/ 124 w 133"/>
                  <a:gd name="T27" fmla="*/ 196 h 201"/>
                  <a:gd name="T28" fmla="*/ 114 w 133"/>
                  <a:gd name="T29" fmla="*/ 194 h 201"/>
                  <a:gd name="T30" fmla="*/ 110 w 133"/>
                  <a:gd name="T31" fmla="*/ 194 h 201"/>
                  <a:gd name="T32" fmla="*/ 100 w 133"/>
                  <a:gd name="T33" fmla="*/ 193 h 201"/>
                  <a:gd name="T34" fmla="*/ 82 w 133"/>
                  <a:gd name="T35" fmla="*/ 191 h 201"/>
                  <a:gd name="T36" fmla="*/ 68 w 133"/>
                  <a:gd name="T37" fmla="*/ 190 h 201"/>
                  <a:gd name="T38" fmla="*/ 49 w 133"/>
                  <a:gd name="T39" fmla="*/ 190 h 201"/>
                  <a:gd name="T40" fmla="*/ 32 w 133"/>
                  <a:gd name="T41" fmla="*/ 193 h 201"/>
                  <a:gd name="T42" fmla="*/ 22 w 133"/>
                  <a:gd name="T43" fmla="*/ 190 h 201"/>
                  <a:gd name="T44" fmla="*/ 24 w 133"/>
                  <a:gd name="T45" fmla="*/ 173 h 201"/>
                  <a:gd name="T46" fmla="*/ 17 w 133"/>
                  <a:gd name="T47" fmla="*/ 163 h 201"/>
                  <a:gd name="T48" fmla="*/ 21 w 133"/>
                  <a:gd name="T49" fmla="*/ 158 h 201"/>
                  <a:gd name="T50" fmla="*/ 16 w 133"/>
                  <a:gd name="T51" fmla="*/ 160 h 201"/>
                  <a:gd name="T52" fmla="*/ 13 w 133"/>
                  <a:gd name="T53" fmla="*/ 160 h 201"/>
                  <a:gd name="T54" fmla="*/ 7 w 133"/>
                  <a:gd name="T55" fmla="*/ 152 h 201"/>
                  <a:gd name="T56" fmla="*/ 3 w 133"/>
                  <a:gd name="T57" fmla="*/ 149 h 201"/>
                  <a:gd name="T58" fmla="*/ 0 w 133"/>
                  <a:gd name="T59" fmla="*/ 149 h 201"/>
                  <a:gd name="T60" fmla="*/ 5 w 133"/>
                  <a:gd name="T61" fmla="*/ 140 h 201"/>
                  <a:gd name="T62" fmla="*/ 13 w 133"/>
                  <a:gd name="T63" fmla="*/ 122 h 201"/>
                  <a:gd name="T64" fmla="*/ 21 w 133"/>
                  <a:gd name="T65" fmla="*/ 113 h 201"/>
                  <a:gd name="T66" fmla="*/ 28 w 133"/>
                  <a:gd name="T67" fmla="*/ 108 h 201"/>
                  <a:gd name="T68" fmla="*/ 35 w 133"/>
                  <a:gd name="T69" fmla="*/ 108 h 201"/>
                  <a:gd name="T70" fmla="*/ 42 w 133"/>
                  <a:gd name="T71" fmla="*/ 112 h 201"/>
                  <a:gd name="T72" fmla="*/ 47 w 133"/>
                  <a:gd name="T73" fmla="*/ 118 h 201"/>
                  <a:gd name="T74" fmla="*/ 53 w 133"/>
                  <a:gd name="T75" fmla="*/ 110 h 201"/>
                  <a:gd name="T76" fmla="*/ 57 w 133"/>
                  <a:gd name="T77" fmla="*/ 104 h 201"/>
                  <a:gd name="T78" fmla="*/ 61 w 133"/>
                  <a:gd name="T79" fmla="*/ 94 h 201"/>
                  <a:gd name="T80" fmla="*/ 71 w 133"/>
                  <a:gd name="T81" fmla="*/ 79 h 201"/>
                  <a:gd name="T82" fmla="*/ 75 w 133"/>
                  <a:gd name="T83" fmla="*/ 69 h 201"/>
                  <a:gd name="T84" fmla="*/ 82 w 133"/>
                  <a:gd name="T85" fmla="*/ 61 h 201"/>
                  <a:gd name="T86" fmla="*/ 86 w 133"/>
                  <a:gd name="T87" fmla="*/ 47 h 201"/>
                  <a:gd name="T88" fmla="*/ 99 w 133"/>
                  <a:gd name="T89" fmla="*/ 32 h 201"/>
                  <a:gd name="T90" fmla="*/ 105 w 133"/>
                  <a:gd name="T91" fmla="*/ 27 h 201"/>
                  <a:gd name="T92" fmla="*/ 107 w 133"/>
                  <a:gd name="T93" fmla="*/ 14 h 201"/>
                  <a:gd name="T94" fmla="*/ 99 w 133"/>
                  <a:gd name="T95" fmla="*/ 11 h 201"/>
                  <a:gd name="T96" fmla="*/ 103 w 133"/>
                  <a:gd name="T97" fmla="*/ 0 h 201"/>
                  <a:gd name="T98" fmla="*/ 111 w 133"/>
                  <a:gd name="T99" fmla="*/ 14 h 201"/>
                  <a:gd name="T100" fmla="*/ 114 w 133"/>
                  <a:gd name="T101" fmla="*/ 25 h 201"/>
                  <a:gd name="T102" fmla="*/ 116 w 133"/>
                  <a:gd name="T103" fmla="*/ 43 h 201"/>
                  <a:gd name="T104" fmla="*/ 122 w 133"/>
                  <a:gd name="T105" fmla="*/ 55 h 201"/>
                  <a:gd name="T106" fmla="*/ 107 w 133"/>
                  <a:gd name="T107" fmla="*/ 55 h 201"/>
                  <a:gd name="T108" fmla="*/ 96 w 133"/>
                  <a:gd name="T109" fmla="*/ 61 h 201"/>
                  <a:gd name="T110" fmla="*/ 108 w 133"/>
                  <a:gd name="T111" fmla="*/ 74 h 201"/>
                  <a:gd name="T112" fmla="*/ 118 w 133"/>
                  <a:gd name="T113" fmla="*/ 85 h 201"/>
                  <a:gd name="T114" fmla="*/ 122 w 133"/>
                  <a:gd name="T115" fmla="*/ 9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 h="201">
                    <a:moveTo>
                      <a:pt x="122" y="99"/>
                    </a:moveTo>
                    <a:lnTo>
                      <a:pt x="119" y="101"/>
                    </a:lnTo>
                    <a:lnTo>
                      <a:pt x="118" y="102"/>
                    </a:lnTo>
                    <a:lnTo>
                      <a:pt x="118" y="104"/>
                    </a:lnTo>
                    <a:lnTo>
                      <a:pt x="116" y="105"/>
                    </a:lnTo>
                    <a:lnTo>
                      <a:pt x="116" y="107"/>
                    </a:lnTo>
                    <a:lnTo>
                      <a:pt x="114" y="108"/>
                    </a:lnTo>
                    <a:lnTo>
                      <a:pt x="114" y="112"/>
                    </a:lnTo>
                    <a:lnTo>
                      <a:pt x="113" y="112"/>
                    </a:lnTo>
                    <a:lnTo>
                      <a:pt x="111" y="115"/>
                    </a:lnTo>
                    <a:lnTo>
                      <a:pt x="110" y="119"/>
                    </a:lnTo>
                    <a:lnTo>
                      <a:pt x="110" y="119"/>
                    </a:lnTo>
                    <a:lnTo>
                      <a:pt x="108" y="121"/>
                    </a:lnTo>
                    <a:lnTo>
                      <a:pt x="108" y="121"/>
                    </a:lnTo>
                    <a:lnTo>
                      <a:pt x="105" y="122"/>
                    </a:lnTo>
                    <a:lnTo>
                      <a:pt x="105" y="122"/>
                    </a:lnTo>
                    <a:lnTo>
                      <a:pt x="103" y="122"/>
                    </a:lnTo>
                    <a:lnTo>
                      <a:pt x="103" y="124"/>
                    </a:lnTo>
                    <a:lnTo>
                      <a:pt x="103" y="124"/>
                    </a:lnTo>
                    <a:lnTo>
                      <a:pt x="103" y="126"/>
                    </a:lnTo>
                    <a:lnTo>
                      <a:pt x="105" y="127"/>
                    </a:lnTo>
                    <a:lnTo>
                      <a:pt x="105" y="127"/>
                    </a:lnTo>
                    <a:lnTo>
                      <a:pt x="105" y="127"/>
                    </a:lnTo>
                    <a:lnTo>
                      <a:pt x="107" y="127"/>
                    </a:lnTo>
                    <a:lnTo>
                      <a:pt x="107" y="127"/>
                    </a:lnTo>
                    <a:lnTo>
                      <a:pt x="107" y="133"/>
                    </a:lnTo>
                    <a:lnTo>
                      <a:pt x="107" y="135"/>
                    </a:lnTo>
                    <a:lnTo>
                      <a:pt x="107" y="135"/>
                    </a:lnTo>
                    <a:lnTo>
                      <a:pt x="105" y="137"/>
                    </a:lnTo>
                    <a:lnTo>
                      <a:pt x="105" y="138"/>
                    </a:lnTo>
                    <a:lnTo>
                      <a:pt x="105" y="138"/>
                    </a:lnTo>
                    <a:lnTo>
                      <a:pt x="107" y="138"/>
                    </a:lnTo>
                    <a:lnTo>
                      <a:pt x="107" y="140"/>
                    </a:lnTo>
                    <a:lnTo>
                      <a:pt x="107" y="141"/>
                    </a:lnTo>
                    <a:lnTo>
                      <a:pt x="108" y="149"/>
                    </a:lnTo>
                    <a:lnTo>
                      <a:pt x="108" y="149"/>
                    </a:lnTo>
                    <a:lnTo>
                      <a:pt x="110" y="151"/>
                    </a:lnTo>
                    <a:lnTo>
                      <a:pt x="111" y="152"/>
                    </a:lnTo>
                    <a:lnTo>
                      <a:pt x="113" y="154"/>
                    </a:lnTo>
                    <a:lnTo>
                      <a:pt x="114" y="155"/>
                    </a:lnTo>
                    <a:lnTo>
                      <a:pt x="114" y="157"/>
                    </a:lnTo>
                    <a:lnTo>
                      <a:pt x="116" y="158"/>
                    </a:lnTo>
                    <a:lnTo>
                      <a:pt x="116" y="160"/>
                    </a:lnTo>
                    <a:lnTo>
                      <a:pt x="114" y="160"/>
                    </a:lnTo>
                    <a:lnTo>
                      <a:pt x="114" y="160"/>
                    </a:lnTo>
                    <a:lnTo>
                      <a:pt x="114" y="160"/>
                    </a:lnTo>
                    <a:lnTo>
                      <a:pt x="114" y="162"/>
                    </a:lnTo>
                    <a:lnTo>
                      <a:pt x="116" y="163"/>
                    </a:lnTo>
                    <a:lnTo>
                      <a:pt x="118" y="165"/>
                    </a:lnTo>
                    <a:lnTo>
                      <a:pt x="119" y="168"/>
                    </a:lnTo>
                    <a:lnTo>
                      <a:pt x="121" y="169"/>
                    </a:lnTo>
                    <a:lnTo>
                      <a:pt x="124" y="173"/>
                    </a:lnTo>
                    <a:lnTo>
                      <a:pt x="125" y="174"/>
                    </a:lnTo>
                    <a:lnTo>
                      <a:pt x="127" y="176"/>
                    </a:lnTo>
                    <a:lnTo>
                      <a:pt x="128" y="176"/>
                    </a:lnTo>
                    <a:lnTo>
                      <a:pt x="128" y="176"/>
                    </a:lnTo>
                    <a:lnTo>
                      <a:pt x="130" y="176"/>
                    </a:lnTo>
                    <a:lnTo>
                      <a:pt x="130" y="177"/>
                    </a:lnTo>
                    <a:lnTo>
                      <a:pt x="132" y="177"/>
                    </a:lnTo>
                    <a:lnTo>
                      <a:pt x="132" y="179"/>
                    </a:lnTo>
                    <a:lnTo>
                      <a:pt x="132" y="180"/>
                    </a:lnTo>
                    <a:lnTo>
                      <a:pt x="132" y="182"/>
                    </a:lnTo>
                    <a:lnTo>
                      <a:pt x="132" y="183"/>
                    </a:lnTo>
                    <a:lnTo>
                      <a:pt x="132" y="183"/>
                    </a:lnTo>
                    <a:lnTo>
                      <a:pt x="133" y="183"/>
                    </a:lnTo>
                    <a:lnTo>
                      <a:pt x="132" y="185"/>
                    </a:lnTo>
                    <a:lnTo>
                      <a:pt x="133" y="187"/>
                    </a:lnTo>
                    <a:lnTo>
                      <a:pt x="133" y="188"/>
                    </a:lnTo>
                    <a:lnTo>
                      <a:pt x="133" y="190"/>
                    </a:lnTo>
                    <a:lnTo>
                      <a:pt x="133" y="190"/>
                    </a:lnTo>
                    <a:lnTo>
                      <a:pt x="133" y="191"/>
                    </a:lnTo>
                    <a:lnTo>
                      <a:pt x="133" y="191"/>
                    </a:lnTo>
                    <a:lnTo>
                      <a:pt x="132" y="193"/>
                    </a:lnTo>
                    <a:lnTo>
                      <a:pt x="132" y="194"/>
                    </a:lnTo>
                    <a:lnTo>
                      <a:pt x="132" y="196"/>
                    </a:lnTo>
                    <a:lnTo>
                      <a:pt x="133" y="199"/>
                    </a:lnTo>
                    <a:lnTo>
                      <a:pt x="133" y="199"/>
                    </a:lnTo>
                    <a:lnTo>
                      <a:pt x="133" y="201"/>
                    </a:lnTo>
                    <a:lnTo>
                      <a:pt x="132" y="201"/>
                    </a:lnTo>
                    <a:lnTo>
                      <a:pt x="132" y="201"/>
                    </a:lnTo>
                    <a:lnTo>
                      <a:pt x="130" y="199"/>
                    </a:lnTo>
                    <a:lnTo>
                      <a:pt x="128" y="198"/>
                    </a:lnTo>
                    <a:lnTo>
                      <a:pt x="127" y="196"/>
                    </a:lnTo>
                    <a:lnTo>
                      <a:pt x="124" y="196"/>
                    </a:lnTo>
                    <a:lnTo>
                      <a:pt x="121" y="196"/>
                    </a:lnTo>
                    <a:lnTo>
                      <a:pt x="119" y="196"/>
                    </a:lnTo>
                    <a:lnTo>
                      <a:pt x="118" y="196"/>
                    </a:lnTo>
                    <a:lnTo>
                      <a:pt x="116" y="194"/>
                    </a:lnTo>
                    <a:lnTo>
                      <a:pt x="116" y="194"/>
                    </a:lnTo>
                    <a:lnTo>
                      <a:pt x="114" y="194"/>
                    </a:lnTo>
                    <a:lnTo>
                      <a:pt x="114" y="194"/>
                    </a:lnTo>
                    <a:lnTo>
                      <a:pt x="113" y="194"/>
                    </a:lnTo>
                    <a:lnTo>
                      <a:pt x="111" y="194"/>
                    </a:lnTo>
                    <a:lnTo>
                      <a:pt x="111" y="194"/>
                    </a:lnTo>
                    <a:lnTo>
                      <a:pt x="111" y="193"/>
                    </a:lnTo>
                    <a:lnTo>
                      <a:pt x="110" y="194"/>
                    </a:lnTo>
                    <a:lnTo>
                      <a:pt x="108" y="193"/>
                    </a:lnTo>
                    <a:lnTo>
                      <a:pt x="108" y="193"/>
                    </a:lnTo>
                    <a:lnTo>
                      <a:pt x="107" y="193"/>
                    </a:lnTo>
                    <a:lnTo>
                      <a:pt x="105" y="191"/>
                    </a:lnTo>
                    <a:lnTo>
                      <a:pt x="103" y="193"/>
                    </a:lnTo>
                    <a:lnTo>
                      <a:pt x="100" y="193"/>
                    </a:lnTo>
                    <a:lnTo>
                      <a:pt x="96" y="193"/>
                    </a:lnTo>
                    <a:lnTo>
                      <a:pt x="91" y="193"/>
                    </a:lnTo>
                    <a:lnTo>
                      <a:pt x="88" y="193"/>
                    </a:lnTo>
                    <a:lnTo>
                      <a:pt x="83" y="193"/>
                    </a:lnTo>
                    <a:lnTo>
                      <a:pt x="83" y="191"/>
                    </a:lnTo>
                    <a:lnTo>
                      <a:pt x="82" y="191"/>
                    </a:lnTo>
                    <a:lnTo>
                      <a:pt x="80" y="190"/>
                    </a:lnTo>
                    <a:lnTo>
                      <a:pt x="75" y="191"/>
                    </a:lnTo>
                    <a:lnTo>
                      <a:pt x="72" y="191"/>
                    </a:lnTo>
                    <a:lnTo>
                      <a:pt x="71" y="190"/>
                    </a:lnTo>
                    <a:lnTo>
                      <a:pt x="69" y="190"/>
                    </a:lnTo>
                    <a:lnTo>
                      <a:pt x="68" y="190"/>
                    </a:lnTo>
                    <a:lnTo>
                      <a:pt x="63" y="190"/>
                    </a:lnTo>
                    <a:lnTo>
                      <a:pt x="63" y="190"/>
                    </a:lnTo>
                    <a:lnTo>
                      <a:pt x="60" y="190"/>
                    </a:lnTo>
                    <a:lnTo>
                      <a:pt x="53" y="190"/>
                    </a:lnTo>
                    <a:lnTo>
                      <a:pt x="49" y="190"/>
                    </a:lnTo>
                    <a:lnTo>
                      <a:pt x="49" y="190"/>
                    </a:lnTo>
                    <a:lnTo>
                      <a:pt x="49" y="191"/>
                    </a:lnTo>
                    <a:lnTo>
                      <a:pt x="49" y="193"/>
                    </a:lnTo>
                    <a:lnTo>
                      <a:pt x="44" y="193"/>
                    </a:lnTo>
                    <a:lnTo>
                      <a:pt x="39" y="193"/>
                    </a:lnTo>
                    <a:lnTo>
                      <a:pt x="35" y="193"/>
                    </a:lnTo>
                    <a:lnTo>
                      <a:pt x="32" y="193"/>
                    </a:lnTo>
                    <a:lnTo>
                      <a:pt x="25" y="193"/>
                    </a:lnTo>
                    <a:lnTo>
                      <a:pt x="24" y="191"/>
                    </a:lnTo>
                    <a:lnTo>
                      <a:pt x="22" y="191"/>
                    </a:lnTo>
                    <a:lnTo>
                      <a:pt x="22" y="190"/>
                    </a:lnTo>
                    <a:lnTo>
                      <a:pt x="22" y="190"/>
                    </a:lnTo>
                    <a:lnTo>
                      <a:pt x="22" y="190"/>
                    </a:lnTo>
                    <a:lnTo>
                      <a:pt x="22" y="185"/>
                    </a:lnTo>
                    <a:lnTo>
                      <a:pt x="24" y="182"/>
                    </a:lnTo>
                    <a:lnTo>
                      <a:pt x="24" y="179"/>
                    </a:lnTo>
                    <a:lnTo>
                      <a:pt x="24" y="176"/>
                    </a:lnTo>
                    <a:lnTo>
                      <a:pt x="24" y="174"/>
                    </a:lnTo>
                    <a:lnTo>
                      <a:pt x="24" y="173"/>
                    </a:lnTo>
                    <a:lnTo>
                      <a:pt x="19" y="168"/>
                    </a:lnTo>
                    <a:lnTo>
                      <a:pt x="21" y="166"/>
                    </a:lnTo>
                    <a:lnTo>
                      <a:pt x="19" y="166"/>
                    </a:lnTo>
                    <a:lnTo>
                      <a:pt x="19" y="165"/>
                    </a:lnTo>
                    <a:lnTo>
                      <a:pt x="17" y="163"/>
                    </a:lnTo>
                    <a:lnTo>
                      <a:pt x="17" y="163"/>
                    </a:lnTo>
                    <a:lnTo>
                      <a:pt x="19" y="162"/>
                    </a:lnTo>
                    <a:lnTo>
                      <a:pt x="21" y="163"/>
                    </a:lnTo>
                    <a:lnTo>
                      <a:pt x="21" y="162"/>
                    </a:lnTo>
                    <a:lnTo>
                      <a:pt x="19" y="160"/>
                    </a:lnTo>
                    <a:lnTo>
                      <a:pt x="19" y="160"/>
                    </a:lnTo>
                    <a:lnTo>
                      <a:pt x="21" y="158"/>
                    </a:lnTo>
                    <a:lnTo>
                      <a:pt x="19" y="158"/>
                    </a:lnTo>
                    <a:lnTo>
                      <a:pt x="19" y="160"/>
                    </a:lnTo>
                    <a:lnTo>
                      <a:pt x="17" y="160"/>
                    </a:lnTo>
                    <a:lnTo>
                      <a:pt x="17" y="158"/>
                    </a:lnTo>
                    <a:lnTo>
                      <a:pt x="16" y="158"/>
                    </a:lnTo>
                    <a:lnTo>
                      <a:pt x="16" y="160"/>
                    </a:lnTo>
                    <a:lnTo>
                      <a:pt x="16" y="162"/>
                    </a:lnTo>
                    <a:lnTo>
                      <a:pt x="16" y="162"/>
                    </a:lnTo>
                    <a:lnTo>
                      <a:pt x="14" y="162"/>
                    </a:lnTo>
                    <a:lnTo>
                      <a:pt x="13" y="162"/>
                    </a:lnTo>
                    <a:lnTo>
                      <a:pt x="13" y="160"/>
                    </a:lnTo>
                    <a:lnTo>
                      <a:pt x="13" y="160"/>
                    </a:lnTo>
                    <a:lnTo>
                      <a:pt x="10" y="160"/>
                    </a:lnTo>
                    <a:lnTo>
                      <a:pt x="8" y="158"/>
                    </a:lnTo>
                    <a:lnTo>
                      <a:pt x="8" y="155"/>
                    </a:lnTo>
                    <a:lnTo>
                      <a:pt x="7" y="155"/>
                    </a:lnTo>
                    <a:lnTo>
                      <a:pt x="7" y="154"/>
                    </a:lnTo>
                    <a:lnTo>
                      <a:pt x="7" y="152"/>
                    </a:lnTo>
                    <a:lnTo>
                      <a:pt x="7" y="151"/>
                    </a:lnTo>
                    <a:lnTo>
                      <a:pt x="7" y="151"/>
                    </a:lnTo>
                    <a:lnTo>
                      <a:pt x="5" y="151"/>
                    </a:lnTo>
                    <a:lnTo>
                      <a:pt x="5" y="151"/>
                    </a:lnTo>
                    <a:lnTo>
                      <a:pt x="3" y="151"/>
                    </a:lnTo>
                    <a:lnTo>
                      <a:pt x="3" y="149"/>
                    </a:lnTo>
                    <a:lnTo>
                      <a:pt x="2" y="149"/>
                    </a:lnTo>
                    <a:lnTo>
                      <a:pt x="2" y="151"/>
                    </a:lnTo>
                    <a:lnTo>
                      <a:pt x="2" y="151"/>
                    </a:lnTo>
                    <a:lnTo>
                      <a:pt x="0" y="151"/>
                    </a:lnTo>
                    <a:lnTo>
                      <a:pt x="0" y="151"/>
                    </a:lnTo>
                    <a:lnTo>
                      <a:pt x="0" y="149"/>
                    </a:lnTo>
                    <a:lnTo>
                      <a:pt x="0" y="148"/>
                    </a:lnTo>
                    <a:lnTo>
                      <a:pt x="0" y="148"/>
                    </a:lnTo>
                    <a:lnTo>
                      <a:pt x="0" y="146"/>
                    </a:lnTo>
                    <a:lnTo>
                      <a:pt x="2" y="144"/>
                    </a:lnTo>
                    <a:lnTo>
                      <a:pt x="3" y="141"/>
                    </a:lnTo>
                    <a:lnTo>
                      <a:pt x="5" y="140"/>
                    </a:lnTo>
                    <a:lnTo>
                      <a:pt x="5" y="135"/>
                    </a:lnTo>
                    <a:lnTo>
                      <a:pt x="7" y="132"/>
                    </a:lnTo>
                    <a:lnTo>
                      <a:pt x="7" y="129"/>
                    </a:lnTo>
                    <a:lnTo>
                      <a:pt x="8" y="127"/>
                    </a:lnTo>
                    <a:lnTo>
                      <a:pt x="10" y="126"/>
                    </a:lnTo>
                    <a:lnTo>
                      <a:pt x="13" y="122"/>
                    </a:lnTo>
                    <a:lnTo>
                      <a:pt x="14" y="119"/>
                    </a:lnTo>
                    <a:lnTo>
                      <a:pt x="16" y="118"/>
                    </a:lnTo>
                    <a:lnTo>
                      <a:pt x="16" y="118"/>
                    </a:lnTo>
                    <a:lnTo>
                      <a:pt x="17" y="116"/>
                    </a:lnTo>
                    <a:lnTo>
                      <a:pt x="19" y="116"/>
                    </a:lnTo>
                    <a:lnTo>
                      <a:pt x="21" y="113"/>
                    </a:lnTo>
                    <a:lnTo>
                      <a:pt x="22" y="112"/>
                    </a:lnTo>
                    <a:lnTo>
                      <a:pt x="22" y="112"/>
                    </a:lnTo>
                    <a:lnTo>
                      <a:pt x="24" y="112"/>
                    </a:lnTo>
                    <a:lnTo>
                      <a:pt x="25" y="108"/>
                    </a:lnTo>
                    <a:lnTo>
                      <a:pt x="28" y="107"/>
                    </a:lnTo>
                    <a:lnTo>
                      <a:pt x="28" y="108"/>
                    </a:lnTo>
                    <a:lnTo>
                      <a:pt x="28" y="108"/>
                    </a:lnTo>
                    <a:lnTo>
                      <a:pt x="28" y="110"/>
                    </a:lnTo>
                    <a:lnTo>
                      <a:pt x="30" y="110"/>
                    </a:lnTo>
                    <a:lnTo>
                      <a:pt x="33" y="110"/>
                    </a:lnTo>
                    <a:lnTo>
                      <a:pt x="33" y="110"/>
                    </a:lnTo>
                    <a:lnTo>
                      <a:pt x="35" y="108"/>
                    </a:lnTo>
                    <a:lnTo>
                      <a:pt x="35" y="107"/>
                    </a:lnTo>
                    <a:lnTo>
                      <a:pt x="36" y="107"/>
                    </a:lnTo>
                    <a:lnTo>
                      <a:pt x="36" y="107"/>
                    </a:lnTo>
                    <a:lnTo>
                      <a:pt x="38" y="108"/>
                    </a:lnTo>
                    <a:lnTo>
                      <a:pt x="41" y="110"/>
                    </a:lnTo>
                    <a:lnTo>
                      <a:pt x="42" y="112"/>
                    </a:lnTo>
                    <a:lnTo>
                      <a:pt x="42" y="112"/>
                    </a:lnTo>
                    <a:lnTo>
                      <a:pt x="44" y="113"/>
                    </a:lnTo>
                    <a:lnTo>
                      <a:pt x="44" y="116"/>
                    </a:lnTo>
                    <a:lnTo>
                      <a:pt x="44" y="118"/>
                    </a:lnTo>
                    <a:lnTo>
                      <a:pt x="46" y="118"/>
                    </a:lnTo>
                    <a:lnTo>
                      <a:pt x="47" y="118"/>
                    </a:lnTo>
                    <a:lnTo>
                      <a:pt x="49" y="116"/>
                    </a:lnTo>
                    <a:lnTo>
                      <a:pt x="50" y="116"/>
                    </a:lnTo>
                    <a:lnTo>
                      <a:pt x="52" y="115"/>
                    </a:lnTo>
                    <a:lnTo>
                      <a:pt x="52" y="113"/>
                    </a:lnTo>
                    <a:lnTo>
                      <a:pt x="52" y="113"/>
                    </a:lnTo>
                    <a:lnTo>
                      <a:pt x="53" y="110"/>
                    </a:lnTo>
                    <a:lnTo>
                      <a:pt x="53" y="110"/>
                    </a:lnTo>
                    <a:lnTo>
                      <a:pt x="55" y="108"/>
                    </a:lnTo>
                    <a:lnTo>
                      <a:pt x="57" y="107"/>
                    </a:lnTo>
                    <a:lnTo>
                      <a:pt x="58" y="105"/>
                    </a:lnTo>
                    <a:lnTo>
                      <a:pt x="58" y="105"/>
                    </a:lnTo>
                    <a:lnTo>
                      <a:pt x="57" y="104"/>
                    </a:lnTo>
                    <a:lnTo>
                      <a:pt x="57" y="102"/>
                    </a:lnTo>
                    <a:lnTo>
                      <a:pt x="57" y="102"/>
                    </a:lnTo>
                    <a:lnTo>
                      <a:pt x="58" y="101"/>
                    </a:lnTo>
                    <a:lnTo>
                      <a:pt x="61" y="97"/>
                    </a:lnTo>
                    <a:lnTo>
                      <a:pt x="61" y="96"/>
                    </a:lnTo>
                    <a:lnTo>
                      <a:pt x="61" y="94"/>
                    </a:lnTo>
                    <a:lnTo>
                      <a:pt x="63" y="91"/>
                    </a:lnTo>
                    <a:lnTo>
                      <a:pt x="64" y="86"/>
                    </a:lnTo>
                    <a:lnTo>
                      <a:pt x="64" y="85"/>
                    </a:lnTo>
                    <a:lnTo>
                      <a:pt x="66" y="82"/>
                    </a:lnTo>
                    <a:lnTo>
                      <a:pt x="68" y="79"/>
                    </a:lnTo>
                    <a:lnTo>
                      <a:pt x="71" y="79"/>
                    </a:lnTo>
                    <a:lnTo>
                      <a:pt x="72" y="79"/>
                    </a:lnTo>
                    <a:lnTo>
                      <a:pt x="74" y="77"/>
                    </a:lnTo>
                    <a:lnTo>
                      <a:pt x="74" y="76"/>
                    </a:lnTo>
                    <a:lnTo>
                      <a:pt x="75" y="74"/>
                    </a:lnTo>
                    <a:lnTo>
                      <a:pt x="75" y="72"/>
                    </a:lnTo>
                    <a:lnTo>
                      <a:pt x="75" y="69"/>
                    </a:lnTo>
                    <a:lnTo>
                      <a:pt x="75" y="66"/>
                    </a:lnTo>
                    <a:lnTo>
                      <a:pt x="77" y="65"/>
                    </a:lnTo>
                    <a:lnTo>
                      <a:pt x="78" y="63"/>
                    </a:lnTo>
                    <a:lnTo>
                      <a:pt x="82" y="63"/>
                    </a:lnTo>
                    <a:lnTo>
                      <a:pt x="82" y="63"/>
                    </a:lnTo>
                    <a:lnTo>
                      <a:pt x="82" y="61"/>
                    </a:lnTo>
                    <a:lnTo>
                      <a:pt x="82" y="58"/>
                    </a:lnTo>
                    <a:lnTo>
                      <a:pt x="82" y="57"/>
                    </a:lnTo>
                    <a:lnTo>
                      <a:pt x="83" y="55"/>
                    </a:lnTo>
                    <a:lnTo>
                      <a:pt x="83" y="54"/>
                    </a:lnTo>
                    <a:lnTo>
                      <a:pt x="85" y="52"/>
                    </a:lnTo>
                    <a:lnTo>
                      <a:pt x="86" y="47"/>
                    </a:lnTo>
                    <a:lnTo>
                      <a:pt x="88" y="44"/>
                    </a:lnTo>
                    <a:lnTo>
                      <a:pt x="91" y="40"/>
                    </a:lnTo>
                    <a:lnTo>
                      <a:pt x="94" y="35"/>
                    </a:lnTo>
                    <a:lnTo>
                      <a:pt x="96" y="33"/>
                    </a:lnTo>
                    <a:lnTo>
                      <a:pt x="97" y="32"/>
                    </a:lnTo>
                    <a:lnTo>
                      <a:pt x="99" y="32"/>
                    </a:lnTo>
                    <a:lnTo>
                      <a:pt x="99" y="32"/>
                    </a:lnTo>
                    <a:lnTo>
                      <a:pt x="103" y="30"/>
                    </a:lnTo>
                    <a:lnTo>
                      <a:pt x="105" y="29"/>
                    </a:lnTo>
                    <a:lnTo>
                      <a:pt x="105" y="29"/>
                    </a:lnTo>
                    <a:lnTo>
                      <a:pt x="105" y="27"/>
                    </a:lnTo>
                    <a:lnTo>
                      <a:pt x="105" y="27"/>
                    </a:lnTo>
                    <a:lnTo>
                      <a:pt x="105" y="24"/>
                    </a:lnTo>
                    <a:lnTo>
                      <a:pt x="107" y="22"/>
                    </a:lnTo>
                    <a:lnTo>
                      <a:pt x="107" y="19"/>
                    </a:lnTo>
                    <a:lnTo>
                      <a:pt x="107" y="18"/>
                    </a:lnTo>
                    <a:lnTo>
                      <a:pt x="107" y="16"/>
                    </a:lnTo>
                    <a:lnTo>
                      <a:pt x="107" y="14"/>
                    </a:lnTo>
                    <a:lnTo>
                      <a:pt x="105" y="14"/>
                    </a:lnTo>
                    <a:lnTo>
                      <a:pt x="105" y="13"/>
                    </a:lnTo>
                    <a:lnTo>
                      <a:pt x="103" y="13"/>
                    </a:lnTo>
                    <a:lnTo>
                      <a:pt x="100" y="13"/>
                    </a:lnTo>
                    <a:lnTo>
                      <a:pt x="99" y="11"/>
                    </a:lnTo>
                    <a:lnTo>
                      <a:pt x="99" y="11"/>
                    </a:lnTo>
                    <a:lnTo>
                      <a:pt x="99" y="10"/>
                    </a:lnTo>
                    <a:lnTo>
                      <a:pt x="99" y="10"/>
                    </a:lnTo>
                    <a:lnTo>
                      <a:pt x="99" y="8"/>
                    </a:lnTo>
                    <a:lnTo>
                      <a:pt x="97" y="0"/>
                    </a:lnTo>
                    <a:lnTo>
                      <a:pt x="100" y="0"/>
                    </a:lnTo>
                    <a:lnTo>
                      <a:pt x="103" y="0"/>
                    </a:lnTo>
                    <a:lnTo>
                      <a:pt x="105" y="2"/>
                    </a:lnTo>
                    <a:lnTo>
                      <a:pt x="105" y="4"/>
                    </a:lnTo>
                    <a:lnTo>
                      <a:pt x="107" y="7"/>
                    </a:lnTo>
                    <a:lnTo>
                      <a:pt x="110" y="7"/>
                    </a:lnTo>
                    <a:lnTo>
                      <a:pt x="110" y="10"/>
                    </a:lnTo>
                    <a:lnTo>
                      <a:pt x="111" y="14"/>
                    </a:lnTo>
                    <a:lnTo>
                      <a:pt x="113" y="16"/>
                    </a:lnTo>
                    <a:lnTo>
                      <a:pt x="113" y="18"/>
                    </a:lnTo>
                    <a:lnTo>
                      <a:pt x="114" y="21"/>
                    </a:lnTo>
                    <a:lnTo>
                      <a:pt x="114" y="22"/>
                    </a:lnTo>
                    <a:lnTo>
                      <a:pt x="114" y="24"/>
                    </a:lnTo>
                    <a:lnTo>
                      <a:pt x="114" y="25"/>
                    </a:lnTo>
                    <a:lnTo>
                      <a:pt x="116" y="27"/>
                    </a:lnTo>
                    <a:lnTo>
                      <a:pt x="114" y="30"/>
                    </a:lnTo>
                    <a:lnTo>
                      <a:pt x="114" y="32"/>
                    </a:lnTo>
                    <a:lnTo>
                      <a:pt x="114" y="35"/>
                    </a:lnTo>
                    <a:lnTo>
                      <a:pt x="114" y="40"/>
                    </a:lnTo>
                    <a:lnTo>
                      <a:pt x="116" y="43"/>
                    </a:lnTo>
                    <a:lnTo>
                      <a:pt x="116" y="46"/>
                    </a:lnTo>
                    <a:lnTo>
                      <a:pt x="118" y="49"/>
                    </a:lnTo>
                    <a:lnTo>
                      <a:pt x="121" y="50"/>
                    </a:lnTo>
                    <a:lnTo>
                      <a:pt x="122" y="54"/>
                    </a:lnTo>
                    <a:lnTo>
                      <a:pt x="125" y="55"/>
                    </a:lnTo>
                    <a:lnTo>
                      <a:pt x="122" y="55"/>
                    </a:lnTo>
                    <a:lnTo>
                      <a:pt x="119" y="55"/>
                    </a:lnTo>
                    <a:lnTo>
                      <a:pt x="116" y="55"/>
                    </a:lnTo>
                    <a:lnTo>
                      <a:pt x="116" y="55"/>
                    </a:lnTo>
                    <a:lnTo>
                      <a:pt x="114" y="55"/>
                    </a:lnTo>
                    <a:lnTo>
                      <a:pt x="110" y="55"/>
                    </a:lnTo>
                    <a:lnTo>
                      <a:pt x="107" y="55"/>
                    </a:lnTo>
                    <a:lnTo>
                      <a:pt x="102" y="55"/>
                    </a:lnTo>
                    <a:lnTo>
                      <a:pt x="100" y="55"/>
                    </a:lnTo>
                    <a:lnTo>
                      <a:pt x="99" y="57"/>
                    </a:lnTo>
                    <a:lnTo>
                      <a:pt x="97" y="58"/>
                    </a:lnTo>
                    <a:lnTo>
                      <a:pt x="96" y="60"/>
                    </a:lnTo>
                    <a:lnTo>
                      <a:pt x="96" y="61"/>
                    </a:lnTo>
                    <a:lnTo>
                      <a:pt x="97" y="63"/>
                    </a:lnTo>
                    <a:lnTo>
                      <a:pt x="99" y="65"/>
                    </a:lnTo>
                    <a:lnTo>
                      <a:pt x="100" y="68"/>
                    </a:lnTo>
                    <a:lnTo>
                      <a:pt x="102" y="69"/>
                    </a:lnTo>
                    <a:lnTo>
                      <a:pt x="105" y="72"/>
                    </a:lnTo>
                    <a:lnTo>
                      <a:pt x="108" y="74"/>
                    </a:lnTo>
                    <a:lnTo>
                      <a:pt x="110" y="76"/>
                    </a:lnTo>
                    <a:lnTo>
                      <a:pt x="110" y="76"/>
                    </a:lnTo>
                    <a:lnTo>
                      <a:pt x="111" y="76"/>
                    </a:lnTo>
                    <a:lnTo>
                      <a:pt x="113" y="77"/>
                    </a:lnTo>
                    <a:lnTo>
                      <a:pt x="114" y="80"/>
                    </a:lnTo>
                    <a:lnTo>
                      <a:pt x="118" y="85"/>
                    </a:lnTo>
                    <a:lnTo>
                      <a:pt x="119" y="88"/>
                    </a:lnTo>
                    <a:lnTo>
                      <a:pt x="121" y="93"/>
                    </a:lnTo>
                    <a:lnTo>
                      <a:pt x="122" y="93"/>
                    </a:lnTo>
                    <a:lnTo>
                      <a:pt x="122" y="94"/>
                    </a:lnTo>
                    <a:lnTo>
                      <a:pt x="122" y="94"/>
                    </a:lnTo>
                    <a:lnTo>
                      <a:pt x="122" y="96"/>
                    </a:lnTo>
                    <a:lnTo>
                      <a:pt x="122" y="97"/>
                    </a:lnTo>
                    <a:lnTo>
                      <a:pt x="122" y="9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19" name="Freeform 46">
                <a:extLst>
                  <a:ext uri="{FF2B5EF4-FFF2-40B4-BE49-F238E27FC236}">
                    <a16:creationId xmlns:a16="http://schemas.microsoft.com/office/drawing/2014/main" id="{A036197C-F665-A080-A0F3-7211E94F78E4}"/>
                  </a:ext>
                </a:extLst>
              </p:cNvPr>
              <p:cNvSpPr>
                <a:spLocks noEditPoints="1"/>
              </p:cNvSpPr>
              <p:nvPr/>
            </p:nvSpPr>
            <p:spPr bwMode="gray">
              <a:xfrm>
                <a:off x="3967" y="463"/>
                <a:ext cx="1074" cy="791"/>
              </a:xfrm>
              <a:custGeom>
                <a:avLst/>
                <a:gdLst>
                  <a:gd name="T0" fmla="*/ 1005 w 1074"/>
                  <a:gd name="T1" fmla="*/ 157 h 791"/>
                  <a:gd name="T2" fmla="*/ 969 w 1074"/>
                  <a:gd name="T3" fmla="*/ 116 h 791"/>
                  <a:gd name="T4" fmla="*/ 932 w 1074"/>
                  <a:gd name="T5" fmla="*/ 52 h 791"/>
                  <a:gd name="T6" fmla="*/ 900 w 1074"/>
                  <a:gd name="T7" fmla="*/ 14 h 791"/>
                  <a:gd name="T8" fmla="*/ 825 w 1074"/>
                  <a:gd name="T9" fmla="*/ 30 h 791"/>
                  <a:gd name="T10" fmla="*/ 766 w 1074"/>
                  <a:gd name="T11" fmla="*/ 111 h 791"/>
                  <a:gd name="T12" fmla="*/ 770 w 1074"/>
                  <a:gd name="T13" fmla="*/ 160 h 791"/>
                  <a:gd name="T14" fmla="*/ 802 w 1074"/>
                  <a:gd name="T15" fmla="*/ 191 h 791"/>
                  <a:gd name="T16" fmla="*/ 752 w 1074"/>
                  <a:gd name="T17" fmla="*/ 202 h 791"/>
                  <a:gd name="T18" fmla="*/ 686 w 1074"/>
                  <a:gd name="T19" fmla="*/ 235 h 791"/>
                  <a:gd name="T20" fmla="*/ 650 w 1074"/>
                  <a:gd name="T21" fmla="*/ 280 h 791"/>
                  <a:gd name="T22" fmla="*/ 542 w 1074"/>
                  <a:gd name="T23" fmla="*/ 307 h 791"/>
                  <a:gd name="T24" fmla="*/ 386 w 1074"/>
                  <a:gd name="T25" fmla="*/ 258 h 791"/>
                  <a:gd name="T26" fmla="*/ 301 w 1074"/>
                  <a:gd name="T27" fmla="*/ 222 h 791"/>
                  <a:gd name="T28" fmla="*/ 287 w 1074"/>
                  <a:gd name="T29" fmla="*/ 158 h 791"/>
                  <a:gd name="T30" fmla="*/ 250 w 1074"/>
                  <a:gd name="T31" fmla="*/ 129 h 791"/>
                  <a:gd name="T32" fmla="*/ 209 w 1074"/>
                  <a:gd name="T33" fmla="*/ 179 h 791"/>
                  <a:gd name="T34" fmla="*/ 154 w 1074"/>
                  <a:gd name="T35" fmla="*/ 227 h 791"/>
                  <a:gd name="T36" fmla="*/ 125 w 1074"/>
                  <a:gd name="T37" fmla="*/ 269 h 791"/>
                  <a:gd name="T38" fmla="*/ 79 w 1074"/>
                  <a:gd name="T39" fmla="*/ 326 h 791"/>
                  <a:gd name="T40" fmla="*/ 7 w 1074"/>
                  <a:gd name="T41" fmla="*/ 349 h 791"/>
                  <a:gd name="T42" fmla="*/ 23 w 1074"/>
                  <a:gd name="T43" fmla="*/ 398 h 791"/>
                  <a:gd name="T44" fmla="*/ 42 w 1074"/>
                  <a:gd name="T45" fmla="*/ 431 h 791"/>
                  <a:gd name="T46" fmla="*/ 83 w 1074"/>
                  <a:gd name="T47" fmla="*/ 470 h 791"/>
                  <a:gd name="T48" fmla="*/ 95 w 1074"/>
                  <a:gd name="T49" fmla="*/ 515 h 791"/>
                  <a:gd name="T50" fmla="*/ 101 w 1074"/>
                  <a:gd name="T51" fmla="*/ 543 h 791"/>
                  <a:gd name="T52" fmla="*/ 173 w 1074"/>
                  <a:gd name="T53" fmla="*/ 578 h 791"/>
                  <a:gd name="T54" fmla="*/ 226 w 1074"/>
                  <a:gd name="T55" fmla="*/ 606 h 791"/>
                  <a:gd name="T56" fmla="*/ 272 w 1074"/>
                  <a:gd name="T57" fmla="*/ 612 h 791"/>
                  <a:gd name="T58" fmla="*/ 326 w 1074"/>
                  <a:gd name="T59" fmla="*/ 607 h 791"/>
                  <a:gd name="T60" fmla="*/ 383 w 1074"/>
                  <a:gd name="T61" fmla="*/ 584 h 791"/>
                  <a:gd name="T62" fmla="*/ 412 w 1074"/>
                  <a:gd name="T63" fmla="*/ 598 h 791"/>
                  <a:gd name="T64" fmla="*/ 439 w 1074"/>
                  <a:gd name="T65" fmla="*/ 637 h 791"/>
                  <a:gd name="T66" fmla="*/ 425 w 1074"/>
                  <a:gd name="T67" fmla="*/ 683 h 791"/>
                  <a:gd name="T68" fmla="*/ 461 w 1074"/>
                  <a:gd name="T69" fmla="*/ 720 h 791"/>
                  <a:gd name="T70" fmla="*/ 494 w 1074"/>
                  <a:gd name="T71" fmla="*/ 734 h 791"/>
                  <a:gd name="T72" fmla="*/ 519 w 1074"/>
                  <a:gd name="T73" fmla="*/ 708 h 791"/>
                  <a:gd name="T74" fmla="*/ 567 w 1074"/>
                  <a:gd name="T75" fmla="*/ 703 h 791"/>
                  <a:gd name="T76" fmla="*/ 603 w 1074"/>
                  <a:gd name="T77" fmla="*/ 729 h 791"/>
                  <a:gd name="T78" fmla="*/ 633 w 1074"/>
                  <a:gd name="T79" fmla="*/ 737 h 791"/>
                  <a:gd name="T80" fmla="*/ 661 w 1074"/>
                  <a:gd name="T81" fmla="*/ 729 h 791"/>
                  <a:gd name="T82" fmla="*/ 702 w 1074"/>
                  <a:gd name="T83" fmla="*/ 714 h 791"/>
                  <a:gd name="T84" fmla="*/ 730 w 1074"/>
                  <a:gd name="T85" fmla="*/ 704 h 791"/>
                  <a:gd name="T86" fmla="*/ 780 w 1074"/>
                  <a:gd name="T87" fmla="*/ 678 h 791"/>
                  <a:gd name="T88" fmla="*/ 803 w 1074"/>
                  <a:gd name="T89" fmla="*/ 645 h 791"/>
                  <a:gd name="T90" fmla="*/ 828 w 1074"/>
                  <a:gd name="T91" fmla="*/ 606 h 791"/>
                  <a:gd name="T92" fmla="*/ 849 w 1074"/>
                  <a:gd name="T93" fmla="*/ 567 h 791"/>
                  <a:gd name="T94" fmla="*/ 828 w 1074"/>
                  <a:gd name="T95" fmla="*/ 523 h 791"/>
                  <a:gd name="T96" fmla="*/ 813 w 1074"/>
                  <a:gd name="T97" fmla="*/ 446 h 791"/>
                  <a:gd name="T98" fmla="*/ 858 w 1074"/>
                  <a:gd name="T99" fmla="*/ 417 h 791"/>
                  <a:gd name="T100" fmla="*/ 791 w 1074"/>
                  <a:gd name="T101" fmla="*/ 393 h 791"/>
                  <a:gd name="T102" fmla="*/ 853 w 1074"/>
                  <a:gd name="T103" fmla="*/ 341 h 791"/>
                  <a:gd name="T104" fmla="*/ 867 w 1074"/>
                  <a:gd name="T105" fmla="*/ 357 h 791"/>
                  <a:gd name="T106" fmla="*/ 922 w 1074"/>
                  <a:gd name="T107" fmla="*/ 326 h 791"/>
                  <a:gd name="T108" fmla="*/ 960 w 1074"/>
                  <a:gd name="T109" fmla="*/ 312 h 791"/>
                  <a:gd name="T110" fmla="*/ 988 w 1074"/>
                  <a:gd name="T111" fmla="*/ 280 h 791"/>
                  <a:gd name="T112" fmla="*/ 1011 w 1074"/>
                  <a:gd name="T113" fmla="*/ 269 h 791"/>
                  <a:gd name="T114" fmla="*/ 1044 w 1074"/>
                  <a:gd name="T115" fmla="*/ 229 h 791"/>
                  <a:gd name="T116" fmla="*/ 1069 w 1074"/>
                  <a:gd name="T117" fmla="*/ 169 h 791"/>
                  <a:gd name="T118" fmla="*/ 852 w 1074"/>
                  <a:gd name="T119" fmla="*/ 570 h 791"/>
                  <a:gd name="T120" fmla="*/ 686 w 1074"/>
                  <a:gd name="T121" fmla="*/ 726 h 791"/>
                  <a:gd name="T122" fmla="*/ 633 w 1074"/>
                  <a:gd name="T123" fmla="*/ 758 h 791"/>
                  <a:gd name="T124" fmla="*/ 649 w 1074"/>
                  <a:gd name="T125" fmla="*/ 77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4" h="791">
                    <a:moveTo>
                      <a:pt x="1072" y="160"/>
                    </a:moveTo>
                    <a:lnTo>
                      <a:pt x="1071" y="158"/>
                    </a:lnTo>
                    <a:lnTo>
                      <a:pt x="1071" y="155"/>
                    </a:lnTo>
                    <a:lnTo>
                      <a:pt x="1069" y="155"/>
                    </a:lnTo>
                    <a:lnTo>
                      <a:pt x="1071" y="154"/>
                    </a:lnTo>
                    <a:lnTo>
                      <a:pt x="1071" y="152"/>
                    </a:lnTo>
                    <a:lnTo>
                      <a:pt x="1072" y="151"/>
                    </a:lnTo>
                    <a:lnTo>
                      <a:pt x="1072" y="149"/>
                    </a:lnTo>
                    <a:lnTo>
                      <a:pt x="1072" y="149"/>
                    </a:lnTo>
                    <a:lnTo>
                      <a:pt x="1069" y="147"/>
                    </a:lnTo>
                    <a:lnTo>
                      <a:pt x="1069" y="147"/>
                    </a:lnTo>
                    <a:lnTo>
                      <a:pt x="1068" y="146"/>
                    </a:lnTo>
                    <a:lnTo>
                      <a:pt x="1066" y="146"/>
                    </a:lnTo>
                    <a:lnTo>
                      <a:pt x="1064" y="146"/>
                    </a:lnTo>
                    <a:lnTo>
                      <a:pt x="1063" y="146"/>
                    </a:lnTo>
                    <a:lnTo>
                      <a:pt x="1057" y="147"/>
                    </a:lnTo>
                    <a:lnTo>
                      <a:pt x="1053" y="151"/>
                    </a:lnTo>
                    <a:lnTo>
                      <a:pt x="1052" y="152"/>
                    </a:lnTo>
                    <a:lnTo>
                      <a:pt x="1052" y="152"/>
                    </a:lnTo>
                    <a:lnTo>
                      <a:pt x="1050" y="152"/>
                    </a:lnTo>
                    <a:lnTo>
                      <a:pt x="1050" y="152"/>
                    </a:lnTo>
                    <a:lnTo>
                      <a:pt x="1047" y="152"/>
                    </a:lnTo>
                    <a:lnTo>
                      <a:pt x="1044" y="152"/>
                    </a:lnTo>
                    <a:lnTo>
                      <a:pt x="1043" y="154"/>
                    </a:lnTo>
                    <a:lnTo>
                      <a:pt x="1043" y="154"/>
                    </a:lnTo>
                    <a:lnTo>
                      <a:pt x="1039" y="155"/>
                    </a:lnTo>
                    <a:lnTo>
                      <a:pt x="1038" y="157"/>
                    </a:lnTo>
                    <a:lnTo>
                      <a:pt x="1038" y="157"/>
                    </a:lnTo>
                    <a:lnTo>
                      <a:pt x="1038" y="157"/>
                    </a:lnTo>
                    <a:lnTo>
                      <a:pt x="1036" y="158"/>
                    </a:lnTo>
                    <a:lnTo>
                      <a:pt x="1035" y="161"/>
                    </a:lnTo>
                    <a:lnTo>
                      <a:pt x="1035" y="161"/>
                    </a:lnTo>
                    <a:lnTo>
                      <a:pt x="1033" y="163"/>
                    </a:lnTo>
                    <a:lnTo>
                      <a:pt x="1032" y="163"/>
                    </a:lnTo>
                    <a:lnTo>
                      <a:pt x="1027" y="163"/>
                    </a:lnTo>
                    <a:lnTo>
                      <a:pt x="1021" y="163"/>
                    </a:lnTo>
                    <a:lnTo>
                      <a:pt x="1018" y="163"/>
                    </a:lnTo>
                    <a:lnTo>
                      <a:pt x="1018" y="163"/>
                    </a:lnTo>
                    <a:lnTo>
                      <a:pt x="1016" y="163"/>
                    </a:lnTo>
                    <a:lnTo>
                      <a:pt x="1013" y="163"/>
                    </a:lnTo>
                    <a:lnTo>
                      <a:pt x="1010" y="163"/>
                    </a:lnTo>
                    <a:lnTo>
                      <a:pt x="1007" y="163"/>
                    </a:lnTo>
                    <a:lnTo>
                      <a:pt x="1007" y="163"/>
                    </a:lnTo>
                    <a:lnTo>
                      <a:pt x="1007" y="161"/>
                    </a:lnTo>
                    <a:lnTo>
                      <a:pt x="1005" y="160"/>
                    </a:lnTo>
                    <a:lnTo>
                      <a:pt x="1005" y="157"/>
                    </a:lnTo>
                    <a:lnTo>
                      <a:pt x="1002" y="155"/>
                    </a:lnTo>
                    <a:lnTo>
                      <a:pt x="1002" y="152"/>
                    </a:lnTo>
                    <a:lnTo>
                      <a:pt x="1003" y="149"/>
                    </a:lnTo>
                    <a:lnTo>
                      <a:pt x="1003" y="146"/>
                    </a:lnTo>
                    <a:lnTo>
                      <a:pt x="1003" y="146"/>
                    </a:lnTo>
                    <a:lnTo>
                      <a:pt x="1003" y="144"/>
                    </a:lnTo>
                    <a:lnTo>
                      <a:pt x="1003" y="144"/>
                    </a:lnTo>
                    <a:lnTo>
                      <a:pt x="1002" y="143"/>
                    </a:lnTo>
                    <a:lnTo>
                      <a:pt x="1000" y="140"/>
                    </a:lnTo>
                    <a:lnTo>
                      <a:pt x="1000" y="140"/>
                    </a:lnTo>
                    <a:lnTo>
                      <a:pt x="999" y="140"/>
                    </a:lnTo>
                    <a:lnTo>
                      <a:pt x="1000" y="138"/>
                    </a:lnTo>
                    <a:lnTo>
                      <a:pt x="1000" y="135"/>
                    </a:lnTo>
                    <a:lnTo>
                      <a:pt x="999" y="132"/>
                    </a:lnTo>
                    <a:lnTo>
                      <a:pt x="999" y="132"/>
                    </a:lnTo>
                    <a:lnTo>
                      <a:pt x="996" y="132"/>
                    </a:lnTo>
                    <a:lnTo>
                      <a:pt x="992" y="132"/>
                    </a:lnTo>
                    <a:lnTo>
                      <a:pt x="991" y="130"/>
                    </a:lnTo>
                    <a:lnTo>
                      <a:pt x="986" y="124"/>
                    </a:lnTo>
                    <a:lnTo>
                      <a:pt x="986" y="124"/>
                    </a:lnTo>
                    <a:lnTo>
                      <a:pt x="983" y="121"/>
                    </a:lnTo>
                    <a:lnTo>
                      <a:pt x="983" y="121"/>
                    </a:lnTo>
                    <a:lnTo>
                      <a:pt x="983" y="121"/>
                    </a:lnTo>
                    <a:lnTo>
                      <a:pt x="983" y="121"/>
                    </a:lnTo>
                    <a:lnTo>
                      <a:pt x="983" y="121"/>
                    </a:lnTo>
                    <a:lnTo>
                      <a:pt x="983" y="121"/>
                    </a:lnTo>
                    <a:lnTo>
                      <a:pt x="982" y="121"/>
                    </a:lnTo>
                    <a:lnTo>
                      <a:pt x="982" y="118"/>
                    </a:lnTo>
                    <a:lnTo>
                      <a:pt x="980" y="118"/>
                    </a:lnTo>
                    <a:lnTo>
                      <a:pt x="980" y="118"/>
                    </a:lnTo>
                    <a:lnTo>
                      <a:pt x="978" y="118"/>
                    </a:lnTo>
                    <a:lnTo>
                      <a:pt x="978" y="119"/>
                    </a:lnTo>
                    <a:lnTo>
                      <a:pt x="977" y="119"/>
                    </a:lnTo>
                    <a:lnTo>
                      <a:pt x="977" y="119"/>
                    </a:lnTo>
                    <a:lnTo>
                      <a:pt x="977" y="119"/>
                    </a:lnTo>
                    <a:lnTo>
                      <a:pt x="977" y="119"/>
                    </a:lnTo>
                    <a:lnTo>
                      <a:pt x="975" y="119"/>
                    </a:lnTo>
                    <a:lnTo>
                      <a:pt x="974" y="119"/>
                    </a:lnTo>
                    <a:lnTo>
                      <a:pt x="974" y="119"/>
                    </a:lnTo>
                    <a:lnTo>
                      <a:pt x="974" y="119"/>
                    </a:lnTo>
                    <a:lnTo>
                      <a:pt x="972" y="118"/>
                    </a:lnTo>
                    <a:lnTo>
                      <a:pt x="972" y="118"/>
                    </a:lnTo>
                    <a:lnTo>
                      <a:pt x="971" y="116"/>
                    </a:lnTo>
                    <a:lnTo>
                      <a:pt x="971" y="116"/>
                    </a:lnTo>
                    <a:lnTo>
                      <a:pt x="969" y="116"/>
                    </a:lnTo>
                    <a:lnTo>
                      <a:pt x="969" y="116"/>
                    </a:lnTo>
                    <a:lnTo>
                      <a:pt x="967" y="116"/>
                    </a:lnTo>
                    <a:lnTo>
                      <a:pt x="969" y="115"/>
                    </a:lnTo>
                    <a:lnTo>
                      <a:pt x="967" y="113"/>
                    </a:lnTo>
                    <a:lnTo>
                      <a:pt x="967" y="113"/>
                    </a:lnTo>
                    <a:lnTo>
                      <a:pt x="967" y="113"/>
                    </a:lnTo>
                    <a:lnTo>
                      <a:pt x="964" y="113"/>
                    </a:lnTo>
                    <a:lnTo>
                      <a:pt x="958" y="115"/>
                    </a:lnTo>
                    <a:lnTo>
                      <a:pt x="955" y="113"/>
                    </a:lnTo>
                    <a:lnTo>
                      <a:pt x="952" y="111"/>
                    </a:lnTo>
                    <a:lnTo>
                      <a:pt x="949" y="111"/>
                    </a:lnTo>
                    <a:lnTo>
                      <a:pt x="949" y="110"/>
                    </a:lnTo>
                    <a:lnTo>
                      <a:pt x="949" y="108"/>
                    </a:lnTo>
                    <a:lnTo>
                      <a:pt x="949" y="108"/>
                    </a:lnTo>
                    <a:lnTo>
                      <a:pt x="947" y="107"/>
                    </a:lnTo>
                    <a:lnTo>
                      <a:pt x="946" y="105"/>
                    </a:lnTo>
                    <a:lnTo>
                      <a:pt x="946" y="102"/>
                    </a:lnTo>
                    <a:lnTo>
                      <a:pt x="946" y="100"/>
                    </a:lnTo>
                    <a:lnTo>
                      <a:pt x="947" y="96"/>
                    </a:lnTo>
                    <a:lnTo>
                      <a:pt x="947" y="96"/>
                    </a:lnTo>
                    <a:lnTo>
                      <a:pt x="944" y="94"/>
                    </a:lnTo>
                    <a:lnTo>
                      <a:pt x="942" y="93"/>
                    </a:lnTo>
                    <a:lnTo>
                      <a:pt x="942" y="91"/>
                    </a:lnTo>
                    <a:lnTo>
                      <a:pt x="942" y="89"/>
                    </a:lnTo>
                    <a:lnTo>
                      <a:pt x="942" y="89"/>
                    </a:lnTo>
                    <a:lnTo>
                      <a:pt x="942" y="88"/>
                    </a:lnTo>
                    <a:lnTo>
                      <a:pt x="942" y="86"/>
                    </a:lnTo>
                    <a:lnTo>
                      <a:pt x="942" y="85"/>
                    </a:lnTo>
                    <a:lnTo>
                      <a:pt x="942" y="82"/>
                    </a:lnTo>
                    <a:lnTo>
                      <a:pt x="941" y="79"/>
                    </a:lnTo>
                    <a:lnTo>
                      <a:pt x="938" y="75"/>
                    </a:lnTo>
                    <a:lnTo>
                      <a:pt x="938" y="75"/>
                    </a:lnTo>
                    <a:lnTo>
                      <a:pt x="936" y="72"/>
                    </a:lnTo>
                    <a:lnTo>
                      <a:pt x="935" y="69"/>
                    </a:lnTo>
                    <a:lnTo>
                      <a:pt x="935" y="68"/>
                    </a:lnTo>
                    <a:lnTo>
                      <a:pt x="935" y="68"/>
                    </a:lnTo>
                    <a:lnTo>
                      <a:pt x="935" y="66"/>
                    </a:lnTo>
                    <a:lnTo>
                      <a:pt x="935" y="64"/>
                    </a:lnTo>
                    <a:lnTo>
                      <a:pt x="935" y="63"/>
                    </a:lnTo>
                    <a:lnTo>
                      <a:pt x="933" y="61"/>
                    </a:lnTo>
                    <a:lnTo>
                      <a:pt x="933" y="60"/>
                    </a:lnTo>
                    <a:lnTo>
                      <a:pt x="933" y="60"/>
                    </a:lnTo>
                    <a:lnTo>
                      <a:pt x="933" y="60"/>
                    </a:lnTo>
                    <a:lnTo>
                      <a:pt x="932" y="58"/>
                    </a:lnTo>
                    <a:lnTo>
                      <a:pt x="932" y="57"/>
                    </a:lnTo>
                    <a:lnTo>
                      <a:pt x="932" y="55"/>
                    </a:lnTo>
                    <a:lnTo>
                      <a:pt x="932" y="52"/>
                    </a:lnTo>
                    <a:lnTo>
                      <a:pt x="928" y="49"/>
                    </a:lnTo>
                    <a:lnTo>
                      <a:pt x="928" y="46"/>
                    </a:lnTo>
                    <a:lnTo>
                      <a:pt x="927" y="43"/>
                    </a:lnTo>
                    <a:lnTo>
                      <a:pt x="927" y="41"/>
                    </a:lnTo>
                    <a:lnTo>
                      <a:pt x="927" y="39"/>
                    </a:lnTo>
                    <a:lnTo>
                      <a:pt x="927" y="38"/>
                    </a:lnTo>
                    <a:lnTo>
                      <a:pt x="927" y="38"/>
                    </a:lnTo>
                    <a:lnTo>
                      <a:pt x="925" y="38"/>
                    </a:lnTo>
                    <a:lnTo>
                      <a:pt x="925" y="36"/>
                    </a:lnTo>
                    <a:lnTo>
                      <a:pt x="925" y="36"/>
                    </a:lnTo>
                    <a:lnTo>
                      <a:pt x="925" y="36"/>
                    </a:lnTo>
                    <a:lnTo>
                      <a:pt x="925" y="35"/>
                    </a:lnTo>
                    <a:lnTo>
                      <a:pt x="925" y="35"/>
                    </a:lnTo>
                    <a:lnTo>
                      <a:pt x="924" y="33"/>
                    </a:lnTo>
                    <a:lnTo>
                      <a:pt x="924" y="32"/>
                    </a:lnTo>
                    <a:lnTo>
                      <a:pt x="922" y="32"/>
                    </a:lnTo>
                    <a:lnTo>
                      <a:pt x="922" y="30"/>
                    </a:lnTo>
                    <a:lnTo>
                      <a:pt x="921" y="30"/>
                    </a:lnTo>
                    <a:lnTo>
                      <a:pt x="919" y="28"/>
                    </a:lnTo>
                    <a:lnTo>
                      <a:pt x="921" y="28"/>
                    </a:lnTo>
                    <a:lnTo>
                      <a:pt x="921" y="27"/>
                    </a:lnTo>
                    <a:lnTo>
                      <a:pt x="921" y="27"/>
                    </a:lnTo>
                    <a:lnTo>
                      <a:pt x="921" y="25"/>
                    </a:lnTo>
                    <a:lnTo>
                      <a:pt x="921" y="25"/>
                    </a:lnTo>
                    <a:lnTo>
                      <a:pt x="919" y="24"/>
                    </a:lnTo>
                    <a:lnTo>
                      <a:pt x="919" y="24"/>
                    </a:lnTo>
                    <a:lnTo>
                      <a:pt x="919" y="24"/>
                    </a:lnTo>
                    <a:lnTo>
                      <a:pt x="917" y="21"/>
                    </a:lnTo>
                    <a:lnTo>
                      <a:pt x="916" y="21"/>
                    </a:lnTo>
                    <a:lnTo>
                      <a:pt x="914" y="21"/>
                    </a:lnTo>
                    <a:lnTo>
                      <a:pt x="914" y="19"/>
                    </a:lnTo>
                    <a:lnTo>
                      <a:pt x="914" y="19"/>
                    </a:lnTo>
                    <a:lnTo>
                      <a:pt x="914" y="18"/>
                    </a:lnTo>
                    <a:lnTo>
                      <a:pt x="913" y="16"/>
                    </a:lnTo>
                    <a:lnTo>
                      <a:pt x="913" y="16"/>
                    </a:lnTo>
                    <a:lnTo>
                      <a:pt x="913" y="16"/>
                    </a:lnTo>
                    <a:lnTo>
                      <a:pt x="911" y="16"/>
                    </a:lnTo>
                    <a:lnTo>
                      <a:pt x="910" y="14"/>
                    </a:lnTo>
                    <a:lnTo>
                      <a:pt x="906" y="13"/>
                    </a:lnTo>
                    <a:lnTo>
                      <a:pt x="906" y="13"/>
                    </a:lnTo>
                    <a:lnTo>
                      <a:pt x="903" y="11"/>
                    </a:lnTo>
                    <a:lnTo>
                      <a:pt x="903" y="11"/>
                    </a:lnTo>
                    <a:lnTo>
                      <a:pt x="902" y="11"/>
                    </a:lnTo>
                    <a:lnTo>
                      <a:pt x="900" y="13"/>
                    </a:lnTo>
                    <a:lnTo>
                      <a:pt x="900" y="14"/>
                    </a:lnTo>
                    <a:lnTo>
                      <a:pt x="900" y="14"/>
                    </a:lnTo>
                    <a:lnTo>
                      <a:pt x="899" y="13"/>
                    </a:lnTo>
                    <a:lnTo>
                      <a:pt x="896" y="11"/>
                    </a:lnTo>
                    <a:lnTo>
                      <a:pt x="896" y="11"/>
                    </a:lnTo>
                    <a:lnTo>
                      <a:pt x="892" y="11"/>
                    </a:lnTo>
                    <a:lnTo>
                      <a:pt x="891" y="10"/>
                    </a:lnTo>
                    <a:lnTo>
                      <a:pt x="889" y="8"/>
                    </a:lnTo>
                    <a:lnTo>
                      <a:pt x="889" y="8"/>
                    </a:lnTo>
                    <a:lnTo>
                      <a:pt x="888" y="7"/>
                    </a:lnTo>
                    <a:lnTo>
                      <a:pt x="888" y="7"/>
                    </a:lnTo>
                    <a:lnTo>
                      <a:pt x="886" y="7"/>
                    </a:lnTo>
                    <a:lnTo>
                      <a:pt x="885" y="5"/>
                    </a:lnTo>
                    <a:lnTo>
                      <a:pt x="880" y="2"/>
                    </a:lnTo>
                    <a:lnTo>
                      <a:pt x="877" y="2"/>
                    </a:lnTo>
                    <a:lnTo>
                      <a:pt x="877" y="2"/>
                    </a:lnTo>
                    <a:lnTo>
                      <a:pt x="877" y="2"/>
                    </a:lnTo>
                    <a:lnTo>
                      <a:pt x="877" y="2"/>
                    </a:lnTo>
                    <a:lnTo>
                      <a:pt x="875" y="2"/>
                    </a:lnTo>
                    <a:lnTo>
                      <a:pt x="874" y="2"/>
                    </a:lnTo>
                    <a:lnTo>
                      <a:pt x="872" y="0"/>
                    </a:lnTo>
                    <a:lnTo>
                      <a:pt x="869" y="2"/>
                    </a:lnTo>
                    <a:lnTo>
                      <a:pt x="869" y="2"/>
                    </a:lnTo>
                    <a:lnTo>
                      <a:pt x="866" y="3"/>
                    </a:lnTo>
                    <a:lnTo>
                      <a:pt x="866" y="3"/>
                    </a:lnTo>
                    <a:lnTo>
                      <a:pt x="863" y="3"/>
                    </a:lnTo>
                    <a:lnTo>
                      <a:pt x="858" y="3"/>
                    </a:lnTo>
                    <a:lnTo>
                      <a:pt x="858" y="3"/>
                    </a:lnTo>
                    <a:lnTo>
                      <a:pt x="856" y="3"/>
                    </a:lnTo>
                    <a:lnTo>
                      <a:pt x="855" y="3"/>
                    </a:lnTo>
                    <a:lnTo>
                      <a:pt x="850" y="3"/>
                    </a:lnTo>
                    <a:lnTo>
                      <a:pt x="850" y="3"/>
                    </a:lnTo>
                    <a:lnTo>
                      <a:pt x="839" y="8"/>
                    </a:lnTo>
                    <a:lnTo>
                      <a:pt x="833" y="10"/>
                    </a:lnTo>
                    <a:lnTo>
                      <a:pt x="831" y="10"/>
                    </a:lnTo>
                    <a:lnTo>
                      <a:pt x="827" y="13"/>
                    </a:lnTo>
                    <a:lnTo>
                      <a:pt x="822" y="19"/>
                    </a:lnTo>
                    <a:lnTo>
                      <a:pt x="817" y="22"/>
                    </a:lnTo>
                    <a:lnTo>
                      <a:pt x="817" y="22"/>
                    </a:lnTo>
                    <a:lnTo>
                      <a:pt x="816" y="24"/>
                    </a:lnTo>
                    <a:lnTo>
                      <a:pt x="814" y="25"/>
                    </a:lnTo>
                    <a:lnTo>
                      <a:pt x="816" y="28"/>
                    </a:lnTo>
                    <a:lnTo>
                      <a:pt x="817" y="28"/>
                    </a:lnTo>
                    <a:lnTo>
                      <a:pt x="817" y="28"/>
                    </a:lnTo>
                    <a:lnTo>
                      <a:pt x="821" y="28"/>
                    </a:lnTo>
                    <a:lnTo>
                      <a:pt x="824" y="28"/>
                    </a:lnTo>
                    <a:lnTo>
                      <a:pt x="824" y="28"/>
                    </a:lnTo>
                    <a:lnTo>
                      <a:pt x="825" y="30"/>
                    </a:lnTo>
                    <a:lnTo>
                      <a:pt x="827" y="32"/>
                    </a:lnTo>
                    <a:lnTo>
                      <a:pt x="825" y="35"/>
                    </a:lnTo>
                    <a:lnTo>
                      <a:pt x="825" y="38"/>
                    </a:lnTo>
                    <a:lnTo>
                      <a:pt x="827" y="41"/>
                    </a:lnTo>
                    <a:lnTo>
                      <a:pt x="827" y="44"/>
                    </a:lnTo>
                    <a:lnTo>
                      <a:pt x="827" y="47"/>
                    </a:lnTo>
                    <a:lnTo>
                      <a:pt x="824" y="50"/>
                    </a:lnTo>
                    <a:lnTo>
                      <a:pt x="824" y="50"/>
                    </a:lnTo>
                    <a:lnTo>
                      <a:pt x="819" y="53"/>
                    </a:lnTo>
                    <a:lnTo>
                      <a:pt x="816" y="58"/>
                    </a:lnTo>
                    <a:lnTo>
                      <a:pt x="814" y="63"/>
                    </a:lnTo>
                    <a:lnTo>
                      <a:pt x="811" y="68"/>
                    </a:lnTo>
                    <a:lnTo>
                      <a:pt x="811" y="68"/>
                    </a:lnTo>
                    <a:lnTo>
                      <a:pt x="810" y="69"/>
                    </a:lnTo>
                    <a:lnTo>
                      <a:pt x="810" y="71"/>
                    </a:lnTo>
                    <a:lnTo>
                      <a:pt x="810" y="71"/>
                    </a:lnTo>
                    <a:lnTo>
                      <a:pt x="808" y="74"/>
                    </a:lnTo>
                    <a:lnTo>
                      <a:pt x="806" y="75"/>
                    </a:lnTo>
                    <a:lnTo>
                      <a:pt x="805" y="79"/>
                    </a:lnTo>
                    <a:lnTo>
                      <a:pt x="805" y="80"/>
                    </a:lnTo>
                    <a:lnTo>
                      <a:pt x="805" y="80"/>
                    </a:lnTo>
                    <a:lnTo>
                      <a:pt x="805" y="83"/>
                    </a:lnTo>
                    <a:lnTo>
                      <a:pt x="803" y="85"/>
                    </a:lnTo>
                    <a:lnTo>
                      <a:pt x="802" y="86"/>
                    </a:lnTo>
                    <a:lnTo>
                      <a:pt x="802" y="88"/>
                    </a:lnTo>
                    <a:lnTo>
                      <a:pt x="800" y="89"/>
                    </a:lnTo>
                    <a:lnTo>
                      <a:pt x="800" y="89"/>
                    </a:lnTo>
                    <a:lnTo>
                      <a:pt x="800" y="91"/>
                    </a:lnTo>
                    <a:lnTo>
                      <a:pt x="800" y="91"/>
                    </a:lnTo>
                    <a:lnTo>
                      <a:pt x="802" y="93"/>
                    </a:lnTo>
                    <a:lnTo>
                      <a:pt x="803" y="94"/>
                    </a:lnTo>
                    <a:lnTo>
                      <a:pt x="802" y="97"/>
                    </a:lnTo>
                    <a:lnTo>
                      <a:pt x="802" y="97"/>
                    </a:lnTo>
                    <a:lnTo>
                      <a:pt x="802" y="100"/>
                    </a:lnTo>
                    <a:lnTo>
                      <a:pt x="802" y="100"/>
                    </a:lnTo>
                    <a:lnTo>
                      <a:pt x="799" y="102"/>
                    </a:lnTo>
                    <a:lnTo>
                      <a:pt x="795" y="102"/>
                    </a:lnTo>
                    <a:lnTo>
                      <a:pt x="792" y="104"/>
                    </a:lnTo>
                    <a:lnTo>
                      <a:pt x="786" y="107"/>
                    </a:lnTo>
                    <a:lnTo>
                      <a:pt x="781" y="110"/>
                    </a:lnTo>
                    <a:lnTo>
                      <a:pt x="777" y="115"/>
                    </a:lnTo>
                    <a:lnTo>
                      <a:pt x="775" y="115"/>
                    </a:lnTo>
                    <a:lnTo>
                      <a:pt x="774" y="115"/>
                    </a:lnTo>
                    <a:lnTo>
                      <a:pt x="774" y="115"/>
                    </a:lnTo>
                    <a:lnTo>
                      <a:pt x="770" y="113"/>
                    </a:lnTo>
                    <a:lnTo>
                      <a:pt x="766" y="111"/>
                    </a:lnTo>
                    <a:lnTo>
                      <a:pt x="761" y="110"/>
                    </a:lnTo>
                    <a:lnTo>
                      <a:pt x="761" y="110"/>
                    </a:lnTo>
                    <a:lnTo>
                      <a:pt x="760" y="108"/>
                    </a:lnTo>
                    <a:lnTo>
                      <a:pt x="756" y="107"/>
                    </a:lnTo>
                    <a:lnTo>
                      <a:pt x="756" y="107"/>
                    </a:lnTo>
                    <a:lnTo>
                      <a:pt x="756" y="107"/>
                    </a:lnTo>
                    <a:lnTo>
                      <a:pt x="756" y="107"/>
                    </a:lnTo>
                    <a:lnTo>
                      <a:pt x="755" y="110"/>
                    </a:lnTo>
                    <a:lnTo>
                      <a:pt x="752" y="118"/>
                    </a:lnTo>
                    <a:lnTo>
                      <a:pt x="752" y="118"/>
                    </a:lnTo>
                    <a:lnTo>
                      <a:pt x="749" y="124"/>
                    </a:lnTo>
                    <a:lnTo>
                      <a:pt x="747" y="127"/>
                    </a:lnTo>
                    <a:lnTo>
                      <a:pt x="747" y="129"/>
                    </a:lnTo>
                    <a:lnTo>
                      <a:pt x="745" y="130"/>
                    </a:lnTo>
                    <a:lnTo>
                      <a:pt x="744" y="133"/>
                    </a:lnTo>
                    <a:lnTo>
                      <a:pt x="744" y="135"/>
                    </a:lnTo>
                    <a:lnTo>
                      <a:pt x="742" y="136"/>
                    </a:lnTo>
                    <a:lnTo>
                      <a:pt x="741" y="140"/>
                    </a:lnTo>
                    <a:lnTo>
                      <a:pt x="741" y="143"/>
                    </a:lnTo>
                    <a:lnTo>
                      <a:pt x="741" y="146"/>
                    </a:lnTo>
                    <a:lnTo>
                      <a:pt x="741" y="149"/>
                    </a:lnTo>
                    <a:lnTo>
                      <a:pt x="738" y="151"/>
                    </a:lnTo>
                    <a:lnTo>
                      <a:pt x="736" y="152"/>
                    </a:lnTo>
                    <a:lnTo>
                      <a:pt x="736" y="157"/>
                    </a:lnTo>
                    <a:lnTo>
                      <a:pt x="738" y="158"/>
                    </a:lnTo>
                    <a:lnTo>
                      <a:pt x="739" y="160"/>
                    </a:lnTo>
                    <a:lnTo>
                      <a:pt x="741" y="161"/>
                    </a:lnTo>
                    <a:lnTo>
                      <a:pt x="742" y="163"/>
                    </a:lnTo>
                    <a:lnTo>
                      <a:pt x="744" y="163"/>
                    </a:lnTo>
                    <a:lnTo>
                      <a:pt x="745" y="161"/>
                    </a:lnTo>
                    <a:lnTo>
                      <a:pt x="749" y="158"/>
                    </a:lnTo>
                    <a:lnTo>
                      <a:pt x="750" y="158"/>
                    </a:lnTo>
                    <a:lnTo>
                      <a:pt x="750" y="160"/>
                    </a:lnTo>
                    <a:lnTo>
                      <a:pt x="753" y="160"/>
                    </a:lnTo>
                    <a:lnTo>
                      <a:pt x="755" y="158"/>
                    </a:lnTo>
                    <a:lnTo>
                      <a:pt x="758" y="158"/>
                    </a:lnTo>
                    <a:lnTo>
                      <a:pt x="758" y="158"/>
                    </a:lnTo>
                    <a:lnTo>
                      <a:pt x="760" y="158"/>
                    </a:lnTo>
                    <a:lnTo>
                      <a:pt x="761" y="160"/>
                    </a:lnTo>
                    <a:lnTo>
                      <a:pt x="763" y="160"/>
                    </a:lnTo>
                    <a:lnTo>
                      <a:pt x="764" y="161"/>
                    </a:lnTo>
                    <a:lnTo>
                      <a:pt x="766" y="165"/>
                    </a:lnTo>
                    <a:lnTo>
                      <a:pt x="767" y="165"/>
                    </a:lnTo>
                    <a:lnTo>
                      <a:pt x="769" y="163"/>
                    </a:lnTo>
                    <a:lnTo>
                      <a:pt x="769" y="161"/>
                    </a:lnTo>
                    <a:lnTo>
                      <a:pt x="770" y="160"/>
                    </a:lnTo>
                    <a:lnTo>
                      <a:pt x="774" y="158"/>
                    </a:lnTo>
                    <a:lnTo>
                      <a:pt x="775" y="155"/>
                    </a:lnTo>
                    <a:lnTo>
                      <a:pt x="775" y="155"/>
                    </a:lnTo>
                    <a:lnTo>
                      <a:pt x="777" y="155"/>
                    </a:lnTo>
                    <a:lnTo>
                      <a:pt x="778" y="155"/>
                    </a:lnTo>
                    <a:lnTo>
                      <a:pt x="780" y="155"/>
                    </a:lnTo>
                    <a:lnTo>
                      <a:pt x="781" y="155"/>
                    </a:lnTo>
                    <a:lnTo>
                      <a:pt x="783" y="155"/>
                    </a:lnTo>
                    <a:lnTo>
                      <a:pt x="788" y="155"/>
                    </a:lnTo>
                    <a:lnTo>
                      <a:pt x="789" y="157"/>
                    </a:lnTo>
                    <a:lnTo>
                      <a:pt x="789" y="157"/>
                    </a:lnTo>
                    <a:lnTo>
                      <a:pt x="791" y="160"/>
                    </a:lnTo>
                    <a:lnTo>
                      <a:pt x="792" y="161"/>
                    </a:lnTo>
                    <a:lnTo>
                      <a:pt x="794" y="163"/>
                    </a:lnTo>
                    <a:lnTo>
                      <a:pt x="795" y="163"/>
                    </a:lnTo>
                    <a:lnTo>
                      <a:pt x="797" y="163"/>
                    </a:lnTo>
                    <a:lnTo>
                      <a:pt x="799" y="165"/>
                    </a:lnTo>
                    <a:lnTo>
                      <a:pt x="799" y="165"/>
                    </a:lnTo>
                    <a:lnTo>
                      <a:pt x="799" y="166"/>
                    </a:lnTo>
                    <a:lnTo>
                      <a:pt x="800" y="168"/>
                    </a:lnTo>
                    <a:lnTo>
                      <a:pt x="800" y="168"/>
                    </a:lnTo>
                    <a:lnTo>
                      <a:pt x="802" y="169"/>
                    </a:lnTo>
                    <a:lnTo>
                      <a:pt x="802" y="171"/>
                    </a:lnTo>
                    <a:lnTo>
                      <a:pt x="802" y="171"/>
                    </a:lnTo>
                    <a:lnTo>
                      <a:pt x="803" y="171"/>
                    </a:lnTo>
                    <a:lnTo>
                      <a:pt x="806" y="174"/>
                    </a:lnTo>
                    <a:lnTo>
                      <a:pt x="806" y="176"/>
                    </a:lnTo>
                    <a:lnTo>
                      <a:pt x="810" y="177"/>
                    </a:lnTo>
                    <a:lnTo>
                      <a:pt x="810" y="177"/>
                    </a:lnTo>
                    <a:lnTo>
                      <a:pt x="810" y="179"/>
                    </a:lnTo>
                    <a:lnTo>
                      <a:pt x="810" y="180"/>
                    </a:lnTo>
                    <a:lnTo>
                      <a:pt x="811" y="182"/>
                    </a:lnTo>
                    <a:lnTo>
                      <a:pt x="811" y="183"/>
                    </a:lnTo>
                    <a:lnTo>
                      <a:pt x="813" y="185"/>
                    </a:lnTo>
                    <a:lnTo>
                      <a:pt x="813" y="187"/>
                    </a:lnTo>
                    <a:lnTo>
                      <a:pt x="813" y="188"/>
                    </a:lnTo>
                    <a:lnTo>
                      <a:pt x="813" y="188"/>
                    </a:lnTo>
                    <a:lnTo>
                      <a:pt x="811" y="190"/>
                    </a:lnTo>
                    <a:lnTo>
                      <a:pt x="811" y="190"/>
                    </a:lnTo>
                    <a:lnTo>
                      <a:pt x="811" y="190"/>
                    </a:lnTo>
                    <a:lnTo>
                      <a:pt x="810" y="191"/>
                    </a:lnTo>
                    <a:lnTo>
                      <a:pt x="810" y="191"/>
                    </a:lnTo>
                    <a:lnTo>
                      <a:pt x="810" y="191"/>
                    </a:lnTo>
                    <a:lnTo>
                      <a:pt x="808" y="191"/>
                    </a:lnTo>
                    <a:lnTo>
                      <a:pt x="805" y="191"/>
                    </a:lnTo>
                    <a:lnTo>
                      <a:pt x="802" y="191"/>
                    </a:lnTo>
                    <a:lnTo>
                      <a:pt x="800" y="191"/>
                    </a:lnTo>
                    <a:lnTo>
                      <a:pt x="797" y="190"/>
                    </a:lnTo>
                    <a:lnTo>
                      <a:pt x="795" y="188"/>
                    </a:lnTo>
                    <a:lnTo>
                      <a:pt x="794" y="188"/>
                    </a:lnTo>
                    <a:lnTo>
                      <a:pt x="794" y="188"/>
                    </a:lnTo>
                    <a:lnTo>
                      <a:pt x="792" y="188"/>
                    </a:lnTo>
                    <a:lnTo>
                      <a:pt x="792" y="190"/>
                    </a:lnTo>
                    <a:lnTo>
                      <a:pt x="792" y="190"/>
                    </a:lnTo>
                    <a:lnTo>
                      <a:pt x="791" y="188"/>
                    </a:lnTo>
                    <a:lnTo>
                      <a:pt x="789" y="190"/>
                    </a:lnTo>
                    <a:lnTo>
                      <a:pt x="786" y="188"/>
                    </a:lnTo>
                    <a:lnTo>
                      <a:pt x="785" y="188"/>
                    </a:lnTo>
                    <a:lnTo>
                      <a:pt x="785" y="188"/>
                    </a:lnTo>
                    <a:lnTo>
                      <a:pt x="783" y="188"/>
                    </a:lnTo>
                    <a:lnTo>
                      <a:pt x="781" y="190"/>
                    </a:lnTo>
                    <a:lnTo>
                      <a:pt x="780" y="190"/>
                    </a:lnTo>
                    <a:lnTo>
                      <a:pt x="777" y="191"/>
                    </a:lnTo>
                    <a:lnTo>
                      <a:pt x="777" y="191"/>
                    </a:lnTo>
                    <a:lnTo>
                      <a:pt x="775" y="193"/>
                    </a:lnTo>
                    <a:lnTo>
                      <a:pt x="775" y="193"/>
                    </a:lnTo>
                    <a:lnTo>
                      <a:pt x="775" y="193"/>
                    </a:lnTo>
                    <a:lnTo>
                      <a:pt x="774" y="193"/>
                    </a:lnTo>
                    <a:lnTo>
                      <a:pt x="772" y="193"/>
                    </a:lnTo>
                    <a:lnTo>
                      <a:pt x="770" y="191"/>
                    </a:lnTo>
                    <a:lnTo>
                      <a:pt x="769" y="191"/>
                    </a:lnTo>
                    <a:lnTo>
                      <a:pt x="769" y="193"/>
                    </a:lnTo>
                    <a:lnTo>
                      <a:pt x="769" y="193"/>
                    </a:lnTo>
                    <a:lnTo>
                      <a:pt x="769" y="193"/>
                    </a:lnTo>
                    <a:lnTo>
                      <a:pt x="767" y="196"/>
                    </a:lnTo>
                    <a:lnTo>
                      <a:pt x="767" y="197"/>
                    </a:lnTo>
                    <a:lnTo>
                      <a:pt x="767" y="197"/>
                    </a:lnTo>
                    <a:lnTo>
                      <a:pt x="767" y="197"/>
                    </a:lnTo>
                    <a:lnTo>
                      <a:pt x="767" y="197"/>
                    </a:lnTo>
                    <a:lnTo>
                      <a:pt x="766" y="197"/>
                    </a:lnTo>
                    <a:lnTo>
                      <a:pt x="764" y="197"/>
                    </a:lnTo>
                    <a:lnTo>
                      <a:pt x="761" y="197"/>
                    </a:lnTo>
                    <a:lnTo>
                      <a:pt x="760" y="197"/>
                    </a:lnTo>
                    <a:lnTo>
                      <a:pt x="760" y="197"/>
                    </a:lnTo>
                    <a:lnTo>
                      <a:pt x="758" y="197"/>
                    </a:lnTo>
                    <a:lnTo>
                      <a:pt x="756" y="197"/>
                    </a:lnTo>
                    <a:lnTo>
                      <a:pt x="756" y="199"/>
                    </a:lnTo>
                    <a:lnTo>
                      <a:pt x="755" y="199"/>
                    </a:lnTo>
                    <a:lnTo>
                      <a:pt x="755" y="199"/>
                    </a:lnTo>
                    <a:lnTo>
                      <a:pt x="753" y="199"/>
                    </a:lnTo>
                    <a:lnTo>
                      <a:pt x="753" y="201"/>
                    </a:lnTo>
                    <a:lnTo>
                      <a:pt x="752" y="202"/>
                    </a:lnTo>
                    <a:lnTo>
                      <a:pt x="750" y="204"/>
                    </a:lnTo>
                    <a:lnTo>
                      <a:pt x="750" y="205"/>
                    </a:lnTo>
                    <a:lnTo>
                      <a:pt x="749" y="207"/>
                    </a:lnTo>
                    <a:lnTo>
                      <a:pt x="747" y="210"/>
                    </a:lnTo>
                    <a:lnTo>
                      <a:pt x="749" y="210"/>
                    </a:lnTo>
                    <a:lnTo>
                      <a:pt x="749" y="212"/>
                    </a:lnTo>
                    <a:lnTo>
                      <a:pt x="747" y="213"/>
                    </a:lnTo>
                    <a:lnTo>
                      <a:pt x="745" y="215"/>
                    </a:lnTo>
                    <a:lnTo>
                      <a:pt x="745" y="215"/>
                    </a:lnTo>
                    <a:lnTo>
                      <a:pt x="744" y="215"/>
                    </a:lnTo>
                    <a:lnTo>
                      <a:pt x="744" y="215"/>
                    </a:lnTo>
                    <a:lnTo>
                      <a:pt x="742" y="216"/>
                    </a:lnTo>
                    <a:lnTo>
                      <a:pt x="741" y="218"/>
                    </a:lnTo>
                    <a:lnTo>
                      <a:pt x="738" y="221"/>
                    </a:lnTo>
                    <a:lnTo>
                      <a:pt x="736" y="221"/>
                    </a:lnTo>
                    <a:lnTo>
                      <a:pt x="735" y="221"/>
                    </a:lnTo>
                    <a:lnTo>
                      <a:pt x="730" y="222"/>
                    </a:lnTo>
                    <a:lnTo>
                      <a:pt x="730" y="222"/>
                    </a:lnTo>
                    <a:lnTo>
                      <a:pt x="730" y="222"/>
                    </a:lnTo>
                    <a:lnTo>
                      <a:pt x="728" y="222"/>
                    </a:lnTo>
                    <a:lnTo>
                      <a:pt x="725" y="222"/>
                    </a:lnTo>
                    <a:lnTo>
                      <a:pt x="722" y="221"/>
                    </a:lnTo>
                    <a:lnTo>
                      <a:pt x="722" y="221"/>
                    </a:lnTo>
                    <a:lnTo>
                      <a:pt x="720" y="221"/>
                    </a:lnTo>
                    <a:lnTo>
                      <a:pt x="719" y="222"/>
                    </a:lnTo>
                    <a:lnTo>
                      <a:pt x="719" y="222"/>
                    </a:lnTo>
                    <a:lnTo>
                      <a:pt x="717" y="222"/>
                    </a:lnTo>
                    <a:lnTo>
                      <a:pt x="717" y="224"/>
                    </a:lnTo>
                    <a:lnTo>
                      <a:pt x="717" y="226"/>
                    </a:lnTo>
                    <a:lnTo>
                      <a:pt x="716" y="227"/>
                    </a:lnTo>
                    <a:lnTo>
                      <a:pt x="714" y="229"/>
                    </a:lnTo>
                    <a:lnTo>
                      <a:pt x="711" y="230"/>
                    </a:lnTo>
                    <a:lnTo>
                      <a:pt x="709" y="232"/>
                    </a:lnTo>
                    <a:lnTo>
                      <a:pt x="709" y="232"/>
                    </a:lnTo>
                    <a:lnTo>
                      <a:pt x="709" y="233"/>
                    </a:lnTo>
                    <a:lnTo>
                      <a:pt x="708" y="233"/>
                    </a:lnTo>
                    <a:lnTo>
                      <a:pt x="706" y="233"/>
                    </a:lnTo>
                    <a:lnTo>
                      <a:pt x="705" y="237"/>
                    </a:lnTo>
                    <a:lnTo>
                      <a:pt x="703" y="238"/>
                    </a:lnTo>
                    <a:lnTo>
                      <a:pt x="702" y="238"/>
                    </a:lnTo>
                    <a:lnTo>
                      <a:pt x="700" y="238"/>
                    </a:lnTo>
                    <a:lnTo>
                      <a:pt x="699" y="237"/>
                    </a:lnTo>
                    <a:lnTo>
                      <a:pt x="697" y="237"/>
                    </a:lnTo>
                    <a:lnTo>
                      <a:pt x="695" y="237"/>
                    </a:lnTo>
                    <a:lnTo>
                      <a:pt x="692" y="237"/>
                    </a:lnTo>
                    <a:lnTo>
                      <a:pt x="686" y="235"/>
                    </a:lnTo>
                    <a:lnTo>
                      <a:pt x="684" y="233"/>
                    </a:lnTo>
                    <a:lnTo>
                      <a:pt x="683" y="232"/>
                    </a:lnTo>
                    <a:lnTo>
                      <a:pt x="683" y="232"/>
                    </a:lnTo>
                    <a:lnTo>
                      <a:pt x="681" y="230"/>
                    </a:lnTo>
                    <a:lnTo>
                      <a:pt x="681" y="230"/>
                    </a:lnTo>
                    <a:lnTo>
                      <a:pt x="678" y="230"/>
                    </a:lnTo>
                    <a:lnTo>
                      <a:pt x="675" y="230"/>
                    </a:lnTo>
                    <a:lnTo>
                      <a:pt x="674" y="230"/>
                    </a:lnTo>
                    <a:lnTo>
                      <a:pt x="672" y="230"/>
                    </a:lnTo>
                    <a:lnTo>
                      <a:pt x="669" y="232"/>
                    </a:lnTo>
                    <a:lnTo>
                      <a:pt x="669" y="232"/>
                    </a:lnTo>
                    <a:lnTo>
                      <a:pt x="669" y="233"/>
                    </a:lnTo>
                    <a:lnTo>
                      <a:pt x="667" y="237"/>
                    </a:lnTo>
                    <a:lnTo>
                      <a:pt x="666" y="238"/>
                    </a:lnTo>
                    <a:lnTo>
                      <a:pt x="666" y="240"/>
                    </a:lnTo>
                    <a:lnTo>
                      <a:pt x="666" y="241"/>
                    </a:lnTo>
                    <a:lnTo>
                      <a:pt x="666" y="243"/>
                    </a:lnTo>
                    <a:lnTo>
                      <a:pt x="664" y="244"/>
                    </a:lnTo>
                    <a:lnTo>
                      <a:pt x="664" y="246"/>
                    </a:lnTo>
                    <a:lnTo>
                      <a:pt x="663" y="248"/>
                    </a:lnTo>
                    <a:lnTo>
                      <a:pt x="664" y="248"/>
                    </a:lnTo>
                    <a:lnTo>
                      <a:pt x="664" y="249"/>
                    </a:lnTo>
                    <a:lnTo>
                      <a:pt x="666" y="252"/>
                    </a:lnTo>
                    <a:lnTo>
                      <a:pt x="667" y="254"/>
                    </a:lnTo>
                    <a:lnTo>
                      <a:pt x="669" y="255"/>
                    </a:lnTo>
                    <a:lnTo>
                      <a:pt x="670" y="258"/>
                    </a:lnTo>
                    <a:lnTo>
                      <a:pt x="672" y="258"/>
                    </a:lnTo>
                    <a:lnTo>
                      <a:pt x="672" y="260"/>
                    </a:lnTo>
                    <a:lnTo>
                      <a:pt x="672" y="262"/>
                    </a:lnTo>
                    <a:lnTo>
                      <a:pt x="672" y="263"/>
                    </a:lnTo>
                    <a:lnTo>
                      <a:pt x="672" y="263"/>
                    </a:lnTo>
                    <a:lnTo>
                      <a:pt x="670" y="265"/>
                    </a:lnTo>
                    <a:lnTo>
                      <a:pt x="669" y="265"/>
                    </a:lnTo>
                    <a:lnTo>
                      <a:pt x="669" y="265"/>
                    </a:lnTo>
                    <a:lnTo>
                      <a:pt x="667" y="266"/>
                    </a:lnTo>
                    <a:lnTo>
                      <a:pt x="666" y="268"/>
                    </a:lnTo>
                    <a:lnTo>
                      <a:pt x="666" y="268"/>
                    </a:lnTo>
                    <a:lnTo>
                      <a:pt x="664" y="269"/>
                    </a:lnTo>
                    <a:lnTo>
                      <a:pt x="659" y="271"/>
                    </a:lnTo>
                    <a:lnTo>
                      <a:pt x="658" y="271"/>
                    </a:lnTo>
                    <a:lnTo>
                      <a:pt x="656" y="273"/>
                    </a:lnTo>
                    <a:lnTo>
                      <a:pt x="655" y="274"/>
                    </a:lnTo>
                    <a:lnTo>
                      <a:pt x="653" y="276"/>
                    </a:lnTo>
                    <a:lnTo>
                      <a:pt x="652" y="277"/>
                    </a:lnTo>
                    <a:lnTo>
                      <a:pt x="652" y="279"/>
                    </a:lnTo>
                    <a:lnTo>
                      <a:pt x="650" y="280"/>
                    </a:lnTo>
                    <a:lnTo>
                      <a:pt x="649" y="282"/>
                    </a:lnTo>
                    <a:lnTo>
                      <a:pt x="649" y="284"/>
                    </a:lnTo>
                    <a:lnTo>
                      <a:pt x="647" y="284"/>
                    </a:lnTo>
                    <a:lnTo>
                      <a:pt x="645" y="285"/>
                    </a:lnTo>
                    <a:lnTo>
                      <a:pt x="645" y="285"/>
                    </a:lnTo>
                    <a:lnTo>
                      <a:pt x="644" y="287"/>
                    </a:lnTo>
                    <a:lnTo>
                      <a:pt x="642" y="287"/>
                    </a:lnTo>
                    <a:lnTo>
                      <a:pt x="639" y="288"/>
                    </a:lnTo>
                    <a:lnTo>
                      <a:pt x="636" y="290"/>
                    </a:lnTo>
                    <a:lnTo>
                      <a:pt x="633" y="291"/>
                    </a:lnTo>
                    <a:lnTo>
                      <a:pt x="631" y="291"/>
                    </a:lnTo>
                    <a:lnTo>
                      <a:pt x="628" y="293"/>
                    </a:lnTo>
                    <a:lnTo>
                      <a:pt x="628" y="293"/>
                    </a:lnTo>
                    <a:lnTo>
                      <a:pt x="627" y="293"/>
                    </a:lnTo>
                    <a:lnTo>
                      <a:pt x="623" y="293"/>
                    </a:lnTo>
                    <a:lnTo>
                      <a:pt x="619" y="294"/>
                    </a:lnTo>
                    <a:lnTo>
                      <a:pt x="616" y="294"/>
                    </a:lnTo>
                    <a:lnTo>
                      <a:pt x="613" y="294"/>
                    </a:lnTo>
                    <a:lnTo>
                      <a:pt x="609" y="294"/>
                    </a:lnTo>
                    <a:lnTo>
                      <a:pt x="606" y="293"/>
                    </a:lnTo>
                    <a:lnTo>
                      <a:pt x="605" y="294"/>
                    </a:lnTo>
                    <a:lnTo>
                      <a:pt x="600" y="294"/>
                    </a:lnTo>
                    <a:lnTo>
                      <a:pt x="600" y="294"/>
                    </a:lnTo>
                    <a:lnTo>
                      <a:pt x="598" y="294"/>
                    </a:lnTo>
                    <a:lnTo>
                      <a:pt x="591" y="296"/>
                    </a:lnTo>
                    <a:lnTo>
                      <a:pt x="588" y="296"/>
                    </a:lnTo>
                    <a:lnTo>
                      <a:pt x="584" y="296"/>
                    </a:lnTo>
                    <a:lnTo>
                      <a:pt x="581" y="298"/>
                    </a:lnTo>
                    <a:lnTo>
                      <a:pt x="581" y="298"/>
                    </a:lnTo>
                    <a:lnTo>
                      <a:pt x="578" y="299"/>
                    </a:lnTo>
                    <a:lnTo>
                      <a:pt x="578" y="299"/>
                    </a:lnTo>
                    <a:lnTo>
                      <a:pt x="573" y="301"/>
                    </a:lnTo>
                    <a:lnTo>
                      <a:pt x="566" y="304"/>
                    </a:lnTo>
                    <a:lnTo>
                      <a:pt x="561" y="307"/>
                    </a:lnTo>
                    <a:lnTo>
                      <a:pt x="561" y="307"/>
                    </a:lnTo>
                    <a:lnTo>
                      <a:pt x="559" y="307"/>
                    </a:lnTo>
                    <a:lnTo>
                      <a:pt x="556" y="310"/>
                    </a:lnTo>
                    <a:lnTo>
                      <a:pt x="555" y="310"/>
                    </a:lnTo>
                    <a:lnTo>
                      <a:pt x="553" y="312"/>
                    </a:lnTo>
                    <a:lnTo>
                      <a:pt x="552" y="313"/>
                    </a:lnTo>
                    <a:lnTo>
                      <a:pt x="550" y="313"/>
                    </a:lnTo>
                    <a:lnTo>
                      <a:pt x="548" y="312"/>
                    </a:lnTo>
                    <a:lnTo>
                      <a:pt x="547" y="312"/>
                    </a:lnTo>
                    <a:lnTo>
                      <a:pt x="542" y="312"/>
                    </a:lnTo>
                    <a:lnTo>
                      <a:pt x="542" y="307"/>
                    </a:lnTo>
                    <a:lnTo>
                      <a:pt x="542" y="307"/>
                    </a:lnTo>
                    <a:lnTo>
                      <a:pt x="542" y="307"/>
                    </a:lnTo>
                    <a:lnTo>
                      <a:pt x="539" y="307"/>
                    </a:lnTo>
                    <a:lnTo>
                      <a:pt x="533" y="309"/>
                    </a:lnTo>
                    <a:lnTo>
                      <a:pt x="528" y="310"/>
                    </a:lnTo>
                    <a:lnTo>
                      <a:pt x="523" y="307"/>
                    </a:lnTo>
                    <a:lnTo>
                      <a:pt x="520" y="305"/>
                    </a:lnTo>
                    <a:lnTo>
                      <a:pt x="517" y="304"/>
                    </a:lnTo>
                    <a:lnTo>
                      <a:pt x="512" y="302"/>
                    </a:lnTo>
                    <a:lnTo>
                      <a:pt x="508" y="302"/>
                    </a:lnTo>
                    <a:lnTo>
                      <a:pt x="502" y="301"/>
                    </a:lnTo>
                    <a:lnTo>
                      <a:pt x="498" y="299"/>
                    </a:lnTo>
                    <a:lnTo>
                      <a:pt x="497" y="298"/>
                    </a:lnTo>
                    <a:lnTo>
                      <a:pt x="494" y="293"/>
                    </a:lnTo>
                    <a:lnTo>
                      <a:pt x="492" y="293"/>
                    </a:lnTo>
                    <a:lnTo>
                      <a:pt x="491" y="291"/>
                    </a:lnTo>
                    <a:lnTo>
                      <a:pt x="489" y="291"/>
                    </a:lnTo>
                    <a:lnTo>
                      <a:pt x="486" y="291"/>
                    </a:lnTo>
                    <a:lnTo>
                      <a:pt x="483" y="291"/>
                    </a:lnTo>
                    <a:lnTo>
                      <a:pt x="477" y="290"/>
                    </a:lnTo>
                    <a:lnTo>
                      <a:pt x="472" y="290"/>
                    </a:lnTo>
                    <a:lnTo>
                      <a:pt x="464" y="288"/>
                    </a:lnTo>
                    <a:lnTo>
                      <a:pt x="464" y="288"/>
                    </a:lnTo>
                    <a:lnTo>
                      <a:pt x="462" y="288"/>
                    </a:lnTo>
                    <a:lnTo>
                      <a:pt x="459" y="290"/>
                    </a:lnTo>
                    <a:lnTo>
                      <a:pt x="453" y="291"/>
                    </a:lnTo>
                    <a:lnTo>
                      <a:pt x="445" y="290"/>
                    </a:lnTo>
                    <a:lnTo>
                      <a:pt x="441" y="288"/>
                    </a:lnTo>
                    <a:lnTo>
                      <a:pt x="433" y="288"/>
                    </a:lnTo>
                    <a:lnTo>
                      <a:pt x="423" y="287"/>
                    </a:lnTo>
                    <a:lnTo>
                      <a:pt x="414" y="285"/>
                    </a:lnTo>
                    <a:lnTo>
                      <a:pt x="408" y="287"/>
                    </a:lnTo>
                    <a:lnTo>
                      <a:pt x="405" y="287"/>
                    </a:lnTo>
                    <a:lnTo>
                      <a:pt x="400" y="287"/>
                    </a:lnTo>
                    <a:lnTo>
                      <a:pt x="398" y="287"/>
                    </a:lnTo>
                    <a:lnTo>
                      <a:pt x="398" y="284"/>
                    </a:lnTo>
                    <a:lnTo>
                      <a:pt x="398" y="282"/>
                    </a:lnTo>
                    <a:lnTo>
                      <a:pt x="398" y="282"/>
                    </a:lnTo>
                    <a:lnTo>
                      <a:pt x="395" y="280"/>
                    </a:lnTo>
                    <a:lnTo>
                      <a:pt x="394" y="277"/>
                    </a:lnTo>
                    <a:lnTo>
                      <a:pt x="394" y="277"/>
                    </a:lnTo>
                    <a:lnTo>
                      <a:pt x="392" y="276"/>
                    </a:lnTo>
                    <a:lnTo>
                      <a:pt x="391" y="274"/>
                    </a:lnTo>
                    <a:lnTo>
                      <a:pt x="391" y="271"/>
                    </a:lnTo>
                    <a:lnTo>
                      <a:pt x="387" y="265"/>
                    </a:lnTo>
                    <a:lnTo>
                      <a:pt x="386" y="260"/>
                    </a:lnTo>
                    <a:lnTo>
                      <a:pt x="386" y="258"/>
                    </a:lnTo>
                    <a:lnTo>
                      <a:pt x="384" y="257"/>
                    </a:lnTo>
                    <a:lnTo>
                      <a:pt x="384" y="257"/>
                    </a:lnTo>
                    <a:lnTo>
                      <a:pt x="384" y="257"/>
                    </a:lnTo>
                    <a:lnTo>
                      <a:pt x="381" y="255"/>
                    </a:lnTo>
                    <a:lnTo>
                      <a:pt x="381" y="255"/>
                    </a:lnTo>
                    <a:lnTo>
                      <a:pt x="381" y="254"/>
                    </a:lnTo>
                    <a:lnTo>
                      <a:pt x="381" y="251"/>
                    </a:lnTo>
                    <a:lnTo>
                      <a:pt x="381" y="249"/>
                    </a:lnTo>
                    <a:lnTo>
                      <a:pt x="381" y="249"/>
                    </a:lnTo>
                    <a:lnTo>
                      <a:pt x="376" y="249"/>
                    </a:lnTo>
                    <a:lnTo>
                      <a:pt x="373" y="249"/>
                    </a:lnTo>
                    <a:lnTo>
                      <a:pt x="370" y="248"/>
                    </a:lnTo>
                    <a:lnTo>
                      <a:pt x="367" y="244"/>
                    </a:lnTo>
                    <a:lnTo>
                      <a:pt x="364" y="243"/>
                    </a:lnTo>
                    <a:lnTo>
                      <a:pt x="361" y="240"/>
                    </a:lnTo>
                    <a:lnTo>
                      <a:pt x="361" y="240"/>
                    </a:lnTo>
                    <a:lnTo>
                      <a:pt x="358" y="240"/>
                    </a:lnTo>
                    <a:lnTo>
                      <a:pt x="358" y="240"/>
                    </a:lnTo>
                    <a:lnTo>
                      <a:pt x="356" y="238"/>
                    </a:lnTo>
                    <a:lnTo>
                      <a:pt x="353" y="235"/>
                    </a:lnTo>
                    <a:lnTo>
                      <a:pt x="353" y="235"/>
                    </a:lnTo>
                    <a:lnTo>
                      <a:pt x="351" y="233"/>
                    </a:lnTo>
                    <a:lnTo>
                      <a:pt x="350" y="233"/>
                    </a:lnTo>
                    <a:lnTo>
                      <a:pt x="345" y="232"/>
                    </a:lnTo>
                    <a:lnTo>
                      <a:pt x="339" y="232"/>
                    </a:lnTo>
                    <a:lnTo>
                      <a:pt x="336" y="230"/>
                    </a:lnTo>
                    <a:lnTo>
                      <a:pt x="334" y="230"/>
                    </a:lnTo>
                    <a:lnTo>
                      <a:pt x="333" y="232"/>
                    </a:lnTo>
                    <a:lnTo>
                      <a:pt x="330" y="232"/>
                    </a:lnTo>
                    <a:lnTo>
                      <a:pt x="326" y="230"/>
                    </a:lnTo>
                    <a:lnTo>
                      <a:pt x="323" y="230"/>
                    </a:lnTo>
                    <a:lnTo>
                      <a:pt x="319" y="230"/>
                    </a:lnTo>
                    <a:lnTo>
                      <a:pt x="315" y="230"/>
                    </a:lnTo>
                    <a:lnTo>
                      <a:pt x="314" y="229"/>
                    </a:lnTo>
                    <a:lnTo>
                      <a:pt x="312" y="229"/>
                    </a:lnTo>
                    <a:lnTo>
                      <a:pt x="311" y="229"/>
                    </a:lnTo>
                    <a:lnTo>
                      <a:pt x="309" y="229"/>
                    </a:lnTo>
                    <a:lnTo>
                      <a:pt x="308" y="227"/>
                    </a:lnTo>
                    <a:lnTo>
                      <a:pt x="306" y="226"/>
                    </a:lnTo>
                    <a:lnTo>
                      <a:pt x="305" y="226"/>
                    </a:lnTo>
                    <a:lnTo>
                      <a:pt x="305" y="226"/>
                    </a:lnTo>
                    <a:lnTo>
                      <a:pt x="303" y="227"/>
                    </a:lnTo>
                    <a:lnTo>
                      <a:pt x="303" y="227"/>
                    </a:lnTo>
                    <a:lnTo>
                      <a:pt x="303" y="226"/>
                    </a:lnTo>
                    <a:lnTo>
                      <a:pt x="303" y="226"/>
                    </a:lnTo>
                    <a:lnTo>
                      <a:pt x="301" y="222"/>
                    </a:lnTo>
                    <a:lnTo>
                      <a:pt x="301" y="221"/>
                    </a:lnTo>
                    <a:lnTo>
                      <a:pt x="300" y="219"/>
                    </a:lnTo>
                    <a:lnTo>
                      <a:pt x="300" y="218"/>
                    </a:lnTo>
                    <a:lnTo>
                      <a:pt x="300" y="216"/>
                    </a:lnTo>
                    <a:lnTo>
                      <a:pt x="300" y="213"/>
                    </a:lnTo>
                    <a:lnTo>
                      <a:pt x="301" y="210"/>
                    </a:lnTo>
                    <a:lnTo>
                      <a:pt x="301" y="210"/>
                    </a:lnTo>
                    <a:lnTo>
                      <a:pt x="303" y="210"/>
                    </a:lnTo>
                    <a:lnTo>
                      <a:pt x="303" y="208"/>
                    </a:lnTo>
                    <a:lnTo>
                      <a:pt x="305" y="208"/>
                    </a:lnTo>
                    <a:lnTo>
                      <a:pt x="305" y="207"/>
                    </a:lnTo>
                    <a:lnTo>
                      <a:pt x="305" y="207"/>
                    </a:lnTo>
                    <a:lnTo>
                      <a:pt x="305" y="205"/>
                    </a:lnTo>
                    <a:lnTo>
                      <a:pt x="305" y="204"/>
                    </a:lnTo>
                    <a:lnTo>
                      <a:pt x="305" y="202"/>
                    </a:lnTo>
                    <a:lnTo>
                      <a:pt x="303" y="199"/>
                    </a:lnTo>
                    <a:lnTo>
                      <a:pt x="303" y="199"/>
                    </a:lnTo>
                    <a:lnTo>
                      <a:pt x="305" y="197"/>
                    </a:lnTo>
                    <a:lnTo>
                      <a:pt x="306" y="193"/>
                    </a:lnTo>
                    <a:lnTo>
                      <a:pt x="306" y="193"/>
                    </a:lnTo>
                    <a:lnTo>
                      <a:pt x="306" y="193"/>
                    </a:lnTo>
                    <a:lnTo>
                      <a:pt x="305" y="191"/>
                    </a:lnTo>
                    <a:lnTo>
                      <a:pt x="305" y="190"/>
                    </a:lnTo>
                    <a:lnTo>
                      <a:pt x="305" y="188"/>
                    </a:lnTo>
                    <a:lnTo>
                      <a:pt x="303" y="185"/>
                    </a:lnTo>
                    <a:lnTo>
                      <a:pt x="303" y="182"/>
                    </a:lnTo>
                    <a:lnTo>
                      <a:pt x="303" y="182"/>
                    </a:lnTo>
                    <a:lnTo>
                      <a:pt x="301" y="182"/>
                    </a:lnTo>
                    <a:lnTo>
                      <a:pt x="300" y="182"/>
                    </a:lnTo>
                    <a:lnTo>
                      <a:pt x="298" y="179"/>
                    </a:lnTo>
                    <a:lnTo>
                      <a:pt x="297" y="176"/>
                    </a:lnTo>
                    <a:lnTo>
                      <a:pt x="297" y="174"/>
                    </a:lnTo>
                    <a:lnTo>
                      <a:pt x="297" y="172"/>
                    </a:lnTo>
                    <a:lnTo>
                      <a:pt x="295" y="171"/>
                    </a:lnTo>
                    <a:lnTo>
                      <a:pt x="295" y="168"/>
                    </a:lnTo>
                    <a:lnTo>
                      <a:pt x="295" y="168"/>
                    </a:lnTo>
                    <a:lnTo>
                      <a:pt x="294" y="166"/>
                    </a:lnTo>
                    <a:lnTo>
                      <a:pt x="294" y="166"/>
                    </a:lnTo>
                    <a:lnTo>
                      <a:pt x="294" y="165"/>
                    </a:lnTo>
                    <a:lnTo>
                      <a:pt x="294" y="163"/>
                    </a:lnTo>
                    <a:lnTo>
                      <a:pt x="294" y="163"/>
                    </a:lnTo>
                    <a:lnTo>
                      <a:pt x="290" y="163"/>
                    </a:lnTo>
                    <a:lnTo>
                      <a:pt x="289" y="161"/>
                    </a:lnTo>
                    <a:lnTo>
                      <a:pt x="289" y="160"/>
                    </a:lnTo>
                    <a:lnTo>
                      <a:pt x="289" y="160"/>
                    </a:lnTo>
                    <a:lnTo>
                      <a:pt x="287" y="158"/>
                    </a:lnTo>
                    <a:lnTo>
                      <a:pt x="287" y="158"/>
                    </a:lnTo>
                    <a:lnTo>
                      <a:pt x="287" y="158"/>
                    </a:lnTo>
                    <a:lnTo>
                      <a:pt x="286" y="160"/>
                    </a:lnTo>
                    <a:lnTo>
                      <a:pt x="286" y="160"/>
                    </a:lnTo>
                    <a:lnTo>
                      <a:pt x="284" y="160"/>
                    </a:lnTo>
                    <a:lnTo>
                      <a:pt x="284" y="160"/>
                    </a:lnTo>
                    <a:lnTo>
                      <a:pt x="283" y="160"/>
                    </a:lnTo>
                    <a:lnTo>
                      <a:pt x="283" y="158"/>
                    </a:lnTo>
                    <a:lnTo>
                      <a:pt x="281" y="158"/>
                    </a:lnTo>
                    <a:lnTo>
                      <a:pt x="280" y="155"/>
                    </a:lnTo>
                    <a:lnTo>
                      <a:pt x="280" y="155"/>
                    </a:lnTo>
                    <a:lnTo>
                      <a:pt x="278" y="155"/>
                    </a:lnTo>
                    <a:lnTo>
                      <a:pt x="276" y="155"/>
                    </a:lnTo>
                    <a:lnTo>
                      <a:pt x="273" y="155"/>
                    </a:lnTo>
                    <a:lnTo>
                      <a:pt x="272" y="155"/>
                    </a:lnTo>
                    <a:lnTo>
                      <a:pt x="270" y="155"/>
                    </a:lnTo>
                    <a:lnTo>
                      <a:pt x="270" y="154"/>
                    </a:lnTo>
                    <a:lnTo>
                      <a:pt x="269" y="154"/>
                    </a:lnTo>
                    <a:lnTo>
                      <a:pt x="267" y="152"/>
                    </a:lnTo>
                    <a:lnTo>
                      <a:pt x="264" y="151"/>
                    </a:lnTo>
                    <a:lnTo>
                      <a:pt x="262" y="149"/>
                    </a:lnTo>
                    <a:lnTo>
                      <a:pt x="262" y="147"/>
                    </a:lnTo>
                    <a:lnTo>
                      <a:pt x="262" y="146"/>
                    </a:lnTo>
                    <a:lnTo>
                      <a:pt x="261" y="146"/>
                    </a:lnTo>
                    <a:lnTo>
                      <a:pt x="259" y="144"/>
                    </a:lnTo>
                    <a:lnTo>
                      <a:pt x="258" y="143"/>
                    </a:lnTo>
                    <a:lnTo>
                      <a:pt x="258" y="143"/>
                    </a:lnTo>
                    <a:lnTo>
                      <a:pt x="255" y="141"/>
                    </a:lnTo>
                    <a:lnTo>
                      <a:pt x="253" y="141"/>
                    </a:lnTo>
                    <a:lnTo>
                      <a:pt x="251" y="141"/>
                    </a:lnTo>
                    <a:lnTo>
                      <a:pt x="251" y="140"/>
                    </a:lnTo>
                    <a:lnTo>
                      <a:pt x="251" y="140"/>
                    </a:lnTo>
                    <a:lnTo>
                      <a:pt x="253" y="138"/>
                    </a:lnTo>
                    <a:lnTo>
                      <a:pt x="253" y="138"/>
                    </a:lnTo>
                    <a:lnTo>
                      <a:pt x="253" y="136"/>
                    </a:lnTo>
                    <a:lnTo>
                      <a:pt x="253" y="136"/>
                    </a:lnTo>
                    <a:lnTo>
                      <a:pt x="251" y="135"/>
                    </a:lnTo>
                    <a:lnTo>
                      <a:pt x="250" y="135"/>
                    </a:lnTo>
                    <a:lnTo>
                      <a:pt x="250" y="133"/>
                    </a:lnTo>
                    <a:lnTo>
                      <a:pt x="248" y="132"/>
                    </a:lnTo>
                    <a:lnTo>
                      <a:pt x="248" y="132"/>
                    </a:lnTo>
                    <a:lnTo>
                      <a:pt x="250" y="130"/>
                    </a:lnTo>
                    <a:lnTo>
                      <a:pt x="250" y="130"/>
                    </a:lnTo>
                    <a:lnTo>
                      <a:pt x="250" y="130"/>
                    </a:lnTo>
                    <a:lnTo>
                      <a:pt x="250" y="129"/>
                    </a:lnTo>
                    <a:lnTo>
                      <a:pt x="250" y="129"/>
                    </a:lnTo>
                    <a:lnTo>
                      <a:pt x="250" y="127"/>
                    </a:lnTo>
                    <a:lnTo>
                      <a:pt x="250" y="125"/>
                    </a:lnTo>
                    <a:lnTo>
                      <a:pt x="250" y="124"/>
                    </a:lnTo>
                    <a:lnTo>
                      <a:pt x="250" y="124"/>
                    </a:lnTo>
                    <a:lnTo>
                      <a:pt x="248" y="124"/>
                    </a:lnTo>
                    <a:lnTo>
                      <a:pt x="247" y="125"/>
                    </a:lnTo>
                    <a:lnTo>
                      <a:pt x="247" y="125"/>
                    </a:lnTo>
                    <a:lnTo>
                      <a:pt x="245" y="125"/>
                    </a:lnTo>
                    <a:lnTo>
                      <a:pt x="244" y="125"/>
                    </a:lnTo>
                    <a:lnTo>
                      <a:pt x="244" y="125"/>
                    </a:lnTo>
                    <a:lnTo>
                      <a:pt x="244" y="127"/>
                    </a:lnTo>
                    <a:lnTo>
                      <a:pt x="242" y="127"/>
                    </a:lnTo>
                    <a:lnTo>
                      <a:pt x="242" y="127"/>
                    </a:lnTo>
                    <a:lnTo>
                      <a:pt x="240" y="127"/>
                    </a:lnTo>
                    <a:lnTo>
                      <a:pt x="240" y="127"/>
                    </a:lnTo>
                    <a:lnTo>
                      <a:pt x="240" y="127"/>
                    </a:lnTo>
                    <a:lnTo>
                      <a:pt x="239" y="125"/>
                    </a:lnTo>
                    <a:lnTo>
                      <a:pt x="236" y="125"/>
                    </a:lnTo>
                    <a:lnTo>
                      <a:pt x="234" y="125"/>
                    </a:lnTo>
                    <a:lnTo>
                      <a:pt x="233" y="127"/>
                    </a:lnTo>
                    <a:lnTo>
                      <a:pt x="231" y="127"/>
                    </a:lnTo>
                    <a:lnTo>
                      <a:pt x="231" y="129"/>
                    </a:lnTo>
                    <a:lnTo>
                      <a:pt x="229" y="130"/>
                    </a:lnTo>
                    <a:lnTo>
                      <a:pt x="231" y="133"/>
                    </a:lnTo>
                    <a:lnTo>
                      <a:pt x="229" y="136"/>
                    </a:lnTo>
                    <a:lnTo>
                      <a:pt x="229" y="138"/>
                    </a:lnTo>
                    <a:lnTo>
                      <a:pt x="226" y="141"/>
                    </a:lnTo>
                    <a:lnTo>
                      <a:pt x="226" y="143"/>
                    </a:lnTo>
                    <a:lnTo>
                      <a:pt x="223" y="143"/>
                    </a:lnTo>
                    <a:lnTo>
                      <a:pt x="222" y="143"/>
                    </a:lnTo>
                    <a:lnTo>
                      <a:pt x="219" y="144"/>
                    </a:lnTo>
                    <a:lnTo>
                      <a:pt x="214" y="144"/>
                    </a:lnTo>
                    <a:lnTo>
                      <a:pt x="212" y="146"/>
                    </a:lnTo>
                    <a:lnTo>
                      <a:pt x="212" y="147"/>
                    </a:lnTo>
                    <a:lnTo>
                      <a:pt x="211" y="149"/>
                    </a:lnTo>
                    <a:lnTo>
                      <a:pt x="211" y="151"/>
                    </a:lnTo>
                    <a:lnTo>
                      <a:pt x="209" y="154"/>
                    </a:lnTo>
                    <a:lnTo>
                      <a:pt x="209" y="157"/>
                    </a:lnTo>
                    <a:lnTo>
                      <a:pt x="209" y="161"/>
                    </a:lnTo>
                    <a:lnTo>
                      <a:pt x="211" y="166"/>
                    </a:lnTo>
                    <a:lnTo>
                      <a:pt x="211" y="168"/>
                    </a:lnTo>
                    <a:lnTo>
                      <a:pt x="211" y="171"/>
                    </a:lnTo>
                    <a:lnTo>
                      <a:pt x="212" y="172"/>
                    </a:lnTo>
                    <a:lnTo>
                      <a:pt x="211" y="174"/>
                    </a:lnTo>
                    <a:lnTo>
                      <a:pt x="209" y="177"/>
                    </a:lnTo>
                    <a:lnTo>
                      <a:pt x="209" y="179"/>
                    </a:lnTo>
                    <a:lnTo>
                      <a:pt x="208" y="180"/>
                    </a:lnTo>
                    <a:lnTo>
                      <a:pt x="206" y="180"/>
                    </a:lnTo>
                    <a:lnTo>
                      <a:pt x="204" y="180"/>
                    </a:lnTo>
                    <a:lnTo>
                      <a:pt x="201" y="182"/>
                    </a:lnTo>
                    <a:lnTo>
                      <a:pt x="200" y="183"/>
                    </a:lnTo>
                    <a:lnTo>
                      <a:pt x="197" y="185"/>
                    </a:lnTo>
                    <a:lnTo>
                      <a:pt x="197" y="185"/>
                    </a:lnTo>
                    <a:lnTo>
                      <a:pt x="195" y="185"/>
                    </a:lnTo>
                    <a:lnTo>
                      <a:pt x="195" y="183"/>
                    </a:lnTo>
                    <a:lnTo>
                      <a:pt x="194" y="182"/>
                    </a:lnTo>
                    <a:lnTo>
                      <a:pt x="192" y="182"/>
                    </a:lnTo>
                    <a:lnTo>
                      <a:pt x="192" y="182"/>
                    </a:lnTo>
                    <a:lnTo>
                      <a:pt x="189" y="182"/>
                    </a:lnTo>
                    <a:lnTo>
                      <a:pt x="186" y="182"/>
                    </a:lnTo>
                    <a:lnTo>
                      <a:pt x="184" y="182"/>
                    </a:lnTo>
                    <a:lnTo>
                      <a:pt x="183" y="182"/>
                    </a:lnTo>
                    <a:lnTo>
                      <a:pt x="179" y="182"/>
                    </a:lnTo>
                    <a:lnTo>
                      <a:pt x="178" y="180"/>
                    </a:lnTo>
                    <a:lnTo>
                      <a:pt x="176" y="180"/>
                    </a:lnTo>
                    <a:lnTo>
                      <a:pt x="173" y="179"/>
                    </a:lnTo>
                    <a:lnTo>
                      <a:pt x="169" y="177"/>
                    </a:lnTo>
                    <a:lnTo>
                      <a:pt x="167" y="176"/>
                    </a:lnTo>
                    <a:lnTo>
                      <a:pt x="165" y="177"/>
                    </a:lnTo>
                    <a:lnTo>
                      <a:pt x="165" y="177"/>
                    </a:lnTo>
                    <a:lnTo>
                      <a:pt x="165" y="180"/>
                    </a:lnTo>
                    <a:lnTo>
                      <a:pt x="164" y="182"/>
                    </a:lnTo>
                    <a:lnTo>
                      <a:pt x="161" y="191"/>
                    </a:lnTo>
                    <a:lnTo>
                      <a:pt x="159" y="197"/>
                    </a:lnTo>
                    <a:lnTo>
                      <a:pt x="158" y="202"/>
                    </a:lnTo>
                    <a:lnTo>
                      <a:pt x="156" y="207"/>
                    </a:lnTo>
                    <a:lnTo>
                      <a:pt x="154" y="212"/>
                    </a:lnTo>
                    <a:lnTo>
                      <a:pt x="153" y="215"/>
                    </a:lnTo>
                    <a:lnTo>
                      <a:pt x="153" y="216"/>
                    </a:lnTo>
                    <a:lnTo>
                      <a:pt x="153" y="218"/>
                    </a:lnTo>
                    <a:lnTo>
                      <a:pt x="153" y="219"/>
                    </a:lnTo>
                    <a:lnTo>
                      <a:pt x="154" y="219"/>
                    </a:lnTo>
                    <a:lnTo>
                      <a:pt x="158" y="221"/>
                    </a:lnTo>
                    <a:lnTo>
                      <a:pt x="158" y="221"/>
                    </a:lnTo>
                    <a:lnTo>
                      <a:pt x="158" y="222"/>
                    </a:lnTo>
                    <a:lnTo>
                      <a:pt x="158" y="224"/>
                    </a:lnTo>
                    <a:lnTo>
                      <a:pt x="158" y="224"/>
                    </a:lnTo>
                    <a:lnTo>
                      <a:pt x="158" y="226"/>
                    </a:lnTo>
                    <a:lnTo>
                      <a:pt x="158" y="227"/>
                    </a:lnTo>
                    <a:lnTo>
                      <a:pt x="156" y="229"/>
                    </a:lnTo>
                    <a:lnTo>
                      <a:pt x="156" y="229"/>
                    </a:lnTo>
                    <a:lnTo>
                      <a:pt x="154" y="227"/>
                    </a:lnTo>
                    <a:lnTo>
                      <a:pt x="153" y="227"/>
                    </a:lnTo>
                    <a:lnTo>
                      <a:pt x="151" y="226"/>
                    </a:lnTo>
                    <a:lnTo>
                      <a:pt x="150" y="227"/>
                    </a:lnTo>
                    <a:lnTo>
                      <a:pt x="147" y="227"/>
                    </a:lnTo>
                    <a:lnTo>
                      <a:pt x="147" y="227"/>
                    </a:lnTo>
                    <a:lnTo>
                      <a:pt x="145" y="227"/>
                    </a:lnTo>
                    <a:lnTo>
                      <a:pt x="143" y="226"/>
                    </a:lnTo>
                    <a:lnTo>
                      <a:pt x="143" y="224"/>
                    </a:lnTo>
                    <a:lnTo>
                      <a:pt x="142" y="222"/>
                    </a:lnTo>
                    <a:lnTo>
                      <a:pt x="140" y="224"/>
                    </a:lnTo>
                    <a:lnTo>
                      <a:pt x="136" y="226"/>
                    </a:lnTo>
                    <a:lnTo>
                      <a:pt x="131" y="227"/>
                    </a:lnTo>
                    <a:lnTo>
                      <a:pt x="126" y="229"/>
                    </a:lnTo>
                    <a:lnTo>
                      <a:pt x="126" y="229"/>
                    </a:lnTo>
                    <a:lnTo>
                      <a:pt x="123" y="229"/>
                    </a:lnTo>
                    <a:lnTo>
                      <a:pt x="122" y="229"/>
                    </a:lnTo>
                    <a:lnTo>
                      <a:pt x="120" y="230"/>
                    </a:lnTo>
                    <a:lnTo>
                      <a:pt x="115" y="230"/>
                    </a:lnTo>
                    <a:lnTo>
                      <a:pt x="114" y="232"/>
                    </a:lnTo>
                    <a:lnTo>
                      <a:pt x="111" y="233"/>
                    </a:lnTo>
                    <a:lnTo>
                      <a:pt x="109" y="235"/>
                    </a:lnTo>
                    <a:lnTo>
                      <a:pt x="109" y="235"/>
                    </a:lnTo>
                    <a:lnTo>
                      <a:pt x="111" y="237"/>
                    </a:lnTo>
                    <a:lnTo>
                      <a:pt x="112" y="237"/>
                    </a:lnTo>
                    <a:lnTo>
                      <a:pt x="114" y="237"/>
                    </a:lnTo>
                    <a:lnTo>
                      <a:pt x="117" y="237"/>
                    </a:lnTo>
                    <a:lnTo>
                      <a:pt x="118" y="237"/>
                    </a:lnTo>
                    <a:lnTo>
                      <a:pt x="120" y="238"/>
                    </a:lnTo>
                    <a:lnTo>
                      <a:pt x="120" y="238"/>
                    </a:lnTo>
                    <a:lnTo>
                      <a:pt x="120" y="240"/>
                    </a:lnTo>
                    <a:lnTo>
                      <a:pt x="120" y="240"/>
                    </a:lnTo>
                    <a:lnTo>
                      <a:pt x="118" y="240"/>
                    </a:lnTo>
                    <a:lnTo>
                      <a:pt x="118" y="240"/>
                    </a:lnTo>
                    <a:lnTo>
                      <a:pt x="118" y="241"/>
                    </a:lnTo>
                    <a:lnTo>
                      <a:pt x="118" y="243"/>
                    </a:lnTo>
                    <a:lnTo>
                      <a:pt x="118" y="246"/>
                    </a:lnTo>
                    <a:lnTo>
                      <a:pt x="118" y="248"/>
                    </a:lnTo>
                    <a:lnTo>
                      <a:pt x="118" y="251"/>
                    </a:lnTo>
                    <a:lnTo>
                      <a:pt x="118" y="252"/>
                    </a:lnTo>
                    <a:lnTo>
                      <a:pt x="118" y="254"/>
                    </a:lnTo>
                    <a:lnTo>
                      <a:pt x="118" y="255"/>
                    </a:lnTo>
                    <a:lnTo>
                      <a:pt x="120" y="257"/>
                    </a:lnTo>
                    <a:lnTo>
                      <a:pt x="120" y="258"/>
                    </a:lnTo>
                    <a:lnTo>
                      <a:pt x="123" y="263"/>
                    </a:lnTo>
                    <a:lnTo>
                      <a:pt x="123" y="266"/>
                    </a:lnTo>
                    <a:lnTo>
                      <a:pt x="125" y="269"/>
                    </a:lnTo>
                    <a:lnTo>
                      <a:pt x="123" y="273"/>
                    </a:lnTo>
                    <a:lnTo>
                      <a:pt x="123" y="273"/>
                    </a:lnTo>
                    <a:lnTo>
                      <a:pt x="125" y="274"/>
                    </a:lnTo>
                    <a:lnTo>
                      <a:pt x="125" y="276"/>
                    </a:lnTo>
                    <a:lnTo>
                      <a:pt x="126" y="276"/>
                    </a:lnTo>
                    <a:lnTo>
                      <a:pt x="126" y="277"/>
                    </a:lnTo>
                    <a:lnTo>
                      <a:pt x="125" y="277"/>
                    </a:lnTo>
                    <a:lnTo>
                      <a:pt x="123" y="277"/>
                    </a:lnTo>
                    <a:lnTo>
                      <a:pt x="122" y="279"/>
                    </a:lnTo>
                    <a:lnTo>
                      <a:pt x="118" y="279"/>
                    </a:lnTo>
                    <a:lnTo>
                      <a:pt x="118" y="280"/>
                    </a:lnTo>
                    <a:lnTo>
                      <a:pt x="118" y="280"/>
                    </a:lnTo>
                    <a:lnTo>
                      <a:pt x="118" y="280"/>
                    </a:lnTo>
                    <a:lnTo>
                      <a:pt x="120" y="282"/>
                    </a:lnTo>
                    <a:lnTo>
                      <a:pt x="122" y="282"/>
                    </a:lnTo>
                    <a:lnTo>
                      <a:pt x="122" y="284"/>
                    </a:lnTo>
                    <a:lnTo>
                      <a:pt x="120" y="284"/>
                    </a:lnTo>
                    <a:lnTo>
                      <a:pt x="117" y="285"/>
                    </a:lnTo>
                    <a:lnTo>
                      <a:pt x="115" y="287"/>
                    </a:lnTo>
                    <a:lnTo>
                      <a:pt x="115" y="288"/>
                    </a:lnTo>
                    <a:lnTo>
                      <a:pt x="115" y="290"/>
                    </a:lnTo>
                    <a:lnTo>
                      <a:pt x="115" y="291"/>
                    </a:lnTo>
                    <a:lnTo>
                      <a:pt x="115" y="294"/>
                    </a:lnTo>
                    <a:lnTo>
                      <a:pt x="117" y="298"/>
                    </a:lnTo>
                    <a:lnTo>
                      <a:pt x="117" y="299"/>
                    </a:lnTo>
                    <a:lnTo>
                      <a:pt x="115" y="299"/>
                    </a:lnTo>
                    <a:lnTo>
                      <a:pt x="115" y="299"/>
                    </a:lnTo>
                    <a:lnTo>
                      <a:pt x="115" y="299"/>
                    </a:lnTo>
                    <a:lnTo>
                      <a:pt x="115" y="301"/>
                    </a:lnTo>
                    <a:lnTo>
                      <a:pt x="117" y="302"/>
                    </a:lnTo>
                    <a:lnTo>
                      <a:pt x="117" y="302"/>
                    </a:lnTo>
                    <a:lnTo>
                      <a:pt x="115" y="304"/>
                    </a:lnTo>
                    <a:lnTo>
                      <a:pt x="111" y="304"/>
                    </a:lnTo>
                    <a:lnTo>
                      <a:pt x="109" y="304"/>
                    </a:lnTo>
                    <a:lnTo>
                      <a:pt x="108" y="307"/>
                    </a:lnTo>
                    <a:lnTo>
                      <a:pt x="103" y="309"/>
                    </a:lnTo>
                    <a:lnTo>
                      <a:pt x="101" y="309"/>
                    </a:lnTo>
                    <a:lnTo>
                      <a:pt x="100" y="309"/>
                    </a:lnTo>
                    <a:lnTo>
                      <a:pt x="97" y="310"/>
                    </a:lnTo>
                    <a:lnTo>
                      <a:pt x="90" y="315"/>
                    </a:lnTo>
                    <a:lnTo>
                      <a:pt x="87" y="316"/>
                    </a:lnTo>
                    <a:lnTo>
                      <a:pt x="84" y="318"/>
                    </a:lnTo>
                    <a:lnTo>
                      <a:pt x="83" y="320"/>
                    </a:lnTo>
                    <a:lnTo>
                      <a:pt x="83" y="320"/>
                    </a:lnTo>
                    <a:lnTo>
                      <a:pt x="83" y="321"/>
                    </a:lnTo>
                    <a:lnTo>
                      <a:pt x="79" y="326"/>
                    </a:lnTo>
                    <a:lnTo>
                      <a:pt x="76" y="326"/>
                    </a:lnTo>
                    <a:lnTo>
                      <a:pt x="73" y="326"/>
                    </a:lnTo>
                    <a:lnTo>
                      <a:pt x="72" y="327"/>
                    </a:lnTo>
                    <a:lnTo>
                      <a:pt x="70" y="327"/>
                    </a:lnTo>
                    <a:lnTo>
                      <a:pt x="64" y="327"/>
                    </a:lnTo>
                    <a:lnTo>
                      <a:pt x="62" y="327"/>
                    </a:lnTo>
                    <a:lnTo>
                      <a:pt x="59" y="326"/>
                    </a:lnTo>
                    <a:lnTo>
                      <a:pt x="58" y="327"/>
                    </a:lnTo>
                    <a:lnTo>
                      <a:pt x="56" y="327"/>
                    </a:lnTo>
                    <a:lnTo>
                      <a:pt x="56" y="327"/>
                    </a:lnTo>
                    <a:lnTo>
                      <a:pt x="54" y="332"/>
                    </a:lnTo>
                    <a:lnTo>
                      <a:pt x="53" y="332"/>
                    </a:lnTo>
                    <a:lnTo>
                      <a:pt x="53" y="334"/>
                    </a:lnTo>
                    <a:lnTo>
                      <a:pt x="53" y="335"/>
                    </a:lnTo>
                    <a:lnTo>
                      <a:pt x="51" y="337"/>
                    </a:lnTo>
                    <a:lnTo>
                      <a:pt x="51" y="338"/>
                    </a:lnTo>
                    <a:lnTo>
                      <a:pt x="50" y="340"/>
                    </a:lnTo>
                    <a:lnTo>
                      <a:pt x="48" y="341"/>
                    </a:lnTo>
                    <a:lnTo>
                      <a:pt x="48" y="343"/>
                    </a:lnTo>
                    <a:lnTo>
                      <a:pt x="47" y="340"/>
                    </a:lnTo>
                    <a:lnTo>
                      <a:pt x="45" y="341"/>
                    </a:lnTo>
                    <a:lnTo>
                      <a:pt x="45" y="341"/>
                    </a:lnTo>
                    <a:lnTo>
                      <a:pt x="43" y="341"/>
                    </a:lnTo>
                    <a:lnTo>
                      <a:pt x="42" y="341"/>
                    </a:lnTo>
                    <a:lnTo>
                      <a:pt x="40" y="343"/>
                    </a:lnTo>
                    <a:lnTo>
                      <a:pt x="36" y="343"/>
                    </a:lnTo>
                    <a:lnTo>
                      <a:pt x="36" y="343"/>
                    </a:lnTo>
                    <a:lnTo>
                      <a:pt x="36" y="338"/>
                    </a:lnTo>
                    <a:lnTo>
                      <a:pt x="34" y="337"/>
                    </a:lnTo>
                    <a:lnTo>
                      <a:pt x="34" y="337"/>
                    </a:lnTo>
                    <a:lnTo>
                      <a:pt x="34" y="337"/>
                    </a:lnTo>
                    <a:lnTo>
                      <a:pt x="28" y="340"/>
                    </a:lnTo>
                    <a:lnTo>
                      <a:pt x="26" y="340"/>
                    </a:lnTo>
                    <a:lnTo>
                      <a:pt x="25" y="340"/>
                    </a:lnTo>
                    <a:lnTo>
                      <a:pt x="22" y="340"/>
                    </a:lnTo>
                    <a:lnTo>
                      <a:pt x="22" y="340"/>
                    </a:lnTo>
                    <a:lnTo>
                      <a:pt x="22" y="340"/>
                    </a:lnTo>
                    <a:lnTo>
                      <a:pt x="22" y="340"/>
                    </a:lnTo>
                    <a:lnTo>
                      <a:pt x="22" y="343"/>
                    </a:lnTo>
                    <a:lnTo>
                      <a:pt x="22" y="343"/>
                    </a:lnTo>
                    <a:lnTo>
                      <a:pt x="20" y="343"/>
                    </a:lnTo>
                    <a:lnTo>
                      <a:pt x="18" y="343"/>
                    </a:lnTo>
                    <a:lnTo>
                      <a:pt x="17" y="345"/>
                    </a:lnTo>
                    <a:lnTo>
                      <a:pt x="14" y="348"/>
                    </a:lnTo>
                    <a:lnTo>
                      <a:pt x="11" y="348"/>
                    </a:lnTo>
                    <a:lnTo>
                      <a:pt x="7" y="349"/>
                    </a:lnTo>
                    <a:lnTo>
                      <a:pt x="7" y="349"/>
                    </a:lnTo>
                    <a:lnTo>
                      <a:pt x="6" y="349"/>
                    </a:lnTo>
                    <a:lnTo>
                      <a:pt x="6" y="351"/>
                    </a:lnTo>
                    <a:lnTo>
                      <a:pt x="4" y="354"/>
                    </a:lnTo>
                    <a:lnTo>
                      <a:pt x="4" y="354"/>
                    </a:lnTo>
                    <a:lnTo>
                      <a:pt x="4" y="356"/>
                    </a:lnTo>
                    <a:lnTo>
                      <a:pt x="4" y="356"/>
                    </a:lnTo>
                    <a:lnTo>
                      <a:pt x="4" y="357"/>
                    </a:lnTo>
                    <a:lnTo>
                      <a:pt x="6" y="359"/>
                    </a:lnTo>
                    <a:lnTo>
                      <a:pt x="4" y="360"/>
                    </a:lnTo>
                    <a:lnTo>
                      <a:pt x="4" y="362"/>
                    </a:lnTo>
                    <a:lnTo>
                      <a:pt x="4" y="362"/>
                    </a:lnTo>
                    <a:lnTo>
                      <a:pt x="1" y="363"/>
                    </a:lnTo>
                    <a:lnTo>
                      <a:pt x="0" y="363"/>
                    </a:lnTo>
                    <a:lnTo>
                      <a:pt x="0" y="365"/>
                    </a:lnTo>
                    <a:lnTo>
                      <a:pt x="0" y="366"/>
                    </a:lnTo>
                    <a:lnTo>
                      <a:pt x="0" y="368"/>
                    </a:lnTo>
                    <a:lnTo>
                      <a:pt x="1" y="371"/>
                    </a:lnTo>
                    <a:lnTo>
                      <a:pt x="3" y="373"/>
                    </a:lnTo>
                    <a:lnTo>
                      <a:pt x="3" y="373"/>
                    </a:lnTo>
                    <a:lnTo>
                      <a:pt x="3" y="374"/>
                    </a:lnTo>
                    <a:lnTo>
                      <a:pt x="3" y="374"/>
                    </a:lnTo>
                    <a:lnTo>
                      <a:pt x="1" y="374"/>
                    </a:lnTo>
                    <a:lnTo>
                      <a:pt x="1" y="376"/>
                    </a:lnTo>
                    <a:lnTo>
                      <a:pt x="1" y="376"/>
                    </a:lnTo>
                    <a:lnTo>
                      <a:pt x="1" y="376"/>
                    </a:lnTo>
                    <a:lnTo>
                      <a:pt x="1" y="377"/>
                    </a:lnTo>
                    <a:lnTo>
                      <a:pt x="3" y="381"/>
                    </a:lnTo>
                    <a:lnTo>
                      <a:pt x="3" y="382"/>
                    </a:lnTo>
                    <a:lnTo>
                      <a:pt x="4" y="384"/>
                    </a:lnTo>
                    <a:lnTo>
                      <a:pt x="6" y="384"/>
                    </a:lnTo>
                    <a:lnTo>
                      <a:pt x="7" y="384"/>
                    </a:lnTo>
                    <a:lnTo>
                      <a:pt x="7" y="382"/>
                    </a:lnTo>
                    <a:lnTo>
                      <a:pt x="9" y="381"/>
                    </a:lnTo>
                    <a:lnTo>
                      <a:pt x="11" y="381"/>
                    </a:lnTo>
                    <a:lnTo>
                      <a:pt x="12" y="381"/>
                    </a:lnTo>
                    <a:lnTo>
                      <a:pt x="15" y="382"/>
                    </a:lnTo>
                    <a:lnTo>
                      <a:pt x="20" y="384"/>
                    </a:lnTo>
                    <a:lnTo>
                      <a:pt x="22" y="385"/>
                    </a:lnTo>
                    <a:lnTo>
                      <a:pt x="22" y="387"/>
                    </a:lnTo>
                    <a:lnTo>
                      <a:pt x="22" y="387"/>
                    </a:lnTo>
                    <a:lnTo>
                      <a:pt x="20" y="390"/>
                    </a:lnTo>
                    <a:lnTo>
                      <a:pt x="20" y="391"/>
                    </a:lnTo>
                    <a:lnTo>
                      <a:pt x="20" y="393"/>
                    </a:lnTo>
                    <a:lnTo>
                      <a:pt x="22" y="395"/>
                    </a:lnTo>
                    <a:lnTo>
                      <a:pt x="23" y="398"/>
                    </a:lnTo>
                    <a:lnTo>
                      <a:pt x="23" y="399"/>
                    </a:lnTo>
                    <a:lnTo>
                      <a:pt x="23" y="399"/>
                    </a:lnTo>
                    <a:lnTo>
                      <a:pt x="23" y="401"/>
                    </a:lnTo>
                    <a:lnTo>
                      <a:pt x="23" y="402"/>
                    </a:lnTo>
                    <a:lnTo>
                      <a:pt x="23" y="404"/>
                    </a:lnTo>
                    <a:lnTo>
                      <a:pt x="23" y="406"/>
                    </a:lnTo>
                    <a:lnTo>
                      <a:pt x="25" y="406"/>
                    </a:lnTo>
                    <a:lnTo>
                      <a:pt x="26" y="407"/>
                    </a:lnTo>
                    <a:lnTo>
                      <a:pt x="26" y="409"/>
                    </a:lnTo>
                    <a:lnTo>
                      <a:pt x="26" y="410"/>
                    </a:lnTo>
                    <a:lnTo>
                      <a:pt x="25" y="412"/>
                    </a:lnTo>
                    <a:lnTo>
                      <a:pt x="23" y="412"/>
                    </a:lnTo>
                    <a:lnTo>
                      <a:pt x="23" y="412"/>
                    </a:lnTo>
                    <a:lnTo>
                      <a:pt x="23" y="412"/>
                    </a:lnTo>
                    <a:lnTo>
                      <a:pt x="22" y="412"/>
                    </a:lnTo>
                    <a:lnTo>
                      <a:pt x="20" y="412"/>
                    </a:lnTo>
                    <a:lnTo>
                      <a:pt x="20" y="412"/>
                    </a:lnTo>
                    <a:lnTo>
                      <a:pt x="20" y="412"/>
                    </a:lnTo>
                    <a:lnTo>
                      <a:pt x="18" y="412"/>
                    </a:lnTo>
                    <a:lnTo>
                      <a:pt x="17" y="412"/>
                    </a:lnTo>
                    <a:lnTo>
                      <a:pt x="14" y="413"/>
                    </a:lnTo>
                    <a:lnTo>
                      <a:pt x="14" y="415"/>
                    </a:lnTo>
                    <a:lnTo>
                      <a:pt x="14" y="415"/>
                    </a:lnTo>
                    <a:lnTo>
                      <a:pt x="15" y="417"/>
                    </a:lnTo>
                    <a:lnTo>
                      <a:pt x="15" y="417"/>
                    </a:lnTo>
                    <a:lnTo>
                      <a:pt x="17" y="417"/>
                    </a:lnTo>
                    <a:lnTo>
                      <a:pt x="17" y="417"/>
                    </a:lnTo>
                    <a:lnTo>
                      <a:pt x="18" y="417"/>
                    </a:lnTo>
                    <a:lnTo>
                      <a:pt x="20" y="417"/>
                    </a:lnTo>
                    <a:lnTo>
                      <a:pt x="22" y="418"/>
                    </a:lnTo>
                    <a:lnTo>
                      <a:pt x="23" y="418"/>
                    </a:lnTo>
                    <a:lnTo>
                      <a:pt x="23" y="418"/>
                    </a:lnTo>
                    <a:lnTo>
                      <a:pt x="25" y="418"/>
                    </a:lnTo>
                    <a:lnTo>
                      <a:pt x="26" y="418"/>
                    </a:lnTo>
                    <a:lnTo>
                      <a:pt x="31" y="420"/>
                    </a:lnTo>
                    <a:lnTo>
                      <a:pt x="31" y="420"/>
                    </a:lnTo>
                    <a:lnTo>
                      <a:pt x="32" y="423"/>
                    </a:lnTo>
                    <a:lnTo>
                      <a:pt x="32" y="423"/>
                    </a:lnTo>
                    <a:lnTo>
                      <a:pt x="34" y="423"/>
                    </a:lnTo>
                    <a:lnTo>
                      <a:pt x="36" y="423"/>
                    </a:lnTo>
                    <a:lnTo>
                      <a:pt x="37" y="424"/>
                    </a:lnTo>
                    <a:lnTo>
                      <a:pt x="39" y="426"/>
                    </a:lnTo>
                    <a:lnTo>
                      <a:pt x="40" y="426"/>
                    </a:lnTo>
                    <a:lnTo>
                      <a:pt x="40" y="427"/>
                    </a:lnTo>
                    <a:lnTo>
                      <a:pt x="40" y="429"/>
                    </a:lnTo>
                    <a:lnTo>
                      <a:pt x="42" y="431"/>
                    </a:lnTo>
                    <a:lnTo>
                      <a:pt x="42" y="435"/>
                    </a:lnTo>
                    <a:lnTo>
                      <a:pt x="40" y="437"/>
                    </a:lnTo>
                    <a:lnTo>
                      <a:pt x="40" y="437"/>
                    </a:lnTo>
                    <a:lnTo>
                      <a:pt x="40" y="437"/>
                    </a:lnTo>
                    <a:lnTo>
                      <a:pt x="40" y="438"/>
                    </a:lnTo>
                    <a:lnTo>
                      <a:pt x="40" y="438"/>
                    </a:lnTo>
                    <a:lnTo>
                      <a:pt x="42" y="440"/>
                    </a:lnTo>
                    <a:lnTo>
                      <a:pt x="43" y="440"/>
                    </a:lnTo>
                    <a:lnTo>
                      <a:pt x="43" y="440"/>
                    </a:lnTo>
                    <a:lnTo>
                      <a:pt x="45" y="443"/>
                    </a:lnTo>
                    <a:lnTo>
                      <a:pt x="45" y="443"/>
                    </a:lnTo>
                    <a:lnTo>
                      <a:pt x="47" y="443"/>
                    </a:lnTo>
                    <a:lnTo>
                      <a:pt x="48" y="443"/>
                    </a:lnTo>
                    <a:lnTo>
                      <a:pt x="51" y="442"/>
                    </a:lnTo>
                    <a:lnTo>
                      <a:pt x="51" y="442"/>
                    </a:lnTo>
                    <a:lnTo>
                      <a:pt x="51" y="445"/>
                    </a:lnTo>
                    <a:lnTo>
                      <a:pt x="53" y="445"/>
                    </a:lnTo>
                    <a:lnTo>
                      <a:pt x="54" y="446"/>
                    </a:lnTo>
                    <a:lnTo>
                      <a:pt x="56" y="446"/>
                    </a:lnTo>
                    <a:lnTo>
                      <a:pt x="58" y="448"/>
                    </a:lnTo>
                    <a:lnTo>
                      <a:pt x="61" y="449"/>
                    </a:lnTo>
                    <a:lnTo>
                      <a:pt x="65" y="449"/>
                    </a:lnTo>
                    <a:lnTo>
                      <a:pt x="67" y="451"/>
                    </a:lnTo>
                    <a:lnTo>
                      <a:pt x="68" y="451"/>
                    </a:lnTo>
                    <a:lnTo>
                      <a:pt x="70" y="451"/>
                    </a:lnTo>
                    <a:lnTo>
                      <a:pt x="72" y="451"/>
                    </a:lnTo>
                    <a:lnTo>
                      <a:pt x="73" y="449"/>
                    </a:lnTo>
                    <a:lnTo>
                      <a:pt x="73" y="449"/>
                    </a:lnTo>
                    <a:lnTo>
                      <a:pt x="73" y="451"/>
                    </a:lnTo>
                    <a:lnTo>
                      <a:pt x="73" y="451"/>
                    </a:lnTo>
                    <a:lnTo>
                      <a:pt x="75" y="451"/>
                    </a:lnTo>
                    <a:lnTo>
                      <a:pt x="75" y="451"/>
                    </a:lnTo>
                    <a:lnTo>
                      <a:pt x="75" y="451"/>
                    </a:lnTo>
                    <a:lnTo>
                      <a:pt x="76" y="451"/>
                    </a:lnTo>
                    <a:lnTo>
                      <a:pt x="78" y="451"/>
                    </a:lnTo>
                    <a:lnTo>
                      <a:pt x="78" y="451"/>
                    </a:lnTo>
                    <a:lnTo>
                      <a:pt x="78" y="451"/>
                    </a:lnTo>
                    <a:lnTo>
                      <a:pt x="78" y="451"/>
                    </a:lnTo>
                    <a:lnTo>
                      <a:pt x="78" y="454"/>
                    </a:lnTo>
                    <a:lnTo>
                      <a:pt x="78" y="456"/>
                    </a:lnTo>
                    <a:lnTo>
                      <a:pt x="78" y="457"/>
                    </a:lnTo>
                    <a:lnTo>
                      <a:pt x="79" y="462"/>
                    </a:lnTo>
                    <a:lnTo>
                      <a:pt x="81" y="465"/>
                    </a:lnTo>
                    <a:lnTo>
                      <a:pt x="83" y="468"/>
                    </a:lnTo>
                    <a:lnTo>
                      <a:pt x="83" y="470"/>
                    </a:lnTo>
                    <a:lnTo>
                      <a:pt x="83" y="470"/>
                    </a:lnTo>
                    <a:lnTo>
                      <a:pt x="86" y="470"/>
                    </a:lnTo>
                    <a:lnTo>
                      <a:pt x="89" y="471"/>
                    </a:lnTo>
                    <a:lnTo>
                      <a:pt x="89" y="471"/>
                    </a:lnTo>
                    <a:lnTo>
                      <a:pt x="90" y="473"/>
                    </a:lnTo>
                    <a:lnTo>
                      <a:pt x="92" y="474"/>
                    </a:lnTo>
                    <a:lnTo>
                      <a:pt x="93" y="474"/>
                    </a:lnTo>
                    <a:lnTo>
                      <a:pt x="93" y="476"/>
                    </a:lnTo>
                    <a:lnTo>
                      <a:pt x="93" y="476"/>
                    </a:lnTo>
                    <a:lnTo>
                      <a:pt x="93" y="478"/>
                    </a:lnTo>
                    <a:lnTo>
                      <a:pt x="93" y="478"/>
                    </a:lnTo>
                    <a:lnTo>
                      <a:pt x="90" y="481"/>
                    </a:lnTo>
                    <a:lnTo>
                      <a:pt x="90" y="481"/>
                    </a:lnTo>
                    <a:lnTo>
                      <a:pt x="90" y="481"/>
                    </a:lnTo>
                    <a:lnTo>
                      <a:pt x="90" y="482"/>
                    </a:lnTo>
                    <a:lnTo>
                      <a:pt x="90" y="482"/>
                    </a:lnTo>
                    <a:lnTo>
                      <a:pt x="90" y="484"/>
                    </a:lnTo>
                    <a:lnTo>
                      <a:pt x="90" y="485"/>
                    </a:lnTo>
                    <a:lnTo>
                      <a:pt x="90" y="485"/>
                    </a:lnTo>
                    <a:lnTo>
                      <a:pt x="90" y="490"/>
                    </a:lnTo>
                    <a:lnTo>
                      <a:pt x="90" y="493"/>
                    </a:lnTo>
                    <a:lnTo>
                      <a:pt x="92" y="493"/>
                    </a:lnTo>
                    <a:lnTo>
                      <a:pt x="93" y="495"/>
                    </a:lnTo>
                    <a:lnTo>
                      <a:pt x="93" y="496"/>
                    </a:lnTo>
                    <a:lnTo>
                      <a:pt x="95" y="496"/>
                    </a:lnTo>
                    <a:lnTo>
                      <a:pt x="95" y="496"/>
                    </a:lnTo>
                    <a:lnTo>
                      <a:pt x="95" y="498"/>
                    </a:lnTo>
                    <a:lnTo>
                      <a:pt x="97" y="498"/>
                    </a:lnTo>
                    <a:lnTo>
                      <a:pt x="97" y="498"/>
                    </a:lnTo>
                    <a:lnTo>
                      <a:pt x="97" y="499"/>
                    </a:lnTo>
                    <a:lnTo>
                      <a:pt x="97" y="501"/>
                    </a:lnTo>
                    <a:lnTo>
                      <a:pt x="97" y="503"/>
                    </a:lnTo>
                    <a:lnTo>
                      <a:pt x="97" y="503"/>
                    </a:lnTo>
                    <a:lnTo>
                      <a:pt x="97" y="503"/>
                    </a:lnTo>
                    <a:lnTo>
                      <a:pt x="98" y="504"/>
                    </a:lnTo>
                    <a:lnTo>
                      <a:pt x="98" y="506"/>
                    </a:lnTo>
                    <a:lnTo>
                      <a:pt x="98" y="507"/>
                    </a:lnTo>
                    <a:lnTo>
                      <a:pt x="98" y="507"/>
                    </a:lnTo>
                    <a:lnTo>
                      <a:pt x="98" y="507"/>
                    </a:lnTo>
                    <a:lnTo>
                      <a:pt x="98" y="509"/>
                    </a:lnTo>
                    <a:lnTo>
                      <a:pt x="98" y="512"/>
                    </a:lnTo>
                    <a:lnTo>
                      <a:pt x="98" y="514"/>
                    </a:lnTo>
                    <a:lnTo>
                      <a:pt x="98" y="514"/>
                    </a:lnTo>
                    <a:lnTo>
                      <a:pt x="98" y="514"/>
                    </a:lnTo>
                    <a:lnTo>
                      <a:pt x="97" y="514"/>
                    </a:lnTo>
                    <a:lnTo>
                      <a:pt x="97" y="514"/>
                    </a:lnTo>
                    <a:lnTo>
                      <a:pt x="95" y="515"/>
                    </a:lnTo>
                    <a:lnTo>
                      <a:pt x="95" y="517"/>
                    </a:lnTo>
                    <a:lnTo>
                      <a:pt x="93" y="517"/>
                    </a:lnTo>
                    <a:lnTo>
                      <a:pt x="92" y="515"/>
                    </a:lnTo>
                    <a:lnTo>
                      <a:pt x="90" y="514"/>
                    </a:lnTo>
                    <a:lnTo>
                      <a:pt x="90" y="514"/>
                    </a:lnTo>
                    <a:lnTo>
                      <a:pt x="90" y="512"/>
                    </a:lnTo>
                    <a:lnTo>
                      <a:pt x="89" y="512"/>
                    </a:lnTo>
                    <a:lnTo>
                      <a:pt x="89" y="512"/>
                    </a:lnTo>
                    <a:lnTo>
                      <a:pt x="86" y="512"/>
                    </a:lnTo>
                    <a:lnTo>
                      <a:pt x="84" y="512"/>
                    </a:lnTo>
                    <a:lnTo>
                      <a:pt x="84" y="512"/>
                    </a:lnTo>
                    <a:lnTo>
                      <a:pt x="84" y="514"/>
                    </a:lnTo>
                    <a:lnTo>
                      <a:pt x="84" y="514"/>
                    </a:lnTo>
                    <a:lnTo>
                      <a:pt x="84" y="515"/>
                    </a:lnTo>
                    <a:lnTo>
                      <a:pt x="86" y="517"/>
                    </a:lnTo>
                    <a:lnTo>
                      <a:pt x="86" y="518"/>
                    </a:lnTo>
                    <a:lnTo>
                      <a:pt x="86" y="520"/>
                    </a:lnTo>
                    <a:lnTo>
                      <a:pt x="89" y="523"/>
                    </a:lnTo>
                    <a:lnTo>
                      <a:pt x="90" y="525"/>
                    </a:lnTo>
                    <a:lnTo>
                      <a:pt x="90" y="525"/>
                    </a:lnTo>
                    <a:lnTo>
                      <a:pt x="90" y="525"/>
                    </a:lnTo>
                    <a:lnTo>
                      <a:pt x="90" y="526"/>
                    </a:lnTo>
                    <a:lnTo>
                      <a:pt x="89" y="528"/>
                    </a:lnTo>
                    <a:lnTo>
                      <a:pt x="89" y="529"/>
                    </a:lnTo>
                    <a:lnTo>
                      <a:pt x="90" y="531"/>
                    </a:lnTo>
                    <a:lnTo>
                      <a:pt x="90" y="531"/>
                    </a:lnTo>
                    <a:lnTo>
                      <a:pt x="90" y="532"/>
                    </a:lnTo>
                    <a:lnTo>
                      <a:pt x="90" y="534"/>
                    </a:lnTo>
                    <a:lnTo>
                      <a:pt x="90" y="535"/>
                    </a:lnTo>
                    <a:lnTo>
                      <a:pt x="90" y="537"/>
                    </a:lnTo>
                    <a:lnTo>
                      <a:pt x="90" y="539"/>
                    </a:lnTo>
                    <a:lnTo>
                      <a:pt x="90" y="539"/>
                    </a:lnTo>
                    <a:lnTo>
                      <a:pt x="92" y="539"/>
                    </a:lnTo>
                    <a:lnTo>
                      <a:pt x="92" y="539"/>
                    </a:lnTo>
                    <a:lnTo>
                      <a:pt x="93" y="537"/>
                    </a:lnTo>
                    <a:lnTo>
                      <a:pt x="93" y="537"/>
                    </a:lnTo>
                    <a:lnTo>
                      <a:pt x="93" y="537"/>
                    </a:lnTo>
                    <a:lnTo>
                      <a:pt x="93" y="537"/>
                    </a:lnTo>
                    <a:lnTo>
                      <a:pt x="95" y="535"/>
                    </a:lnTo>
                    <a:lnTo>
                      <a:pt x="95" y="535"/>
                    </a:lnTo>
                    <a:lnTo>
                      <a:pt x="97" y="535"/>
                    </a:lnTo>
                    <a:lnTo>
                      <a:pt x="97" y="535"/>
                    </a:lnTo>
                    <a:lnTo>
                      <a:pt x="98" y="539"/>
                    </a:lnTo>
                    <a:lnTo>
                      <a:pt x="100" y="542"/>
                    </a:lnTo>
                    <a:lnTo>
                      <a:pt x="101" y="542"/>
                    </a:lnTo>
                    <a:lnTo>
                      <a:pt x="101" y="543"/>
                    </a:lnTo>
                    <a:lnTo>
                      <a:pt x="103" y="545"/>
                    </a:lnTo>
                    <a:lnTo>
                      <a:pt x="104" y="545"/>
                    </a:lnTo>
                    <a:lnTo>
                      <a:pt x="106" y="545"/>
                    </a:lnTo>
                    <a:lnTo>
                      <a:pt x="109" y="545"/>
                    </a:lnTo>
                    <a:lnTo>
                      <a:pt x="109" y="546"/>
                    </a:lnTo>
                    <a:lnTo>
                      <a:pt x="111" y="546"/>
                    </a:lnTo>
                    <a:lnTo>
                      <a:pt x="111" y="546"/>
                    </a:lnTo>
                    <a:lnTo>
                      <a:pt x="111" y="546"/>
                    </a:lnTo>
                    <a:lnTo>
                      <a:pt x="114" y="548"/>
                    </a:lnTo>
                    <a:lnTo>
                      <a:pt x="115" y="548"/>
                    </a:lnTo>
                    <a:lnTo>
                      <a:pt x="115" y="550"/>
                    </a:lnTo>
                    <a:lnTo>
                      <a:pt x="115" y="550"/>
                    </a:lnTo>
                    <a:lnTo>
                      <a:pt x="115" y="551"/>
                    </a:lnTo>
                    <a:lnTo>
                      <a:pt x="115" y="553"/>
                    </a:lnTo>
                    <a:lnTo>
                      <a:pt x="115" y="553"/>
                    </a:lnTo>
                    <a:lnTo>
                      <a:pt x="117" y="553"/>
                    </a:lnTo>
                    <a:lnTo>
                      <a:pt x="118" y="554"/>
                    </a:lnTo>
                    <a:lnTo>
                      <a:pt x="122" y="556"/>
                    </a:lnTo>
                    <a:lnTo>
                      <a:pt x="123" y="556"/>
                    </a:lnTo>
                    <a:lnTo>
                      <a:pt x="125" y="556"/>
                    </a:lnTo>
                    <a:lnTo>
                      <a:pt x="125" y="557"/>
                    </a:lnTo>
                    <a:lnTo>
                      <a:pt x="128" y="559"/>
                    </a:lnTo>
                    <a:lnTo>
                      <a:pt x="129" y="559"/>
                    </a:lnTo>
                    <a:lnTo>
                      <a:pt x="129" y="560"/>
                    </a:lnTo>
                    <a:lnTo>
                      <a:pt x="131" y="562"/>
                    </a:lnTo>
                    <a:lnTo>
                      <a:pt x="131" y="564"/>
                    </a:lnTo>
                    <a:lnTo>
                      <a:pt x="131" y="564"/>
                    </a:lnTo>
                    <a:lnTo>
                      <a:pt x="133" y="564"/>
                    </a:lnTo>
                    <a:lnTo>
                      <a:pt x="134" y="562"/>
                    </a:lnTo>
                    <a:lnTo>
                      <a:pt x="137" y="557"/>
                    </a:lnTo>
                    <a:lnTo>
                      <a:pt x="140" y="557"/>
                    </a:lnTo>
                    <a:lnTo>
                      <a:pt x="145" y="557"/>
                    </a:lnTo>
                    <a:lnTo>
                      <a:pt x="148" y="557"/>
                    </a:lnTo>
                    <a:lnTo>
                      <a:pt x="148" y="557"/>
                    </a:lnTo>
                    <a:lnTo>
                      <a:pt x="148" y="559"/>
                    </a:lnTo>
                    <a:lnTo>
                      <a:pt x="150" y="560"/>
                    </a:lnTo>
                    <a:lnTo>
                      <a:pt x="150" y="562"/>
                    </a:lnTo>
                    <a:lnTo>
                      <a:pt x="151" y="564"/>
                    </a:lnTo>
                    <a:lnTo>
                      <a:pt x="156" y="565"/>
                    </a:lnTo>
                    <a:lnTo>
                      <a:pt x="159" y="568"/>
                    </a:lnTo>
                    <a:lnTo>
                      <a:pt x="162" y="571"/>
                    </a:lnTo>
                    <a:lnTo>
                      <a:pt x="165" y="571"/>
                    </a:lnTo>
                    <a:lnTo>
                      <a:pt x="167" y="571"/>
                    </a:lnTo>
                    <a:lnTo>
                      <a:pt x="169" y="573"/>
                    </a:lnTo>
                    <a:lnTo>
                      <a:pt x="172" y="576"/>
                    </a:lnTo>
                    <a:lnTo>
                      <a:pt x="173" y="578"/>
                    </a:lnTo>
                    <a:lnTo>
                      <a:pt x="175" y="581"/>
                    </a:lnTo>
                    <a:lnTo>
                      <a:pt x="176" y="581"/>
                    </a:lnTo>
                    <a:lnTo>
                      <a:pt x="178" y="579"/>
                    </a:lnTo>
                    <a:lnTo>
                      <a:pt x="181" y="579"/>
                    </a:lnTo>
                    <a:lnTo>
                      <a:pt x="181" y="579"/>
                    </a:lnTo>
                    <a:lnTo>
                      <a:pt x="183" y="579"/>
                    </a:lnTo>
                    <a:lnTo>
                      <a:pt x="184" y="581"/>
                    </a:lnTo>
                    <a:lnTo>
                      <a:pt x="184" y="581"/>
                    </a:lnTo>
                    <a:lnTo>
                      <a:pt x="184" y="581"/>
                    </a:lnTo>
                    <a:lnTo>
                      <a:pt x="186" y="584"/>
                    </a:lnTo>
                    <a:lnTo>
                      <a:pt x="186" y="586"/>
                    </a:lnTo>
                    <a:lnTo>
                      <a:pt x="187" y="587"/>
                    </a:lnTo>
                    <a:lnTo>
                      <a:pt x="189" y="589"/>
                    </a:lnTo>
                    <a:lnTo>
                      <a:pt x="190" y="589"/>
                    </a:lnTo>
                    <a:lnTo>
                      <a:pt x="194" y="592"/>
                    </a:lnTo>
                    <a:lnTo>
                      <a:pt x="194" y="592"/>
                    </a:lnTo>
                    <a:lnTo>
                      <a:pt x="195" y="593"/>
                    </a:lnTo>
                    <a:lnTo>
                      <a:pt x="195" y="593"/>
                    </a:lnTo>
                    <a:lnTo>
                      <a:pt x="197" y="593"/>
                    </a:lnTo>
                    <a:lnTo>
                      <a:pt x="197" y="593"/>
                    </a:lnTo>
                    <a:lnTo>
                      <a:pt x="201" y="592"/>
                    </a:lnTo>
                    <a:lnTo>
                      <a:pt x="201" y="592"/>
                    </a:lnTo>
                    <a:lnTo>
                      <a:pt x="201" y="592"/>
                    </a:lnTo>
                    <a:lnTo>
                      <a:pt x="203" y="593"/>
                    </a:lnTo>
                    <a:lnTo>
                      <a:pt x="203" y="593"/>
                    </a:lnTo>
                    <a:lnTo>
                      <a:pt x="201" y="595"/>
                    </a:lnTo>
                    <a:lnTo>
                      <a:pt x="201" y="596"/>
                    </a:lnTo>
                    <a:lnTo>
                      <a:pt x="201" y="598"/>
                    </a:lnTo>
                    <a:lnTo>
                      <a:pt x="203" y="598"/>
                    </a:lnTo>
                    <a:lnTo>
                      <a:pt x="208" y="600"/>
                    </a:lnTo>
                    <a:lnTo>
                      <a:pt x="212" y="600"/>
                    </a:lnTo>
                    <a:lnTo>
                      <a:pt x="214" y="600"/>
                    </a:lnTo>
                    <a:lnTo>
                      <a:pt x="214" y="601"/>
                    </a:lnTo>
                    <a:lnTo>
                      <a:pt x="215" y="604"/>
                    </a:lnTo>
                    <a:lnTo>
                      <a:pt x="217" y="606"/>
                    </a:lnTo>
                    <a:lnTo>
                      <a:pt x="217" y="606"/>
                    </a:lnTo>
                    <a:lnTo>
                      <a:pt x="219" y="606"/>
                    </a:lnTo>
                    <a:lnTo>
                      <a:pt x="219" y="604"/>
                    </a:lnTo>
                    <a:lnTo>
                      <a:pt x="219" y="603"/>
                    </a:lnTo>
                    <a:lnTo>
                      <a:pt x="220" y="603"/>
                    </a:lnTo>
                    <a:lnTo>
                      <a:pt x="220" y="603"/>
                    </a:lnTo>
                    <a:lnTo>
                      <a:pt x="220" y="603"/>
                    </a:lnTo>
                    <a:lnTo>
                      <a:pt x="222" y="604"/>
                    </a:lnTo>
                    <a:lnTo>
                      <a:pt x="223" y="606"/>
                    </a:lnTo>
                    <a:lnTo>
                      <a:pt x="225" y="606"/>
                    </a:lnTo>
                    <a:lnTo>
                      <a:pt x="226" y="606"/>
                    </a:lnTo>
                    <a:lnTo>
                      <a:pt x="226" y="606"/>
                    </a:lnTo>
                    <a:lnTo>
                      <a:pt x="226" y="603"/>
                    </a:lnTo>
                    <a:lnTo>
                      <a:pt x="226" y="603"/>
                    </a:lnTo>
                    <a:lnTo>
                      <a:pt x="228" y="603"/>
                    </a:lnTo>
                    <a:lnTo>
                      <a:pt x="229" y="603"/>
                    </a:lnTo>
                    <a:lnTo>
                      <a:pt x="229" y="603"/>
                    </a:lnTo>
                    <a:lnTo>
                      <a:pt x="231" y="604"/>
                    </a:lnTo>
                    <a:lnTo>
                      <a:pt x="233" y="604"/>
                    </a:lnTo>
                    <a:lnTo>
                      <a:pt x="234" y="604"/>
                    </a:lnTo>
                    <a:lnTo>
                      <a:pt x="236" y="606"/>
                    </a:lnTo>
                    <a:lnTo>
                      <a:pt x="237" y="607"/>
                    </a:lnTo>
                    <a:lnTo>
                      <a:pt x="240" y="607"/>
                    </a:lnTo>
                    <a:lnTo>
                      <a:pt x="244" y="607"/>
                    </a:lnTo>
                    <a:lnTo>
                      <a:pt x="245" y="607"/>
                    </a:lnTo>
                    <a:lnTo>
                      <a:pt x="245" y="607"/>
                    </a:lnTo>
                    <a:lnTo>
                      <a:pt x="247" y="607"/>
                    </a:lnTo>
                    <a:lnTo>
                      <a:pt x="250" y="606"/>
                    </a:lnTo>
                    <a:lnTo>
                      <a:pt x="251" y="606"/>
                    </a:lnTo>
                    <a:lnTo>
                      <a:pt x="253" y="607"/>
                    </a:lnTo>
                    <a:lnTo>
                      <a:pt x="255" y="607"/>
                    </a:lnTo>
                    <a:lnTo>
                      <a:pt x="255" y="607"/>
                    </a:lnTo>
                    <a:lnTo>
                      <a:pt x="255" y="606"/>
                    </a:lnTo>
                    <a:lnTo>
                      <a:pt x="255" y="606"/>
                    </a:lnTo>
                    <a:lnTo>
                      <a:pt x="255" y="606"/>
                    </a:lnTo>
                    <a:lnTo>
                      <a:pt x="255" y="606"/>
                    </a:lnTo>
                    <a:lnTo>
                      <a:pt x="258" y="604"/>
                    </a:lnTo>
                    <a:lnTo>
                      <a:pt x="259" y="604"/>
                    </a:lnTo>
                    <a:lnTo>
                      <a:pt x="261" y="604"/>
                    </a:lnTo>
                    <a:lnTo>
                      <a:pt x="261" y="604"/>
                    </a:lnTo>
                    <a:lnTo>
                      <a:pt x="262" y="603"/>
                    </a:lnTo>
                    <a:lnTo>
                      <a:pt x="262" y="603"/>
                    </a:lnTo>
                    <a:lnTo>
                      <a:pt x="264" y="603"/>
                    </a:lnTo>
                    <a:lnTo>
                      <a:pt x="265" y="604"/>
                    </a:lnTo>
                    <a:lnTo>
                      <a:pt x="267" y="604"/>
                    </a:lnTo>
                    <a:lnTo>
                      <a:pt x="267" y="604"/>
                    </a:lnTo>
                    <a:lnTo>
                      <a:pt x="267" y="606"/>
                    </a:lnTo>
                    <a:lnTo>
                      <a:pt x="267" y="607"/>
                    </a:lnTo>
                    <a:lnTo>
                      <a:pt x="267" y="609"/>
                    </a:lnTo>
                    <a:lnTo>
                      <a:pt x="265" y="614"/>
                    </a:lnTo>
                    <a:lnTo>
                      <a:pt x="265" y="615"/>
                    </a:lnTo>
                    <a:lnTo>
                      <a:pt x="267" y="617"/>
                    </a:lnTo>
                    <a:lnTo>
                      <a:pt x="269" y="618"/>
                    </a:lnTo>
                    <a:lnTo>
                      <a:pt x="269" y="615"/>
                    </a:lnTo>
                    <a:lnTo>
                      <a:pt x="269" y="615"/>
                    </a:lnTo>
                    <a:lnTo>
                      <a:pt x="270" y="614"/>
                    </a:lnTo>
                    <a:lnTo>
                      <a:pt x="272" y="612"/>
                    </a:lnTo>
                    <a:lnTo>
                      <a:pt x="273" y="611"/>
                    </a:lnTo>
                    <a:lnTo>
                      <a:pt x="275" y="607"/>
                    </a:lnTo>
                    <a:lnTo>
                      <a:pt x="276" y="606"/>
                    </a:lnTo>
                    <a:lnTo>
                      <a:pt x="278" y="603"/>
                    </a:lnTo>
                    <a:lnTo>
                      <a:pt x="278" y="603"/>
                    </a:lnTo>
                    <a:lnTo>
                      <a:pt x="280" y="603"/>
                    </a:lnTo>
                    <a:lnTo>
                      <a:pt x="280" y="603"/>
                    </a:lnTo>
                    <a:lnTo>
                      <a:pt x="281" y="601"/>
                    </a:lnTo>
                    <a:lnTo>
                      <a:pt x="283" y="601"/>
                    </a:lnTo>
                    <a:lnTo>
                      <a:pt x="284" y="600"/>
                    </a:lnTo>
                    <a:lnTo>
                      <a:pt x="286" y="598"/>
                    </a:lnTo>
                    <a:lnTo>
                      <a:pt x="287" y="598"/>
                    </a:lnTo>
                    <a:lnTo>
                      <a:pt x="289" y="598"/>
                    </a:lnTo>
                    <a:lnTo>
                      <a:pt x="292" y="600"/>
                    </a:lnTo>
                    <a:lnTo>
                      <a:pt x="294" y="600"/>
                    </a:lnTo>
                    <a:lnTo>
                      <a:pt x="294" y="600"/>
                    </a:lnTo>
                    <a:lnTo>
                      <a:pt x="294" y="601"/>
                    </a:lnTo>
                    <a:lnTo>
                      <a:pt x="294" y="603"/>
                    </a:lnTo>
                    <a:lnTo>
                      <a:pt x="294" y="603"/>
                    </a:lnTo>
                    <a:lnTo>
                      <a:pt x="294" y="603"/>
                    </a:lnTo>
                    <a:lnTo>
                      <a:pt x="295" y="603"/>
                    </a:lnTo>
                    <a:lnTo>
                      <a:pt x="298" y="603"/>
                    </a:lnTo>
                    <a:lnTo>
                      <a:pt x="300" y="603"/>
                    </a:lnTo>
                    <a:lnTo>
                      <a:pt x="303" y="604"/>
                    </a:lnTo>
                    <a:lnTo>
                      <a:pt x="305" y="604"/>
                    </a:lnTo>
                    <a:lnTo>
                      <a:pt x="306" y="604"/>
                    </a:lnTo>
                    <a:lnTo>
                      <a:pt x="306" y="604"/>
                    </a:lnTo>
                    <a:lnTo>
                      <a:pt x="308" y="604"/>
                    </a:lnTo>
                    <a:lnTo>
                      <a:pt x="309" y="603"/>
                    </a:lnTo>
                    <a:lnTo>
                      <a:pt x="309" y="603"/>
                    </a:lnTo>
                    <a:lnTo>
                      <a:pt x="311" y="603"/>
                    </a:lnTo>
                    <a:lnTo>
                      <a:pt x="311" y="604"/>
                    </a:lnTo>
                    <a:lnTo>
                      <a:pt x="314" y="604"/>
                    </a:lnTo>
                    <a:lnTo>
                      <a:pt x="314" y="604"/>
                    </a:lnTo>
                    <a:lnTo>
                      <a:pt x="315" y="606"/>
                    </a:lnTo>
                    <a:lnTo>
                      <a:pt x="317" y="606"/>
                    </a:lnTo>
                    <a:lnTo>
                      <a:pt x="317" y="606"/>
                    </a:lnTo>
                    <a:lnTo>
                      <a:pt x="315" y="609"/>
                    </a:lnTo>
                    <a:lnTo>
                      <a:pt x="315" y="609"/>
                    </a:lnTo>
                    <a:lnTo>
                      <a:pt x="317" y="609"/>
                    </a:lnTo>
                    <a:lnTo>
                      <a:pt x="320" y="609"/>
                    </a:lnTo>
                    <a:lnTo>
                      <a:pt x="322" y="609"/>
                    </a:lnTo>
                    <a:lnTo>
                      <a:pt x="322" y="609"/>
                    </a:lnTo>
                    <a:lnTo>
                      <a:pt x="325" y="607"/>
                    </a:lnTo>
                    <a:lnTo>
                      <a:pt x="325" y="607"/>
                    </a:lnTo>
                    <a:lnTo>
                      <a:pt x="326" y="607"/>
                    </a:lnTo>
                    <a:lnTo>
                      <a:pt x="326" y="607"/>
                    </a:lnTo>
                    <a:lnTo>
                      <a:pt x="328" y="607"/>
                    </a:lnTo>
                    <a:lnTo>
                      <a:pt x="328" y="607"/>
                    </a:lnTo>
                    <a:lnTo>
                      <a:pt x="330" y="607"/>
                    </a:lnTo>
                    <a:lnTo>
                      <a:pt x="331" y="607"/>
                    </a:lnTo>
                    <a:lnTo>
                      <a:pt x="333" y="607"/>
                    </a:lnTo>
                    <a:lnTo>
                      <a:pt x="334" y="606"/>
                    </a:lnTo>
                    <a:lnTo>
                      <a:pt x="334" y="604"/>
                    </a:lnTo>
                    <a:lnTo>
                      <a:pt x="334" y="604"/>
                    </a:lnTo>
                    <a:lnTo>
                      <a:pt x="334" y="603"/>
                    </a:lnTo>
                    <a:lnTo>
                      <a:pt x="334" y="603"/>
                    </a:lnTo>
                    <a:lnTo>
                      <a:pt x="334" y="603"/>
                    </a:lnTo>
                    <a:lnTo>
                      <a:pt x="334" y="601"/>
                    </a:lnTo>
                    <a:lnTo>
                      <a:pt x="337" y="600"/>
                    </a:lnTo>
                    <a:lnTo>
                      <a:pt x="341" y="598"/>
                    </a:lnTo>
                    <a:lnTo>
                      <a:pt x="342" y="596"/>
                    </a:lnTo>
                    <a:lnTo>
                      <a:pt x="344" y="595"/>
                    </a:lnTo>
                    <a:lnTo>
                      <a:pt x="344" y="593"/>
                    </a:lnTo>
                    <a:lnTo>
                      <a:pt x="345" y="592"/>
                    </a:lnTo>
                    <a:lnTo>
                      <a:pt x="347" y="592"/>
                    </a:lnTo>
                    <a:lnTo>
                      <a:pt x="347" y="592"/>
                    </a:lnTo>
                    <a:lnTo>
                      <a:pt x="351" y="590"/>
                    </a:lnTo>
                    <a:lnTo>
                      <a:pt x="353" y="590"/>
                    </a:lnTo>
                    <a:lnTo>
                      <a:pt x="356" y="589"/>
                    </a:lnTo>
                    <a:lnTo>
                      <a:pt x="358" y="587"/>
                    </a:lnTo>
                    <a:lnTo>
                      <a:pt x="358" y="587"/>
                    </a:lnTo>
                    <a:lnTo>
                      <a:pt x="358" y="587"/>
                    </a:lnTo>
                    <a:lnTo>
                      <a:pt x="358" y="586"/>
                    </a:lnTo>
                    <a:lnTo>
                      <a:pt x="358" y="586"/>
                    </a:lnTo>
                    <a:lnTo>
                      <a:pt x="359" y="586"/>
                    </a:lnTo>
                    <a:lnTo>
                      <a:pt x="361" y="584"/>
                    </a:lnTo>
                    <a:lnTo>
                      <a:pt x="361" y="584"/>
                    </a:lnTo>
                    <a:lnTo>
                      <a:pt x="362" y="581"/>
                    </a:lnTo>
                    <a:lnTo>
                      <a:pt x="366" y="581"/>
                    </a:lnTo>
                    <a:lnTo>
                      <a:pt x="369" y="578"/>
                    </a:lnTo>
                    <a:lnTo>
                      <a:pt x="370" y="579"/>
                    </a:lnTo>
                    <a:lnTo>
                      <a:pt x="370" y="579"/>
                    </a:lnTo>
                    <a:lnTo>
                      <a:pt x="372" y="581"/>
                    </a:lnTo>
                    <a:lnTo>
                      <a:pt x="372" y="581"/>
                    </a:lnTo>
                    <a:lnTo>
                      <a:pt x="375" y="581"/>
                    </a:lnTo>
                    <a:lnTo>
                      <a:pt x="375" y="581"/>
                    </a:lnTo>
                    <a:lnTo>
                      <a:pt x="378" y="582"/>
                    </a:lnTo>
                    <a:lnTo>
                      <a:pt x="380" y="584"/>
                    </a:lnTo>
                    <a:lnTo>
                      <a:pt x="381" y="584"/>
                    </a:lnTo>
                    <a:lnTo>
                      <a:pt x="383" y="584"/>
                    </a:lnTo>
                    <a:lnTo>
                      <a:pt x="383" y="584"/>
                    </a:lnTo>
                    <a:lnTo>
                      <a:pt x="383" y="582"/>
                    </a:lnTo>
                    <a:lnTo>
                      <a:pt x="384" y="582"/>
                    </a:lnTo>
                    <a:lnTo>
                      <a:pt x="384" y="581"/>
                    </a:lnTo>
                    <a:lnTo>
                      <a:pt x="384" y="581"/>
                    </a:lnTo>
                    <a:lnTo>
                      <a:pt x="387" y="578"/>
                    </a:lnTo>
                    <a:lnTo>
                      <a:pt x="391" y="576"/>
                    </a:lnTo>
                    <a:lnTo>
                      <a:pt x="394" y="576"/>
                    </a:lnTo>
                    <a:lnTo>
                      <a:pt x="394" y="576"/>
                    </a:lnTo>
                    <a:lnTo>
                      <a:pt x="394" y="576"/>
                    </a:lnTo>
                    <a:lnTo>
                      <a:pt x="395" y="576"/>
                    </a:lnTo>
                    <a:lnTo>
                      <a:pt x="397" y="579"/>
                    </a:lnTo>
                    <a:lnTo>
                      <a:pt x="397" y="579"/>
                    </a:lnTo>
                    <a:lnTo>
                      <a:pt x="398" y="579"/>
                    </a:lnTo>
                    <a:lnTo>
                      <a:pt x="398" y="579"/>
                    </a:lnTo>
                    <a:lnTo>
                      <a:pt x="398" y="581"/>
                    </a:lnTo>
                    <a:lnTo>
                      <a:pt x="398" y="581"/>
                    </a:lnTo>
                    <a:lnTo>
                      <a:pt x="397" y="582"/>
                    </a:lnTo>
                    <a:lnTo>
                      <a:pt x="395" y="582"/>
                    </a:lnTo>
                    <a:lnTo>
                      <a:pt x="395" y="582"/>
                    </a:lnTo>
                    <a:lnTo>
                      <a:pt x="395" y="586"/>
                    </a:lnTo>
                    <a:lnTo>
                      <a:pt x="395" y="586"/>
                    </a:lnTo>
                    <a:lnTo>
                      <a:pt x="395" y="586"/>
                    </a:lnTo>
                    <a:lnTo>
                      <a:pt x="398" y="584"/>
                    </a:lnTo>
                    <a:lnTo>
                      <a:pt x="400" y="584"/>
                    </a:lnTo>
                    <a:lnTo>
                      <a:pt x="401" y="584"/>
                    </a:lnTo>
                    <a:lnTo>
                      <a:pt x="401" y="584"/>
                    </a:lnTo>
                    <a:lnTo>
                      <a:pt x="401" y="586"/>
                    </a:lnTo>
                    <a:lnTo>
                      <a:pt x="403" y="589"/>
                    </a:lnTo>
                    <a:lnTo>
                      <a:pt x="403" y="589"/>
                    </a:lnTo>
                    <a:lnTo>
                      <a:pt x="400" y="592"/>
                    </a:lnTo>
                    <a:lnTo>
                      <a:pt x="398" y="593"/>
                    </a:lnTo>
                    <a:lnTo>
                      <a:pt x="398" y="595"/>
                    </a:lnTo>
                    <a:lnTo>
                      <a:pt x="398" y="595"/>
                    </a:lnTo>
                    <a:lnTo>
                      <a:pt x="398" y="596"/>
                    </a:lnTo>
                    <a:lnTo>
                      <a:pt x="398" y="596"/>
                    </a:lnTo>
                    <a:lnTo>
                      <a:pt x="398" y="596"/>
                    </a:lnTo>
                    <a:lnTo>
                      <a:pt x="400" y="596"/>
                    </a:lnTo>
                    <a:lnTo>
                      <a:pt x="400" y="596"/>
                    </a:lnTo>
                    <a:lnTo>
                      <a:pt x="400" y="596"/>
                    </a:lnTo>
                    <a:lnTo>
                      <a:pt x="403" y="595"/>
                    </a:lnTo>
                    <a:lnTo>
                      <a:pt x="405" y="595"/>
                    </a:lnTo>
                    <a:lnTo>
                      <a:pt x="406" y="596"/>
                    </a:lnTo>
                    <a:lnTo>
                      <a:pt x="408" y="596"/>
                    </a:lnTo>
                    <a:lnTo>
                      <a:pt x="409" y="598"/>
                    </a:lnTo>
                    <a:lnTo>
                      <a:pt x="412" y="596"/>
                    </a:lnTo>
                    <a:lnTo>
                      <a:pt x="412" y="598"/>
                    </a:lnTo>
                    <a:lnTo>
                      <a:pt x="416" y="600"/>
                    </a:lnTo>
                    <a:lnTo>
                      <a:pt x="416" y="600"/>
                    </a:lnTo>
                    <a:lnTo>
                      <a:pt x="417" y="600"/>
                    </a:lnTo>
                    <a:lnTo>
                      <a:pt x="419" y="598"/>
                    </a:lnTo>
                    <a:lnTo>
                      <a:pt x="419" y="596"/>
                    </a:lnTo>
                    <a:lnTo>
                      <a:pt x="419" y="595"/>
                    </a:lnTo>
                    <a:lnTo>
                      <a:pt x="420" y="595"/>
                    </a:lnTo>
                    <a:lnTo>
                      <a:pt x="420" y="595"/>
                    </a:lnTo>
                    <a:lnTo>
                      <a:pt x="420" y="593"/>
                    </a:lnTo>
                    <a:lnTo>
                      <a:pt x="422" y="595"/>
                    </a:lnTo>
                    <a:lnTo>
                      <a:pt x="423" y="595"/>
                    </a:lnTo>
                    <a:lnTo>
                      <a:pt x="423" y="595"/>
                    </a:lnTo>
                    <a:lnTo>
                      <a:pt x="423" y="596"/>
                    </a:lnTo>
                    <a:lnTo>
                      <a:pt x="423" y="598"/>
                    </a:lnTo>
                    <a:lnTo>
                      <a:pt x="425" y="598"/>
                    </a:lnTo>
                    <a:lnTo>
                      <a:pt x="425" y="596"/>
                    </a:lnTo>
                    <a:lnTo>
                      <a:pt x="426" y="598"/>
                    </a:lnTo>
                    <a:lnTo>
                      <a:pt x="426" y="598"/>
                    </a:lnTo>
                    <a:lnTo>
                      <a:pt x="426" y="598"/>
                    </a:lnTo>
                    <a:lnTo>
                      <a:pt x="428" y="600"/>
                    </a:lnTo>
                    <a:lnTo>
                      <a:pt x="430" y="601"/>
                    </a:lnTo>
                    <a:lnTo>
                      <a:pt x="430" y="601"/>
                    </a:lnTo>
                    <a:lnTo>
                      <a:pt x="430" y="601"/>
                    </a:lnTo>
                    <a:lnTo>
                      <a:pt x="430" y="603"/>
                    </a:lnTo>
                    <a:lnTo>
                      <a:pt x="430" y="604"/>
                    </a:lnTo>
                    <a:lnTo>
                      <a:pt x="433" y="611"/>
                    </a:lnTo>
                    <a:lnTo>
                      <a:pt x="433" y="612"/>
                    </a:lnTo>
                    <a:lnTo>
                      <a:pt x="433" y="614"/>
                    </a:lnTo>
                    <a:lnTo>
                      <a:pt x="434" y="614"/>
                    </a:lnTo>
                    <a:lnTo>
                      <a:pt x="434" y="612"/>
                    </a:lnTo>
                    <a:lnTo>
                      <a:pt x="436" y="612"/>
                    </a:lnTo>
                    <a:lnTo>
                      <a:pt x="436" y="611"/>
                    </a:lnTo>
                    <a:lnTo>
                      <a:pt x="437" y="612"/>
                    </a:lnTo>
                    <a:lnTo>
                      <a:pt x="439" y="612"/>
                    </a:lnTo>
                    <a:lnTo>
                      <a:pt x="439" y="612"/>
                    </a:lnTo>
                    <a:lnTo>
                      <a:pt x="439" y="612"/>
                    </a:lnTo>
                    <a:lnTo>
                      <a:pt x="441" y="615"/>
                    </a:lnTo>
                    <a:lnTo>
                      <a:pt x="441" y="620"/>
                    </a:lnTo>
                    <a:lnTo>
                      <a:pt x="441" y="620"/>
                    </a:lnTo>
                    <a:lnTo>
                      <a:pt x="441" y="623"/>
                    </a:lnTo>
                    <a:lnTo>
                      <a:pt x="441" y="626"/>
                    </a:lnTo>
                    <a:lnTo>
                      <a:pt x="441" y="628"/>
                    </a:lnTo>
                    <a:lnTo>
                      <a:pt x="441" y="629"/>
                    </a:lnTo>
                    <a:lnTo>
                      <a:pt x="441" y="632"/>
                    </a:lnTo>
                    <a:lnTo>
                      <a:pt x="441" y="636"/>
                    </a:lnTo>
                    <a:lnTo>
                      <a:pt x="439" y="637"/>
                    </a:lnTo>
                    <a:lnTo>
                      <a:pt x="441" y="640"/>
                    </a:lnTo>
                    <a:lnTo>
                      <a:pt x="439" y="640"/>
                    </a:lnTo>
                    <a:lnTo>
                      <a:pt x="437" y="642"/>
                    </a:lnTo>
                    <a:lnTo>
                      <a:pt x="437" y="642"/>
                    </a:lnTo>
                    <a:lnTo>
                      <a:pt x="437" y="642"/>
                    </a:lnTo>
                    <a:lnTo>
                      <a:pt x="439" y="643"/>
                    </a:lnTo>
                    <a:lnTo>
                      <a:pt x="439" y="645"/>
                    </a:lnTo>
                    <a:lnTo>
                      <a:pt x="439" y="647"/>
                    </a:lnTo>
                    <a:lnTo>
                      <a:pt x="439" y="647"/>
                    </a:lnTo>
                    <a:lnTo>
                      <a:pt x="437" y="647"/>
                    </a:lnTo>
                    <a:lnTo>
                      <a:pt x="436" y="648"/>
                    </a:lnTo>
                    <a:lnTo>
                      <a:pt x="436" y="648"/>
                    </a:lnTo>
                    <a:lnTo>
                      <a:pt x="434" y="650"/>
                    </a:lnTo>
                    <a:lnTo>
                      <a:pt x="434" y="651"/>
                    </a:lnTo>
                    <a:lnTo>
                      <a:pt x="433" y="651"/>
                    </a:lnTo>
                    <a:lnTo>
                      <a:pt x="431" y="651"/>
                    </a:lnTo>
                    <a:lnTo>
                      <a:pt x="431" y="651"/>
                    </a:lnTo>
                    <a:lnTo>
                      <a:pt x="430" y="654"/>
                    </a:lnTo>
                    <a:lnTo>
                      <a:pt x="430" y="656"/>
                    </a:lnTo>
                    <a:lnTo>
                      <a:pt x="428" y="658"/>
                    </a:lnTo>
                    <a:lnTo>
                      <a:pt x="428" y="658"/>
                    </a:lnTo>
                    <a:lnTo>
                      <a:pt x="426" y="659"/>
                    </a:lnTo>
                    <a:lnTo>
                      <a:pt x="425" y="658"/>
                    </a:lnTo>
                    <a:lnTo>
                      <a:pt x="423" y="661"/>
                    </a:lnTo>
                    <a:lnTo>
                      <a:pt x="423" y="662"/>
                    </a:lnTo>
                    <a:lnTo>
                      <a:pt x="423" y="664"/>
                    </a:lnTo>
                    <a:lnTo>
                      <a:pt x="423" y="665"/>
                    </a:lnTo>
                    <a:lnTo>
                      <a:pt x="423" y="665"/>
                    </a:lnTo>
                    <a:lnTo>
                      <a:pt x="422" y="667"/>
                    </a:lnTo>
                    <a:lnTo>
                      <a:pt x="420" y="667"/>
                    </a:lnTo>
                    <a:lnTo>
                      <a:pt x="420" y="667"/>
                    </a:lnTo>
                    <a:lnTo>
                      <a:pt x="420" y="670"/>
                    </a:lnTo>
                    <a:lnTo>
                      <a:pt x="420" y="673"/>
                    </a:lnTo>
                    <a:lnTo>
                      <a:pt x="420" y="673"/>
                    </a:lnTo>
                    <a:lnTo>
                      <a:pt x="422" y="675"/>
                    </a:lnTo>
                    <a:lnTo>
                      <a:pt x="422" y="675"/>
                    </a:lnTo>
                    <a:lnTo>
                      <a:pt x="422" y="675"/>
                    </a:lnTo>
                    <a:lnTo>
                      <a:pt x="422" y="676"/>
                    </a:lnTo>
                    <a:lnTo>
                      <a:pt x="423" y="678"/>
                    </a:lnTo>
                    <a:lnTo>
                      <a:pt x="422" y="679"/>
                    </a:lnTo>
                    <a:lnTo>
                      <a:pt x="420" y="683"/>
                    </a:lnTo>
                    <a:lnTo>
                      <a:pt x="420" y="684"/>
                    </a:lnTo>
                    <a:lnTo>
                      <a:pt x="422" y="684"/>
                    </a:lnTo>
                    <a:lnTo>
                      <a:pt x="422" y="684"/>
                    </a:lnTo>
                    <a:lnTo>
                      <a:pt x="423" y="684"/>
                    </a:lnTo>
                    <a:lnTo>
                      <a:pt x="425" y="683"/>
                    </a:lnTo>
                    <a:lnTo>
                      <a:pt x="428" y="681"/>
                    </a:lnTo>
                    <a:lnTo>
                      <a:pt x="431" y="679"/>
                    </a:lnTo>
                    <a:lnTo>
                      <a:pt x="434" y="679"/>
                    </a:lnTo>
                    <a:lnTo>
                      <a:pt x="437" y="679"/>
                    </a:lnTo>
                    <a:lnTo>
                      <a:pt x="437" y="681"/>
                    </a:lnTo>
                    <a:lnTo>
                      <a:pt x="437" y="681"/>
                    </a:lnTo>
                    <a:lnTo>
                      <a:pt x="439" y="681"/>
                    </a:lnTo>
                    <a:lnTo>
                      <a:pt x="442" y="679"/>
                    </a:lnTo>
                    <a:lnTo>
                      <a:pt x="442" y="679"/>
                    </a:lnTo>
                    <a:lnTo>
                      <a:pt x="442" y="679"/>
                    </a:lnTo>
                    <a:lnTo>
                      <a:pt x="442" y="681"/>
                    </a:lnTo>
                    <a:lnTo>
                      <a:pt x="441" y="683"/>
                    </a:lnTo>
                    <a:lnTo>
                      <a:pt x="441" y="684"/>
                    </a:lnTo>
                    <a:lnTo>
                      <a:pt x="441" y="686"/>
                    </a:lnTo>
                    <a:lnTo>
                      <a:pt x="441" y="686"/>
                    </a:lnTo>
                    <a:lnTo>
                      <a:pt x="442" y="687"/>
                    </a:lnTo>
                    <a:lnTo>
                      <a:pt x="442" y="689"/>
                    </a:lnTo>
                    <a:lnTo>
                      <a:pt x="442" y="692"/>
                    </a:lnTo>
                    <a:lnTo>
                      <a:pt x="442" y="692"/>
                    </a:lnTo>
                    <a:lnTo>
                      <a:pt x="444" y="694"/>
                    </a:lnTo>
                    <a:lnTo>
                      <a:pt x="444" y="694"/>
                    </a:lnTo>
                    <a:lnTo>
                      <a:pt x="444" y="695"/>
                    </a:lnTo>
                    <a:lnTo>
                      <a:pt x="444" y="698"/>
                    </a:lnTo>
                    <a:lnTo>
                      <a:pt x="447" y="698"/>
                    </a:lnTo>
                    <a:lnTo>
                      <a:pt x="450" y="700"/>
                    </a:lnTo>
                    <a:lnTo>
                      <a:pt x="452" y="700"/>
                    </a:lnTo>
                    <a:lnTo>
                      <a:pt x="453" y="700"/>
                    </a:lnTo>
                    <a:lnTo>
                      <a:pt x="453" y="700"/>
                    </a:lnTo>
                    <a:lnTo>
                      <a:pt x="455" y="701"/>
                    </a:lnTo>
                    <a:lnTo>
                      <a:pt x="455" y="701"/>
                    </a:lnTo>
                    <a:lnTo>
                      <a:pt x="453" y="703"/>
                    </a:lnTo>
                    <a:lnTo>
                      <a:pt x="452" y="704"/>
                    </a:lnTo>
                    <a:lnTo>
                      <a:pt x="452" y="708"/>
                    </a:lnTo>
                    <a:lnTo>
                      <a:pt x="452" y="709"/>
                    </a:lnTo>
                    <a:lnTo>
                      <a:pt x="452" y="711"/>
                    </a:lnTo>
                    <a:lnTo>
                      <a:pt x="450" y="714"/>
                    </a:lnTo>
                    <a:lnTo>
                      <a:pt x="448" y="715"/>
                    </a:lnTo>
                    <a:lnTo>
                      <a:pt x="448" y="717"/>
                    </a:lnTo>
                    <a:lnTo>
                      <a:pt x="448" y="717"/>
                    </a:lnTo>
                    <a:lnTo>
                      <a:pt x="448" y="717"/>
                    </a:lnTo>
                    <a:lnTo>
                      <a:pt x="450" y="719"/>
                    </a:lnTo>
                    <a:lnTo>
                      <a:pt x="452" y="719"/>
                    </a:lnTo>
                    <a:lnTo>
                      <a:pt x="453" y="719"/>
                    </a:lnTo>
                    <a:lnTo>
                      <a:pt x="456" y="719"/>
                    </a:lnTo>
                    <a:lnTo>
                      <a:pt x="459" y="719"/>
                    </a:lnTo>
                    <a:lnTo>
                      <a:pt x="461" y="720"/>
                    </a:lnTo>
                    <a:lnTo>
                      <a:pt x="462" y="720"/>
                    </a:lnTo>
                    <a:lnTo>
                      <a:pt x="462" y="722"/>
                    </a:lnTo>
                    <a:lnTo>
                      <a:pt x="462" y="723"/>
                    </a:lnTo>
                    <a:lnTo>
                      <a:pt x="462" y="725"/>
                    </a:lnTo>
                    <a:lnTo>
                      <a:pt x="462" y="726"/>
                    </a:lnTo>
                    <a:lnTo>
                      <a:pt x="464" y="726"/>
                    </a:lnTo>
                    <a:lnTo>
                      <a:pt x="464" y="726"/>
                    </a:lnTo>
                    <a:lnTo>
                      <a:pt x="466" y="728"/>
                    </a:lnTo>
                    <a:lnTo>
                      <a:pt x="464" y="728"/>
                    </a:lnTo>
                    <a:lnTo>
                      <a:pt x="466" y="729"/>
                    </a:lnTo>
                    <a:lnTo>
                      <a:pt x="466" y="729"/>
                    </a:lnTo>
                    <a:lnTo>
                      <a:pt x="467" y="729"/>
                    </a:lnTo>
                    <a:lnTo>
                      <a:pt x="469" y="729"/>
                    </a:lnTo>
                    <a:lnTo>
                      <a:pt x="470" y="729"/>
                    </a:lnTo>
                    <a:lnTo>
                      <a:pt x="472" y="731"/>
                    </a:lnTo>
                    <a:lnTo>
                      <a:pt x="473" y="729"/>
                    </a:lnTo>
                    <a:lnTo>
                      <a:pt x="475" y="729"/>
                    </a:lnTo>
                    <a:lnTo>
                      <a:pt x="478" y="726"/>
                    </a:lnTo>
                    <a:lnTo>
                      <a:pt x="481" y="725"/>
                    </a:lnTo>
                    <a:lnTo>
                      <a:pt x="483" y="725"/>
                    </a:lnTo>
                    <a:lnTo>
                      <a:pt x="483" y="725"/>
                    </a:lnTo>
                    <a:lnTo>
                      <a:pt x="483" y="725"/>
                    </a:lnTo>
                    <a:lnTo>
                      <a:pt x="483" y="725"/>
                    </a:lnTo>
                    <a:lnTo>
                      <a:pt x="483" y="726"/>
                    </a:lnTo>
                    <a:lnTo>
                      <a:pt x="483" y="728"/>
                    </a:lnTo>
                    <a:lnTo>
                      <a:pt x="483" y="728"/>
                    </a:lnTo>
                    <a:lnTo>
                      <a:pt x="484" y="729"/>
                    </a:lnTo>
                    <a:lnTo>
                      <a:pt x="484" y="731"/>
                    </a:lnTo>
                    <a:lnTo>
                      <a:pt x="484" y="731"/>
                    </a:lnTo>
                    <a:lnTo>
                      <a:pt x="484" y="731"/>
                    </a:lnTo>
                    <a:lnTo>
                      <a:pt x="484" y="733"/>
                    </a:lnTo>
                    <a:lnTo>
                      <a:pt x="484" y="734"/>
                    </a:lnTo>
                    <a:lnTo>
                      <a:pt x="484" y="734"/>
                    </a:lnTo>
                    <a:lnTo>
                      <a:pt x="484" y="736"/>
                    </a:lnTo>
                    <a:lnTo>
                      <a:pt x="486" y="736"/>
                    </a:lnTo>
                    <a:lnTo>
                      <a:pt x="489" y="734"/>
                    </a:lnTo>
                    <a:lnTo>
                      <a:pt x="491" y="734"/>
                    </a:lnTo>
                    <a:lnTo>
                      <a:pt x="491" y="736"/>
                    </a:lnTo>
                    <a:lnTo>
                      <a:pt x="492" y="736"/>
                    </a:lnTo>
                    <a:lnTo>
                      <a:pt x="492" y="736"/>
                    </a:lnTo>
                    <a:lnTo>
                      <a:pt x="494" y="736"/>
                    </a:lnTo>
                    <a:lnTo>
                      <a:pt x="494" y="736"/>
                    </a:lnTo>
                    <a:lnTo>
                      <a:pt x="494" y="736"/>
                    </a:lnTo>
                    <a:lnTo>
                      <a:pt x="495" y="734"/>
                    </a:lnTo>
                    <a:lnTo>
                      <a:pt x="495" y="734"/>
                    </a:lnTo>
                    <a:lnTo>
                      <a:pt x="494" y="734"/>
                    </a:lnTo>
                    <a:lnTo>
                      <a:pt x="494" y="733"/>
                    </a:lnTo>
                    <a:lnTo>
                      <a:pt x="494" y="731"/>
                    </a:lnTo>
                    <a:lnTo>
                      <a:pt x="494" y="729"/>
                    </a:lnTo>
                    <a:lnTo>
                      <a:pt x="494" y="728"/>
                    </a:lnTo>
                    <a:lnTo>
                      <a:pt x="494" y="725"/>
                    </a:lnTo>
                    <a:lnTo>
                      <a:pt x="494" y="723"/>
                    </a:lnTo>
                    <a:lnTo>
                      <a:pt x="492" y="722"/>
                    </a:lnTo>
                    <a:lnTo>
                      <a:pt x="491" y="720"/>
                    </a:lnTo>
                    <a:lnTo>
                      <a:pt x="491" y="719"/>
                    </a:lnTo>
                    <a:lnTo>
                      <a:pt x="491" y="719"/>
                    </a:lnTo>
                    <a:lnTo>
                      <a:pt x="491" y="717"/>
                    </a:lnTo>
                    <a:lnTo>
                      <a:pt x="491" y="715"/>
                    </a:lnTo>
                    <a:lnTo>
                      <a:pt x="491" y="715"/>
                    </a:lnTo>
                    <a:lnTo>
                      <a:pt x="491" y="715"/>
                    </a:lnTo>
                    <a:lnTo>
                      <a:pt x="492" y="714"/>
                    </a:lnTo>
                    <a:lnTo>
                      <a:pt x="492" y="712"/>
                    </a:lnTo>
                    <a:lnTo>
                      <a:pt x="492" y="711"/>
                    </a:lnTo>
                    <a:lnTo>
                      <a:pt x="494" y="711"/>
                    </a:lnTo>
                    <a:lnTo>
                      <a:pt x="494" y="711"/>
                    </a:lnTo>
                    <a:lnTo>
                      <a:pt x="494" y="711"/>
                    </a:lnTo>
                    <a:lnTo>
                      <a:pt x="494" y="711"/>
                    </a:lnTo>
                    <a:lnTo>
                      <a:pt x="495" y="712"/>
                    </a:lnTo>
                    <a:lnTo>
                      <a:pt x="497" y="712"/>
                    </a:lnTo>
                    <a:lnTo>
                      <a:pt x="498" y="712"/>
                    </a:lnTo>
                    <a:lnTo>
                      <a:pt x="500" y="712"/>
                    </a:lnTo>
                    <a:lnTo>
                      <a:pt x="500" y="712"/>
                    </a:lnTo>
                    <a:lnTo>
                      <a:pt x="502" y="712"/>
                    </a:lnTo>
                    <a:lnTo>
                      <a:pt x="503" y="711"/>
                    </a:lnTo>
                    <a:lnTo>
                      <a:pt x="503" y="709"/>
                    </a:lnTo>
                    <a:lnTo>
                      <a:pt x="505" y="708"/>
                    </a:lnTo>
                    <a:lnTo>
                      <a:pt x="505" y="706"/>
                    </a:lnTo>
                    <a:lnTo>
                      <a:pt x="506" y="706"/>
                    </a:lnTo>
                    <a:lnTo>
                      <a:pt x="506" y="706"/>
                    </a:lnTo>
                    <a:lnTo>
                      <a:pt x="506" y="706"/>
                    </a:lnTo>
                    <a:lnTo>
                      <a:pt x="508" y="706"/>
                    </a:lnTo>
                    <a:lnTo>
                      <a:pt x="509" y="708"/>
                    </a:lnTo>
                    <a:lnTo>
                      <a:pt x="511" y="708"/>
                    </a:lnTo>
                    <a:lnTo>
                      <a:pt x="512" y="709"/>
                    </a:lnTo>
                    <a:lnTo>
                      <a:pt x="514" y="711"/>
                    </a:lnTo>
                    <a:lnTo>
                      <a:pt x="514" y="711"/>
                    </a:lnTo>
                    <a:lnTo>
                      <a:pt x="516" y="712"/>
                    </a:lnTo>
                    <a:lnTo>
                      <a:pt x="516" y="712"/>
                    </a:lnTo>
                    <a:lnTo>
                      <a:pt x="517" y="711"/>
                    </a:lnTo>
                    <a:lnTo>
                      <a:pt x="519" y="709"/>
                    </a:lnTo>
                    <a:lnTo>
                      <a:pt x="519" y="709"/>
                    </a:lnTo>
                    <a:lnTo>
                      <a:pt x="519" y="708"/>
                    </a:lnTo>
                    <a:lnTo>
                      <a:pt x="520" y="706"/>
                    </a:lnTo>
                    <a:lnTo>
                      <a:pt x="520" y="706"/>
                    </a:lnTo>
                    <a:lnTo>
                      <a:pt x="520" y="706"/>
                    </a:lnTo>
                    <a:lnTo>
                      <a:pt x="522" y="706"/>
                    </a:lnTo>
                    <a:lnTo>
                      <a:pt x="522" y="706"/>
                    </a:lnTo>
                    <a:lnTo>
                      <a:pt x="523" y="709"/>
                    </a:lnTo>
                    <a:lnTo>
                      <a:pt x="525" y="709"/>
                    </a:lnTo>
                    <a:lnTo>
                      <a:pt x="525" y="709"/>
                    </a:lnTo>
                    <a:lnTo>
                      <a:pt x="525" y="706"/>
                    </a:lnTo>
                    <a:lnTo>
                      <a:pt x="527" y="706"/>
                    </a:lnTo>
                    <a:lnTo>
                      <a:pt x="527" y="706"/>
                    </a:lnTo>
                    <a:lnTo>
                      <a:pt x="531" y="711"/>
                    </a:lnTo>
                    <a:lnTo>
                      <a:pt x="533" y="711"/>
                    </a:lnTo>
                    <a:lnTo>
                      <a:pt x="533" y="709"/>
                    </a:lnTo>
                    <a:lnTo>
                      <a:pt x="533" y="709"/>
                    </a:lnTo>
                    <a:lnTo>
                      <a:pt x="533" y="708"/>
                    </a:lnTo>
                    <a:lnTo>
                      <a:pt x="534" y="706"/>
                    </a:lnTo>
                    <a:lnTo>
                      <a:pt x="536" y="704"/>
                    </a:lnTo>
                    <a:lnTo>
                      <a:pt x="538" y="704"/>
                    </a:lnTo>
                    <a:lnTo>
                      <a:pt x="538" y="706"/>
                    </a:lnTo>
                    <a:lnTo>
                      <a:pt x="539" y="706"/>
                    </a:lnTo>
                    <a:lnTo>
                      <a:pt x="539" y="708"/>
                    </a:lnTo>
                    <a:lnTo>
                      <a:pt x="542" y="704"/>
                    </a:lnTo>
                    <a:lnTo>
                      <a:pt x="544" y="704"/>
                    </a:lnTo>
                    <a:lnTo>
                      <a:pt x="544" y="704"/>
                    </a:lnTo>
                    <a:lnTo>
                      <a:pt x="545" y="704"/>
                    </a:lnTo>
                    <a:lnTo>
                      <a:pt x="547" y="704"/>
                    </a:lnTo>
                    <a:lnTo>
                      <a:pt x="547" y="703"/>
                    </a:lnTo>
                    <a:lnTo>
                      <a:pt x="547" y="701"/>
                    </a:lnTo>
                    <a:lnTo>
                      <a:pt x="548" y="700"/>
                    </a:lnTo>
                    <a:lnTo>
                      <a:pt x="548" y="700"/>
                    </a:lnTo>
                    <a:lnTo>
                      <a:pt x="548" y="698"/>
                    </a:lnTo>
                    <a:lnTo>
                      <a:pt x="550" y="698"/>
                    </a:lnTo>
                    <a:lnTo>
                      <a:pt x="550" y="698"/>
                    </a:lnTo>
                    <a:lnTo>
                      <a:pt x="555" y="697"/>
                    </a:lnTo>
                    <a:lnTo>
                      <a:pt x="555" y="695"/>
                    </a:lnTo>
                    <a:lnTo>
                      <a:pt x="556" y="695"/>
                    </a:lnTo>
                    <a:lnTo>
                      <a:pt x="556" y="695"/>
                    </a:lnTo>
                    <a:lnTo>
                      <a:pt x="558" y="697"/>
                    </a:lnTo>
                    <a:lnTo>
                      <a:pt x="559" y="698"/>
                    </a:lnTo>
                    <a:lnTo>
                      <a:pt x="559" y="698"/>
                    </a:lnTo>
                    <a:lnTo>
                      <a:pt x="561" y="700"/>
                    </a:lnTo>
                    <a:lnTo>
                      <a:pt x="563" y="701"/>
                    </a:lnTo>
                    <a:lnTo>
                      <a:pt x="564" y="701"/>
                    </a:lnTo>
                    <a:lnTo>
                      <a:pt x="566" y="703"/>
                    </a:lnTo>
                    <a:lnTo>
                      <a:pt x="567" y="703"/>
                    </a:lnTo>
                    <a:lnTo>
                      <a:pt x="567" y="703"/>
                    </a:lnTo>
                    <a:lnTo>
                      <a:pt x="569" y="701"/>
                    </a:lnTo>
                    <a:lnTo>
                      <a:pt x="570" y="701"/>
                    </a:lnTo>
                    <a:lnTo>
                      <a:pt x="570" y="701"/>
                    </a:lnTo>
                    <a:lnTo>
                      <a:pt x="572" y="701"/>
                    </a:lnTo>
                    <a:lnTo>
                      <a:pt x="573" y="704"/>
                    </a:lnTo>
                    <a:lnTo>
                      <a:pt x="573" y="704"/>
                    </a:lnTo>
                    <a:lnTo>
                      <a:pt x="575" y="704"/>
                    </a:lnTo>
                    <a:lnTo>
                      <a:pt x="577" y="703"/>
                    </a:lnTo>
                    <a:lnTo>
                      <a:pt x="578" y="703"/>
                    </a:lnTo>
                    <a:lnTo>
                      <a:pt x="580" y="703"/>
                    </a:lnTo>
                    <a:lnTo>
                      <a:pt x="583" y="706"/>
                    </a:lnTo>
                    <a:lnTo>
                      <a:pt x="581" y="706"/>
                    </a:lnTo>
                    <a:lnTo>
                      <a:pt x="581" y="708"/>
                    </a:lnTo>
                    <a:lnTo>
                      <a:pt x="580" y="709"/>
                    </a:lnTo>
                    <a:lnTo>
                      <a:pt x="578" y="709"/>
                    </a:lnTo>
                    <a:lnTo>
                      <a:pt x="578" y="709"/>
                    </a:lnTo>
                    <a:lnTo>
                      <a:pt x="578" y="711"/>
                    </a:lnTo>
                    <a:lnTo>
                      <a:pt x="578" y="712"/>
                    </a:lnTo>
                    <a:lnTo>
                      <a:pt x="578" y="714"/>
                    </a:lnTo>
                    <a:lnTo>
                      <a:pt x="578" y="714"/>
                    </a:lnTo>
                    <a:lnTo>
                      <a:pt x="580" y="715"/>
                    </a:lnTo>
                    <a:lnTo>
                      <a:pt x="580" y="715"/>
                    </a:lnTo>
                    <a:lnTo>
                      <a:pt x="580" y="717"/>
                    </a:lnTo>
                    <a:lnTo>
                      <a:pt x="580" y="720"/>
                    </a:lnTo>
                    <a:lnTo>
                      <a:pt x="580" y="720"/>
                    </a:lnTo>
                    <a:lnTo>
                      <a:pt x="581" y="720"/>
                    </a:lnTo>
                    <a:lnTo>
                      <a:pt x="581" y="720"/>
                    </a:lnTo>
                    <a:lnTo>
                      <a:pt x="583" y="720"/>
                    </a:lnTo>
                    <a:lnTo>
                      <a:pt x="584" y="722"/>
                    </a:lnTo>
                    <a:lnTo>
                      <a:pt x="584" y="722"/>
                    </a:lnTo>
                    <a:lnTo>
                      <a:pt x="586" y="722"/>
                    </a:lnTo>
                    <a:lnTo>
                      <a:pt x="586" y="722"/>
                    </a:lnTo>
                    <a:lnTo>
                      <a:pt x="586" y="723"/>
                    </a:lnTo>
                    <a:lnTo>
                      <a:pt x="588" y="725"/>
                    </a:lnTo>
                    <a:lnTo>
                      <a:pt x="589" y="725"/>
                    </a:lnTo>
                    <a:lnTo>
                      <a:pt x="591" y="726"/>
                    </a:lnTo>
                    <a:lnTo>
                      <a:pt x="592" y="728"/>
                    </a:lnTo>
                    <a:lnTo>
                      <a:pt x="592" y="728"/>
                    </a:lnTo>
                    <a:lnTo>
                      <a:pt x="594" y="726"/>
                    </a:lnTo>
                    <a:lnTo>
                      <a:pt x="594" y="728"/>
                    </a:lnTo>
                    <a:lnTo>
                      <a:pt x="597" y="728"/>
                    </a:lnTo>
                    <a:lnTo>
                      <a:pt x="600" y="726"/>
                    </a:lnTo>
                    <a:lnTo>
                      <a:pt x="600" y="726"/>
                    </a:lnTo>
                    <a:lnTo>
                      <a:pt x="602" y="728"/>
                    </a:lnTo>
                    <a:lnTo>
                      <a:pt x="603" y="729"/>
                    </a:lnTo>
                    <a:lnTo>
                      <a:pt x="603" y="729"/>
                    </a:lnTo>
                    <a:lnTo>
                      <a:pt x="605" y="729"/>
                    </a:lnTo>
                    <a:lnTo>
                      <a:pt x="606" y="728"/>
                    </a:lnTo>
                    <a:lnTo>
                      <a:pt x="608" y="728"/>
                    </a:lnTo>
                    <a:lnTo>
                      <a:pt x="609" y="728"/>
                    </a:lnTo>
                    <a:lnTo>
                      <a:pt x="609" y="726"/>
                    </a:lnTo>
                    <a:lnTo>
                      <a:pt x="609" y="726"/>
                    </a:lnTo>
                    <a:lnTo>
                      <a:pt x="611" y="726"/>
                    </a:lnTo>
                    <a:lnTo>
                      <a:pt x="611" y="728"/>
                    </a:lnTo>
                    <a:lnTo>
                      <a:pt x="613" y="726"/>
                    </a:lnTo>
                    <a:lnTo>
                      <a:pt x="613" y="726"/>
                    </a:lnTo>
                    <a:lnTo>
                      <a:pt x="613" y="725"/>
                    </a:lnTo>
                    <a:lnTo>
                      <a:pt x="613" y="723"/>
                    </a:lnTo>
                    <a:lnTo>
                      <a:pt x="613" y="722"/>
                    </a:lnTo>
                    <a:lnTo>
                      <a:pt x="614" y="722"/>
                    </a:lnTo>
                    <a:lnTo>
                      <a:pt x="614" y="723"/>
                    </a:lnTo>
                    <a:lnTo>
                      <a:pt x="614" y="723"/>
                    </a:lnTo>
                    <a:lnTo>
                      <a:pt x="614" y="725"/>
                    </a:lnTo>
                    <a:lnTo>
                      <a:pt x="616" y="725"/>
                    </a:lnTo>
                    <a:lnTo>
                      <a:pt x="617" y="726"/>
                    </a:lnTo>
                    <a:lnTo>
                      <a:pt x="617" y="726"/>
                    </a:lnTo>
                    <a:lnTo>
                      <a:pt x="619" y="726"/>
                    </a:lnTo>
                    <a:lnTo>
                      <a:pt x="620" y="728"/>
                    </a:lnTo>
                    <a:lnTo>
                      <a:pt x="622" y="728"/>
                    </a:lnTo>
                    <a:lnTo>
                      <a:pt x="623" y="728"/>
                    </a:lnTo>
                    <a:lnTo>
                      <a:pt x="623" y="729"/>
                    </a:lnTo>
                    <a:lnTo>
                      <a:pt x="623" y="729"/>
                    </a:lnTo>
                    <a:lnTo>
                      <a:pt x="622" y="731"/>
                    </a:lnTo>
                    <a:lnTo>
                      <a:pt x="623" y="731"/>
                    </a:lnTo>
                    <a:lnTo>
                      <a:pt x="625" y="731"/>
                    </a:lnTo>
                    <a:lnTo>
                      <a:pt x="627" y="731"/>
                    </a:lnTo>
                    <a:lnTo>
                      <a:pt x="628" y="729"/>
                    </a:lnTo>
                    <a:lnTo>
                      <a:pt x="631" y="729"/>
                    </a:lnTo>
                    <a:lnTo>
                      <a:pt x="630" y="726"/>
                    </a:lnTo>
                    <a:lnTo>
                      <a:pt x="631" y="726"/>
                    </a:lnTo>
                    <a:lnTo>
                      <a:pt x="631" y="726"/>
                    </a:lnTo>
                    <a:lnTo>
                      <a:pt x="633" y="729"/>
                    </a:lnTo>
                    <a:lnTo>
                      <a:pt x="634" y="729"/>
                    </a:lnTo>
                    <a:lnTo>
                      <a:pt x="634" y="728"/>
                    </a:lnTo>
                    <a:lnTo>
                      <a:pt x="636" y="729"/>
                    </a:lnTo>
                    <a:lnTo>
                      <a:pt x="638" y="729"/>
                    </a:lnTo>
                    <a:lnTo>
                      <a:pt x="638" y="733"/>
                    </a:lnTo>
                    <a:lnTo>
                      <a:pt x="634" y="733"/>
                    </a:lnTo>
                    <a:lnTo>
                      <a:pt x="634" y="734"/>
                    </a:lnTo>
                    <a:lnTo>
                      <a:pt x="633" y="736"/>
                    </a:lnTo>
                    <a:lnTo>
                      <a:pt x="633" y="737"/>
                    </a:lnTo>
                    <a:lnTo>
                      <a:pt x="633" y="740"/>
                    </a:lnTo>
                    <a:lnTo>
                      <a:pt x="633" y="742"/>
                    </a:lnTo>
                    <a:lnTo>
                      <a:pt x="634" y="742"/>
                    </a:lnTo>
                    <a:lnTo>
                      <a:pt x="634" y="744"/>
                    </a:lnTo>
                    <a:lnTo>
                      <a:pt x="634" y="744"/>
                    </a:lnTo>
                    <a:lnTo>
                      <a:pt x="634" y="747"/>
                    </a:lnTo>
                    <a:lnTo>
                      <a:pt x="636" y="748"/>
                    </a:lnTo>
                    <a:lnTo>
                      <a:pt x="638" y="748"/>
                    </a:lnTo>
                    <a:lnTo>
                      <a:pt x="638" y="750"/>
                    </a:lnTo>
                    <a:lnTo>
                      <a:pt x="638" y="750"/>
                    </a:lnTo>
                    <a:lnTo>
                      <a:pt x="638" y="750"/>
                    </a:lnTo>
                    <a:lnTo>
                      <a:pt x="636" y="750"/>
                    </a:lnTo>
                    <a:lnTo>
                      <a:pt x="636" y="751"/>
                    </a:lnTo>
                    <a:lnTo>
                      <a:pt x="638" y="751"/>
                    </a:lnTo>
                    <a:lnTo>
                      <a:pt x="641" y="753"/>
                    </a:lnTo>
                    <a:lnTo>
                      <a:pt x="645" y="751"/>
                    </a:lnTo>
                    <a:lnTo>
                      <a:pt x="647" y="751"/>
                    </a:lnTo>
                    <a:lnTo>
                      <a:pt x="647" y="750"/>
                    </a:lnTo>
                    <a:lnTo>
                      <a:pt x="647" y="748"/>
                    </a:lnTo>
                    <a:lnTo>
                      <a:pt x="647" y="748"/>
                    </a:lnTo>
                    <a:lnTo>
                      <a:pt x="644" y="745"/>
                    </a:lnTo>
                    <a:lnTo>
                      <a:pt x="644" y="744"/>
                    </a:lnTo>
                    <a:lnTo>
                      <a:pt x="645" y="744"/>
                    </a:lnTo>
                    <a:lnTo>
                      <a:pt x="645" y="744"/>
                    </a:lnTo>
                    <a:lnTo>
                      <a:pt x="645" y="742"/>
                    </a:lnTo>
                    <a:lnTo>
                      <a:pt x="642" y="742"/>
                    </a:lnTo>
                    <a:lnTo>
                      <a:pt x="641" y="740"/>
                    </a:lnTo>
                    <a:lnTo>
                      <a:pt x="642" y="739"/>
                    </a:lnTo>
                    <a:lnTo>
                      <a:pt x="644" y="736"/>
                    </a:lnTo>
                    <a:lnTo>
                      <a:pt x="645" y="736"/>
                    </a:lnTo>
                    <a:lnTo>
                      <a:pt x="645" y="734"/>
                    </a:lnTo>
                    <a:lnTo>
                      <a:pt x="645" y="733"/>
                    </a:lnTo>
                    <a:lnTo>
                      <a:pt x="647" y="733"/>
                    </a:lnTo>
                    <a:lnTo>
                      <a:pt x="647" y="734"/>
                    </a:lnTo>
                    <a:lnTo>
                      <a:pt x="647" y="736"/>
                    </a:lnTo>
                    <a:lnTo>
                      <a:pt x="649" y="734"/>
                    </a:lnTo>
                    <a:lnTo>
                      <a:pt x="650" y="734"/>
                    </a:lnTo>
                    <a:lnTo>
                      <a:pt x="652" y="731"/>
                    </a:lnTo>
                    <a:lnTo>
                      <a:pt x="655" y="731"/>
                    </a:lnTo>
                    <a:lnTo>
                      <a:pt x="656" y="731"/>
                    </a:lnTo>
                    <a:lnTo>
                      <a:pt x="656" y="729"/>
                    </a:lnTo>
                    <a:lnTo>
                      <a:pt x="658" y="729"/>
                    </a:lnTo>
                    <a:lnTo>
                      <a:pt x="658" y="729"/>
                    </a:lnTo>
                    <a:lnTo>
                      <a:pt x="659" y="729"/>
                    </a:lnTo>
                    <a:lnTo>
                      <a:pt x="659" y="729"/>
                    </a:lnTo>
                    <a:lnTo>
                      <a:pt x="661" y="729"/>
                    </a:lnTo>
                    <a:lnTo>
                      <a:pt x="663" y="729"/>
                    </a:lnTo>
                    <a:lnTo>
                      <a:pt x="667" y="728"/>
                    </a:lnTo>
                    <a:lnTo>
                      <a:pt x="669" y="728"/>
                    </a:lnTo>
                    <a:lnTo>
                      <a:pt x="669" y="726"/>
                    </a:lnTo>
                    <a:lnTo>
                      <a:pt x="670" y="725"/>
                    </a:lnTo>
                    <a:lnTo>
                      <a:pt x="670" y="726"/>
                    </a:lnTo>
                    <a:lnTo>
                      <a:pt x="672" y="725"/>
                    </a:lnTo>
                    <a:lnTo>
                      <a:pt x="672" y="725"/>
                    </a:lnTo>
                    <a:lnTo>
                      <a:pt x="672" y="723"/>
                    </a:lnTo>
                    <a:lnTo>
                      <a:pt x="674" y="723"/>
                    </a:lnTo>
                    <a:lnTo>
                      <a:pt x="675" y="723"/>
                    </a:lnTo>
                    <a:lnTo>
                      <a:pt x="677" y="725"/>
                    </a:lnTo>
                    <a:lnTo>
                      <a:pt x="680" y="725"/>
                    </a:lnTo>
                    <a:lnTo>
                      <a:pt x="680" y="725"/>
                    </a:lnTo>
                    <a:lnTo>
                      <a:pt x="680" y="723"/>
                    </a:lnTo>
                    <a:lnTo>
                      <a:pt x="680" y="722"/>
                    </a:lnTo>
                    <a:lnTo>
                      <a:pt x="680" y="720"/>
                    </a:lnTo>
                    <a:lnTo>
                      <a:pt x="681" y="720"/>
                    </a:lnTo>
                    <a:lnTo>
                      <a:pt x="681" y="722"/>
                    </a:lnTo>
                    <a:lnTo>
                      <a:pt x="681" y="722"/>
                    </a:lnTo>
                    <a:lnTo>
                      <a:pt x="681" y="722"/>
                    </a:lnTo>
                    <a:lnTo>
                      <a:pt x="683" y="723"/>
                    </a:lnTo>
                    <a:lnTo>
                      <a:pt x="684" y="725"/>
                    </a:lnTo>
                    <a:lnTo>
                      <a:pt x="684" y="723"/>
                    </a:lnTo>
                    <a:lnTo>
                      <a:pt x="686" y="723"/>
                    </a:lnTo>
                    <a:lnTo>
                      <a:pt x="686" y="722"/>
                    </a:lnTo>
                    <a:lnTo>
                      <a:pt x="688" y="722"/>
                    </a:lnTo>
                    <a:lnTo>
                      <a:pt x="689" y="722"/>
                    </a:lnTo>
                    <a:lnTo>
                      <a:pt x="691" y="722"/>
                    </a:lnTo>
                    <a:lnTo>
                      <a:pt x="691" y="722"/>
                    </a:lnTo>
                    <a:lnTo>
                      <a:pt x="691" y="719"/>
                    </a:lnTo>
                    <a:lnTo>
                      <a:pt x="692" y="717"/>
                    </a:lnTo>
                    <a:lnTo>
                      <a:pt x="694" y="719"/>
                    </a:lnTo>
                    <a:lnTo>
                      <a:pt x="695" y="719"/>
                    </a:lnTo>
                    <a:lnTo>
                      <a:pt x="697" y="717"/>
                    </a:lnTo>
                    <a:lnTo>
                      <a:pt x="697" y="717"/>
                    </a:lnTo>
                    <a:lnTo>
                      <a:pt x="699" y="717"/>
                    </a:lnTo>
                    <a:lnTo>
                      <a:pt x="700" y="717"/>
                    </a:lnTo>
                    <a:lnTo>
                      <a:pt x="700" y="717"/>
                    </a:lnTo>
                    <a:lnTo>
                      <a:pt x="700" y="715"/>
                    </a:lnTo>
                    <a:lnTo>
                      <a:pt x="700" y="715"/>
                    </a:lnTo>
                    <a:lnTo>
                      <a:pt x="700" y="715"/>
                    </a:lnTo>
                    <a:lnTo>
                      <a:pt x="700" y="715"/>
                    </a:lnTo>
                    <a:lnTo>
                      <a:pt x="700" y="715"/>
                    </a:lnTo>
                    <a:lnTo>
                      <a:pt x="702" y="715"/>
                    </a:lnTo>
                    <a:lnTo>
                      <a:pt x="702" y="714"/>
                    </a:lnTo>
                    <a:lnTo>
                      <a:pt x="702" y="714"/>
                    </a:lnTo>
                    <a:lnTo>
                      <a:pt x="702" y="712"/>
                    </a:lnTo>
                    <a:lnTo>
                      <a:pt x="702" y="709"/>
                    </a:lnTo>
                    <a:lnTo>
                      <a:pt x="700" y="708"/>
                    </a:lnTo>
                    <a:lnTo>
                      <a:pt x="699" y="706"/>
                    </a:lnTo>
                    <a:lnTo>
                      <a:pt x="699" y="704"/>
                    </a:lnTo>
                    <a:lnTo>
                      <a:pt x="697" y="704"/>
                    </a:lnTo>
                    <a:lnTo>
                      <a:pt x="697" y="703"/>
                    </a:lnTo>
                    <a:lnTo>
                      <a:pt x="697" y="703"/>
                    </a:lnTo>
                    <a:lnTo>
                      <a:pt x="699" y="703"/>
                    </a:lnTo>
                    <a:lnTo>
                      <a:pt x="700" y="701"/>
                    </a:lnTo>
                    <a:lnTo>
                      <a:pt x="699" y="700"/>
                    </a:lnTo>
                    <a:lnTo>
                      <a:pt x="700" y="700"/>
                    </a:lnTo>
                    <a:lnTo>
                      <a:pt x="702" y="698"/>
                    </a:lnTo>
                    <a:lnTo>
                      <a:pt x="702" y="700"/>
                    </a:lnTo>
                    <a:lnTo>
                      <a:pt x="702" y="701"/>
                    </a:lnTo>
                    <a:lnTo>
                      <a:pt x="702" y="701"/>
                    </a:lnTo>
                    <a:lnTo>
                      <a:pt x="702" y="704"/>
                    </a:lnTo>
                    <a:lnTo>
                      <a:pt x="703" y="704"/>
                    </a:lnTo>
                    <a:lnTo>
                      <a:pt x="705" y="706"/>
                    </a:lnTo>
                    <a:lnTo>
                      <a:pt x="706" y="709"/>
                    </a:lnTo>
                    <a:lnTo>
                      <a:pt x="708" y="711"/>
                    </a:lnTo>
                    <a:lnTo>
                      <a:pt x="709" y="711"/>
                    </a:lnTo>
                    <a:lnTo>
                      <a:pt x="709" y="711"/>
                    </a:lnTo>
                    <a:lnTo>
                      <a:pt x="709" y="709"/>
                    </a:lnTo>
                    <a:lnTo>
                      <a:pt x="711" y="709"/>
                    </a:lnTo>
                    <a:lnTo>
                      <a:pt x="711" y="709"/>
                    </a:lnTo>
                    <a:lnTo>
                      <a:pt x="713" y="709"/>
                    </a:lnTo>
                    <a:lnTo>
                      <a:pt x="713" y="709"/>
                    </a:lnTo>
                    <a:lnTo>
                      <a:pt x="714" y="709"/>
                    </a:lnTo>
                    <a:lnTo>
                      <a:pt x="714" y="709"/>
                    </a:lnTo>
                    <a:lnTo>
                      <a:pt x="716" y="709"/>
                    </a:lnTo>
                    <a:lnTo>
                      <a:pt x="717" y="711"/>
                    </a:lnTo>
                    <a:lnTo>
                      <a:pt x="719" y="711"/>
                    </a:lnTo>
                    <a:lnTo>
                      <a:pt x="719" y="709"/>
                    </a:lnTo>
                    <a:lnTo>
                      <a:pt x="719" y="708"/>
                    </a:lnTo>
                    <a:lnTo>
                      <a:pt x="719" y="708"/>
                    </a:lnTo>
                    <a:lnTo>
                      <a:pt x="720" y="706"/>
                    </a:lnTo>
                    <a:lnTo>
                      <a:pt x="722" y="706"/>
                    </a:lnTo>
                    <a:lnTo>
                      <a:pt x="722" y="708"/>
                    </a:lnTo>
                    <a:lnTo>
                      <a:pt x="724" y="709"/>
                    </a:lnTo>
                    <a:lnTo>
                      <a:pt x="725" y="708"/>
                    </a:lnTo>
                    <a:lnTo>
                      <a:pt x="725" y="708"/>
                    </a:lnTo>
                    <a:lnTo>
                      <a:pt x="727" y="706"/>
                    </a:lnTo>
                    <a:lnTo>
                      <a:pt x="728" y="706"/>
                    </a:lnTo>
                    <a:lnTo>
                      <a:pt x="730" y="704"/>
                    </a:lnTo>
                    <a:lnTo>
                      <a:pt x="731" y="706"/>
                    </a:lnTo>
                    <a:lnTo>
                      <a:pt x="733" y="706"/>
                    </a:lnTo>
                    <a:lnTo>
                      <a:pt x="735" y="706"/>
                    </a:lnTo>
                    <a:lnTo>
                      <a:pt x="736" y="706"/>
                    </a:lnTo>
                    <a:lnTo>
                      <a:pt x="736" y="704"/>
                    </a:lnTo>
                    <a:lnTo>
                      <a:pt x="738" y="704"/>
                    </a:lnTo>
                    <a:lnTo>
                      <a:pt x="739" y="704"/>
                    </a:lnTo>
                    <a:lnTo>
                      <a:pt x="741" y="704"/>
                    </a:lnTo>
                    <a:lnTo>
                      <a:pt x="745" y="703"/>
                    </a:lnTo>
                    <a:lnTo>
                      <a:pt x="747" y="703"/>
                    </a:lnTo>
                    <a:lnTo>
                      <a:pt x="747" y="703"/>
                    </a:lnTo>
                    <a:lnTo>
                      <a:pt x="749" y="703"/>
                    </a:lnTo>
                    <a:lnTo>
                      <a:pt x="749" y="701"/>
                    </a:lnTo>
                    <a:lnTo>
                      <a:pt x="750" y="703"/>
                    </a:lnTo>
                    <a:lnTo>
                      <a:pt x="752" y="703"/>
                    </a:lnTo>
                    <a:lnTo>
                      <a:pt x="753" y="701"/>
                    </a:lnTo>
                    <a:lnTo>
                      <a:pt x="753" y="698"/>
                    </a:lnTo>
                    <a:lnTo>
                      <a:pt x="755" y="697"/>
                    </a:lnTo>
                    <a:lnTo>
                      <a:pt x="756" y="697"/>
                    </a:lnTo>
                    <a:lnTo>
                      <a:pt x="756" y="697"/>
                    </a:lnTo>
                    <a:lnTo>
                      <a:pt x="756" y="695"/>
                    </a:lnTo>
                    <a:lnTo>
                      <a:pt x="755" y="695"/>
                    </a:lnTo>
                    <a:lnTo>
                      <a:pt x="756" y="695"/>
                    </a:lnTo>
                    <a:lnTo>
                      <a:pt x="758" y="694"/>
                    </a:lnTo>
                    <a:lnTo>
                      <a:pt x="760" y="692"/>
                    </a:lnTo>
                    <a:lnTo>
                      <a:pt x="760" y="689"/>
                    </a:lnTo>
                    <a:lnTo>
                      <a:pt x="763" y="689"/>
                    </a:lnTo>
                    <a:lnTo>
                      <a:pt x="763" y="690"/>
                    </a:lnTo>
                    <a:lnTo>
                      <a:pt x="764" y="690"/>
                    </a:lnTo>
                    <a:lnTo>
                      <a:pt x="766" y="689"/>
                    </a:lnTo>
                    <a:lnTo>
                      <a:pt x="767" y="687"/>
                    </a:lnTo>
                    <a:lnTo>
                      <a:pt x="767" y="687"/>
                    </a:lnTo>
                    <a:lnTo>
                      <a:pt x="767" y="689"/>
                    </a:lnTo>
                    <a:lnTo>
                      <a:pt x="767" y="690"/>
                    </a:lnTo>
                    <a:lnTo>
                      <a:pt x="769" y="689"/>
                    </a:lnTo>
                    <a:lnTo>
                      <a:pt x="769" y="687"/>
                    </a:lnTo>
                    <a:lnTo>
                      <a:pt x="769" y="687"/>
                    </a:lnTo>
                    <a:lnTo>
                      <a:pt x="769" y="686"/>
                    </a:lnTo>
                    <a:lnTo>
                      <a:pt x="770" y="686"/>
                    </a:lnTo>
                    <a:lnTo>
                      <a:pt x="772" y="686"/>
                    </a:lnTo>
                    <a:lnTo>
                      <a:pt x="772" y="686"/>
                    </a:lnTo>
                    <a:lnTo>
                      <a:pt x="774" y="684"/>
                    </a:lnTo>
                    <a:lnTo>
                      <a:pt x="775" y="683"/>
                    </a:lnTo>
                    <a:lnTo>
                      <a:pt x="777" y="683"/>
                    </a:lnTo>
                    <a:lnTo>
                      <a:pt x="777" y="679"/>
                    </a:lnTo>
                    <a:lnTo>
                      <a:pt x="780" y="678"/>
                    </a:lnTo>
                    <a:lnTo>
                      <a:pt x="780" y="676"/>
                    </a:lnTo>
                    <a:lnTo>
                      <a:pt x="780" y="675"/>
                    </a:lnTo>
                    <a:lnTo>
                      <a:pt x="777" y="675"/>
                    </a:lnTo>
                    <a:lnTo>
                      <a:pt x="777" y="673"/>
                    </a:lnTo>
                    <a:lnTo>
                      <a:pt x="777" y="673"/>
                    </a:lnTo>
                    <a:lnTo>
                      <a:pt x="777" y="673"/>
                    </a:lnTo>
                    <a:lnTo>
                      <a:pt x="778" y="673"/>
                    </a:lnTo>
                    <a:lnTo>
                      <a:pt x="780" y="673"/>
                    </a:lnTo>
                    <a:lnTo>
                      <a:pt x="780" y="672"/>
                    </a:lnTo>
                    <a:lnTo>
                      <a:pt x="780" y="670"/>
                    </a:lnTo>
                    <a:lnTo>
                      <a:pt x="783" y="670"/>
                    </a:lnTo>
                    <a:lnTo>
                      <a:pt x="785" y="672"/>
                    </a:lnTo>
                    <a:lnTo>
                      <a:pt x="786" y="670"/>
                    </a:lnTo>
                    <a:lnTo>
                      <a:pt x="789" y="672"/>
                    </a:lnTo>
                    <a:lnTo>
                      <a:pt x="791" y="670"/>
                    </a:lnTo>
                    <a:lnTo>
                      <a:pt x="792" y="668"/>
                    </a:lnTo>
                    <a:lnTo>
                      <a:pt x="791" y="667"/>
                    </a:lnTo>
                    <a:lnTo>
                      <a:pt x="791" y="667"/>
                    </a:lnTo>
                    <a:lnTo>
                      <a:pt x="791" y="667"/>
                    </a:lnTo>
                    <a:lnTo>
                      <a:pt x="791" y="665"/>
                    </a:lnTo>
                    <a:lnTo>
                      <a:pt x="794" y="665"/>
                    </a:lnTo>
                    <a:lnTo>
                      <a:pt x="795" y="664"/>
                    </a:lnTo>
                    <a:lnTo>
                      <a:pt x="795" y="662"/>
                    </a:lnTo>
                    <a:lnTo>
                      <a:pt x="795" y="661"/>
                    </a:lnTo>
                    <a:lnTo>
                      <a:pt x="795" y="659"/>
                    </a:lnTo>
                    <a:lnTo>
                      <a:pt x="797" y="659"/>
                    </a:lnTo>
                    <a:lnTo>
                      <a:pt x="800" y="659"/>
                    </a:lnTo>
                    <a:lnTo>
                      <a:pt x="802" y="659"/>
                    </a:lnTo>
                    <a:lnTo>
                      <a:pt x="800" y="658"/>
                    </a:lnTo>
                    <a:lnTo>
                      <a:pt x="800" y="656"/>
                    </a:lnTo>
                    <a:lnTo>
                      <a:pt x="799" y="654"/>
                    </a:lnTo>
                    <a:lnTo>
                      <a:pt x="800" y="654"/>
                    </a:lnTo>
                    <a:lnTo>
                      <a:pt x="802" y="654"/>
                    </a:lnTo>
                    <a:lnTo>
                      <a:pt x="803" y="654"/>
                    </a:lnTo>
                    <a:lnTo>
                      <a:pt x="803" y="654"/>
                    </a:lnTo>
                    <a:lnTo>
                      <a:pt x="805" y="654"/>
                    </a:lnTo>
                    <a:lnTo>
                      <a:pt x="806" y="656"/>
                    </a:lnTo>
                    <a:lnTo>
                      <a:pt x="808" y="656"/>
                    </a:lnTo>
                    <a:lnTo>
                      <a:pt x="808" y="654"/>
                    </a:lnTo>
                    <a:lnTo>
                      <a:pt x="806" y="651"/>
                    </a:lnTo>
                    <a:lnTo>
                      <a:pt x="806" y="650"/>
                    </a:lnTo>
                    <a:lnTo>
                      <a:pt x="808" y="647"/>
                    </a:lnTo>
                    <a:lnTo>
                      <a:pt x="808" y="645"/>
                    </a:lnTo>
                    <a:lnTo>
                      <a:pt x="808" y="643"/>
                    </a:lnTo>
                    <a:lnTo>
                      <a:pt x="805" y="643"/>
                    </a:lnTo>
                    <a:lnTo>
                      <a:pt x="803" y="645"/>
                    </a:lnTo>
                    <a:lnTo>
                      <a:pt x="802" y="645"/>
                    </a:lnTo>
                    <a:lnTo>
                      <a:pt x="802" y="643"/>
                    </a:lnTo>
                    <a:lnTo>
                      <a:pt x="799" y="642"/>
                    </a:lnTo>
                    <a:lnTo>
                      <a:pt x="800" y="642"/>
                    </a:lnTo>
                    <a:lnTo>
                      <a:pt x="802" y="642"/>
                    </a:lnTo>
                    <a:lnTo>
                      <a:pt x="803" y="642"/>
                    </a:lnTo>
                    <a:lnTo>
                      <a:pt x="805" y="642"/>
                    </a:lnTo>
                    <a:lnTo>
                      <a:pt x="806" y="642"/>
                    </a:lnTo>
                    <a:lnTo>
                      <a:pt x="810" y="639"/>
                    </a:lnTo>
                    <a:lnTo>
                      <a:pt x="811" y="637"/>
                    </a:lnTo>
                    <a:lnTo>
                      <a:pt x="813" y="637"/>
                    </a:lnTo>
                    <a:lnTo>
                      <a:pt x="813" y="637"/>
                    </a:lnTo>
                    <a:lnTo>
                      <a:pt x="811" y="636"/>
                    </a:lnTo>
                    <a:lnTo>
                      <a:pt x="811" y="636"/>
                    </a:lnTo>
                    <a:lnTo>
                      <a:pt x="811" y="632"/>
                    </a:lnTo>
                    <a:lnTo>
                      <a:pt x="810" y="632"/>
                    </a:lnTo>
                    <a:lnTo>
                      <a:pt x="808" y="631"/>
                    </a:lnTo>
                    <a:lnTo>
                      <a:pt x="808" y="631"/>
                    </a:lnTo>
                    <a:lnTo>
                      <a:pt x="806" y="629"/>
                    </a:lnTo>
                    <a:lnTo>
                      <a:pt x="806" y="628"/>
                    </a:lnTo>
                    <a:lnTo>
                      <a:pt x="808" y="629"/>
                    </a:lnTo>
                    <a:lnTo>
                      <a:pt x="810" y="629"/>
                    </a:lnTo>
                    <a:lnTo>
                      <a:pt x="810" y="628"/>
                    </a:lnTo>
                    <a:lnTo>
                      <a:pt x="811" y="628"/>
                    </a:lnTo>
                    <a:lnTo>
                      <a:pt x="811" y="628"/>
                    </a:lnTo>
                    <a:lnTo>
                      <a:pt x="811" y="628"/>
                    </a:lnTo>
                    <a:lnTo>
                      <a:pt x="811" y="629"/>
                    </a:lnTo>
                    <a:lnTo>
                      <a:pt x="811" y="631"/>
                    </a:lnTo>
                    <a:lnTo>
                      <a:pt x="813" y="631"/>
                    </a:lnTo>
                    <a:lnTo>
                      <a:pt x="813" y="632"/>
                    </a:lnTo>
                    <a:lnTo>
                      <a:pt x="814" y="632"/>
                    </a:lnTo>
                    <a:lnTo>
                      <a:pt x="814" y="631"/>
                    </a:lnTo>
                    <a:lnTo>
                      <a:pt x="816" y="631"/>
                    </a:lnTo>
                    <a:lnTo>
                      <a:pt x="816" y="628"/>
                    </a:lnTo>
                    <a:lnTo>
                      <a:pt x="817" y="626"/>
                    </a:lnTo>
                    <a:lnTo>
                      <a:pt x="819" y="622"/>
                    </a:lnTo>
                    <a:lnTo>
                      <a:pt x="821" y="622"/>
                    </a:lnTo>
                    <a:lnTo>
                      <a:pt x="822" y="618"/>
                    </a:lnTo>
                    <a:lnTo>
                      <a:pt x="824" y="618"/>
                    </a:lnTo>
                    <a:lnTo>
                      <a:pt x="825" y="615"/>
                    </a:lnTo>
                    <a:lnTo>
                      <a:pt x="825" y="615"/>
                    </a:lnTo>
                    <a:lnTo>
                      <a:pt x="825" y="612"/>
                    </a:lnTo>
                    <a:lnTo>
                      <a:pt x="825" y="612"/>
                    </a:lnTo>
                    <a:lnTo>
                      <a:pt x="825" y="611"/>
                    </a:lnTo>
                    <a:lnTo>
                      <a:pt x="827" y="609"/>
                    </a:lnTo>
                    <a:lnTo>
                      <a:pt x="828" y="606"/>
                    </a:lnTo>
                    <a:lnTo>
                      <a:pt x="828" y="606"/>
                    </a:lnTo>
                    <a:lnTo>
                      <a:pt x="828" y="604"/>
                    </a:lnTo>
                    <a:lnTo>
                      <a:pt x="827" y="604"/>
                    </a:lnTo>
                    <a:lnTo>
                      <a:pt x="828" y="604"/>
                    </a:lnTo>
                    <a:lnTo>
                      <a:pt x="830" y="604"/>
                    </a:lnTo>
                    <a:lnTo>
                      <a:pt x="831" y="604"/>
                    </a:lnTo>
                    <a:lnTo>
                      <a:pt x="833" y="601"/>
                    </a:lnTo>
                    <a:lnTo>
                      <a:pt x="833" y="598"/>
                    </a:lnTo>
                    <a:lnTo>
                      <a:pt x="835" y="598"/>
                    </a:lnTo>
                    <a:lnTo>
                      <a:pt x="836" y="598"/>
                    </a:lnTo>
                    <a:lnTo>
                      <a:pt x="836" y="600"/>
                    </a:lnTo>
                    <a:lnTo>
                      <a:pt x="838" y="600"/>
                    </a:lnTo>
                    <a:lnTo>
                      <a:pt x="841" y="598"/>
                    </a:lnTo>
                    <a:lnTo>
                      <a:pt x="842" y="598"/>
                    </a:lnTo>
                    <a:lnTo>
                      <a:pt x="842" y="596"/>
                    </a:lnTo>
                    <a:lnTo>
                      <a:pt x="841" y="593"/>
                    </a:lnTo>
                    <a:lnTo>
                      <a:pt x="841" y="592"/>
                    </a:lnTo>
                    <a:lnTo>
                      <a:pt x="841" y="590"/>
                    </a:lnTo>
                    <a:lnTo>
                      <a:pt x="842" y="590"/>
                    </a:lnTo>
                    <a:lnTo>
                      <a:pt x="842" y="589"/>
                    </a:lnTo>
                    <a:lnTo>
                      <a:pt x="844" y="587"/>
                    </a:lnTo>
                    <a:lnTo>
                      <a:pt x="841" y="586"/>
                    </a:lnTo>
                    <a:lnTo>
                      <a:pt x="842" y="586"/>
                    </a:lnTo>
                    <a:lnTo>
                      <a:pt x="844" y="586"/>
                    </a:lnTo>
                    <a:lnTo>
                      <a:pt x="844" y="584"/>
                    </a:lnTo>
                    <a:lnTo>
                      <a:pt x="841" y="582"/>
                    </a:lnTo>
                    <a:lnTo>
                      <a:pt x="839" y="582"/>
                    </a:lnTo>
                    <a:lnTo>
                      <a:pt x="841" y="581"/>
                    </a:lnTo>
                    <a:lnTo>
                      <a:pt x="841" y="579"/>
                    </a:lnTo>
                    <a:lnTo>
                      <a:pt x="844" y="579"/>
                    </a:lnTo>
                    <a:lnTo>
                      <a:pt x="844" y="579"/>
                    </a:lnTo>
                    <a:lnTo>
                      <a:pt x="846" y="579"/>
                    </a:lnTo>
                    <a:lnTo>
                      <a:pt x="847" y="582"/>
                    </a:lnTo>
                    <a:lnTo>
                      <a:pt x="847" y="582"/>
                    </a:lnTo>
                    <a:lnTo>
                      <a:pt x="849" y="575"/>
                    </a:lnTo>
                    <a:lnTo>
                      <a:pt x="849" y="573"/>
                    </a:lnTo>
                    <a:lnTo>
                      <a:pt x="847" y="571"/>
                    </a:lnTo>
                    <a:lnTo>
                      <a:pt x="846" y="573"/>
                    </a:lnTo>
                    <a:lnTo>
                      <a:pt x="844" y="575"/>
                    </a:lnTo>
                    <a:lnTo>
                      <a:pt x="841" y="575"/>
                    </a:lnTo>
                    <a:lnTo>
                      <a:pt x="842" y="573"/>
                    </a:lnTo>
                    <a:lnTo>
                      <a:pt x="844" y="573"/>
                    </a:lnTo>
                    <a:lnTo>
                      <a:pt x="847" y="568"/>
                    </a:lnTo>
                    <a:lnTo>
                      <a:pt x="850" y="567"/>
                    </a:lnTo>
                    <a:lnTo>
                      <a:pt x="850" y="567"/>
                    </a:lnTo>
                    <a:lnTo>
                      <a:pt x="849" y="567"/>
                    </a:lnTo>
                    <a:lnTo>
                      <a:pt x="846" y="565"/>
                    </a:lnTo>
                    <a:lnTo>
                      <a:pt x="844" y="565"/>
                    </a:lnTo>
                    <a:lnTo>
                      <a:pt x="839" y="560"/>
                    </a:lnTo>
                    <a:lnTo>
                      <a:pt x="838" y="559"/>
                    </a:lnTo>
                    <a:lnTo>
                      <a:pt x="836" y="559"/>
                    </a:lnTo>
                    <a:lnTo>
                      <a:pt x="835" y="559"/>
                    </a:lnTo>
                    <a:lnTo>
                      <a:pt x="830" y="560"/>
                    </a:lnTo>
                    <a:lnTo>
                      <a:pt x="825" y="562"/>
                    </a:lnTo>
                    <a:lnTo>
                      <a:pt x="824" y="559"/>
                    </a:lnTo>
                    <a:lnTo>
                      <a:pt x="821" y="559"/>
                    </a:lnTo>
                    <a:lnTo>
                      <a:pt x="819" y="559"/>
                    </a:lnTo>
                    <a:lnTo>
                      <a:pt x="819" y="559"/>
                    </a:lnTo>
                    <a:lnTo>
                      <a:pt x="817" y="559"/>
                    </a:lnTo>
                    <a:lnTo>
                      <a:pt x="819" y="559"/>
                    </a:lnTo>
                    <a:lnTo>
                      <a:pt x="822" y="557"/>
                    </a:lnTo>
                    <a:lnTo>
                      <a:pt x="825" y="556"/>
                    </a:lnTo>
                    <a:lnTo>
                      <a:pt x="828" y="557"/>
                    </a:lnTo>
                    <a:lnTo>
                      <a:pt x="830" y="556"/>
                    </a:lnTo>
                    <a:lnTo>
                      <a:pt x="830" y="554"/>
                    </a:lnTo>
                    <a:lnTo>
                      <a:pt x="831" y="553"/>
                    </a:lnTo>
                    <a:lnTo>
                      <a:pt x="838" y="550"/>
                    </a:lnTo>
                    <a:lnTo>
                      <a:pt x="839" y="548"/>
                    </a:lnTo>
                    <a:lnTo>
                      <a:pt x="841" y="548"/>
                    </a:lnTo>
                    <a:lnTo>
                      <a:pt x="844" y="546"/>
                    </a:lnTo>
                    <a:lnTo>
                      <a:pt x="846" y="546"/>
                    </a:lnTo>
                    <a:lnTo>
                      <a:pt x="847" y="546"/>
                    </a:lnTo>
                    <a:lnTo>
                      <a:pt x="847" y="543"/>
                    </a:lnTo>
                    <a:lnTo>
                      <a:pt x="846" y="540"/>
                    </a:lnTo>
                    <a:lnTo>
                      <a:pt x="844" y="537"/>
                    </a:lnTo>
                    <a:lnTo>
                      <a:pt x="838" y="534"/>
                    </a:lnTo>
                    <a:lnTo>
                      <a:pt x="835" y="531"/>
                    </a:lnTo>
                    <a:lnTo>
                      <a:pt x="833" y="529"/>
                    </a:lnTo>
                    <a:lnTo>
                      <a:pt x="830" y="529"/>
                    </a:lnTo>
                    <a:lnTo>
                      <a:pt x="828" y="528"/>
                    </a:lnTo>
                    <a:lnTo>
                      <a:pt x="827" y="525"/>
                    </a:lnTo>
                    <a:lnTo>
                      <a:pt x="827" y="525"/>
                    </a:lnTo>
                    <a:lnTo>
                      <a:pt x="824" y="523"/>
                    </a:lnTo>
                    <a:lnTo>
                      <a:pt x="821" y="525"/>
                    </a:lnTo>
                    <a:lnTo>
                      <a:pt x="817" y="526"/>
                    </a:lnTo>
                    <a:lnTo>
                      <a:pt x="814" y="525"/>
                    </a:lnTo>
                    <a:lnTo>
                      <a:pt x="816" y="525"/>
                    </a:lnTo>
                    <a:lnTo>
                      <a:pt x="816" y="525"/>
                    </a:lnTo>
                    <a:lnTo>
                      <a:pt x="817" y="525"/>
                    </a:lnTo>
                    <a:lnTo>
                      <a:pt x="824" y="521"/>
                    </a:lnTo>
                    <a:lnTo>
                      <a:pt x="825" y="521"/>
                    </a:lnTo>
                    <a:lnTo>
                      <a:pt x="828" y="523"/>
                    </a:lnTo>
                    <a:lnTo>
                      <a:pt x="831" y="526"/>
                    </a:lnTo>
                    <a:lnTo>
                      <a:pt x="835" y="528"/>
                    </a:lnTo>
                    <a:lnTo>
                      <a:pt x="836" y="526"/>
                    </a:lnTo>
                    <a:lnTo>
                      <a:pt x="838" y="526"/>
                    </a:lnTo>
                    <a:lnTo>
                      <a:pt x="844" y="529"/>
                    </a:lnTo>
                    <a:lnTo>
                      <a:pt x="846" y="529"/>
                    </a:lnTo>
                    <a:lnTo>
                      <a:pt x="847" y="529"/>
                    </a:lnTo>
                    <a:lnTo>
                      <a:pt x="847" y="528"/>
                    </a:lnTo>
                    <a:lnTo>
                      <a:pt x="847" y="526"/>
                    </a:lnTo>
                    <a:lnTo>
                      <a:pt x="846" y="525"/>
                    </a:lnTo>
                    <a:lnTo>
                      <a:pt x="844" y="523"/>
                    </a:lnTo>
                    <a:lnTo>
                      <a:pt x="841" y="521"/>
                    </a:lnTo>
                    <a:lnTo>
                      <a:pt x="839" y="520"/>
                    </a:lnTo>
                    <a:lnTo>
                      <a:pt x="839" y="520"/>
                    </a:lnTo>
                    <a:lnTo>
                      <a:pt x="839" y="517"/>
                    </a:lnTo>
                    <a:lnTo>
                      <a:pt x="838" y="515"/>
                    </a:lnTo>
                    <a:lnTo>
                      <a:pt x="836" y="514"/>
                    </a:lnTo>
                    <a:lnTo>
                      <a:pt x="831" y="512"/>
                    </a:lnTo>
                    <a:lnTo>
                      <a:pt x="830" y="510"/>
                    </a:lnTo>
                    <a:lnTo>
                      <a:pt x="830" y="507"/>
                    </a:lnTo>
                    <a:lnTo>
                      <a:pt x="830" y="506"/>
                    </a:lnTo>
                    <a:lnTo>
                      <a:pt x="830" y="503"/>
                    </a:lnTo>
                    <a:lnTo>
                      <a:pt x="827" y="498"/>
                    </a:lnTo>
                    <a:lnTo>
                      <a:pt x="825" y="493"/>
                    </a:lnTo>
                    <a:lnTo>
                      <a:pt x="824" y="490"/>
                    </a:lnTo>
                    <a:lnTo>
                      <a:pt x="824" y="489"/>
                    </a:lnTo>
                    <a:lnTo>
                      <a:pt x="822" y="485"/>
                    </a:lnTo>
                    <a:lnTo>
                      <a:pt x="821" y="479"/>
                    </a:lnTo>
                    <a:lnTo>
                      <a:pt x="819" y="476"/>
                    </a:lnTo>
                    <a:lnTo>
                      <a:pt x="817" y="474"/>
                    </a:lnTo>
                    <a:lnTo>
                      <a:pt x="814" y="473"/>
                    </a:lnTo>
                    <a:lnTo>
                      <a:pt x="810" y="471"/>
                    </a:lnTo>
                    <a:lnTo>
                      <a:pt x="806" y="470"/>
                    </a:lnTo>
                    <a:lnTo>
                      <a:pt x="805" y="467"/>
                    </a:lnTo>
                    <a:lnTo>
                      <a:pt x="803" y="467"/>
                    </a:lnTo>
                    <a:lnTo>
                      <a:pt x="800" y="467"/>
                    </a:lnTo>
                    <a:lnTo>
                      <a:pt x="800" y="463"/>
                    </a:lnTo>
                    <a:lnTo>
                      <a:pt x="800" y="460"/>
                    </a:lnTo>
                    <a:lnTo>
                      <a:pt x="803" y="459"/>
                    </a:lnTo>
                    <a:lnTo>
                      <a:pt x="805" y="454"/>
                    </a:lnTo>
                    <a:lnTo>
                      <a:pt x="806" y="453"/>
                    </a:lnTo>
                    <a:lnTo>
                      <a:pt x="808" y="451"/>
                    </a:lnTo>
                    <a:lnTo>
                      <a:pt x="810" y="448"/>
                    </a:lnTo>
                    <a:lnTo>
                      <a:pt x="811" y="448"/>
                    </a:lnTo>
                    <a:lnTo>
                      <a:pt x="811" y="446"/>
                    </a:lnTo>
                    <a:lnTo>
                      <a:pt x="813" y="446"/>
                    </a:lnTo>
                    <a:lnTo>
                      <a:pt x="814" y="445"/>
                    </a:lnTo>
                    <a:lnTo>
                      <a:pt x="814" y="443"/>
                    </a:lnTo>
                    <a:lnTo>
                      <a:pt x="816" y="442"/>
                    </a:lnTo>
                    <a:lnTo>
                      <a:pt x="817" y="440"/>
                    </a:lnTo>
                    <a:lnTo>
                      <a:pt x="819" y="440"/>
                    </a:lnTo>
                    <a:lnTo>
                      <a:pt x="819" y="438"/>
                    </a:lnTo>
                    <a:lnTo>
                      <a:pt x="817" y="438"/>
                    </a:lnTo>
                    <a:lnTo>
                      <a:pt x="816" y="437"/>
                    </a:lnTo>
                    <a:lnTo>
                      <a:pt x="816" y="435"/>
                    </a:lnTo>
                    <a:lnTo>
                      <a:pt x="817" y="435"/>
                    </a:lnTo>
                    <a:lnTo>
                      <a:pt x="819" y="434"/>
                    </a:lnTo>
                    <a:lnTo>
                      <a:pt x="821" y="434"/>
                    </a:lnTo>
                    <a:lnTo>
                      <a:pt x="821" y="435"/>
                    </a:lnTo>
                    <a:lnTo>
                      <a:pt x="821" y="437"/>
                    </a:lnTo>
                    <a:lnTo>
                      <a:pt x="821" y="437"/>
                    </a:lnTo>
                    <a:lnTo>
                      <a:pt x="821" y="438"/>
                    </a:lnTo>
                    <a:lnTo>
                      <a:pt x="824" y="437"/>
                    </a:lnTo>
                    <a:lnTo>
                      <a:pt x="825" y="437"/>
                    </a:lnTo>
                    <a:lnTo>
                      <a:pt x="827" y="435"/>
                    </a:lnTo>
                    <a:lnTo>
                      <a:pt x="827" y="432"/>
                    </a:lnTo>
                    <a:lnTo>
                      <a:pt x="827" y="431"/>
                    </a:lnTo>
                    <a:lnTo>
                      <a:pt x="828" y="429"/>
                    </a:lnTo>
                    <a:lnTo>
                      <a:pt x="828" y="431"/>
                    </a:lnTo>
                    <a:lnTo>
                      <a:pt x="830" y="429"/>
                    </a:lnTo>
                    <a:lnTo>
                      <a:pt x="830" y="429"/>
                    </a:lnTo>
                    <a:lnTo>
                      <a:pt x="830" y="427"/>
                    </a:lnTo>
                    <a:lnTo>
                      <a:pt x="828" y="426"/>
                    </a:lnTo>
                    <a:lnTo>
                      <a:pt x="828" y="426"/>
                    </a:lnTo>
                    <a:lnTo>
                      <a:pt x="830" y="426"/>
                    </a:lnTo>
                    <a:lnTo>
                      <a:pt x="831" y="426"/>
                    </a:lnTo>
                    <a:lnTo>
                      <a:pt x="833" y="426"/>
                    </a:lnTo>
                    <a:lnTo>
                      <a:pt x="835" y="424"/>
                    </a:lnTo>
                    <a:lnTo>
                      <a:pt x="839" y="423"/>
                    </a:lnTo>
                    <a:lnTo>
                      <a:pt x="844" y="421"/>
                    </a:lnTo>
                    <a:lnTo>
                      <a:pt x="849" y="418"/>
                    </a:lnTo>
                    <a:lnTo>
                      <a:pt x="850" y="418"/>
                    </a:lnTo>
                    <a:lnTo>
                      <a:pt x="852" y="418"/>
                    </a:lnTo>
                    <a:lnTo>
                      <a:pt x="853" y="420"/>
                    </a:lnTo>
                    <a:lnTo>
                      <a:pt x="853" y="420"/>
                    </a:lnTo>
                    <a:lnTo>
                      <a:pt x="853" y="421"/>
                    </a:lnTo>
                    <a:lnTo>
                      <a:pt x="853" y="421"/>
                    </a:lnTo>
                    <a:lnTo>
                      <a:pt x="855" y="421"/>
                    </a:lnTo>
                    <a:lnTo>
                      <a:pt x="858" y="420"/>
                    </a:lnTo>
                    <a:lnTo>
                      <a:pt x="858" y="418"/>
                    </a:lnTo>
                    <a:lnTo>
                      <a:pt x="858" y="418"/>
                    </a:lnTo>
                    <a:lnTo>
                      <a:pt x="858" y="417"/>
                    </a:lnTo>
                    <a:lnTo>
                      <a:pt x="856" y="417"/>
                    </a:lnTo>
                    <a:lnTo>
                      <a:pt x="858" y="415"/>
                    </a:lnTo>
                    <a:lnTo>
                      <a:pt x="860" y="413"/>
                    </a:lnTo>
                    <a:lnTo>
                      <a:pt x="860" y="410"/>
                    </a:lnTo>
                    <a:lnTo>
                      <a:pt x="861" y="409"/>
                    </a:lnTo>
                    <a:lnTo>
                      <a:pt x="860" y="409"/>
                    </a:lnTo>
                    <a:lnTo>
                      <a:pt x="858" y="409"/>
                    </a:lnTo>
                    <a:lnTo>
                      <a:pt x="855" y="409"/>
                    </a:lnTo>
                    <a:lnTo>
                      <a:pt x="852" y="407"/>
                    </a:lnTo>
                    <a:lnTo>
                      <a:pt x="852" y="406"/>
                    </a:lnTo>
                    <a:lnTo>
                      <a:pt x="850" y="406"/>
                    </a:lnTo>
                    <a:lnTo>
                      <a:pt x="850" y="407"/>
                    </a:lnTo>
                    <a:lnTo>
                      <a:pt x="849" y="407"/>
                    </a:lnTo>
                    <a:lnTo>
                      <a:pt x="846" y="407"/>
                    </a:lnTo>
                    <a:lnTo>
                      <a:pt x="842" y="407"/>
                    </a:lnTo>
                    <a:lnTo>
                      <a:pt x="841" y="406"/>
                    </a:lnTo>
                    <a:lnTo>
                      <a:pt x="839" y="404"/>
                    </a:lnTo>
                    <a:lnTo>
                      <a:pt x="836" y="404"/>
                    </a:lnTo>
                    <a:lnTo>
                      <a:pt x="833" y="401"/>
                    </a:lnTo>
                    <a:lnTo>
                      <a:pt x="827" y="399"/>
                    </a:lnTo>
                    <a:lnTo>
                      <a:pt x="821" y="402"/>
                    </a:lnTo>
                    <a:lnTo>
                      <a:pt x="819" y="402"/>
                    </a:lnTo>
                    <a:lnTo>
                      <a:pt x="819" y="402"/>
                    </a:lnTo>
                    <a:lnTo>
                      <a:pt x="819" y="402"/>
                    </a:lnTo>
                    <a:lnTo>
                      <a:pt x="819" y="404"/>
                    </a:lnTo>
                    <a:lnTo>
                      <a:pt x="817" y="407"/>
                    </a:lnTo>
                    <a:lnTo>
                      <a:pt x="813" y="410"/>
                    </a:lnTo>
                    <a:lnTo>
                      <a:pt x="813" y="410"/>
                    </a:lnTo>
                    <a:lnTo>
                      <a:pt x="813" y="412"/>
                    </a:lnTo>
                    <a:lnTo>
                      <a:pt x="810" y="413"/>
                    </a:lnTo>
                    <a:lnTo>
                      <a:pt x="805" y="415"/>
                    </a:lnTo>
                    <a:lnTo>
                      <a:pt x="802" y="415"/>
                    </a:lnTo>
                    <a:lnTo>
                      <a:pt x="799" y="413"/>
                    </a:lnTo>
                    <a:lnTo>
                      <a:pt x="797" y="412"/>
                    </a:lnTo>
                    <a:lnTo>
                      <a:pt x="795" y="410"/>
                    </a:lnTo>
                    <a:lnTo>
                      <a:pt x="795" y="407"/>
                    </a:lnTo>
                    <a:lnTo>
                      <a:pt x="797" y="404"/>
                    </a:lnTo>
                    <a:lnTo>
                      <a:pt x="797" y="402"/>
                    </a:lnTo>
                    <a:lnTo>
                      <a:pt x="799" y="402"/>
                    </a:lnTo>
                    <a:lnTo>
                      <a:pt x="797" y="401"/>
                    </a:lnTo>
                    <a:lnTo>
                      <a:pt x="797" y="401"/>
                    </a:lnTo>
                    <a:lnTo>
                      <a:pt x="797" y="399"/>
                    </a:lnTo>
                    <a:lnTo>
                      <a:pt x="797" y="398"/>
                    </a:lnTo>
                    <a:lnTo>
                      <a:pt x="795" y="395"/>
                    </a:lnTo>
                    <a:lnTo>
                      <a:pt x="792" y="393"/>
                    </a:lnTo>
                    <a:lnTo>
                      <a:pt x="791" y="393"/>
                    </a:lnTo>
                    <a:lnTo>
                      <a:pt x="789" y="393"/>
                    </a:lnTo>
                    <a:lnTo>
                      <a:pt x="780" y="391"/>
                    </a:lnTo>
                    <a:lnTo>
                      <a:pt x="775" y="388"/>
                    </a:lnTo>
                    <a:lnTo>
                      <a:pt x="774" y="385"/>
                    </a:lnTo>
                    <a:lnTo>
                      <a:pt x="772" y="382"/>
                    </a:lnTo>
                    <a:lnTo>
                      <a:pt x="770" y="381"/>
                    </a:lnTo>
                    <a:lnTo>
                      <a:pt x="772" y="376"/>
                    </a:lnTo>
                    <a:lnTo>
                      <a:pt x="775" y="370"/>
                    </a:lnTo>
                    <a:lnTo>
                      <a:pt x="777" y="368"/>
                    </a:lnTo>
                    <a:lnTo>
                      <a:pt x="780" y="368"/>
                    </a:lnTo>
                    <a:lnTo>
                      <a:pt x="781" y="368"/>
                    </a:lnTo>
                    <a:lnTo>
                      <a:pt x="785" y="371"/>
                    </a:lnTo>
                    <a:lnTo>
                      <a:pt x="788" y="371"/>
                    </a:lnTo>
                    <a:lnTo>
                      <a:pt x="791" y="370"/>
                    </a:lnTo>
                    <a:lnTo>
                      <a:pt x="792" y="370"/>
                    </a:lnTo>
                    <a:lnTo>
                      <a:pt x="794" y="370"/>
                    </a:lnTo>
                    <a:lnTo>
                      <a:pt x="795" y="370"/>
                    </a:lnTo>
                    <a:lnTo>
                      <a:pt x="795" y="370"/>
                    </a:lnTo>
                    <a:lnTo>
                      <a:pt x="797" y="368"/>
                    </a:lnTo>
                    <a:lnTo>
                      <a:pt x="800" y="363"/>
                    </a:lnTo>
                    <a:lnTo>
                      <a:pt x="802" y="360"/>
                    </a:lnTo>
                    <a:lnTo>
                      <a:pt x="802" y="359"/>
                    </a:lnTo>
                    <a:lnTo>
                      <a:pt x="803" y="356"/>
                    </a:lnTo>
                    <a:lnTo>
                      <a:pt x="806" y="352"/>
                    </a:lnTo>
                    <a:lnTo>
                      <a:pt x="811" y="351"/>
                    </a:lnTo>
                    <a:lnTo>
                      <a:pt x="821" y="346"/>
                    </a:lnTo>
                    <a:lnTo>
                      <a:pt x="822" y="345"/>
                    </a:lnTo>
                    <a:lnTo>
                      <a:pt x="828" y="337"/>
                    </a:lnTo>
                    <a:lnTo>
                      <a:pt x="828" y="335"/>
                    </a:lnTo>
                    <a:lnTo>
                      <a:pt x="830" y="335"/>
                    </a:lnTo>
                    <a:lnTo>
                      <a:pt x="831" y="334"/>
                    </a:lnTo>
                    <a:lnTo>
                      <a:pt x="833" y="330"/>
                    </a:lnTo>
                    <a:lnTo>
                      <a:pt x="835" y="329"/>
                    </a:lnTo>
                    <a:lnTo>
                      <a:pt x="841" y="330"/>
                    </a:lnTo>
                    <a:lnTo>
                      <a:pt x="842" y="330"/>
                    </a:lnTo>
                    <a:lnTo>
                      <a:pt x="844" y="330"/>
                    </a:lnTo>
                    <a:lnTo>
                      <a:pt x="846" y="330"/>
                    </a:lnTo>
                    <a:lnTo>
                      <a:pt x="846" y="327"/>
                    </a:lnTo>
                    <a:lnTo>
                      <a:pt x="847" y="327"/>
                    </a:lnTo>
                    <a:lnTo>
                      <a:pt x="847" y="330"/>
                    </a:lnTo>
                    <a:lnTo>
                      <a:pt x="852" y="335"/>
                    </a:lnTo>
                    <a:lnTo>
                      <a:pt x="852" y="337"/>
                    </a:lnTo>
                    <a:lnTo>
                      <a:pt x="853" y="338"/>
                    </a:lnTo>
                    <a:lnTo>
                      <a:pt x="853" y="338"/>
                    </a:lnTo>
                    <a:lnTo>
                      <a:pt x="853" y="341"/>
                    </a:lnTo>
                    <a:lnTo>
                      <a:pt x="853" y="341"/>
                    </a:lnTo>
                    <a:lnTo>
                      <a:pt x="849" y="348"/>
                    </a:lnTo>
                    <a:lnTo>
                      <a:pt x="847" y="349"/>
                    </a:lnTo>
                    <a:lnTo>
                      <a:pt x="846" y="351"/>
                    </a:lnTo>
                    <a:lnTo>
                      <a:pt x="841" y="354"/>
                    </a:lnTo>
                    <a:lnTo>
                      <a:pt x="841" y="356"/>
                    </a:lnTo>
                    <a:lnTo>
                      <a:pt x="841" y="357"/>
                    </a:lnTo>
                    <a:lnTo>
                      <a:pt x="841" y="359"/>
                    </a:lnTo>
                    <a:lnTo>
                      <a:pt x="839" y="359"/>
                    </a:lnTo>
                    <a:lnTo>
                      <a:pt x="839" y="359"/>
                    </a:lnTo>
                    <a:lnTo>
                      <a:pt x="836" y="360"/>
                    </a:lnTo>
                    <a:lnTo>
                      <a:pt x="836" y="362"/>
                    </a:lnTo>
                    <a:lnTo>
                      <a:pt x="838" y="363"/>
                    </a:lnTo>
                    <a:lnTo>
                      <a:pt x="836" y="365"/>
                    </a:lnTo>
                    <a:lnTo>
                      <a:pt x="838" y="365"/>
                    </a:lnTo>
                    <a:lnTo>
                      <a:pt x="841" y="365"/>
                    </a:lnTo>
                    <a:lnTo>
                      <a:pt x="846" y="363"/>
                    </a:lnTo>
                    <a:lnTo>
                      <a:pt x="846" y="365"/>
                    </a:lnTo>
                    <a:lnTo>
                      <a:pt x="846" y="365"/>
                    </a:lnTo>
                    <a:lnTo>
                      <a:pt x="844" y="366"/>
                    </a:lnTo>
                    <a:lnTo>
                      <a:pt x="842" y="368"/>
                    </a:lnTo>
                    <a:lnTo>
                      <a:pt x="844" y="371"/>
                    </a:lnTo>
                    <a:lnTo>
                      <a:pt x="836" y="374"/>
                    </a:lnTo>
                    <a:lnTo>
                      <a:pt x="835" y="374"/>
                    </a:lnTo>
                    <a:lnTo>
                      <a:pt x="833" y="374"/>
                    </a:lnTo>
                    <a:lnTo>
                      <a:pt x="835" y="377"/>
                    </a:lnTo>
                    <a:lnTo>
                      <a:pt x="835" y="379"/>
                    </a:lnTo>
                    <a:lnTo>
                      <a:pt x="836" y="379"/>
                    </a:lnTo>
                    <a:lnTo>
                      <a:pt x="836" y="379"/>
                    </a:lnTo>
                    <a:lnTo>
                      <a:pt x="838" y="377"/>
                    </a:lnTo>
                    <a:lnTo>
                      <a:pt x="841" y="377"/>
                    </a:lnTo>
                    <a:lnTo>
                      <a:pt x="842" y="376"/>
                    </a:lnTo>
                    <a:lnTo>
                      <a:pt x="844" y="376"/>
                    </a:lnTo>
                    <a:lnTo>
                      <a:pt x="842" y="374"/>
                    </a:lnTo>
                    <a:lnTo>
                      <a:pt x="844" y="373"/>
                    </a:lnTo>
                    <a:lnTo>
                      <a:pt x="846" y="373"/>
                    </a:lnTo>
                    <a:lnTo>
                      <a:pt x="846" y="373"/>
                    </a:lnTo>
                    <a:lnTo>
                      <a:pt x="847" y="373"/>
                    </a:lnTo>
                    <a:lnTo>
                      <a:pt x="849" y="373"/>
                    </a:lnTo>
                    <a:lnTo>
                      <a:pt x="849" y="371"/>
                    </a:lnTo>
                    <a:lnTo>
                      <a:pt x="850" y="371"/>
                    </a:lnTo>
                    <a:lnTo>
                      <a:pt x="852" y="370"/>
                    </a:lnTo>
                    <a:lnTo>
                      <a:pt x="853" y="366"/>
                    </a:lnTo>
                    <a:lnTo>
                      <a:pt x="855" y="365"/>
                    </a:lnTo>
                    <a:lnTo>
                      <a:pt x="864" y="360"/>
                    </a:lnTo>
                    <a:lnTo>
                      <a:pt x="866" y="359"/>
                    </a:lnTo>
                    <a:lnTo>
                      <a:pt x="867" y="357"/>
                    </a:lnTo>
                    <a:lnTo>
                      <a:pt x="871" y="357"/>
                    </a:lnTo>
                    <a:lnTo>
                      <a:pt x="872" y="357"/>
                    </a:lnTo>
                    <a:lnTo>
                      <a:pt x="874" y="356"/>
                    </a:lnTo>
                    <a:lnTo>
                      <a:pt x="875" y="356"/>
                    </a:lnTo>
                    <a:lnTo>
                      <a:pt x="877" y="356"/>
                    </a:lnTo>
                    <a:lnTo>
                      <a:pt x="877" y="354"/>
                    </a:lnTo>
                    <a:lnTo>
                      <a:pt x="878" y="352"/>
                    </a:lnTo>
                    <a:lnTo>
                      <a:pt x="880" y="354"/>
                    </a:lnTo>
                    <a:lnTo>
                      <a:pt x="886" y="354"/>
                    </a:lnTo>
                    <a:lnTo>
                      <a:pt x="889" y="352"/>
                    </a:lnTo>
                    <a:lnTo>
                      <a:pt x="891" y="351"/>
                    </a:lnTo>
                    <a:lnTo>
                      <a:pt x="891" y="351"/>
                    </a:lnTo>
                    <a:lnTo>
                      <a:pt x="891" y="351"/>
                    </a:lnTo>
                    <a:lnTo>
                      <a:pt x="891" y="351"/>
                    </a:lnTo>
                    <a:lnTo>
                      <a:pt x="891" y="348"/>
                    </a:lnTo>
                    <a:lnTo>
                      <a:pt x="892" y="346"/>
                    </a:lnTo>
                    <a:lnTo>
                      <a:pt x="897" y="343"/>
                    </a:lnTo>
                    <a:lnTo>
                      <a:pt x="897" y="343"/>
                    </a:lnTo>
                    <a:lnTo>
                      <a:pt x="899" y="341"/>
                    </a:lnTo>
                    <a:lnTo>
                      <a:pt x="900" y="340"/>
                    </a:lnTo>
                    <a:lnTo>
                      <a:pt x="900" y="340"/>
                    </a:lnTo>
                    <a:lnTo>
                      <a:pt x="902" y="340"/>
                    </a:lnTo>
                    <a:lnTo>
                      <a:pt x="902" y="340"/>
                    </a:lnTo>
                    <a:lnTo>
                      <a:pt x="902" y="338"/>
                    </a:lnTo>
                    <a:lnTo>
                      <a:pt x="902" y="338"/>
                    </a:lnTo>
                    <a:lnTo>
                      <a:pt x="903" y="338"/>
                    </a:lnTo>
                    <a:lnTo>
                      <a:pt x="905" y="337"/>
                    </a:lnTo>
                    <a:lnTo>
                      <a:pt x="908" y="335"/>
                    </a:lnTo>
                    <a:lnTo>
                      <a:pt x="910" y="335"/>
                    </a:lnTo>
                    <a:lnTo>
                      <a:pt x="911" y="334"/>
                    </a:lnTo>
                    <a:lnTo>
                      <a:pt x="913" y="332"/>
                    </a:lnTo>
                    <a:lnTo>
                      <a:pt x="913" y="332"/>
                    </a:lnTo>
                    <a:lnTo>
                      <a:pt x="913" y="332"/>
                    </a:lnTo>
                    <a:lnTo>
                      <a:pt x="913" y="332"/>
                    </a:lnTo>
                    <a:lnTo>
                      <a:pt x="914" y="330"/>
                    </a:lnTo>
                    <a:lnTo>
                      <a:pt x="914" y="330"/>
                    </a:lnTo>
                    <a:lnTo>
                      <a:pt x="916" y="330"/>
                    </a:lnTo>
                    <a:lnTo>
                      <a:pt x="916" y="330"/>
                    </a:lnTo>
                    <a:lnTo>
                      <a:pt x="917" y="330"/>
                    </a:lnTo>
                    <a:lnTo>
                      <a:pt x="917" y="330"/>
                    </a:lnTo>
                    <a:lnTo>
                      <a:pt x="919" y="329"/>
                    </a:lnTo>
                    <a:lnTo>
                      <a:pt x="919" y="329"/>
                    </a:lnTo>
                    <a:lnTo>
                      <a:pt x="919" y="329"/>
                    </a:lnTo>
                    <a:lnTo>
                      <a:pt x="921" y="327"/>
                    </a:lnTo>
                    <a:lnTo>
                      <a:pt x="921" y="327"/>
                    </a:lnTo>
                    <a:lnTo>
                      <a:pt x="922" y="326"/>
                    </a:lnTo>
                    <a:lnTo>
                      <a:pt x="924" y="324"/>
                    </a:lnTo>
                    <a:lnTo>
                      <a:pt x="924" y="324"/>
                    </a:lnTo>
                    <a:lnTo>
                      <a:pt x="925" y="323"/>
                    </a:lnTo>
                    <a:lnTo>
                      <a:pt x="927" y="320"/>
                    </a:lnTo>
                    <a:lnTo>
                      <a:pt x="927" y="320"/>
                    </a:lnTo>
                    <a:lnTo>
                      <a:pt x="927" y="320"/>
                    </a:lnTo>
                    <a:lnTo>
                      <a:pt x="928" y="320"/>
                    </a:lnTo>
                    <a:lnTo>
                      <a:pt x="928" y="320"/>
                    </a:lnTo>
                    <a:lnTo>
                      <a:pt x="928" y="318"/>
                    </a:lnTo>
                    <a:lnTo>
                      <a:pt x="928" y="316"/>
                    </a:lnTo>
                    <a:lnTo>
                      <a:pt x="930" y="313"/>
                    </a:lnTo>
                    <a:lnTo>
                      <a:pt x="930" y="312"/>
                    </a:lnTo>
                    <a:lnTo>
                      <a:pt x="932" y="312"/>
                    </a:lnTo>
                    <a:lnTo>
                      <a:pt x="932" y="312"/>
                    </a:lnTo>
                    <a:lnTo>
                      <a:pt x="932" y="310"/>
                    </a:lnTo>
                    <a:lnTo>
                      <a:pt x="933" y="310"/>
                    </a:lnTo>
                    <a:lnTo>
                      <a:pt x="933" y="310"/>
                    </a:lnTo>
                    <a:lnTo>
                      <a:pt x="933" y="310"/>
                    </a:lnTo>
                    <a:lnTo>
                      <a:pt x="935" y="310"/>
                    </a:lnTo>
                    <a:lnTo>
                      <a:pt x="935" y="309"/>
                    </a:lnTo>
                    <a:lnTo>
                      <a:pt x="935" y="309"/>
                    </a:lnTo>
                    <a:lnTo>
                      <a:pt x="936" y="310"/>
                    </a:lnTo>
                    <a:lnTo>
                      <a:pt x="938" y="310"/>
                    </a:lnTo>
                    <a:lnTo>
                      <a:pt x="938" y="310"/>
                    </a:lnTo>
                    <a:lnTo>
                      <a:pt x="938" y="312"/>
                    </a:lnTo>
                    <a:lnTo>
                      <a:pt x="938" y="312"/>
                    </a:lnTo>
                    <a:lnTo>
                      <a:pt x="939" y="313"/>
                    </a:lnTo>
                    <a:lnTo>
                      <a:pt x="939" y="315"/>
                    </a:lnTo>
                    <a:lnTo>
                      <a:pt x="939" y="315"/>
                    </a:lnTo>
                    <a:lnTo>
                      <a:pt x="942" y="315"/>
                    </a:lnTo>
                    <a:lnTo>
                      <a:pt x="944" y="316"/>
                    </a:lnTo>
                    <a:lnTo>
                      <a:pt x="946" y="316"/>
                    </a:lnTo>
                    <a:lnTo>
                      <a:pt x="947" y="316"/>
                    </a:lnTo>
                    <a:lnTo>
                      <a:pt x="949" y="316"/>
                    </a:lnTo>
                    <a:lnTo>
                      <a:pt x="953" y="316"/>
                    </a:lnTo>
                    <a:lnTo>
                      <a:pt x="955" y="316"/>
                    </a:lnTo>
                    <a:lnTo>
                      <a:pt x="955" y="316"/>
                    </a:lnTo>
                    <a:lnTo>
                      <a:pt x="955" y="318"/>
                    </a:lnTo>
                    <a:lnTo>
                      <a:pt x="957" y="318"/>
                    </a:lnTo>
                    <a:lnTo>
                      <a:pt x="957" y="318"/>
                    </a:lnTo>
                    <a:lnTo>
                      <a:pt x="958" y="318"/>
                    </a:lnTo>
                    <a:lnTo>
                      <a:pt x="958" y="318"/>
                    </a:lnTo>
                    <a:lnTo>
                      <a:pt x="960" y="315"/>
                    </a:lnTo>
                    <a:lnTo>
                      <a:pt x="960" y="315"/>
                    </a:lnTo>
                    <a:lnTo>
                      <a:pt x="960" y="313"/>
                    </a:lnTo>
                    <a:lnTo>
                      <a:pt x="960" y="312"/>
                    </a:lnTo>
                    <a:lnTo>
                      <a:pt x="958" y="312"/>
                    </a:lnTo>
                    <a:lnTo>
                      <a:pt x="957" y="310"/>
                    </a:lnTo>
                    <a:lnTo>
                      <a:pt x="957" y="307"/>
                    </a:lnTo>
                    <a:lnTo>
                      <a:pt x="955" y="307"/>
                    </a:lnTo>
                    <a:lnTo>
                      <a:pt x="955" y="307"/>
                    </a:lnTo>
                    <a:lnTo>
                      <a:pt x="955" y="305"/>
                    </a:lnTo>
                    <a:lnTo>
                      <a:pt x="955" y="304"/>
                    </a:lnTo>
                    <a:lnTo>
                      <a:pt x="957" y="304"/>
                    </a:lnTo>
                    <a:lnTo>
                      <a:pt x="958" y="304"/>
                    </a:lnTo>
                    <a:lnTo>
                      <a:pt x="960" y="304"/>
                    </a:lnTo>
                    <a:lnTo>
                      <a:pt x="961" y="304"/>
                    </a:lnTo>
                    <a:lnTo>
                      <a:pt x="963" y="304"/>
                    </a:lnTo>
                    <a:lnTo>
                      <a:pt x="966" y="304"/>
                    </a:lnTo>
                    <a:lnTo>
                      <a:pt x="967" y="304"/>
                    </a:lnTo>
                    <a:lnTo>
                      <a:pt x="967" y="302"/>
                    </a:lnTo>
                    <a:lnTo>
                      <a:pt x="969" y="304"/>
                    </a:lnTo>
                    <a:lnTo>
                      <a:pt x="971" y="304"/>
                    </a:lnTo>
                    <a:lnTo>
                      <a:pt x="971" y="302"/>
                    </a:lnTo>
                    <a:lnTo>
                      <a:pt x="974" y="301"/>
                    </a:lnTo>
                    <a:lnTo>
                      <a:pt x="974" y="301"/>
                    </a:lnTo>
                    <a:lnTo>
                      <a:pt x="974" y="301"/>
                    </a:lnTo>
                    <a:lnTo>
                      <a:pt x="975" y="299"/>
                    </a:lnTo>
                    <a:lnTo>
                      <a:pt x="975" y="298"/>
                    </a:lnTo>
                    <a:lnTo>
                      <a:pt x="975" y="296"/>
                    </a:lnTo>
                    <a:lnTo>
                      <a:pt x="977" y="296"/>
                    </a:lnTo>
                    <a:lnTo>
                      <a:pt x="977" y="294"/>
                    </a:lnTo>
                    <a:lnTo>
                      <a:pt x="978" y="293"/>
                    </a:lnTo>
                    <a:lnTo>
                      <a:pt x="978" y="293"/>
                    </a:lnTo>
                    <a:lnTo>
                      <a:pt x="980" y="294"/>
                    </a:lnTo>
                    <a:lnTo>
                      <a:pt x="980" y="294"/>
                    </a:lnTo>
                    <a:lnTo>
                      <a:pt x="980" y="294"/>
                    </a:lnTo>
                    <a:lnTo>
                      <a:pt x="982" y="294"/>
                    </a:lnTo>
                    <a:lnTo>
                      <a:pt x="982" y="294"/>
                    </a:lnTo>
                    <a:lnTo>
                      <a:pt x="982" y="294"/>
                    </a:lnTo>
                    <a:lnTo>
                      <a:pt x="983" y="294"/>
                    </a:lnTo>
                    <a:lnTo>
                      <a:pt x="983" y="293"/>
                    </a:lnTo>
                    <a:lnTo>
                      <a:pt x="983" y="293"/>
                    </a:lnTo>
                    <a:lnTo>
                      <a:pt x="985" y="293"/>
                    </a:lnTo>
                    <a:lnTo>
                      <a:pt x="985" y="293"/>
                    </a:lnTo>
                    <a:lnTo>
                      <a:pt x="985" y="293"/>
                    </a:lnTo>
                    <a:lnTo>
                      <a:pt x="985" y="290"/>
                    </a:lnTo>
                    <a:lnTo>
                      <a:pt x="986" y="287"/>
                    </a:lnTo>
                    <a:lnTo>
                      <a:pt x="986" y="285"/>
                    </a:lnTo>
                    <a:lnTo>
                      <a:pt x="986" y="284"/>
                    </a:lnTo>
                    <a:lnTo>
                      <a:pt x="986" y="284"/>
                    </a:lnTo>
                    <a:lnTo>
                      <a:pt x="988" y="280"/>
                    </a:lnTo>
                    <a:lnTo>
                      <a:pt x="988" y="280"/>
                    </a:lnTo>
                    <a:lnTo>
                      <a:pt x="989" y="280"/>
                    </a:lnTo>
                    <a:lnTo>
                      <a:pt x="989" y="280"/>
                    </a:lnTo>
                    <a:lnTo>
                      <a:pt x="989" y="280"/>
                    </a:lnTo>
                    <a:lnTo>
                      <a:pt x="991" y="280"/>
                    </a:lnTo>
                    <a:lnTo>
                      <a:pt x="992" y="282"/>
                    </a:lnTo>
                    <a:lnTo>
                      <a:pt x="992" y="282"/>
                    </a:lnTo>
                    <a:lnTo>
                      <a:pt x="992" y="282"/>
                    </a:lnTo>
                    <a:lnTo>
                      <a:pt x="994" y="284"/>
                    </a:lnTo>
                    <a:lnTo>
                      <a:pt x="994" y="284"/>
                    </a:lnTo>
                    <a:lnTo>
                      <a:pt x="994" y="284"/>
                    </a:lnTo>
                    <a:lnTo>
                      <a:pt x="994" y="287"/>
                    </a:lnTo>
                    <a:lnTo>
                      <a:pt x="996" y="288"/>
                    </a:lnTo>
                    <a:lnTo>
                      <a:pt x="996" y="290"/>
                    </a:lnTo>
                    <a:lnTo>
                      <a:pt x="997" y="290"/>
                    </a:lnTo>
                    <a:lnTo>
                      <a:pt x="999" y="290"/>
                    </a:lnTo>
                    <a:lnTo>
                      <a:pt x="999" y="291"/>
                    </a:lnTo>
                    <a:lnTo>
                      <a:pt x="999" y="291"/>
                    </a:lnTo>
                    <a:lnTo>
                      <a:pt x="999" y="291"/>
                    </a:lnTo>
                    <a:lnTo>
                      <a:pt x="1000" y="291"/>
                    </a:lnTo>
                    <a:lnTo>
                      <a:pt x="1000" y="290"/>
                    </a:lnTo>
                    <a:lnTo>
                      <a:pt x="999" y="288"/>
                    </a:lnTo>
                    <a:lnTo>
                      <a:pt x="999" y="288"/>
                    </a:lnTo>
                    <a:lnTo>
                      <a:pt x="997" y="288"/>
                    </a:lnTo>
                    <a:lnTo>
                      <a:pt x="997" y="287"/>
                    </a:lnTo>
                    <a:lnTo>
                      <a:pt x="997" y="287"/>
                    </a:lnTo>
                    <a:lnTo>
                      <a:pt x="997" y="287"/>
                    </a:lnTo>
                    <a:lnTo>
                      <a:pt x="999" y="285"/>
                    </a:lnTo>
                    <a:lnTo>
                      <a:pt x="999" y="285"/>
                    </a:lnTo>
                    <a:lnTo>
                      <a:pt x="1000" y="285"/>
                    </a:lnTo>
                    <a:lnTo>
                      <a:pt x="1002" y="284"/>
                    </a:lnTo>
                    <a:lnTo>
                      <a:pt x="1003" y="284"/>
                    </a:lnTo>
                    <a:lnTo>
                      <a:pt x="1005" y="284"/>
                    </a:lnTo>
                    <a:lnTo>
                      <a:pt x="1007" y="284"/>
                    </a:lnTo>
                    <a:lnTo>
                      <a:pt x="1007" y="284"/>
                    </a:lnTo>
                    <a:lnTo>
                      <a:pt x="1007" y="284"/>
                    </a:lnTo>
                    <a:lnTo>
                      <a:pt x="1008" y="282"/>
                    </a:lnTo>
                    <a:lnTo>
                      <a:pt x="1008" y="282"/>
                    </a:lnTo>
                    <a:lnTo>
                      <a:pt x="1008" y="279"/>
                    </a:lnTo>
                    <a:lnTo>
                      <a:pt x="1010" y="279"/>
                    </a:lnTo>
                    <a:lnTo>
                      <a:pt x="1010" y="277"/>
                    </a:lnTo>
                    <a:lnTo>
                      <a:pt x="1010" y="277"/>
                    </a:lnTo>
                    <a:lnTo>
                      <a:pt x="1011" y="274"/>
                    </a:lnTo>
                    <a:lnTo>
                      <a:pt x="1011" y="273"/>
                    </a:lnTo>
                    <a:lnTo>
                      <a:pt x="1011" y="271"/>
                    </a:lnTo>
                    <a:lnTo>
                      <a:pt x="1011" y="269"/>
                    </a:lnTo>
                    <a:lnTo>
                      <a:pt x="1011" y="269"/>
                    </a:lnTo>
                    <a:lnTo>
                      <a:pt x="1011" y="268"/>
                    </a:lnTo>
                    <a:lnTo>
                      <a:pt x="1011" y="268"/>
                    </a:lnTo>
                    <a:lnTo>
                      <a:pt x="1010" y="268"/>
                    </a:lnTo>
                    <a:lnTo>
                      <a:pt x="1010" y="266"/>
                    </a:lnTo>
                    <a:lnTo>
                      <a:pt x="1010" y="265"/>
                    </a:lnTo>
                    <a:lnTo>
                      <a:pt x="1010" y="263"/>
                    </a:lnTo>
                    <a:lnTo>
                      <a:pt x="1011" y="255"/>
                    </a:lnTo>
                    <a:lnTo>
                      <a:pt x="1011" y="254"/>
                    </a:lnTo>
                    <a:lnTo>
                      <a:pt x="1010" y="244"/>
                    </a:lnTo>
                    <a:lnTo>
                      <a:pt x="1008" y="241"/>
                    </a:lnTo>
                    <a:lnTo>
                      <a:pt x="1008" y="240"/>
                    </a:lnTo>
                    <a:lnTo>
                      <a:pt x="1007" y="238"/>
                    </a:lnTo>
                    <a:lnTo>
                      <a:pt x="1007" y="237"/>
                    </a:lnTo>
                    <a:lnTo>
                      <a:pt x="1007" y="235"/>
                    </a:lnTo>
                    <a:lnTo>
                      <a:pt x="1008" y="235"/>
                    </a:lnTo>
                    <a:lnTo>
                      <a:pt x="1008" y="233"/>
                    </a:lnTo>
                    <a:lnTo>
                      <a:pt x="1011" y="233"/>
                    </a:lnTo>
                    <a:lnTo>
                      <a:pt x="1011" y="233"/>
                    </a:lnTo>
                    <a:lnTo>
                      <a:pt x="1011" y="233"/>
                    </a:lnTo>
                    <a:lnTo>
                      <a:pt x="1014" y="232"/>
                    </a:lnTo>
                    <a:lnTo>
                      <a:pt x="1016" y="232"/>
                    </a:lnTo>
                    <a:lnTo>
                      <a:pt x="1018" y="229"/>
                    </a:lnTo>
                    <a:lnTo>
                      <a:pt x="1018" y="229"/>
                    </a:lnTo>
                    <a:lnTo>
                      <a:pt x="1019" y="227"/>
                    </a:lnTo>
                    <a:lnTo>
                      <a:pt x="1021" y="226"/>
                    </a:lnTo>
                    <a:lnTo>
                      <a:pt x="1021" y="224"/>
                    </a:lnTo>
                    <a:lnTo>
                      <a:pt x="1022" y="224"/>
                    </a:lnTo>
                    <a:lnTo>
                      <a:pt x="1024" y="224"/>
                    </a:lnTo>
                    <a:lnTo>
                      <a:pt x="1024" y="226"/>
                    </a:lnTo>
                    <a:lnTo>
                      <a:pt x="1025" y="226"/>
                    </a:lnTo>
                    <a:lnTo>
                      <a:pt x="1028" y="227"/>
                    </a:lnTo>
                    <a:lnTo>
                      <a:pt x="1028" y="227"/>
                    </a:lnTo>
                    <a:lnTo>
                      <a:pt x="1032" y="227"/>
                    </a:lnTo>
                    <a:lnTo>
                      <a:pt x="1033" y="229"/>
                    </a:lnTo>
                    <a:lnTo>
                      <a:pt x="1035" y="229"/>
                    </a:lnTo>
                    <a:lnTo>
                      <a:pt x="1036" y="229"/>
                    </a:lnTo>
                    <a:lnTo>
                      <a:pt x="1038" y="230"/>
                    </a:lnTo>
                    <a:lnTo>
                      <a:pt x="1039" y="230"/>
                    </a:lnTo>
                    <a:lnTo>
                      <a:pt x="1041" y="230"/>
                    </a:lnTo>
                    <a:lnTo>
                      <a:pt x="1041" y="230"/>
                    </a:lnTo>
                    <a:lnTo>
                      <a:pt x="1041" y="230"/>
                    </a:lnTo>
                    <a:lnTo>
                      <a:pt x="1041" y="230"/>
                    </a:lnTo>
                    <a:lnTo>
                      <a:pt x="1043" y="230"/>
                    </a:lnTo>
                    <a:lnTo>
                      <a:pt x="1044" y="229"/>
                    </a:lnTo>
                    <a:lnTo>
                      <a:pt x="1044" y="229"/>
                    </a:lnTo>
                    <a:lnTo>
                      <a:pt x="1044" y="226"/>
                    </a:lnTo>
                    <a:lnTo>
                      <a:pt x="1044" y="224"/>
                    </a:lnTo>
                    <a:lnTo>
                      <a:pt x="1046" y="219"/>
                    </a:lnTo>
                    <a:lnTo>
                      <a:pt x="1047" y="218"/>
                    </a:lnTo>
                    <a:lnTo>
                      <a:pt x="1047" y="218"/>
                    </a:lnTo>
                    <a:lnTo>
                      <a:pt x="1047" y="218"/>
                    </a:lnTo>
                    <a:lnTo>
                      <a:pt x="1049" y="218"/>
                    </a:lnTo>
                    <a:lnTo>
                      <a:pt x="1050" y="216"/>
                    </a:lnTo>
                    <a:lnTo>
                      <a:pt x="1050" y="215"/>
                    </a:lnTo>
                    <a:lnTo>
                      <a:pt x="1050" y="215"/>
                    </a:lnTo>
                    <a:lnTo>
                      <a:pt x="1050" y="213"/>
                    </a:lnTo>
                    <a:lnTo>
                      <a:pt x="1050" y="212"/>
                    </a:lnTo>
                    <a:lnTo>
                      <a:pt x="1052" y="210"/>
                    </a:lnTo>
                    <a:lnTo>
                      <a:pt x="1052" y="208"/>
                    </a:lnTo>
                    <a:lnTo>
                      <a:pt x="1053" y="208"/>
                    </a:lnTo>
                    <a:lnTo>
                      <a:pt x="1053" y="208"/>
                    </a:lnTo>
                    <a:lnTo>
                      <a:pt x="1053" y="208"/>
                    </a:lnTo>
                    <a:lnTo>
                      <a:pt x="1055" y="207"/>
                    </a:lnTo>
                    <a:lnTo>
                      <a:pt x="1055" y="205"/>
                    </a:lnTo>
                    <a:lnTo>
                      <a:pt x="1055" y="204"/>
                    </a:lnTo>
                    <a:lnTo>
                      <a:pt x="1055" y="202"/>
                    </a:lnTo>
                    <a:lnTo>
                      <a:pt x="1057" y="201"/>
                    </a:lnTo>
                    <a:lnTo>
                      <a:pt x="1058" y="201"/>
                    </a:lnTo>
                    <a:lnTo>
                      <a:pt x="1058" y="199"/>
                    </a:lnTo>
                    <a:lnTo>
                      <a:pt x="1058" y="197"/>
                    </a:lnTo>
                    <a:lnTo>
                      <a:pt x="1058" y="197"/>
                    </a:lnTo>
                    <a:lnTo>
                      <a:pt x="1058" y="196"/>
                    </a:lnTo>
                    <a:lnTo>
                      <a:pt x="1058" y="194"/>
                    </a:lnTo>
                    <a:lnTo>
                      <a:pt x="1060" y="191"/>
                    </a:lnTo>
                    <a:lnTo>
                      <a:pt x="1060" y="188"/>
                    </a:lnTo>
                    <a:lnTo>
                      <a:pt x="1061" y="185"/>
                    </a:lnTo>
                    <a:lnTo>
                      <a:pt x="1061" y="185"/>
                    </a:lnTo>
                    <a:lnTo>
                      <a:pt x="1061" y="182"/>
                    </a:lnTo>
                    <a:lnTo>
                      <a:pt x="1061" y="182"/>
                    </a:lnTo>
                    <a:lnTo>
                      <a:pt x="1063" y="179"/>
                    </a:lnTo>
                    <a:lnTo>
                      <a:pt x="1063" y="177"/>
                    </a:lnTo>
                    <a:lnTo>
                      <a:pt x="1063" y="176"/>
                    </a:lnTo>
                    <a:lnTo>
                      <a:pt x="1063" y="174"/>
                    </a:lnTo>
                    <a:lnTo>
                      <a:pt x="1063" y="174"/>
                    </a:lnTo>
                    <a:lnTo>
                      <a:pt x="1064" y="172"/>
                    </a:lnTo>
                    <a:lnTo>
                      <a:pt x="1064" y="171"/>
                    </a:lnTo>
                    <a:lnTo>
                      <a:pt x="1064" y="171"/>
                    </a:lnTo>
                    <a:lnTo>
                      <a:pt x="1066" y="171"/>
                    </a:lnTo>
                    <a:lnTo>
                      <a:pt x="1066" y="169"/>
                    </a:lnTo>
                    <a:lnTo>
                      <a:pt x="1068" y="169"/>
                    </a:lnTo>
                    <a:lnTo>
                      <a:pt x="1069" y="169"/>
                    </a:lnTo>
                    <a:lnTo>
                      <a:pt x="1069" y="169"/>
                    </a:lnTo>
                    <a:lnTo>
                      <a:pt x="1069" y="169"/>
                    </a:lnTo>
                    <a:lnTo>
                      <a:pt x="1071" y="168"/>
                    </a:lnTo>
                    <a:lnTo>
                      <a:pt x="1072" y="165"/>
                    </a:lnTo>
                    <a:lnTo>
                      <a:pt x="1072" y="163"/>
                    </a:lnTo>
                    <a:lnTo>
                      <a:pt x="1074" y="163"/>
                    </a:lnTo>
                    <a:lnTo>
                      <a:pt x="1072" y="160"/>
                    </a:lnTo>
                    <a:close/>
                    <a:moveTo>
                      <a:pt x="847" y="534"/>
                    </a:moveTo>
                    <a:lnTo>
                      <a:pt x="846" y="532"/>
                    </a:lnTo>
                    <a:lnTo>
                      <a:pt x="842" y="531"/>
                    </a:lnTo>
                    <a:lnTo>
                      <a:pt x="841" y="531"/>
                    </a:lnTo>
                    <a:lnTo>
                      <a:pt x="841" y="529"/>
                    </a:lnTo>
                    <a:lnTo>
                      <a:pt x="839" y="529"/>
                    </a:lnTo>
                    <a:lnTo>
                      <a:pt x="838" y="528"/>
                    </a:lnTo>
                    <a:lnTo>
                      <a:pt x="836" y="528"/>
                    </a:lnTo>
                    <a:lnTo>
                      <a:pt x="836" y="529"/>
                    </a:lnTo>
                    <a:lnTo>
                      <a:pt x="838" y="531"/>
                    </a:lnTo>
                    <a:lnTo>
                      <a:pt x="841" y="532"/>
                    </a:lnTo>
                    <a:lnTo>
                      <a:pt x="846" y="534"/>
                    </a:lnTo>
                    <a:lnTo>
                      <a:pt x="847" y="534"/>
                    </a:lnTo>
                    <a:lnTo>
                      <a:pt x="847" y="534"/>
                    </a:lnTo>
                    <a:close/>
                    <a:moveTo>
                      <a:pt x="855" y="564"/>
                    </a:moveTo>
                    <a:lnTo>
                      <a:pt x="852" y="562"/>
                    </a:lnTo>
                    <a:lnTo>
                      <a:pt x="849" y="562"/>
                    </a:lnTo>
                    <a:lnTo>
                      <a:pt x="849" y="564"/>
                    </a:lnTo>
                    <a:lnTo>
                      <a:pt x="850" y="564"/>
                    </a:lnTo>
                    <a:lnTo>
                      <a:pt x="852" y="565"/>
                    </a:lnTo>
                    <a:lnTo>
                      <a:pt x="855" y="565"/>
                    </a:lnTo>
                    <a:lnTo>
                      <a:pt x="855" y="565"/>
                    </a:lnTo>
                    <a:lnTo>
                      <a:pt x="855" y="564"/>
                    </a:lnTo>
                    <a:lnTo>
                      <a:pt x="855" y="564"/>
                    </a:lnTo>
                    <a:close/>
                    <a:moveTo>
                      <a:pt x="855" y="565"/>
                    </a:moveTo>
                    <a:lnTo>
                      <a:pt x="855" y="565"/>
                    </a:lnTo>
                    <a:lnTo>
                      <a:pt x="855" y="567"/>
                    </a:lnTo>
                    <a:lnTo>
                      <a:pt x="856" y="568"/>
                    </a:lnTo>
                    <a:lnTo>
                      <a:pt x="856" y="567"/>
                    </a:lnTo>
                    <a:lnTo>
                      <a:pt x="856" y="565"/>
                    </a:lnTo>
                    <a:lnTo>
                      <a:pt x="855" y="565"/>
                    </a:lnTo>
                    <a:close/>
                    <a:moveTo>
                      <a:pt x="852" y="570"/>
                    </a:moveTo>
                    <a:lnTo>
                      <a:pt x="852" y="568"/>
                    </a:lnTo>
                    <a:lnTo>
                      <a:pt x="850" y="568"/>
                    </a:lnTo>
                    <a:lnTo>
                      <a:pt x="850" y="570"/>
                    </a:lnTo>
                    <a:lnTo>
                      <a:pt x="850" y="570"/>
                    </a:lnTo>
                    <a:lnTo>
                      <a:pt x="852" y="571"/>
                    </a:lnTo>
                    <a:lnTo>
                      <a:pt x="852" y="571"/>
                    </a:lnTo>
                    <a:lnTo>
                      <a:pt x="852" y="570"/>
                    </a:lnTo>
                    <a:close/>
                    <a:moveTo>
                      <a:pt x="836" y="601"/>
                    </a:moveTo>
                    <a:lnTo>
                      <a:pt x="835" y="600"/>
                    </a:lnTo>
                    <a:lnTo>
                      <a:pt x="835" y="601"/>
                    </a:lnTo>
                    <a:lnTo>
                      <a:pt x="835" y="603"/>
                    </a:lnTo>
                    <a:lnTo>
                      <a:pt x="835" y="603"/>
                    </a:lnTo>
                    <a:lnTo>
                      <a:pt x="836" y="603"/>
                    </a:lnTo>
                    <a:lnTo>
                      <a:pt x="836" y="601"/>
                    </a:lnTo>
                    <a:lnTo>
                      <a:pt x="836" y="601"/>
                    </a:lnTo>
                    <a:close/>
                    <a:moveTo>
                      <a:pt x="811" y="651"/>
                    </a:moveTo>
                    <a:lnTo>
                      <a:pt x="811" y="651"/>
                    </a:lnTo>
                    <a:lnTo>
                      <a:pt x="811" y="651"/>
                    </a:lnTo>
                    <a:lnTo>
                      <a:pt x="810" y="650"/>
                    </a:lnTo>
                    <a:lnTo>
                      <a:pt x="810" y="651"/>
                    </a:lnTo>
                    <a:lnTo>
                      <a:pt x="808" y="651"/>
                    </a:lnTo>
                    <a:lnTo>
                      <a:pt x="810" y="653"/>
                    </a:lnTo>
                    <a:lnTo>
                      <a:pt x="810" y="653"/>
                    </a:lnTo>
                    <a:lnTo>
                      <a:pt x="810" y="654"/>
                    </a:lnTo>
                    <a:lnTo>
                      <a:pt x="810" y="654"/>
                    </a:lnTo>
                    <a:lnTo>
                      <a:pt x="811" y="654"/>
                    </a:lnTo>
                    <a:lnTo>
                      <a:pt x="811" y="654"/>
                    </a:lnTo>
                    <a:lnTo>
                      <a:pt x="811" y="653"/>
                    </a:lnTo>
                    <a:lnTo>
                      <a:pt x="811" y="653"/>
                    </a:lnTo>
                    <a:lnTo>
                      <a:pt x="811" y="651"/>
                    </a:lnTo>
                    <a:close/>
                    <a:moveTo>
                      <a:pt x="781" y="672"/>
                    </a:moveTo>
                    <a:lnTo>
                      <a:pt x="781" y="672"/>
                    </a:lnTo>
                    <a:lnTo>
                      <a:pt x="781" y="672"/>
                    </a:lnTo>
                    <a:lnTo>
                      <a:pt x="780" y="673"/>
                    </a:lnTo>
                    <a:lnTo>
                      <a:pt x="780" y="673"/>
                    </a:lnTo>
                    <a:lnTo>
                      <a:pt x="780" y="673"/>
                    </a:lnTo>
                    <a:lnTo>
                      <a:pt x="781" y="673"/>
                    </a:lnTo>
                    <a:lnTo>
                      <a:pt x="783" y="673"/>
                    </a:lnTo>
                    <a:lnTo>
                      <a:pt x="781" y="672"/>
                    </a:lnTo>
                    <a:close/>
                    <a:moveTo>
                      <a:pt x="702" y="704"/>
                    </a:moveTo>
                    <a:lnTo>
                      <a:pt x="700" y="704"/>
                    </a:lnTo>
                    <a:lnTo>
                      <a:pt x="700" y="703"/>
                    </a:lnTo>
                    <a:lnTo>
                      <a:pt x="699" y="703"/>
                    </a:lnTo>
                    <a:lnTo>
                      <a:pt x="699" y="704"/>
                    </a:lnTo>
                    <a:lnTo>
                      <a:pt x="700" y="704"/>
                    </a:lnTo>
                    <a:lnTo>
                      <a:pt x="700" y="704"/>
                    </a:lnTo>
                    <a:lnTo>
                      <a:pt x="702" y="706"/>
                    </a:lnTo>
                    <a:lnTo>
                      <a:pt x="702" y="704"/>
                    </a:lnTo>
                    <a:close/>
                    <a:moveTo>
                      <a:pt x="689" y="725"/>
                    </a:moveTo>
                    <a:lnTo>
                      <a:pt x="688" y="725"/>
                    </a:lnTo>
                    <a:lnTo>
                      <a:pt x="688" y="725"/>
                    </a:lnTo>
                    <a:lnTo>
                      <a:pt x="686" y="726"/>
                    </a:lnTo>
                    <a:lnTo>
                      <a:pt x="686" y="726"/>
                    </a:lnTo>
                    <a:lnTo>
                      <a:pt x="686" y="728"/>
                    </a:lnTo>
                    <a:lnTo>
                      <a:pt x="688" y="728"/>
                    </a:lnTo>
                    <a:lnTo>
                      <a:pt x="688" y="728"/>
                    </a:lnTo>
                    <a:lnTo>
                      <a:pt x="688" y="726"/>
                    </a:lnTo>
                    <a:lnTo>
                      <a:pt x="688" y="725"/>
                    </a:lnTo>
                    <a:lnTo>
                      <a:pt x="689" y="725"/>
                    </a:lnTo>
                    <a:lnTo>
                      <a:pt x="689" y="725"/>
                    </a:lnTo>
                    <a:close/>
                    <a:moveTo>
                      <a:pt x="683" y="726"/>
                    </a:moveTo>
                    <a:lnTo>
                      <a:pt x="683" y="728"/>
                    </a:lnTo>
                    <a:lnTo>
                      <a:pt x="683" y="728"/>
                    </a:lnTo>
                    <a:lnTo>
                      <a:pt x="684" y="726"/>
                    </a:lnTo>
                    <a:lnTo>
                      <a:pt x="684" y="726"/>
                    </a:lnTo>
                    <a:lnTo>
                      <a:pt x="683" y="726"/>
                    </a:lnTo>
                    <a:close/>
                    <a:moveTo>
                      <a:pt x="649" y="737"/>
                    </a:moveTo>
                    <a:lnTo>
                      <a:pt x="645" y="737"/>
                    </a:lnTo>
                    <a:lnTo>
                      <a:pt x="645" y="737"/>
                    </a:lnTo>
                    <a:lnTo>
                      <a:pt x="644" y="737"/>
                    </a:lnTo>
                    <a:lnTo>
                      <a:pt x="644" y="739"/>
                    </a:lnTo>
                    <a:lnTo>
                      <a:pt x="644" y="739"/>
                    </a:lnTo>
                    <a:lnTo>
                      <a:pt x="644" y="739"/>
                    </a:lnTo>
                    <a:lnTo>
                      <a:pt x="645" y="739"/>
                    </a:lnTo>
                    <a:lnTo>
                      <a:pt x="647" y="739"/>
                    </a:lnTo>
                    <a:lnTo>
                      <a:pt x="649" y="739"/>
                    </a:lnTo>
                    <a:lnTo>
                      <a:pt x="649" y="739"/>
                    </a:lnTo>
                    <a:lnTo>
                      <a:pt x="649" y="737"/>
                    </a:lnTo>
                    <a:close/>
                    <a:moveTo>
                      <a:pt x="656" y="762"/>
                    </a:moveTo>
                    <a:lnTo>
                      <a:pt x="656" y="759"/>
                    </a:lnTo>
                    <a:lnTo>
                      <a:pt x="655" y="759"/>
                    </a:lnTo>
                    <a:lnTo>
                      <a:pt x="655" y="758"/>
                    </a:lnTo>
                    <a:lnTo>
                      <a:pt x="653" y="758"/>
                    </a:lnTo>
                    <a:lnTo>
                      <a:pt x="652" y="756"/>
                    </a:lnTo>
                    <a:lnTo>
                      <a:pt x="650" y="755"/>
                    </a:lnTo>
                    <a:lnTo>
                      <a:pt x="650" y="755"/>
                    </a:lnTo>
                    <a:lnTo>
                      <a:pt x="649" y="756"/>
                    </a:lnTo>
                    <a:lnTo>
                      <a:pt x="649" y="756"/>
                    </a:lnTo>
                    <a:lnTo>
                      <a:pt x="649" y="758"/>
                    </a:lnTo>
                    <a:lnTo>
                      <a:pt x="645" y="756"/>
                    </a:lnTo>
                    <a:lnTo>
                      <a:pt x="645" y="756"/>
                    </a:lnTo>
                    <a:lnTo>
                      <a:pt x="645" y="758"/>
                    </a:lnTo>
                    <a:lnTo>
                      <a:pt x="645" y="758"/>
                    </a:lnTo>
                    <a:lnTo>
                      <a:pt x="645" y="756"/>
                    </a:lnTo>
                    <a:lnTo>
                      <a:pt x="642" y="756"/>
                    </a:lnTo>
                    <a:lnTo>
                      <a:pt x="642" y="756"/>
                    </a:lnTo>
                    <a:lnTo>
                      <a:pt x="641" y="758"/>
                    </a:lnTo>
                    <a:lnTo>
                      <a:pt x="638" y="758"/>
                    </a:lnTo>
                    <a:lnTo>
                      <a:pt x="633" y="758"/>
                    </a:lnTo>
                    <a:lnTo>
                      <a:pt x="631" y="758"/>
                    </a:lnTo>
                    <a:lnTo>
                      <a:pt x="630" y="759"/>
                    </a:lnTo>
                    <a:lnTo>
                      <a:pt x="628" y="759"/>
                    </a:lnTo>
                    <a:lnTo>
                      <a:pt x="627" y="759"/>
                    </a:lnTo>
                    <a:lnTo>
                      <a:pt x="625" y="759"/>
                    </a:lnTo>
                    <a:lnTo>
                      <a:pt x="625" y="761"/>
                    </a:lnTo>
                    <a:lnTo>
                      <a:pt x="623" y="762"/>
                    </a:lnTo>
                    <a:lnTo>
                      <a:pt x="625" y="762"/>
                    </a:lnTo>
                    <a:lnTo>
                      <a:pt x="627" y="762"/>
                    </a:lnTo>
                    <a:lnTo>
                      <a:pt x="623" y="764"/>
                    </a:lnTo>
                    <a:lnTo>
                      <a:pt x="622" y="765"/>
                    </a:lnTo>
                    <a:lnTo>
                      <a:pt x="619" y="767"/>
                    </a:lnTo>
                    <a:lnTo>
                      <a:pt x="617" y="769"/>
                    </a:lnTo>
                    <a:lnTo>
                      <a:pt x="616" y="770"/>
                    </a:lnTo>
                    <a:lnTo>
                      <a:pt x="616" y="770"/>
                    </a:lnTo>
                    <a:lnTo>
                      <a:pt x="616" y="772"/>
                    </a:lnTo>
                    <a:lnTo>
                      <a:pt x="614" y="778"/>
                    </a:lnTo>
                    <a:lnTo>
                      <a:pt x="614" y="778"/>
                    </a:lnTo>
                    <a:lnTo>
                      <a:pt x="616" y="781"/>
                    </a:lnTo>
                    <a:lnTo>
                      <a:pt x="616" y="784"/>
                    </a:lnTo>
                    <a:lnTo>
                      <a:pt x="620" y="787"/>
                    </a:lnTo>
                    <a:lnTo>
                      <a:pt x="622" y="787"/>
                    </a:lnTo>
                    <a:lnTo>
                      <a:pt x="623" y="789"/>
                    </a:lnTo>
                    <a:lnTo>
                      <a:pt x="627" y="789"/>
                    </a:lnTo>
                    <a:lnTo>
                      <a:pt x="628" y="789"/>
                    </a:lnTo>
                    <a:lnTo>
                      <a:pt x="630" y="791"/>
                    </a:lnTo>
                    <a:lnTo>
                      <a:pt x="631" y="791"/>
                    </a:lnTo>
                    <a:lnTo>
                      <a:pt x="633" y="791"/>
                    </a:lnTo>
                    <a:lnTo>
                      <a:pt x="633" y="789"/>
                    </a:lnTo>
                    <a:lnTo>
                      <a:pt x="634" y="787"/>
                    </a:lnTo>
                    <a:lnTo>
                      <a:pt x="636" y="787"/>
                    </a:lnTo>
                    <a:lnTo>
                      <a:pt x="638" y="787"/>
                    </a:lnTo>
                    <a:lnTo>
                      <a:pt x="639" y="787"/>
                    </a:lnTo>
                    <a:lnTo>
                      <a:pt x="639" y="786"/>
                    </a:lnTo>
                    <a:lnTo>
                      <a:pt x="639" y="786"/>
                    </a:lnTo>
                    <a:lnTo>
                      <a:pt x="639" y="786"/>
                    </a:lnTo>
                    <a:lnTo>
                      <a:pt x="641" y="784"/>
                    </a:lnTo>
                    <a:lnTo>
                      <a:pt x="642" y="783"/>
                    </a:lnTo>
                    <a:lnTo>
                      <a:pt x="644" y="783"/>
                    </a:lnTo>
                    <a:lnTo>
                      <a:pt x="644" y="783"/>
                    </a:lnTo>
                    <a:lnTo>
                      <a:pt x="645" y="781"/>
                    </a:lnTo>
                    <a:lnTo>
                      <a:pt x="647" y="781"/>
                    </a:lnTo>
                    <a:lnTo>
                      <a:pt x="647" y="780"/>
                    </a:lnTo>
                    <a:lnTo>
                      <a:pt x="647" y="776"/>
                    </a:lnTo>
                    <a:lnTo>
                      <a:pt x="649" y="775"/>
                    </a:lnTo>
                    <a:lnTo>
                      <a:pt x="649" y="773"/>
                    </a:lnTo>
                    <a:lnTo>
                      <a:pt x="649" y="773"/>
                    </a:lnTo>
                    <a:lnTo>
                      <a:pt x="649" y="772"/>
                    </a:lnTo>
                    <a:lnTo>
                      <a:pt x="650" y="770"/>
                    </a:lnTo>
                    <a:lnTo>
                      <a:pt x="653" y="765"/>
                    </a:lnTo>
                    <a:lnTo>
                      <a:pt x="655" y="765"/>
                    </a:lnTo>
                    <a:lnTo>
                      <a:pt x="656" y="764"/>
                    </a:lnTo>
                    <a:lnTo>
                      <a:pt x="656" y="76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0" name="Freeform 47">
                <a:extLst>
                  <a:ext uri="{FF2B5EF4-FFF2-40B4-BE49-F238E27FC236}">
                    <a16:creationId xmlns:a16="http://schemas.microsoft.com/office/drawing/2014/main" id="{89ED1CAE-4E01-3BEA-7440-294CE3EB7531}"/>
                  </a:ext>
                </a:extLst>
              </p:cNvPr>
              <p:cNvSpPr>
                <a:spLocks noEditPoints="1"/>
              </p:cNvSpPr>
              <p:nvPr/>
            </p:nvSpPr>
            <p:spPr bwMode="gray">
              <a:xfrm>
                <a:off x="1288" y="1358"/>
                <a:ext cx="213" cy="293"/>
              </a:xfrm>
              <a:custGeom>
                <a:avLst/>
                <a:gdLst>
                  <a:gd name="T0" fmla="*/ 211 w 213"/>
                  <a:gd name="T1" fmla="*/ 191 h 293"/>
                  <a:gd name="T2" fmla="*/ 207 w 213"/>
                  <a:gd name="T3" fmla="*/ 179 h 293"/>
                  <a:gd name="T4" fmla="*/ 200 w 213"/>
                  <a:gd name="T5" fmla="*/ 171 h 293"/>
                  <a:gd name="T6" fmla="*/ 205 w 213"/>
                  <a:gd name="T7" fmla="*/ 160 h 293"/>
                  <a:gd name="T8" fmla="*/ 197 w 213"/>
                  <a:gd name="T9" fmla="*/ 146 h 293"/>
                  <a:gd name="T10" fmla="*/ 199 w 213"/>
                  <a:gd name="T11" fmla="*/ 122 h 293"/>
                  <a:gd name="T12" fmla="*/ 194 w 213"/>
                  <a:gd name="T13" fmla="*/ 110 h 293"/>
                  <a:gd name="T14" fmla="*/ 169 w 213"/>
                  <a:gd name="T15" fmla="*/ 111 h 293"/>
                  <a:gd name="T16" fmla="*/ 155 w 213"/>
                  <a:gd name="T17" fmla="*/ 97 h 293"/>
                  <a:gd name="T18" fmla="*/ 138 w 213"/>
                  <a:gd name="T19" fmla="*/ 97 h 293"/>
                  <a:gd name="T20" fmla="*/ 119 w 213"/>
                  <a:gd name="T21" fmla="*/ 90 h 293"/>
                  <a:gd name="T22" fmla="*/ 118 w 213"/>
                  <a:gd name="T23" fmla="*/ 77 h 293"/>
                  <a:gd name="T24" fmla="*/ 107 w 213"/>
                  <a:gd name="T25" fmla="*/ 58 h 293"/>
                  <a:gd name="T26" fmla="*/ 104 w 213"/>
                  <a:gd name="T27" fmla="*/ 52 h 293"/>
                  <a:gd name="T28" fmla="*/ 122 w 213"/>
                  <a:gd name="T29" fmla="*/ 14 h 293"/>
                  <a:gd name="T30" fmla="*/ 138 w 213"/>
                  <a:gd name="T31" fmla="*/ 5 h 293"/>
                  <a:gd name="T32" fmla="*/ 116 w 213"/>
                  <a:gd name="T33" fmla="*/ 11 h 293"/>
                  <a:gd name="T34" fmla="*/ 82 w 213"/>
                  <a:gd name="T35" fmla="*/ 30 h 293"/>
                  <a:gd name="T36" fmla="*/ 66 w 213"/>
                  <a:gd name="T37" fmla="*/ 30 h 293"/>
                  <a:gd name="T38" fmla="*/ 58 w 213"/>
                  <a:gd name="T39" fmla="*/ 49 h 293"/>
                  <a:gd name="T40" fmla="*/ 36 w 213"/>
                  <a:gd name="T41" fmla="*/ 69 h 293"/>
                  <a:gd name="T42" fmla="*/ 38 w 213"/>
                  <a:gd name="T43" fmla="*/ 77 h 293"/>
                  <a:gd name="T44" fmla="*/ 28 w 213"/>
                  <a:gd name="T45" fmla="*/ 74 h 293"/>
                  <a:gd name="T46" fmla="*/ 28 w 213"/>
                  <a:gd name="T47" fmla="*/ 83 h 293"/>
                  <a:gd name="T48" fmla="*/ 22 w 213"/>
                  <a:gd name="T49" fmla="*/ 85 h 293"/>
                  <a:gd name="T50" fmla="*/ 27 w 213"/>
                  <a:gd name="T51" fmla="*/ 102 h 293"/>
                  <a:gd name="T52" fmla="*/ 28 w 213"/>
                  <a:gd name="T53" fmla="*/ 124 h 293"/>
                  <a:gd name="T54" fmla="*/ 27 w 213"/>
                  <a:gd name="T55" fmla="*/ 144 h 293"/>
                  <a:gd name="T56" fmla="*/ 33 w 213"/>
                  <a:gd name="T57" fmla="*/ 151 h 293"/>
                  <a:gd name="T58" fmla="*/ 24 w 213"/>
                  <a:gd name="T59" fmla="*/ 168 h 293"/>
                  <a:gd name="T60" fmla="*/ 13 w 213"/>
                  <a:gd name="T61" fmla="*/ 176 h 293"/>
                  <a:gd name="T62" fmla="*/ 0 w 213"/>
                  <a:gd name="T63" fmla="*/ 191 h 293"/>
                  <a:gd name="T64" fmla="*/ 21 w 213"/>
                  <a:gd name="T65" fmla="*/ 204 h 293"/>
                  <a:gd name="T66" fmla="*/ 28 w 213"/>
                  <a:gd name="T67" fmla="*/ 212 h 293"/>
                  <a:gd name="T68" fmla="*/ 39 w 213"/>
                  <a:gd name="T69" fmla="*/ 215 h 293"/>
                  <a:gd name="T70" fmla="*/ 52 w 213"/>
                  <a:gd name="T71" fmla="*/ 213 h 293"/>
                  <a:gd name="T72" fmla="*/ 69 w 213"/>
                  <a:gd name="T73" fmla="*/ 221 h 293"/>
                  <a:gd name="T74" fmla="*/ 79 w 213"/>
                  <a:gd name="T75" fmla="*/ 227 h 293"/>
                  <a:gd name="T76" fmla="*/ 88 w 213"/>
                  <a:gd name="T77" fmla="*/ 238 h 293"/>
                  <a:gd name="T78" fmla="*/ 97 w 213"/>
                  <a:gd name="T79" fmla="*/ 244 h 293"/>
                  <a:gd name="T80" fmla="*/ 104 w 213"/>
                  <a:gd name="T81" fmla="*/ 254 h 293"/>
                  <a:gd name="T82" fmla="*/ 113 w 213"/>
                  <a:gd name="T83" fmla="*/ 260 h 293"/>
                  <a:gd name="T84" fmla="*/ 127 w 213"/>
                  <a:gd name="T85" fmla="*/ 257 h 293"/>
                  <a:gd name="T86" fmla="*/ 143 w 213"/>
                  <a:gd name="T87" fmla="*/ 257 h 293"/>
                  <a:gd name="T88" fmla="*/ 157 w 213"/>
                  <a:gd name="T89" fmla="*/ 266 h 293"/>
                  <a:gd name="T90" fmla="*/ 150 w 213"/>
                  <a:gd name="T91" fmla="*/ 287 h 293"/>
                  <a:gd name="T92" fmla="*/ 158 w 213"/>
                  <a:gd name="T93" fmla="*/ 293 h 293"/>
                  <a:gd name="T94" fmla="*/ 168 w 213"/>
                  <a:gd name="T95" fmla="*/ 244 h 293"/>
                  <a:gd name="T96" fmla="*/ 166 w 213"/>
                  <a:gd name="T97" fmla="*/ 234 h 293"/>
                  <a:gd name="T98" fmla="*/ 163 w 213"/>
                  <a:gd name="T99" fmla="*/ 227 h 293"/>
                  <a:gd name="T100" fmla="*/ 160 w 213"/>
                  <a:gd name="T101" fmla="*/ 208 h 293"/>
                  <a:gd name="T102" fmla="*/ 166 w 213"/>
                  <a:gd name="T103" fmla="*/ 207 h 293"/>
                  <a:gd name="T104" fmla="*/ 171 w 213"/>
                  <a:gd name="T105" fmla="*/ 208 h 293"/>
                  <a:gd name="T106" fmla="*/ 172 w 213"/>
                  <a:gd name="T107" fmla="*/ 204 h 293"/>
                  <a:gd name="T108" fmla="*/ 166 w 213"/>
                  <a:gd name="T109" fmla="*/ 201 h 293"/>
                  <a:gd name="T110" fmla="*/ 161 w 213"/>
                  <a:gd name="T111" fmla="*/ 190 h 293"/>
                  <a:gd name="T112" fmla="*/ 190 w 213"/>
                  <a:gd name="T113" fmla="*/ 190 h 293"/>
                  <a:gd name="T114" fmla="*/ 194 w 213"/>
                  <a:gd name="T115" fmla="*/ 188 h 293"/>
                  <a:gd name="T116" fmla="*/ 205 w 213"/>
                  <a:gd name="T117" fmla="*/ 182 h 293"/>
                  <a:gd name="T118" fmla="*/ 213 w 213"/>
                  <a:gd name="T119" fmla="*/ 19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 h="293">
                    <a:moveTo>
                      <a:pt x="16" y="174"/>
                    </a:moveTo>
                    <a:lnTo>
                      <a:pt x="16" y="172"/>
                    </a:lnTo>
                    <a:lnTo>
                      <a:pt x="14" y="172"/>
                    </a:lnTo>
                    <a:lnTo>
                      <a:pt x="14" y="174"/>
                    </a:lnTo>
                    <a:lnTo>
                      <a:pt x="14" y="174"/>
                    </a:lnTo>
                    <a:lnTo>
                      <a:pt x="16" y="176"/>
                    </a:lnTo>
                    <a:lnTo>
                      <a:pt x="16" y="174"/>
                    </a:lnTo>
                    <a:lnTo>
                      <a:pt x="16" y="174"/>
                    </a:lnTo>
                    <a:close/>
                    <a:moveTo>
                      <a:pt x="213" y="196"/>
                    </a:moveTo>
                    <a:lnTo>
                      <a:pt x="213" y="196"/>
                    </a:lnTo>
                    <a:lnTo>
                      <a:pt x="211" y="193"/>
                    </a:lnTo>
                    <a:lnTo>
                      <a:pt x="211" y="191"/>
                    </a:lnTo>
                    <a:lnTo>
                      <a:pt x="211" y="191"/>
                    </a:lnTo>
                    <a:lnTo>
                      <a:pt x="211" y="190"/>
                    </a:lnTo>
                    <a:lnTo>
                      <a:pt x="210" y="187"/>
                    </a:lnTo>
                    <a:lnTo>
                      <a:pt x="210" y="185"/>
                    </a:lnTo>
                    <a:lnTo>
                      <a:pt x="210" y="185"/>
                    </a:lnTo>
                    <a:lnTo>
                      <a:pt x="208" y="183"/>
                    </a:lnTo>
                    <a:lnTo>
                      <a:pt x="208" y="183"/>
                    </a:lnTo>
                    <a:lnTo>
                      <a:pt x="208" y="182"/>
                    </a:lnTo>
                    <a:lnTo>
                      <a:pt x="208" y="182"/>
                    </a:lnTo>
                    <a:lnTo>
                      <a:pt x="208" y="182"/>
                    </a:lnTo>
                    <a:lnTo>
                      <a:pt x="207" y="179"/>
                    </a:lnTo>
                    <a:lnTo>
                      <a:pt x="207" y="179"/>
                    </a:lnTo>
                    <a:lnTo>
                      <a:pt x="207" y="177"/>
                    </a:lnTo>
                    <a:lnTo>
                      <a:pt x="207" y="177"/>
                    </a:lnTo>
                    <a:lnTo>
                      <a:pt x="207" y="177"/>
                    </a:lnTo>
                    <a:lnTo>
                      <a:pt x="205" y="176"/>
                    </a:lnTo>
                    <a:lnTo>
                      <a:pt x="204" y="174"/>
                    </a:lnTo>
                    <a:lnTo>
                      <a:pt x="204" y="174"/>
                    </a:lnTo>
                    <a:lnTo>
                      <a:pt x="202" y="172"/>
                    </a:lnTo>
                    <a:lnTo>
                      <a:pt x="202" y="172"/>
                    </a:lnTo>
                    <a:lnTo>
                      <a:pt x="202" y="172"/>
                    </a:lnTo>
                    <a:lnTo>
                      <a:pt x="202" y="172"/>
                    </a:lnTo>
                    <a:lnTo>
                      <a:pt x="200" y="172"/>
                    </a:lnTo>
                    <a:lnTo>
                      <a:pt x="200" y="171"/>
                    </a:lnTo>
                    <a:lnTo>
                      <a:pt x="200" y="171"/>
                    </a:lnTo>
                    <a:lnTo>
                      <a:pt x="199" y="169"/>
                    </a:lnTo>
                    <a:lnTo>
                      <a:pt x="199" y="169"/>
                    </a:lnTo>
                    <a:lnTo>
                      <a:pt x="197" y="169"/>
                    </a:lnTo>
                    <a:lnTo>
                      <a:pt x="196" y="171"/>
                    </a:lnTo>
                    <a:lnTo>
                      <a:pt x="196" y="169"/>
                    </a:lnTo>
                    <a:lnTo>
                      <a:pt x="196" y="169"/>
                    </a:lnTo>
                    <a:lnTo>
                      <a:pt x="196" y="168"/>
                    </a:lnTo>
                    <a:lnTo>
                      <a:pt x="202" y="163"/>
                    </a:lnTo>
                    <a:lnTo>
                      <a:pt x="205" y="162"/>
                    </a:lnTo>
                    <a:lnTo>
                      <a:pt x="205" y="162"/>
                    </a:lnTo>
                    <a:lnTo>
                      <a:pt x="205" y="160"/>
                    </a:lnTo>
                    <a:lnTo>
                      <a:pt x="205" y="160"/>
                    </a:lnTo>
                    <a:lnTo>
                      <a:pt x="205" y="160"/>
                    </a:lnTo>
                    <a:lnTo>
                      <a:pt x="205" y="158"/>
                    </a:lnTo>
                    <a:lnTo>
                      <a:pt x="205" y="158"/>
                    </a:lnTo>
                    <a:lnTo>
                      <a:pt x="202" y="154"/>
                    </a:lnTo>
                    <a:lnTo>
                      <a:pt x="200" y="154"/>
                    </a:lnTo>
                    <a:lnTo>
                      <a:pt x="200" y="154"/>
                    </a:lnTo>
                    <a:lnTo>
                      <a:pt x="200" y="154"/>
                    </a:lnTo>
                    <a:lnTo>
                      <a:pt x="199" y="152"/>
                    </a:lnTo>
                    <a:lnTo>
                      <a:pt x="197" y="147"/>
                    </a:lnTo>
                    <a:lnTo>
                      <a:pt x="197" y="147"/>
                    </a:lnTo>
                    <a:lnTo>
                      <a:pt x="197" y="146"/>
                    </a:lnTo>
                    <a:lnTo>
                      <a:pt x="197" y="144"/>
                    </a:lnTo>
                    <a:lnTo>
                      <a:pt x="197" y="143"/>
                    </a:lnTo>
                    <a:lnTo>
                      <a:pt x="197" y="141"/>
                    </a:lnTo>
                    <a:lnTo>
                      <a:pt x="196" y="141"/>
                    </a:lnTo>
                    <a:lnTo>
                      <a:pt x="196" y="140"/>
                    </a:lnTo>
                    <a:lnTo>
                      <a:pt x="196" y="138"/>
                    </a:lnTo>
                    <a:lnTo>
                      <a:pt x="197" y="133"/>
                    </a:lnTo>
                    <a:lnTo>
                      <a:pt x="197" y="129"/>
                    </a:lnTo>
                    <a:lnTo>
                      <a:pt x="196" y="127"/>
                    </a:lnTo>
                    <a:lnTo>
                      <a:pt x="197" y="126"/>
                    </a:lnTo>
                    <a:lnTo>
                      <a:pt x="199" y="124"/>
                    </a:lnTo>
                    <a:lnTo>
                      <a:pt x="199" y="122"/>
                    </a:lnTo>
                    <a:lnTo>
                      <a:pt x="200" y="119"/>
                    </a:lnTo>
                    <a:lnTo>
                      <a:pt x="200" y="118"/>
                    </a:lnTo>
                    <a:lnTo>
                      <a:pt x="202" y="115"/>
                    </a:lnTo>
                    <a:lnTo>
                      <a:pt x="204" y="113"/>
                    </a:lnTo>
                    <a:lnTo>
                      <a:pt x="202" y="111"/>
                    </a:lnTo>
                    <a:lnTo>
                      <a:pt x="202" y="111"/>
                    </a:lnTo>
                    <a:lnTo>
                      <a:pt x="202" y="111"/>
                    </a:lnTo>
                    <a:lnTo>
                      <a:pt x="200" y="110"/>
                    </a:lnTo>
                    <a:lnTo>
                      <a:pt x="197" y="108"/>
                    </a:lnTo>
                    <a:lnTo>
                      <a:pt x="197" y="108"/>
                    </a:lnTo>
                    <a:lnTo>
                      <a:pt x="196" y="108"/>
                    </a:lnTo>
                    <a:lnTo>
                      <a:pt x="194" y="110"/>
                    </a:lnTo>
                    <a:lnTo>
                      <a:pt x="194" y="110"/>
                    </a:lnTo>
                    <a:lnTo>
                      <a:pt x="191" y="110"/>
                    </a:lnTo>
                    <a:lnTo>
                      <a:pt x="185" y="111"/>
                    </a:lnTo>
                    <a:lnTo>
                      <a:pt x="180" y="111"/>
                    </a:lnTo>
                    <a:lnTo>
                      <a:pt x="180" y="111"/>
                    </a:lnTo>
                    <a:lnTo>
                      <a:pt x="177" y="110"/>
                    </a:lnTo>
                    <a:lnTo>
                      <a:pt x="174" y="111"/>
                    </a:lnTo>
                    <a:lnTo>
                      <a:pt x="172" y="111"/>
                    </a:lnTo>
                    <a:lnTo>
                      <a:pt x="172" y="111"/>
                    </a:lnTo>
                    <a:lnTo>
                      <a:pt x="171" y="113"/>
                    </a:lnTo>
                    <a:lnTo>
                      <a:pt x="171" y="111"/>
                    </a:lnTo>
                    <a:lnTo>
                      <a:pt x="169" y="111"/>
                    </a:lnTo>
                    <a:lnTo>
                      <a:pt x="169" y="111"/>
                    </a:lnTo>
                    <a:lnTo>
                      <a:pt x="168" y="111"/>
                    </a:lnTo>
                    <a:lnTo>
                      <a:pt x="168" y="111"/>
                    </a:lnTo>
                    <a:lnTo>
                      <a:pt x="168" y="111"/>
                    </a:lnTo>
                    <a:lnTo>
                      <a:pt x="166" y="108"/>
                    </a:lnTo>
                    <a:lnTo>
                      <a:pt x="163" y="105"/>
                    </a:lnTo>
                    <a:lnTo>
                      <a:pt x="163" y="105"/>
                    </a:lnTo>
                    <a:lnTo>
                      <a:pt x="160" y="102"/>
                    </a:lnTo>
                    <a:lnTo>
                      <a:pt x="157" y="97"/>
                    </a:lnTo>
                    <a:lnTo>
                      <a:pt x="157" y="97"/>
                    </a:lnTo>
                    <a:lnTo>
                      <a:pt x="157" y="97"/>
                    </a:lnTo>
                    <a:lnTo>
                      <a:pt x="155" y="97"/>
                    </a:lnTo>
                    <a:lnTo>
                      <a:pt x="154" y="97"/>
                    </a:lnTo>
                    <a:lnTo>
                      <a:pt x="154" y="97"/>
                    </a:lnTo>
                    <a:lnTo>
                      <a:pt x="152" y="97"/>
                    </a:lnTo>
                    <a:lnTo>
                      <a:pt x="152" y="97"/>
                    </a:lnTo>
                    <a:lnTo>
                      <a:pt x="150" y="96"/>
                    </a:lnTo>
                    <a:lnTo>
                      <a:pt x="149" y="96"/>
                    </a:lnTo>
                    <a:lnTo>
                      <a:pt x="147" y="96"/>
                    </a:lnTo>
                    <a:lnTo>
                      <a:pt x="146" y="94"/>
                    </a:lnTo>
                    <a:lnTo>
                      <a:pt x="146" y="94"/>
                    </a:lnTo>
                    <a:lnTo>
                      <a:pt x="144" y="96"/>
                    </a:lnTo>
                    <a:lnTo>
                      <a:pt x="141" y="96"/>
                    </a:lnTo>
                    <a:lnTo>
                      <a:pt x="138" y="97"/>
                    </a:lnTo>
                    <a:lnTo>
                      <a:pt x="136" y="97"/>
                    </a:lnTo>
                    <a:lnTo>
                      <a:pt x="133" y="96"/>
                    </a:lnTo>
                    <a:lnTo>
                      <a:pt x="133" y="96"/>
                    </a:lnTo>
                    <a:lnTo>
                      <a:pt x="130" y="96"/>
                    </a:lnTo>
                    <a:lnTo>
                      <a:pt x="127" y="96"/>
                    </a:lnTo>
                    <a:lnTo>
                      <a:pt x="125" y="97"/>
                    </a:lnTo>
                    <a:lnTo>
                      <a:pt x="125" y="97"/>
                    </a:lnTo>
                    <a:lnTo>
                      <a:pt x="122" y="96"/>
                    </a:lnTo>
                    <a:lnTo>
                      <a:pt x="122" y="94"/>
                    </a:lnTo>
                    <a:lnTo>
                      <a:pt x="121" y="93"/>
                    </a:lnTo>
                    <a:lnTo>
                      <a:pt x="119" y="90"/>
                    </a:lnTo>
                    <a:lnTo>
                      <a:pt x="119" y="90"/>
                    </a:lnTo>
                    <a:lnTo>
                      <a:pt x="118" y="90"/>
                    </a:lnTo>
                    <a:lnTo>
                      <a:pt x="116" y="90"/>
                    </a:lnTo>
                    <a:lnTo>
                      <a:pt x="116" y="90"/>
                    </a:lnTo>
                    <a:lnTo>
                      <a:pt x="116" y="88"/>
                    </a:lnTo>
                    <a:lnTo>
                      <a:pt x="116" y="88"/>
                    </a:lnTo>
                    <a:lnTo>
                      <a:pt x="114" y="88"/>
                    </a:lnTo>
                    <a:lnTo>
                      <a:pt x="114" y="86"/>
                    </a:lnTo>
                    <a:lnTo>
                      <a:pt x="114" y="83"/>
                    </a:lnTo>
                    <a:lnTo>
                      <a:pt x="114" y="82"/>
                    </a:lnTo>
                    <a:lnTo>
                      <a:pt x="116" y="80"/>
                    </a:lnTo>
                    <a:lnTo>
                      <a:pt x="116" y="79"/>
                    </a:lnTo>
                    <a:lnTo>
                      <a:pt x="118" y="77"/>
                    </a:lnTo>
                    <a:lnTo>
                      <a:pt x="116" y="75"/>
                    </a:lnTo>
                    <a:lnTo>
                      <a:pt x="116" y="74"/>
                    </a:lnTo>
                    <a:lnTo>
                      <a:pt x="116" y="72"/>
                    </a:lnTo>
                    <a:lnTo>
                      <a:pt x="116" y="72"/>
                    </a:lnTo>
                    <a:lnTo>
                      <a:pt x="114" y="71"/>
                    </a:lnTo>
                    <a:lnTo>
                      <a:pt x="111" y="68"/>
                    </a:lnTo>
                    <a:lnTo>
                      <a:pt x="110" y="65"/>
                    </a:lnTo>
                    <a:lnTo>
                      <a:pt x="110" y="60"/>
                    </a:lnTo>
                    <a:lnTo>
                      <a:pt x="110" y="60"/>
                    </a:lnTo>
                    <a:lnTo>
                      <a:pt x="108" y="58"/>
                    </a:lnTo>
                    <a:lnTo>
                      <a:pt x="107" y="60"/>
                    </a:lnTo>
                    <a:lnTo>
                      <a:pt x="107" y="58"/>
                    </a:lnTo>
                    <a:lnTo>
                      <a:pt x="105" y="57"/>
                    </a:lnTo>
                    <a:lnTo>
                      <a:pt x="105" y="57"/>
                    </a:lnTo>
                    <a:lnTo>
                      <a:pt x="105" y="57"/>
                    </a:lnTo>
                    <a:lnTo>
                      <a:pt x="104" y="57"/>
                    </a:lnTo>
                    <a:lnTo>
                      <a:pt x="102" y="58"/>
                    </a:lnTo>
                    <a:lnTo>
                      <a:pt x="100" y="58"/>
                    </a:lnTo>
                    <a:lnTo>
                      <a:pt x="99" y="58"/>
                    </a:lnTo>
                    <a:lnTo>
                      <a:pt x="99" y="58"/>
                    </a:lnTo>
                    <a:lnTo>
                      <a:pt x="99" y="57"/>
                    </a:lnTo>
                    <a:lnTo>
                      <a:pt x="100" y="55"/>
                    </a:lnTo>
                    <a:lnTo>
                      <a:pt x="102" y="54"/>
                    </a:lnTo>
                    <a:lnTo>
                      <a:pt x="104" y="52"/>
                    </a:lnTo>
                    <a:lnTo>
                      <a:pt x="105" y="49"/>
                    </a:lnTo>
                    <a:lnTo>
                      <a:pt x="105" y="47"/>
                    </a:lnTo>
                    <a:lnTo>
                      <a:pt x="107" y="43"/>
                    </a:lnTo>
                    <a:lnTo>
                      <a:pt x="107" y="39"/>
                    </a:lnTo>
                    <a:lnTo>
                      <a:pt x="108" y="35"/>
                    </a:lnTo>
                    <a:lnTo>
                      <a:pt x="110" y="30"/>
                    </a:lnTo>
                    <a:lnTo>
                      <a:pt x="111" y="29"/>
                    </a:lnTo>
                    <a:lnTo>
                      <a:pt x="113" y="27"/>
                    </a:lnTo>
                    <a:lnTo>
                      <a:pt x="114" y="25"/>
                    </a:lnTo>
                    <a:lnTo>
                      <a:pt x="116" y="24"/>
                    </a:lnTo>
                    <a:lnTo>
                      <a:pt x="119" y="22"/>
                    </a:lnTo>
                    <a:lnTo>
                      <a:pt x="122" y="14"/>
                    </a:lnTo>
                    <a:lnTo>
                      <a:pt x="124" y="14"/>
                    </a:lnTo>
                    <a:lnTo>
                      <a:pt x="129" y="13"/>
                    </a:lnTo>
                    <a:lnTo>
                      <a:pt x="132" y="11"/>
                    </a:lnTo>
                    <a:lnTo>
                      <a:pt x="132" y="11"/>
                    </a:lnTo>
                    <a:lnTo>
                      <a:pt x="133" y="11"/>
                    </a:lnTo>
                    <a:lnTo>
                      <a:pt x="135" y="11"/>
                    </a:lnTo>
                    <a:lnTo>
                      <a:pt x="135" y="10"/>
                    </a:lnTo>
                    <a:lnTo>
                      <a:pt x="135" y="10"/>
                    </a:lnTo>
                    <a:lnTo>
                      <a:pt x="135" y="10"/>
                    </a:lnTo>
                    <a:lnTo>
                      <a:pt x="136" y="10"/>
                    </a:lnTo>
                    <a:lnTo>
                      <a:pt x="138" y="7"/>
                    </a:lnTo>
                    <a:lnTo>
                      <a:pt x="138" y="5"/>
                    </a:lnTo>
                    <a:lnTo>
                      <a:pt x="136" y="2"/>
                    </a:lnTo>
                    <a:lnTo>
                      <a:pt x="132" y="0"/>
                    </a:lnTo>
                    <a:lnTo>
                      <a:pt x="130" y="0"/>
                    </a:lnTo>
                    <a:lnTo>
                      <a:pt x="129" y="0"/>
                    </a:lnTo>
                    <a:lnTo>
                      <a:pt x="124" y="2"/>
                    </a:lnTo>
                    <a:lnTo>
                      <a:pt x="124" y="3"/>
                    </a:lnTo>
                    <a:lnTo>
                      <a:pt x="124" y="3"/>
                    </a:lnTo>
                    <a:lnTo>
                      <a:pt x="122" y="3"/>
                    </a:lnTo>
                    <a:lnTo>
                      <a:pt x="121" y="5"/>
                    </a:lnTo>
                    <a:lnTo>
                      <a:pt x="121" y="7"/>
                    </a:lnTo>
                    <a:lnTo>
                      <a:pt x="118" y="10"/>
                    </a:lnTo>
                    <a:lnTo>
                      <a:pt x="116" y="11"/>
                    </a:lnTo>
                    <a:lnTo>
                      <a:pt x="110" y="13"/>
                    </a:lnTo>
                    <a:lnTo>
                      <a:pt x="100" y="21"/>
                    </a:lnTo>
                    <a:lnTo>
                      <a:pt x="94" y="21"/>
                    </a:lnTo>
                    <a:lnTo>
                      <a:pt x="91" y="21"/>
                    </a:lnTo>
                    <a:lnTo>
                      <a:pt x="89" y="21"/>
                    </a:lnTo>
                    <a:lnTo>
                      <a:pt x="86" y="19"/>
                    </a:lnTo>
                    <a:lnTo>
                      <a:pt x="86" y="21"/>
                    </a:lnTo>
                    <a:lnTo>
                      <a:pt x="85" y="21"/>
                    </a:lnTo>
                    <a:lnTo>
                      <a:pt x="85" y="24"/>
                    </a:lnTo>
                    <a:lnTo>
                      <a:pt x="83" y="27"/>
                    </a:lnTo>
                    <a:lnTo>
                      <a:pt x="82" y="29"/>
                    </a:lnTo>
                    <a:lnTo>
                      <a:pt x="82" y="30"/>
                    </a:lnTo>
                    <a:lnTo>
                      <a:pt x="80" y="30"/>
                    </a:lnTo>
                    <a:lnTo>
                      <a:pt x="79" y="29"/>
                    </a:lnTo>
                    <a:lnTo>
                      <a:pt x="80" y="27"/>
                    </a:lnTo>
                    <a:lnTo>
                      <a:pt x="82" y="27"/>
                    </a:lnTo>
                    <a:lnTo>
                      <a:pt x="82" y="27"/>
                    </a:lnTo>
                    <a:lnTo>
                      <a:pt x="82" y="25"/>
                    </a:lnTo>
                    <a:lnTo>
                      <a:pt x="80" y="25"/>
                    </a:lnTo>
                    <a:lnTo>
                      <a:pt x="74" y="24"/>
                    </a:lnTo>
                    <a:lnTo>
                      <a:pt x="72" y="25"/>
                    </a:lnTo>
                    <a:lnTo>
                      <a:pt x="69" y="29"/>
                    </a:lnTo>
                    <a:lnTo>
                      <a:pt x="66" y="30"/>
                    </a:lnTo>
                    <a:lnTo>
                      <a:pt x="66" y="30"/>
                    </a:lnTo>
                    <a:lnTo>
                      <a:pt x="63" y="33"/>
                    </a:lnTo>
                    <a:lnTo>
                      <a:pt x="61" y="35"/>
                    </a:lnTo>
                    <a:lnTo>
                      <a:pt x="61" y="38"/>
                    </a:lnTo>
                    <a:lnTo>
                      <a:pt x="58" y="39"/>
                    </a:lnTo>
                    <a:lnTo>
                      <a:pt x="58" y="41"/>
                    </a:lnTo>
                    <a:lnTo>
                      <a:pt x="60" y="41"/>
                    </a:lnTo>
                    <a:lnTo>
                      <a:pt x="61" y="39"/>
                    </a:lnTo>
                    <a:lnTo>
                      <a:pt x="61" y="39"/>
                    </a:lnTo>
                    <a:lnTo>
                      <a:pt x="60" y="41"/>
                    </a:lnTo>
                    <a:lnTo>
                      <a:pt x="60" y="44"/>
                    </a:lnTo>
                    <a:lnTo>
                      <a:pt x="60" y="46"/>
                    </a:lnTo>
                    <a:lnTo>
                      <a:pt x="58" y="49"/>
                    </a:lnTo>
                    <a:lnTo>
                      <a:pt x="60" y="49"/>
                    </a:lnTo>
                    <a:lnTo>
                      <a:pt x="60" y="52"/>
                    </a:lnTo>
                    <a:lnTo>
                      <a:pt x="60" y="54"/>
                    </a:lnTo>
                    <a:lnTo>
                      <a:pt x="57" y="54"/>
                    </a:lnTo>
                    <a:lnTo>
                      <a:pt x="55" y="54"/>
                    </a:lnTo>
                    <a:lnTo>
                      <a:pt x="52" y="55"/>
                    </a:lnTo>
                    <a:lnTo>
                      <a:pt x="50" y="57"/>
                    </a:lnTo>
                    <a:lnTo>
                      <a:pt x="49" y="61"/>
                    </a:lnTo>
                    <a:lnTo>
                      <a:pt x="41" y="66"/>
                    </a:lnTo>
                    <a:lnTo>
                      <a:pt x="39" y="68"/>
                    </a:lnTo>
                    <a:lnTo>
                      <a:pt x="38" y="68"/>
                    </a:lnTo>
                    <a:lnTo>
                      <a:pt x="36" y="69"/>
                    </a:lnTo>
                    <a:lnTo>
                      <a:pt x="38" y="69"/>
                    </a:lnTo>
                    <a:lnTo>
                      <a:pt x="38" y="71"/>
                    </a:lnTo>
                    <a:lnTo>
                      <a:pt x="39" y="74"/>
                    </a:lnTo>
                    <a:lnTo>
                      <a:pt x="39" y="79"/>
                    </a:lnTo>
                    <a:lnTo>
                      <a:pt x="39" y="80"/>
                    </a:lnTo>
                    <a:lnTo>
                      <a:pt x="38" y="80"/>
                    </a:lnTo>
                    <a:lnTo>
                      <a:pt x="38" y="80"/>
                    </a:lnTo>
                    <a:lnTo>
                      <a:pt x="36" y="79"/>
                    </a:lnTo>
                    <a:lnTo>
                      <a:pt x="36" y="79"/>
                    </a:lnTo>
                    <a:lnTo>
                      <a:pt x="38" y="77"/>
                    </a:lnTo>
                    <a:lnTo>
                      <a:pt x="38" y="77"/>
                    </a:lnTo>
                    <a:lnTo>
                      <a:pt x="38" y="77"/>
                    </a:lnTo>
                    <a:lnTo>
                      <a:pt x="36" y="77"/>
                    </a:lnTo>
                    <a:lnTo>
                      <a:pt x="36" y="74"/>
                    </a:lnTo>
                    <a:lnTo>
                      <a:pt x="33" y="72"/>
                    </a:lnTo>
                    <a:lnTo>
                      <a:pt x="30" y="71"/>
                    </a:lnTo>
                    <a:lnTo>
                      <a:pt x="30" y="68"/>
                    </a:lnTo>
                    <a:lnTo>
                      <a:pt x="28" y="68"/>
                    </a:lnTo>
                    <a:lnTo>
                      <a:pt x="28" y="68"/>
                    </a:lnTo>
                    <a:lnTo>
                      <a:pt x="27" y="69"/>
                    </a:lnTo>
                    <a:lnTo>
                      <a:pt x="27" y="71"/>
                    </a:lnTo>
                    <a:lnTo>
                      <a:pt x="28" y="71"/>
                    </a:lnTo>
                    <a:lnTo>
                      <a:pt x="28" y="72"/>
                    </a:lnTo>
                    <a:lnTo>
                      <a:pt x="28" y="74"/>
                    </a:lnTo>
                    <a:lnTo>
                      <a:pt x="30" y="74"/>
                    </a:lnTo>
                    <a:lnTo>
                      <a:pt x="30" y="75"/>
                    </a:lnTo>
                    <a:lnTo>
                      <a:pt x="32" y="79"/>
                    </a:lnTo>
                    <a:lnTo>
                      <a:pt x="32" y="79"/>
                    </a:lnTo>
                    <a:lnTo>
                      <a:pt x="32" y="79"/>
                    </a:lnTo>
                    <a:lnTo>
                      <a:pt x="32" y="80"/>
                    </a:lnTo>
                    <a:lnTo>
                      <a:pt x="32" y="80"/>
                    </a:lnTo>
                    <a:lnTo>
                      <a:pt x="30" y="80"/>
                    </a:lnTo>
                    <a:lnTo>
                      <a:pt x="30" y="82"/>
                    </a:lnTo>
                    <a:lnTo>
                      <a:pt x="30" y="82"/>
                    </a:lnTo>
                    <a:lnTo>
                      <a:pt x="28" y="83"/>
                    </a:lnTo>
                    <a:lnTo>
                      <a:pt x="28" y="83"/>
                    </a:lnTo>
                    <a:lnTo>
                      <a:pt x="28" y="83"/>
                    </a:lnTo>
                    <a:lnTo>
                      <a:pt x="28" y="85"/>
                    </a:lnTo>
                    <a:lnTo>
                      <a:pt x="25" y="86"/>
                    </a:lnTo>
                    <a:lnTo>
                      <a:pt x="25" y="86"/>
                    </a:lnTo>
                    <a:lnTo>
                      <a:pt x="25" y="86"/>
                    </a:lnTo>
                    <a:lnTo>
                      <a:pt x="24" y="86"/>
                    </a:lnTo>
                    <a:lnTo>
                      <a:pt x="24" y="85"/>
                    </a:lnTo>
                    <a:lnTo>
                      <a:pt x="24" y="85"/>
                    </a:lnTo>
                    <a:lnTo>
                      <a:pt x="22" y="85"/>
                    </a:lnTo>
                    <a:lnTo>
                      <a:pt x="22" y="83"/>
                    </a:lnTo>
                    <a:lnTo>
                      <a:pt x="22" y="83"/>
                    </a:lnTo>
                    <a:lnTo>
                      <a:pt x="22" y="85"/>
                    </a:lnTo>
                    <a:lnTo>
                      <a:pt x="22" y="85"/>
                    </a:lnTo>
                    <a:lnTo>
                      <a:pt x="22" y="86"/>
                    </a:lnTo>
                    <a:lnTo>
                      <a:pt x="22" y="88"/>
                    </a:lnTo>
                    <a:lnTo>
                      <a:pt x="22" y="88"/>
                    </a:lnTo>
                    <a:lnTo>
                      <a:pt x="21" y="88"/>
                    </a:lnTo>
                    <a:lnTo>
                      <a:pt x="19" y="93"/>
                    </a:lnTo>
                    <a:lnTo>
                      <a:pt x="19" y="93"/>
                    </a:lnTo>
                    <a:lnTo>
                      <a:pt x="21" y="94"/>
                    </a:lnTo>
                    <a:lnTo>
                      <a:pt x="24" y="97"/>
                    </a:lnTo>
                    <a:lnTo>
                      <a:pt x="24" y="99"/>
                    </a:lnTo>
                    <a:lnTo>
                      <a:pt x="25" y="99"/>
                    </a:lnTo>
                    <a:lnTo>
                      <a:pt x="27" y="102"/>
                    </a:lnTo>
                    <a:lnTo>
                      <a:pt x="27" y="102"/>
                    </a:lnTo>
                    <a:lnTo>
                      <a:pt x="28" y="104"/>
                    </a:lnTo>
                    <a:lnTo>
                      <a:pt x="28" y="105"/>
                    </a:lnTo>
                    <a:lnTo>
                      <a:pt x="28" y="110"/>
                    </a:lnTo>
                    <a:lnTo>
                      <a:pt x="27" y="110"/>
                    </a:lnTo>
                    <a:lnTo>
                      <a:pt x="27" y="108"/>
                    </a:lnTo>
                    <a:lnTo>
                      <a:pt x="27" y="111"/>
                    </a:lnTo>
                    <a:lnTo>
                      <a:pt x="30" y="115"/>
                    </a:lnTo>
                    <a:lnTo>
                      <a:pt x="32" y="118"/>
                    </a:lnTo>
                    <a:lnTo>
                      <a:pt x="30" y="119"/>
                    </a:lnTo>
                    <a:lnTo>
                      <a:pt x="25" y="122"/>
                    </a:lnTo>
                    <a:lnTo>
                      <a:pt x="28" y="124"/>
                    </a:lnTo>
                    <a:lnTo>
                      <a:pt x="28" y="126"/>
                    </a:lnTo>
                    <a:lnTo>
                      <a:pt x="28" y="127"/>
                    </a:lnTo>
                    <a:lnTo>
                      <a:pt x="28" y="130"/>
                    </a:lnTo>
                    <a:lnTo>
                      <a:pt x="30" y="135"/>
                    </a:lnTo>
                    <a:lnTo>
                      <a:pt x="30" y="135"/>
                    </a:lnTo>
                    <a:lnTo>
                      <a:pt x="30" y="137"/>
                    </a:lnTo>
                    <a:lnTo>
                      <a:pt x="30" y="138"/>
                    </a:lnTo>
                    <a:lnTo>
                      <a:pt x="30" y="141"/>
                    </a:lnTo>
                    <a:lnTo>
                      <a:pt x="28" y="143"/>
                    </a:lnTo>
                    <a:lnTo>
                      <a:pt x="28" y="143"/>
                    </a:lnTo>
                    <a:lnTo>
                      <a:pt x="27" y="144"/>
                    </a:lnTo>
                    <a:lnTo>
                      <a:pt x="27" y="144"/>
                    </a:lnTo>
                    <a:lnTo>
                      <a:pt x="27" y="146"/>
                    </a:lnTo>
                    <a:lnTo>
                      <a:pt x="28" y="144"/>
                    </a:lnTo>
                    <a:lnTo>
                      <a:pt x="28" y="146"/>
                    </a:lnTo>
                    <a:lnTo>
                      <a:pt x="28" y="147"/>
                    </a:lnTo>
                    <a:lnTo>
                      <a:pt x="28" y="147"/>
                    </a:lnTo>
                    <a:lnTo>
                      <a:pt x="28" y="151"/>
                    </a:lnTo>
                    <a:lnTo>
                      <a:pt x="30" y="147"/>
                    </a:lnTo>
                    <a:lnTo>
                      <a:pt x="32" y="149"/>
                    </a:lnTo>
                    <a:lnTo>
                      <a:pt x="30" y="151"/>
                    </a:lnTo>
                    <a:lnTo>
                      <a:pt x="32" y="152"/>
                    </a:lnTo>
                    <a:lnTo>
                      <a:pt x="33" y="152"/>
                    </a:lnTo>
                    <a:lnTo>
                      <a:pt x="33" y="151"/>
                    </a:lnTo>
                    <a:lnTo>
                      <a:pt x="35" y="151"/>
                    </a:lnTo>
                    <a:lnTo>
                      <a:pt x="32" y="157"/>
                    </a:lnTo>
                    <a:lnTo>
                      <a:pt x="30" y="158"/>
                    </a:lnTo>
                    <a:lnTo>
                      <a:pt x="28" y="160"/>
                    </a:lnTo>
                    <a:lnTo>
                      <a:pt x="28" y="160"/>
                    </a:lnTo>
                    <a:lnTo>
                      <a:pt x="27" y="163"/>
                    </a:lnTo>
                    <a:lnTo>
                      <a:pt x="27" y="163"/>
                    </a:lnTo>
                    <a:lnTo>
                      <a:pt x="25" y="165"/>
                    </a:lnTo>
                    <a:lnTo>
                      <a:pt x="24" y="166"/>
                    </a:lnTo>
                    <a:lnTo>
                      <a:pt x="24" y="166"/>
                    </a:lnTo>
                    <a:lnTo>
                      <a:pt x="24" y="166"/>
                    </a:lnTo>
                    <a:lnTo>
                      <a:pt x="24" y="168"/>
                    </a:lnTo>
                    <a:lnTo>
                      <a:pt x="24" y="169"/>
                    </a:lnTo>
                    <a:lnTo>
                      <a:pt x="22" y="171"/>
                    </a:lnTo>
                    <a:lnTo>
                      <a:pt x="21" y="171"/>
                    </a:lnTo>
                    <a:lnTo>
                      <a:pt x="21" y="171"/>
                    </a:lnTo>
                    <a:lnTo>
                      <a:pt x="21" y="171"/>
                    </a:lnTo>
                    <a:lnTo>
                      <a:pt x="19" y="172"/>
                    </a:lnTo>
                    <a:lnTo>
                      <a:pt x="19" y="172"/>
                    </a:lnTo>
                    <a:lnTo>
                      <a:pt x="18" y="174"/>
                    </a:lnTo>
                    <a:lnTo>
                      <a:pt x="18" y="174"/>
                    </a:lnTo>
                    <a:lnTo>
                      <a:pt x="16" y="176"/>
                    </a:lnTo>
                    <a:lnTo>
                      <a:pt x="16" y="176"/>
                    </a:lnTo>
                    <a:lnTo>
                      <a:pt x="13" y="176"/>
                    </a:lnTo>
                    <a:lnTo>
                      <a:pt x="11" y="176"/>
                    </a:lnTo>
                    <a:lnTo>
                      <a:pt x="11" y="176"/>
                    </a:lnTo>
                    <a:lnTo>
                      <a:pt x="10" y="176"/>
                    </a:lnTo>
                    <a:lnTo>
                      <a:pt x="8" y="177"/>
                    </a:lnTo>
                    <a:lnTo>
                      <a:pt x="8" y="177"/>
                    </a:lnTo>
                    <a:lnTo>
                      <a:pt x="7" y="179"/>
                    </a:lnTo>
                    <a:lnTo>
                      <a:pt x="7" y="183"/>
                    </a:lnTo>
                    <a:lnTo>
                      <a:pt x="8" y="185"/>
                    </a:lnTo>
                    <a:lnTo>
                      <a:pt x="8" y="188"/>
                    </a:lnTo>
                    <a:lnTo>
                      <a:pt x="3" y="187"/>
                    </a:lnTo>
                    <a:lnTo>
                      <a:pt x="0" y="188"/>
                    </a:lnTo>
                    <a:lnTo>
                      <a:pt x="0" y="191"/>
                    </a:lnTo>
                    <a:lnTo>
                      <a:pt x="2" y="193"/>
                    </a:lnTo>
                    <a:lnTo>
                      <a:pt x="3" y="193"/>
                    </a:lnTo>
                    <a:lnTo>
                      <a:pt x="3" y="194"/>
                    </a:lnTo>
                    <a:lnTo>
                      <a:pt x="5" y="196"/>
                    </a:lnTo>
                    <a:lnTo>
                      <a:pt x="5" y="196"/>
                    </a:lnTo>
                    <a:lnTo>
                      <a:pt x="7" y="196"/>
                    </a:lnTo>
                    <a:lnTo>
                      <a:pt x="8" y="198"/>
                    </a:lnTo>
                    <a:lnTo>
                      <a:pt x="8" y="198"/>
                    </a:lnTo>
                    <a:lnTo>
                      <a:pt x="13" y="201"/>
                    </a:lnTo>
                    <a:lnTo>
                      <a:pt x="14" y="202"/>
                    </a:lnTo>
                    <a:lnTo>
                      <a:pt x="18" y="204"/>
                    </a:lnTo>
                    <a:lnTo>
                      <a:pt x="21" y="204"/>
                    </a:lnTo>
                    <a:lnTo>
                      <a:pt x="21" y="204"/>
                    </a:lnTo>
                    <a:lnTo>
                      <a:pt x="24" y="204"/>
                    </a:lnTo>
                    <a:lnTo>
                      <a:pt x="24" y="205"/>
                    </a:lnTo>
                    <a:lnTo>
                      <a:pt x="24" y="207"/>
                    </a:lnTo>
                    <a:lnTo>
                      <a:pt x="25" y="207"/>
                    </a:lnTo>
                    <a:lnTo>
                      <a:pt x="25" y="207"/>
                    </a:lnTo>
                    <a:lnTo>
                      <a:pt x="27" y="207"/>
                    </a:lnTo>
                    <a:lnTo>
                      <a:pt x="27" y="207"/>
                    </a:lnTo>
                    <a:lnTo>
                      <a:pt x="27" y="208"/>
                    </a:lnTo>
                    <a:lnTo>
                      <a:pt x="27" y="208"/>
                    </a:lnTo>
                    <a:lnTo>
                      <a:pt x="28" y="212"/>
                    </a:lnTo>
                    <a:lnTo>
                      <a:pt x="28" y="212"/>
                    </a:lnTo>
                    <a:lnTo>
                      <a:pt x="28" y="212"/>
                    </a:lnTo>
                    <a:lnTo>
                      <a:pt x="30" y="213"/>
                    </a:lnTo>
                    <a:lnTo>
                      <a:pt x="32" y="213"/>
                    </a:lnTo>
                    <a:lnTo>
                      <a:pt x="33" y="213"/>
                    </a:lnTo>
                    <a:lnTo>
                      <a:pt x="33" y="213"/>
                    </a:lnTo>
                    <a:lnTo>
                      <a:pt x="35" y="213"/>
                    </a:lnTo>
                    <a:lnTo>
                      <a:pt x="36" y="215"/>
                    </a:lnTo>
                    <a:lnTo>
                      <a:pt x="38" y="215"/>
                    </a:lnTo>
                    <a:lnTo>
                      <a:pt x="38" y="215"/>
                    </a:lnTo>
                    <a:lnTo>
                      <a:pt x="39" y="215"/>
                    </a:lnTo>
                    <a:lnTo>
                      <a:pt x="39" y="215"/>
                    </a:lnTo>
                    <a:lnTo>
                      <a:pt x="39" y="215"/>
                    </a:lnTo>
                    <a:lnTo>
                      <a:pt x="41" y="215"/>
                    </a:lnTo>
                    <a:lnTo>
                      <a:pt x="43" y="215"/>
                    </a:lnTo>
                    <a:lnTo>
                      <a:pt x="44" y="215"/>
                    </a:lnTo>
                    <a:lnTo>
                      <a:pt x="46" y="215"/>
                    </a:lnTo>
                    <a:lnTo>
                      <a:pt x="46" y="213"/>
                    </a:lnTo>
                    <a:lnTo>
                      <a:pt x="46" y="212"/>
                    </a:lnTo>
                    <a:lnTo>
                      <a:pt x="46" y="212"/>
                    </a:lnTo>
                    <a:lnTo>
                      <a:pt x="47" y="212"/>
                    </a:lnTo>
                    <a:lnTo>
                      <a:pt x="49" y="212"/>
                    </a:lnTo>
                    <a:lnTo>
                      <a:pt x="52" y="213"/>
                    </a:lnTo>
                    <a:lnTo>
                      <a:pt x="52" y="213"/>
                    </a:lnTo>
                    <a:lnTo>
                      <a:pt x="52" y="213"/>
                    </a:lnTo>
                    <a:lnTo>
                      <a:pt x="54" y="215"/>
                    </a:lnTo>
                    <a:lnTo>
                      <a:pt x="55" y="216"/>
                    </a:lnTo>
                    <a:lnTo>
                      <a:pt x="55" y="216"/>
                    </a:lnTo>
                    <a:lnTo>
                      <a:pt x="57" y="218"/>
                    </a:lnTo>
                    <a:lnTo>
                      <a:pt x="58" y="218"/>
                    </a:lnTo>
                    <a:lnTo>
                      <a:pt x="60" y="218"/>
                    </a:lnTo>
                    <a:lnTo>
                      <a:pt x="63" y="219"/>
                    </a:lnTo>
                    <a:lnTo>
                      <a:pt x="66" y="221"/>
                    </a:lnTo>
                    <a:lnTo>
                      <a:pt x="66" y="219"/>
                    </a:lnTo>
                    <a:lnTo>
                      <a:pt x="68" y="219"/>
                    </a:lnTo>
                    <a:lnTo>
                      <a:pt x="68" y="219"/>
                    </a:lnTo>
                    <a:lnTo>
                      <a:pt x="69" y="221"/>
                    </a:lnTo>
                    <a:lnTo>
                      <a:pt x="71" y="221"/>
                    </a:lnTo>
                    <a:lnTo>
                      <a:pt x="71" y="223"/>
                    </a:lnTo>
                    <a:lnTo>
                      <a:pt x="72" y="223"/>
                    </a:lnTo>
                    <a:lnTo>
                      <a:pt x="74" y="223"/>
                    </a:lnTo>
                    <a:lnTo>
                      <a:pt x="74" y="223"/>
                    </a:lnTo>
                    <a:lnTo>
                      <a:pt x="74" y="223"/>
                    </a:lnTo>
                    <a:lnTo>
                      <a:pt x="75" y="224"/>
                    </a:lnTo>
                    <a:lnTo>
                      <a:pt x="75" y="224"/>
                    </a:lnTo>
                    <a:lnTo>
                      <a:pt x="75" y="224"/>
                    </a:lnTo>
                    <a:lnTo>
                      <a:pt x="77" y="226"/>
                    </a:lnTo>
                    <a:lnTo>
                      <a:pt x="79" y="226"/>
                    </a:lnTo>
                    <a:lnTo>
                      <a:pt x="79" y="227"/>
                    </a:lnTo>
                    <a:lnTo>
                      <a:pt x="80" y="227"/>
                    </a:lnTo>
                    <a:lnTo>
                      <a:pt x="80" y="229"/>
                    </a:lnTo>
                    <a:lnTo>
                      <a:pt x="82" y="230"/>
                    </a:lnTo>
                    <a:lnTo>
                      <a:pt x="82" y="232"/>
                    </a:lnTo>
                    <a:lnTo>
                      <a:pt x="82" y="234"/>
                    </a:lnTo>
                    <a:lnTo>
                      <a:pt x="82" y="234"/>
                    </a:lnTo>
                    <a:lnTo>
                      <a:pt x="82" y="234"/>
                    </a:lnTo>
                    <a:lnTo>
                      <a:pt x="83" y="235"/>
                    </a:lnTo>
                    <a:lnTo>
                      <a:pt x="83" y="237"/>
                    </a:lnTo>
                    <a:lnTo>
                      <a:pt x="85" y="237"/>
                    </a:lnTo>
                    <a:lnTo>
                      <a:pt x="86" y="237"/>
                    </a:lnTo>
                    <a:lnTo>
                      <a:pt x="88" y="238"/>
                    </a:lnTo>
                    <a:lnTo>
                      <a:pt x="89" y="238"/>
                    </a:lnTo>
                    <a:lnTo>
                      <a:pt x="91" y="240"/>
                    </a:lnTo>
                    <a:lnTo>
                      <a:pt x="91" y="240"/>
                    </a:lnTo>
                    <a:lnTo>
                      <a:pt x="91" y="240"/>
                    </a:lnTo>
                    <a:lnTo>
                      <a:pt x="93" y="240"/>
                    </a:lnTo>
                    <a:lnTo>
                      <a:pt x="94" y="241"/>
                    </a:lnTo>
                    <a:lnTo>
                      <a:pt x="94" y="241"/>
                    </a:lnTo>
                    <a:lnTo>
                      <a:pt x="94" y="241"/>
                    </a:lnTo>
                    <a:lnTo>
                      <a:pt x="96" y="243"/>
                    </a:lnTo>
                    <a:lnTo>
                      <a:pt x="96" y="244"/>
                    </a:lnTo>
                    <a:lnTo>
                      <a:pt x="96" y="244"/>
                    </a:lnTo>
                    <a:lnTo>
                      <a:pt x="97" y="244"/>
                    </a:lnTo>
                    <a:lnTo>
                      <a:pt x="97" y="246"/>
                    </a:lnTo>
                    <a:lnTo>
                      <a:pt x="97" y="246"/>
                    </a:lnTo>
                    <a:lnTo>
                      <a:pt x="96" y="248"/>
                    </a:lnTo>
                    <a:lnTo>
                      <a:pt x="97" y="249"/>
                    </a:lnTo>
                    <a:lnTo>
                      <a:pt x="97" y="249"/>
                    </a:lnTo>
                    <a:lnTo>
                      <a:pt x="99" y="249"/>
                    </a:lnTo>
                    <a:lnTo>
                      <a:pt x="99" y="251"/>
                    </a:lnTo>
                    <a:lnTo>
                      <a:pt x="100" y="249"/>
                    </a:lnTo>
                    <a:lnTo>
                      <a:pt x="102" y="251"/>
                    </a:lnTo>
                    <a:lnTo>
                      <a:pt x="102" y="251"/>
                    </a:lnTo>
                    <a:lnTo>
                      <a:pt x="102" y="252"/>
                    </a:lnTo>
                    <a:lnTo>
                      <a:pt x="104" y="254"/>
                    </a:lnTo>
                    <a:lnTo>
                      <a:pt x="104" y="255"/>
                    </a:lnTo>
                    <a:lnTo>
                      <a:pt x="104" y="257"/>
                    </a:lnTo>
                    <a:lnTo>
                      <a:pt x="102" y="257"/>
                    </a:lnTo>
                    <a:lnTo>
                      <a:pt x="104" y="259"/>
                    </a:lnTo>
                    <a:lnTo>
                      <a:pt x="105" y="259"/>
                    </a:lnTo>
                    <a:lnTo>
                      <a:pt x="105" y="260"/>
                    </a:lnTo>
                    <a:lnTo>
                      <a:pt x="107" y="260"/>
                    </a:lnTo>
                    <a:lnTo>
                      <a:pt x="108" y="262"/>
                    </a:lnTo>
                    <a:lnTo>
                      <a:pt x="108" y="262"/>
                    </a:lnTo>
                    <a:lnTo>
                      <a:pt x="111" y="260"/>
                    </a:lnTo>
                    <a:lnTo>
                      <a:pt x="111" y="260"/>
                    </a:lnTo>
                    <a:lnTo>
                      <a:pt x="113" y="260"/>
                    </a:lnTo>
                    <a:lnTo>
                      <a:pt x="113" y="260"/>
                    </a:lnTo>
                    <a:lnTo>
                      <a:pt x="114" y="260"/>
                    </a:lnTo>
                    <a:lnTo>
                      <a:pt x="116" y="262"/>
                    </a:lnTo>
                    <a:lnTo>
                      <a:pt x="118" y="262"/>
                    </a:lnTo>
                    <a:lnTo>
                      <a:pt x="119" y="260"/>
                    </a:lnTo>
                    <a:lnTo>
                      <a:pt x="121" y="260"/>
                    </a:lnTo>
                    <a:lnTo>
                      <a:pt x="122" y="260"/>
                    </a:lnTo>
                    <a:lnTo>
                      <a:pt x="124" y="260"/>
                    </a:lnTo>
                    <a:lnTo>
                      <a:pt x="124" y="259"/>
                    </a:lnTo>
                    <a:lnTo>
                      <a:pt x="125" y="259"/>
                    </a:lnTo>
                    <a:lnTo>
                      <a:pt x="127" y="257"/>
                    </a:lnTo>
                    <a:lnTo>
                      <a:pt x="127" y="257"/>
                    </a:lnTo>
                    <a:lnTo>
                      <a:pt x="129" y="257"/>
                    </a:lnTo>
                    <a:lnTo>
                      <a:pt x="130" y="257"/>
                    </a:lnTo>
                    <a:lnTo>
                      <a:pt x="132" y="259"/>
                    </a:lnTo>
                    <a:lnTo>
                      <a:pt x="133" y="259"/>
                    </a:lnTo>
                    <a:lnTo>
                      <a:pt x="133" y="260"/>
                    </a:lnTo>
                    <a:lnTo>
                      <a:pt x="135" y="260"/>
                    </a:lnTo>
                    <a:lnTo>
                      <a:pt x="138" y="259"/>
                    </a:lnTo>
                    <a:lnTo>
                      <a:pt x="138" y="259"/>
                    </a:lnTo>
                    <a:lnTo>
                      <a:pt x="139" y="259"/>
                    </a:lnTo>
                    <a:lnTo>
                      <a:pt x="139" y="259"/>
                    </a:lnTo>
                    <a:lnTo>
                      <a:pt x="141" y="257"/>
                    </a:lnTo>
                    <a:lnTo>
                      <a:pt x="143" y="257"/>
                    </a:lnTo>
                    <a:lnTo>
                      <a:pt x="146" y="260"/>
                    </a:lnTo>
                    <a:lnTo>
                      <a:pt x="147" y="262"/>
                    </a:lnTo>
                    <a:lnTo>
                      <a:pt x="149" y="262"/>
                    </a:lnTo>
                    <a:lnTo>
                      <a:pt x="149" y="262"/>
                    </a:lnTo>
                    <a:lnTo>
                      <a:pt x="150" y="262"/>
                    </a:lnTo>
                    <a:lnTo>
                      <a:pt x="152" y="263"/>
                    </a:lnTo>
                    <a:lnTo>
                      <a:pt x="154" y="263"/>
                    </a:lnTo>
                    <a:lnTo>
                      <a:pt x="154" y="265"/>
                    </a:lnTo>
                    <a:lnTo>
                      <a:pt x="155" y="265"/>
                    </a:lnTo>
                    <a:lnTo>
                      <a:pt x="157" y="265"/>
                    </a:lnTo>
                    <a:lnTo>
                      <a:pt x="157" y="266"/>
                    </a:lnTo>
                    <a:lnTo>
                      <a:pt x="157" y="266"/>
                    </a:lnTo>
                    <a:lnTo>
                      <a:pt x="157" y="266"/>
                    </a:lnTo>
                    <a:lnTo>
                      <a:pt x="157" y="266"/>
                    </a:lnTo>
                    <a:lnTo>
                      <a:pt x="155" y="270"/>
                    </a:lnTo>
                    <a:lnTo>
                      <a:pt x="154" y="273"/>
                    </a:lnTo>
                    <a:lnTo>
                      <a:pt x="150" y="276"/>
                    </a:lnTo>
                    <a:lnTo>
                      <a:pt x="147" y="282"/>
                    </a:lnTo>
                    <a:lnTo>
                      <a:pt x="146" y="285"/>
                    </a:lnTo>
                    <a:lnTo>
                      <a:pt x="146" y="285"/>
                    </a:lnTo>
                    <a:lnTo>
                      <a:pt x="149" y="287"/>
                    </a:lnTo>
                    <a:lnTo>
                      <a:pt x="150" y="287"/>
                    </a:lnTo>
                    <a:lnTo>
                      <a:pt x="150" y="287"/>
                    </a:lnTo>
                    <a:lnTo>
                      <a:pt x="150" y="287"/>
                    </a:lnTo>
                    <a:lnTo>
                      <a:pt x="152" y="285"/>
                    </a:lnTo>
                    <a:lnTo>
                      <a:pt x="152" y="285"/>
                    </a:lnTo>
                    <a:lnTo>
                      <a:pt x="152" y="285"/>
                    </a:lnTo>
                    <a:lnTo>
                      <a:pt x="154" y="287"/>
                    </a:lnTo>
                    <a:lnTo>
                      <a:pt x="154" y="287"/>
                    </a:lnTo>
                    <a:lnTo>
                      <a:pt x="154" y="287"/>
                    </a:lnTo>
                    <a:lnTo>
                      <a:pt x="154" y="287"/>
                    </a:lnTo>
                    <a:lnTo>
                      <a:pt x="155" y="288"/>
                    </a:lnTo>
                    <a:lnTo>
                      <a:pt x="155" y="290"/>
                    </a:lnTo>
                    <a:lnTo>
                      <a:pt x="157" y="290"/>
                    </a:lnTo>
                    <a:lnTo>
                      <a:pt x="158" y="291"/>
                    </a:lnTo>
                    <a:lnTo>
                      <a:pt x="158" y="293"/>
                    </a:lnTo>
                    <a:lnTo>
                      <a:pt x="158" y="293"/>
                    </a:lnTo>
                    <a:lnTo>
                      <a:pt x="160" y="293"/>
                    </a:lnTo>
                    <a:lnTo>
                      <a:pt x="160" y="288"/>
                    </a:lnTo>
                    <a:lnTo>
                      <a:pt x="161" y="284"/>
                    </a:lnTo>
                    <a:lnTo>
                      <a:pt x="161" y="277"/>
                    </a:lnTo>
                    <a:lnTo>
                      <a:pt x="163" y="271"/>
                    </a:lnTo>
                    <a:lnTo>
                      <a:pt x="165" y="265"/>
                    </a:lnTo>
                    <a:lnTo>
                      <a:pt x="165" y="259"/>
                    </a:lnTo>
                    <a:lnTo>
                      <a:pt x="166" y="254"/>
                    </a:lnTo>
                    <a:lnTo>
                      <a:pt x="168" y="249"/>
                    </a:lnTo>
                    <a:lnTo>
                      <a:pt x="168" y="248"/>
                    </a:lnTo>
                    <a:lnTo>
                      <a:pt x="168" y="244"/>
                    </a:lnTo>
                    <a:lnTo>
                      <a:pt x="169" y="241"/>
                    </a:lnTo>
                    <a:lnTo>
                      <a:pt x="169" y="240"/>
                    </a:lnTo>
                    <a:lnTo>
                      <a:pt x="169" y="240"/>
                    </a:lnTo>
                    <a:lnTo>
                      <a:pt x="168" y="238"/>
                    </a:lnTo>
                    <a:lnTo>
                      <a:pt x="168" y="238"/>
                    </a:lnTo>
                    <a:lnTo>
                      <a:pt x="168" y="237"/>
                    </a:lnTo>
                    <a:lnTo>
                      <a:pt x="168" y="237"/>
                    </a:lnTo>
                    <a:lnTo>
                      <a:pt x="168" y="235"/>
                    </a:lnTo>
                    <a:lnTo>
                      <a:pt x="168" y="235"/>
                    </a:lnTo>
                    <a:lnTo>
                      <a:pt x="166" y="235"/>
                    </a:lnTo>
                    <a:lnTo>
                      <a:pt x="166" y="235"/>
                    </a:lnTo>
                    <a:lnTo>
                      <a:pt x="166" y="234"/>
                    </a:lnTo>
                    <a:lnTo>
                      <a:pt x="166" y="234"/>
                    </a:lnTo>
                    <a:lnTo>
                      <a:pt x="166" y="234"/>
                    </a:lnTo>
                    <a:lnTo>
                      <a:pt x="165" y="232"/>
                    </a:lnTo>
                    <a:lnTo>
                      <a:pt x="165" y="232"/>
                    </a:lnTo>
                    <a:lnTo>
                      <a:pt x="165" y="230"/>
                    </a:lnTo>
                    <a:lnTo>
                      <a:pt x="166" y="230"/>
                    </a:lnTo>
                    <a:lnTo>
                      <a:pt x="165" y="229"/>
                    </a:lnTo>
                    <a:lnTo>
                      <a:pt x="165" y="229"/>
                    </a:lnTo>
                    <a:lnTo>
                      <a:pt x="165" y="227"/>
                    </a:lnTo>
                    <a:lnTo>
                      <a:pt x="165" y="227"/>
                    </a:lnTo>
                    <a:lnTo>
                      <a:pt x="163" y="227"/>
                    </a:lnTo>
                    <a:lnTo>
                      <a:pt x="163" y="227"/>
                    </a:lnTo>
                    <a:lnTo>
                      <a:pt x="161" y="226"/>
                    </a:lnTo>
                    <a:lnTo>
                      <a:pt x="160" y="224"/>
                    </a:lnTo>
                    <a:lnTo>
                      <a:pt x="158" y="223"/>
                    </a:lnTo>
                    <a:lnTo>
                      <a:pt x="157" y="221"/>
                    </a:lnTo>
                    <a:lnTo>
                      <a:pt x="157" y="218"/>
                    </a:lnTo>
                    <a:lnTo>
                      <a:pt x="157" y="216"/>
                    </a:lnTo>
                    <a:lnTo>
                      <a:pt x="157" y="212"/>
                    </a:lnTo>
                    <a:lnTo>
                      <a:pt x="157" y="208"/>
                    </a:lnTo>
                    <a:lnTo>
                      <a:pt x="157" y="208"/>
                    </a:lnTo>
                    <a:lnTo>
                      <a:pt x="158" y="208"/>
                    </a:lnTo>
                    <a:lnTo>
                      <a:pt x="160" y="208"/>
                    </a:lnTo>
                    <a:lnTo>
                      <a:pt x="160" y="208"/>
                    </a:lnTo>
                    <a:lnTo>
                      <a:pt x="161" y="208"/>
                    </a:lnTo>
                    <a:lnTo>
                      <a:pt x="161" y="208"/>
                    </a:lnTo>
                    <a:lnTo>
                      <a:pt x="161" y="208"/>
                    </a:lnTo>
                    <a:lnTo>
                      <a:pt x="161" y="208"/>
                    </a:lnTo>
                    <a:lnTo>
                      <a:pt x="163" y="208"/>
                    </a:lnTo>
                    <a:lnTo>
                      <a:pt x="163" y="207"/>
                    </a:lnTo>
                    <a:lnTo>
                      <a:pt x="163" y="207"/>
                    </a:lnTo>
                    <a:lnTo>
                      <a:pt x="165" y="207"/>
                    </a:lnTo>
                    <a:lnTo>
                      <a:pt x="165" y="207"/>
                    </a:lnTo>
                    <a:lnTo>
                      <a:pt x="165" y="207"/>
                    </a:lnTo>
                    <a:lnTo>
                      <a:pt x="165" y="207"/>
                    </a:lnTo>
                    <a:lnTo>
                      <a:pt x="166" y="207"/>
                    </a:lnTo>
                    <a:lnTo>
                      <a:pt x="166" y="207"/>
                    </a:lnTo>
                    <a:lnTo>
                      <a:pt x="168" y="207"/>
                    </a:lnTo>
                    <a:lnTo>
                      <a:pt x="169" y="207"/>
                    </a:lnTo>
                    <a:lnTo>
                      <a:pt x="169" y="207"/>
                    </a:lnTo>
                    <a:lnTo>
                      <a:pt x="169" y="207"/>
                    </a:lnTo>
                    <a:lnTo>
                      <a:pt x="169" y="207"/>
                    </a:lnTo>
                    <a:lnTo>
                      <a:pt x="169" y="207"/>
                    </a:lnTo>
                    <a:lnTo>
                      <a:pt x="171" y="207"/>
                    </a:lnTo>
                    <a:lnTo>
                      <a:pt x="171" y="207"/>
                    </a:lnTo>
                    <a:lnTo>
                      <a:pt x="171" y="208"/>
                    </a:lnTo>
                    <a:lnTo>
                      <a:pt x="171" y="208"/>
                    </a:lnTo>
                    <a:lnTo>
                      <a:pt x="171" y="208"/>
                    </a:lnTo>
                    <a:lnTo>
                      <a:pt x="172" y="208"/>
                    </a:lnTo>
                    <a:lnTo>
                      <a:pt x="172" y="208"/>
                    </a:lnTo>
                    <a:lnTo>
                      <a:pt x="172" y="208"/>
                    </a:lnTo>
                    <a:lnTo>
                      <a:pt x="172" y="208"/>
                    </a:lnTo>
                    <a:lnTo>
                      <a:pt x="172" y="208"/>
                    </a:lnTo>
                    <a:lnTo>
                      <a:pt x="172" y="207"/>
                    </a:lnTo>
                    <a:lnTo>
                      <a:pt x="174" y="207"/>
                    </a:lnTo>
                    <a:lnTo>
                      <a:pt x="172" y="207"/>
                    </a:lnTo>
                    <a:lnTo>
                      <a:pt x="172" y="207"/>
                    </a:lnTo>
                    <a:lnTo>
                      <a:pt x="172" y="205"/>
                    </a:lnTo>
                    <a:lnTo>
                      <a:pt x="172" y="205"/>
                    </a:lnTo>
                    <a:lnTo>
                      <a:pt x="172" y="204"/>
                    </a:lnTo>
                    <a:lnTo>
                      <a:pt x="172" y="204"/>
                    </a:lnTo>
                    <a:lnTo>
                      <a:pt x="172" y="202"/>
                    </a:lnTo>
                    <a:lnTo>
                      <a:pt x="171" y="201"/>
                    </a:lnTo>
                    <a:lnTo>
                      <a:pt x="171" y="201"/>
                    </a:lnTo>
                    <a:lnTo>
                      <a:pt x="169" y="201"/>
                    </a:lnTo>
                    <a:lnTo>
                      <a:pt x="169" y="201"/>
                    </a:lnTo>
                    <a:lnTo>
                      <a:pt x="169" y="201"/>
                    </a:lnTo>
                    <a:lnTo>
                      <a:pt x="169" y="201"/>
                    </a:lnTo>
                    <a:lnTo>
                      <a:pt x="168" y="201"/>
                    </a:lnTo>
                    <a:lnTo>
                      <a:pt x="168" y="201"/>
                    </a:lnTo>
                    <a:lnTo>
                      <a:pt x="166" y="201"/>
                    </a:lnTo>
                    <a:lnTo>
                      <a:pt x="166" y="201"/>
                    </a:lnTo>
                    <a:lnTo>
                      <a:pt x="165" y="201"/>
                    </a:lnTo>
                    <a:lnTo>
                      <a:pt x="163" y="201"/>
                    </a:lnTo>
                    <a:lnTo>
                      <a:pt x="163" y="201"/>
                    </a:lnTo>
                    <a:lnTo>
                      <a:pt x="161" y="201"/>
                    </a:lnTo>
                    <a:lnTo>
                      <a:pt x="161" y="201"/>
                    </a:lnTo>
                    <a:lnTo>
                      <a:pt x="161" y="201"/>
                    </a:lnTo>
                    <a:lnTo>
                      <a:pt x="161" y="201"/>
                    </a:lnTo>
                    <a:lnTo>
                      <a:pt x="161" y="196"/>
                    </a:lnTo>
                    <a:lnTo>
                      <a:pt x="161" y="191"/>
                    </a:lnTo>
                    <a:lnTo>
                      <a:pt x="161" y="190"/>
                    </a:lnTo>
                    <a:lnTo>
                      <a:pt x="161" y="190"/>
                    </a:lnTo>
                    <a:lnTo>
                      <a:pt x="161" y="190"/>
                    </a:lnTo>
                    <a:lnTo>
                      <a:pt x="161" y="190"/>
                    </a:lnTo>
                    <a:lnTo>
                      <a:pt x="163" y="188"/>
                    </a:lnTo>
                    <a:lnTo>
                      <a:pt x="163" y="188"/>
                    </a:lnTo>
                    <a:lnTo>
                      <a:pt x="165" y="188"/>
                    </a:lnTo>
                    <a:lnTo>
                      <a:pt x="165" y="188"/>
                    </a:lnTo>
                    <a:lnTo>
                      <a:pt x="166" y="188"/>
                    </a:lnTo>
                    <a:lnTo>
                      <a:pt x="166" y="188"/>
                    </a:lnTo>
                    <a:lnTo>
                      <a:pt x="168" y="188"/>
                    </a:lnTo>
                    <a:lnTo>
                      <a:pt x="169" y="188"/>
                    </a:lnTo>
                    <a:lnTo>
                      <a:pt x="171" y="188"/>
                    </a:lnTo>
                    <a:lnTo>
                      <a:pt x="190" y="188"/>
                    </a:lnTo>
                    <a:lnTo>
                      <a:pt x="190" y="190"/>
                    </a:lnTo>
                    <a:lnTo>
                      <a:pt x="190" y="188"/>
                    </a:lnTo>
                    <a:lnTo>
                      <a:pt x="190" y="188"/>
                    </a:lnTo>
                    <a:lnTo>
                      <a:pt x="190" y="187"/>
                    </a:lnTo>
                    <a:lnTo>
                      <a:pt x="190" y="185"/>
                    </a:lnTo>
                    <a:lnTo>
                      <a:pt x="190" y="185"/>
                    </a:lnTo>
                    <a:lnTo>
                      <a:pt x="190" y="185"/>
                    </a:lnTo>
                    <a:lnTo>
                      <a:pt x="191" y="185"/>
                    </a:lnTo>
                    <a:lnTo>
                      <a:pt x="193" y="187"/>
                    </a:lnTo>
                    <a:lnTo>
                      <a:pt x="193" y="188"/>
                    </a:lnTo>
                    <a:lnTo>
                      <a:pt x="194" y="188"/>
                    </a:lnTo>
                    <a:lnTo>
                      <a:pt x="194" y="188"/>
                    </a:lnTo>
                    <a:lnTo>
                      <a:pt x="194" y="188"/>
                    </a:lnTo>
                    <a:lnTo>
                      <a:pt x="196" y="188"/>
                    </a:lnTo>
                    <a:lnTo>
                      <a:pt x="197" y="188"/>
                    </a:lnTo>
                    <a:lnTo>
                      <a:pt x="199" y="185"/>
                    </a:lnTo>
                    <a:lnTo>
                      <a:pt x="200" y="183"/>
                    </a:lnTo>
                    <a:lnTo>
                      <a:pt x="200" y="183"/>
                    </a:lnTo>
                    <a:lnTo>
                      <a:pt x="200" y="183"/>
                    </a:lnTo>
                    <a:lnTo>
                      <a:pt x="202" y="182"/>
                    </a:lnTo>
                    <a:lnTo>
                      <a:pt x="202" y="182"/>
                    </a:lnTo>
                    <a:lnTo>
                      <a:pt x="204" y="182"/>
                    </a:lnTo>
                    <a:lnTo>
                      <a:pt x="204" y="182"/>
                    </a:lnTo>
                    <a:lnTo>
                      <a:pt x="204" y="182"/>
                    </a:lnTo>
                    <a:lnTo>
                      <a:pt x="205" y="182"/>
                    </a:lnTo>
                    <a:lnTo>
                      <a:pt x="205" y="183"/>
                    </a:lnTo>
                    <a:lnTo>
                      <a:pt x="207" y="187"/>
                    </a:lnTo>
                    <a:lnTo>
                      <a:pt x="208" y="190"/>
                    </a:lnTo>
                    <a:lnTo>
                      <a:pt x="210" y="191"/>
                    </a:lnTo>
                    <a:lnTo>
                      <a:pt x="210" y="194"/>
                    </a:lnTo>
                    <a:lnTo>
                      <a:pt x="210" y="198"/>
                    </a:lnTo>
                    <a:lnTo>
                      <a:pt x="210" y="198"/>
                    </a:lnTo>
                    <a:lnTo>
                      <a:pt x="210" y="198"/>
                    </a:lnTo>
                    <a:lnTo>
                      <a:pt x="210" y="199"/>
                    </a:lnTo>
                    <a:lnTo>
                      <a:pt x="213" y="198"/>
                    </a:lnTo>
                    <a:lnTo>
                      <a:pt x="213" y="198"/>
                    </a:lnTo>
                    <a:lnTo>
                      <a:pt x="213" y="198"/>
                    </a:lnTo>
                    <a:lnTo>
                      <a:pt x="213" y="19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1" name="Freeform 48">
                <a:extLst>
                  <a:ext uri="{FF2B5EF4-FFF2-40B4-BE49-F238E27FC236}">
                    <a16:creationId xmlns:a16="http://schemas.microsoft.com/office/drawing/2014/main" id="{40B4F04A-00E8-37C7-D75D-856D313E0A54}"/>
                  </a:ext>
                </a:extLst>
              </p:cNvPr>
              <p:cNvSpPr>
                <a:spLocks/>
              </p:cNvSpPr>
              <p:nvPr/>
            </p:nvSpPr>
            <p:spPr bwMode="gray">
              <a:xfrm>
                <a:off x="1166" y="1380"/>
                <a:ext cx="60" cy="55"/>
              </a:xfrm>
              <a:custGeom>
                <a:avLst/>
                <a:gdLst>
                  <a:gd name="T0" fmla="*/ 41 w 60"/>
                  <a:gd name="T1" fmla="*/ 7 h 55"/>
                  <a:gd name="T2" fmla="*/ 46 w 60"/>
                  <a:gd name="T3" fmla="*/ 16 h 55"/>
                  <a:gd name="T4" fmla="*/ 55 w 60"/>
                  <a:gd name="T5" fmla="*/ 25 h 55"/>
                  <a:gd name="T6" fmla="*/ 58 w 60"/>
                  <a:gd name="T7" fmla="*/ 28 h 55"/>
                  <a:gd name="T8" fmla="*/ 60 w 60"/>
                  <a:gd name="T9" fmla="*/ 30 h 55"/>
                  <a:gd name="T10" fmla="*/ 57 w 60"/>
                  <a:gd name="T11" fmla="*/ 30 h 55"/>
                  <a:gd name="T12" fmla="*/ 55 w 60"/>
                  <a:gd name="T13" fmla="*/ 30 h 55"/>
                  <a:gd name="T14" fmla="*/ 54 w 60"/>
                  <a:gd name="T15" fmla="*/ 32 h 55"/>
                  <a:gd name="T16" fmla="*/ 54 w 60"/>
                  <a:gd name="T17" fmla="*/ 38 h 55"/>
                  <a:gd name="T18" fmla="*/ 57 w 60"/>
                  <a:gd name="T19" fmla="*/ 41 h 55"/>
                  <a:gd name="T20" fmla="*/ 54 w 60"/>
                  <a:gd name="T21" fmla="*/ 43 h 55"/>
                  <a:gd name="T22" fmla="*/ 55 w 60"/>
                  <a:gd name="T23" fmla="*/ 47 h 55"/>
                  <a:gd name="T24" fmla="*/ 52 w 60"/>
                  <a:gd name="T25" fmla="*/ 50 h 55"/>
                  <a:gd name="T26" fmla="*/ 54 w 60"/>
                  <a:gd name="T27" fmla="*/ 52 h 55"/>
                  <a:gd name="T28" fmla="*/ 54 w 60"/>
                  <a:gd name="T29" fmla="*/ 55 h 55"/>
                  <a:gd name="T30" fmla="*/ 50 w 60"/>
                  <a:gd name="T31" fmla="*/ 50 h 55"/>
                  <a:gd name="T32" fmla="*/ 47 w 60"/>
                  <a:gd name="T33" fmla="*/ 46 h 55"/>
                  <a:gd name="T34" fmla="*/ 44 w 60"/>
                  <a:gd name="T35" fmla="*/ 46 h 55"/>
                  <a:gd name="T36" fmla="*/ 47 w 60"/>
                  <a:gd name="T37" fmla="*/ 50 h 55"/>
                  <a:gd name="T38" fmla="*/ 43 w 60"/>
                  <a:gd name="T39" fmla="*/ 49 h 55"/>
                  <a:gd name="T40" fmla="*/ 41 w 60"/>
                  <a:gd name="T41" fmla="*/ 44 h 55"/>
                  <a:gd name="T42" fmla="*/ 41 w 60"/>
                  <a:gd name="T43" fmla="*/ 39 h 55"/>
                  <a:gd name="T44" fmla="*/ 32 w 60"/>
                  <a:gd name="T45" fmla="*/ 33 h 55"/>
                  <a:gd name="T46" fmla="*/ 24 w 60"/>
                  <a:gd name="T47" fmla="*/ 28 h 55"/>
                  <a:gd name="T48" fmla="*/ 24 w 60"/>
                  <a:gd name="T49" fmla="*/ 25 h 55"/>
                  <a:gd name="T50" fmla="*/ 13 w 60"/>
                  <a:gd name="T51" fmla="*/ 17 h 55"/>
                  <a:gd name="T52" fmla="*/ 13 w 60"/>
                  <a:gd name="T53" fmla="*/ 19 h 55"/>
                  <a:gd name="T54" fmla="*/ 19 w 60"/>
                  <a:gd name="T55" fmla="*/ 24 h 55"/>
                  <a:gd name="T56" fmla="*/ 16 w 60"/>
                  <a:gd name="T57" fmla="*/ 27 h 55"/>
                  <a:gd name="T58" fmla="*/ 14 w 60"/>
                  <a:gd name="T59" fmla="*/ 28 h 55"/>
                  <a:gd name="T60" fmla="*/ 5 w 60"/>
                  <a:gd name="T61" fmla="*/ 22 h 55"/>
                  <a:gd name="T62" fmla="*/ 2 w 60"/>
                  <a:gd name="T63" fmla="*/ 14 h 55"/>
                  <a:gd name="T64" fmla="*/ 5 w 60"/>
                  <a:gd name="T65" fmla="*/ 10 h 55"/>
                  <a:gd name="T66" fmla="*/ 2 w 60"/>
                  <a:gd name="T67" fmla="*/ 7 h 55"/>
                  <a:gd name="T68" fmla="*/ 4 w 60"/>
                  <a:gd name="T69" fmla="*/ 3 h 55"/>
                  <a:gd name="T70" fmla="*/ 4 w 60"/>
                  <a:gd name="T71" fmla="*/ 2 h 55"/>
                  <a:gd name="T72" fmla="*/ 5 w 60"/>
                  <a:gd name="T73" fmla="*/ 2 h 55"/>
                  <a:gd name="T74" fmla="*/ 8 w 60"/>
                  <a:gd name="T75" fmla="*/ 0 h 55"/>
                  <a:gd name="T76" fmla="*/ 19 w 60"/>
                  <a:gd name="T77" fmla="*/ 5 h 55"/>
                  <a:gd name="T78" fmla="*/ 24 w 60"/>
                  <a:gd name="T79" fmla="*/ 3 h 55"/>
                  <a:gd name="T80" fmla="*/ 29 w 60"/>
                  <a:gd name="T81" fmla="*/ 3 h 55"/>
                  <a:gd name="T82" fmla="*/ 32 w 60"/>
                  <a:gd name="T83" fmla="*/ 8 h 55"/>
                  <a:gd name="T84" fmla="*/ 36 w 60"/>
                  <a:gd name="T85" fmla="*/ 8 h 55"/>
                  <a:gd name="T86" fmla="*/ 41 w 60"/>
                  <a:gd name="T87"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55">
                    <a:moveTo>
                      <a:pt x="41" y="5"/>
                    </a:moveTo>
                    <a:lnTo>
                      <a:pt x="41" y="7"/>
                    </a:lnTo>
                    <a:lnTo>
                      <a:pt x="41" y="7"/>
                    </a:lnTo>
                    <a:lnTo>
                      <a:pt x="43" y="8"/>
                    </a:lnTo>
                    <a:lnTo>
                      <a:pt x="44" y="13"/>
                    </a:lnTo>
                    <a:lnTo>
                      <a:pt x="46" y="16"/>
                    </a:lnTo>
                    <a:lnTo>
                      <a:pt x="50" y="21"/>
                    </a:lnTo>
                    <a:lnTo>
                      <a:pt x="52" y="22"/>
                    </a:lnTo>
                    <a:lnTo>
                      <a:pt x="55" y="25"/>
                    </a:lnTo>
                    <a:lnTo>
                      <a:pt x="55" y="27"/>
                    </a:lnTo>
                    <a:lnTo>
                      <a:pt x="57" y="27"/>
                    </a:lnTo>
                    <a:lnTo>
                      <a:pt x="58" y="28"/>
                    </a:lnTo>
                    <a:lnTo>
                      <a:pt x="60" y="28"/>
                    </a:lnTo>
                    <a:lnTo>
                      <a:pt x="60" y="30"/>
                    </a:lnTo>
                    <a:lnTo>
                      <a:pt x="60" y="30"/>
                    </a:lnTo>
                    <a:lnTo>
                      <a:pt x="58" y="30"/>
                    </a:lnTo>
                    <a:lnTo>
                      <a:pt x="58" y="30"/>
                    </a:lnTo>
                    <a:lnTo>
                      <a:pt x="57" y="30"/>
                    </a:lnTo>
                    <a:lnTo>
                      <a:pt x="55" y="28"/>
                    </a:lnTo>
                    <a:lnTo>
                      <a:pt x="55" y="28"/>
                    </a:lnTo>
                    <a:lnTo>
                      <a:pt x="55" y="30"/>
                    </a:lnTo>
                    <a:lnTo>
                      <a:pt x="54" y="30"/>
                    </a:lnTo>
                    <a:lnTo>
                      <a:pt x="54" y="32"/>
                    </a:lnTo>
                    <a:lnTo>
                      <a:pt x="54" y="32"/>
                    </a:lnTo>
                    <a:lnTo>
                      <a:pt x="54" y="35"/>
                    </a:lnTo>
                    <a:lnTo>
                      <a:pt x="54" y="38"/>
                    </a:lnTo>
                    <a:lnTo>
                      <a:pt x="54" y="38"/>
                    </a:lnTo>
                    <a:lnTo>
                      <a:pt x="55" y="39"/>
                    </a:lnTo>
                    <a:lnTo>
                      <a:pt x="57" y="39"/>
                    </a:lnTo>
                    <a:lnTo>
                      <a:pt x="57" y="41"/>
                    </a:lnTo>
                    <a:lnTo>
                      <a:pt x="57" y="41"/>
                    </a:lnTo>
                    <a:lnTo>
                      <a:pt x="55" y="43"/>
                    </a:lnTo>
                    <a:lnTo>
                      <a:pt x="54" y="43"/>
                    </a:lnTo>
                    <a:lnTo>
                      <a:pt x="54" y="44"/>
                    </a:lnTo>
                    <a:lnTo>
                      <a:pt x="55" y="46"/>
                    </a:lnTo>
                    <a:lnTo>
                      <a:pt x="55" y="47"/>
                    </a:lnTo>
                    <a:lnTo>
                      <a:pt x="55" y="49"/>
                    </a:lnTo>
                    <a:lnTo>
                      <a:pt x="55" y="49"/>
                    </a:lnTo>
                    <a:lnTo>
                      <a:pt x="52" y="50"/>
                    </a:lnTo>
                    <a:lnTo>
                      <a:pt x="52" y="50"/>
                    </a:lnTo>
                    <a:lnTo>
                      <a:pt x="52" y="52"/>
                    </a:lnTo>
                    <a:lnTo>
                      <a:pt x="54" y="52"/>
                    </a:lnTo>
                    <a:lnTo>
                      <a:pt x="54" y="53"/>
                    </a:lnTo>
                    <a:lnTo>
                      <a:pt x="54" y="55"/>
                    </a:lnTo>
                    <a:lnTo>
                      <a:pt x="54" y="55"/>
                    </a:lnTo>
                    <a:lnTo>
                      <a:pt x="54" y="53"/>
                    </a:lnTo>
                    <a:lnTo>
                      <a:pt x="52" y="52"/>
                    </a:lnTo>
                    <a:lnTo>
                      <a:pt x="50" y="50"/>
                    </a:lnTo>
                    <a:lnTo>
                      <a:pt x="50" y="47"/>
                    </a:lnTo>
                    <a:lnTo>
                      <a:pt x="49" y="47"/>
                    </a:lnTo>
                    <a:lnTo>
                      <a:pt x="47" y="46"/>
                    </a:lnTo>
                    <a:lnTo>
                      <a:pt x="46" y="44"/>
                    </a:lnTo>
                    <a:lnTo>
                      <a:pt x="44" y="44"/>
                    </a:lnTo>
                    <a:lnTo>
                      <a:pt x="44" y="46"/>
                    </a:lnTo>
                    <a:lnTo>
                      <a:pt x="47" y="47"/>
                    </a:lnTo>
                    <a:lnTo>
                      <a:pt x="47" y="49"/>
                    </a:lnTo>
                    <a:lnTo>
                      <a:pt x="47" y="50"/>
                    </a:lnTo>
                    <a:lnTo>
                      <a:pt x="46" y="50"/>
                    </a:lnTo>
                    <a:lnTo>
                      <a:pt x="44" y="49"/>
                    </a:lnTo>
                    <a:lnTo>
                      <a:pt x="43" y="49"/>
                    </a:lnTo>
                    <a:lnTo>
                      <a:pt x="41" y="49"/>
                    </a:lnTo>
                    <a:lnTo>
                      <a:pt x="39" y="46"/>
                    </a:lnTo>
                    <a:lnTo>
                      <a:pt x="41" y="44"/>
                    </a:lnTo>
                    <a:lnTo>
                      <a:pt x="41" y="43"/>
                    </a:lnTo>
                    <a:lnTo>
                      <a:pt x="41" y="39"/>
                    </a:lnTo>
                    <a:lnTo>
                      <a:pt x="41" y="39"/>
                    </a:lnTo>
                    <a:lnTo>
                      <a:pt x="39" y="36"/>
                    </a:lnTo>
                    <a:lnTo>
                      <a:pt x="36" y="35"/>
                    </a:lnTo>
                    <a:lnTo>
                      <a:pt x="32" y="33"/>
                    </a:lnTo>
                    <a:lnTo>
                      <a:pt x="30" y="32"/>
                    </a:lnTo>
                    <a:lnTo>
                      <a:pt x="25" y="30"/>
                    </a:lnTo>
                    <a:lnTo>
                      <a:pt x="24" y="28"/>
                    </a:lnTo>
                    <a:lnTo>
                      <a:pt x="22" y="28"/>
                    </a:lnTo>
                    <a:lnTo>
                      <a:pt x="22" y="27"/>
                    </a:lnTo>
                    <a:lnTo>
                      <a:pt x="24" y="25"/>
                    </a:lnTo>
                    <a:lnTo>
                      <a:pt x="22" y="24"/>
                    </a:lnTo>
                    <a:lnTo>
                      <a:pt x="16" y="19"/>
                    </a:lnTo>
                    <a:lnTo>
                      <a:pt x="13" y="17"/>
                    </a:lnTo>
                    <a:lnTo>
                      <a:pt x="13" y="17"/>
                    </a:lnTo>
                    <a:lnTo>
                      <a:pt x="13" y="17"/>
                    </a:lnTo>
                    <a:lnTo>
                      <a:pt x="13" y="19"/>
                    </a:lnTo>
                    <a:lnTo>
                      <a:pt x="14" y="21"/>
                    </a:lnTo>
                    <a:lnTo>
                      <a:pt x="18" y="22"/>
                    </a:lnTo>
                    <a:lnTo>
                      <a:pt x="19" y="24"/>
                    </a:lnTo>
                    <a:lnTo>
                      <a:pt x="19" y="25"/>
                    </a:lnTo>
                    <a:lnTo>
                      <a:pt x="18" y="27"/>
                    </a:lnTo>
                    <a:lnTo>
                      <a:pt x="16" y="27"/>
                    </a:lnTo>
                    <a:lnTo>
                      <a:pt x="16" y="28"/>
                    </a:lnTo>
                    <a:lnTo>
                      <a:pt x="14" y="28"/>
                    </a:lnTo>
                    <a:lnTo>
                      <a:pt x="14" y="28"/>
                    </a:lnTo>
                    <a:lnTo>
                      <a:pt x="11" y="25"/>
                    </a:lnTo>
                    <a:lnTo>
                      <a:pt x="7" y="24"/>
                    </a:lnTo>
                    <a:lnTo>
                      <a:pt x="5" y="22"/>
                    </a:lnTo>
                    <a:lnTo>
                      <a:pt x="4" y="19"/>
                    </a:lnTo>
                    <a:lnTo>
                      <a:pt x="2" y="16"/>
                    </a:lnTo>
                    <a:lnTo>
                      <a:pt x="2" y="14"/>
                    </a:lnTo>
                    <a:lnTo>
                      <a:pt x="5" y="11"/>
                    </a:lnTo>
                    <a:lnTo>
                      <a:pt x="5" y="10"/>
                    </a:lnTo>
                    <a:lnTo>
                      <a:pt x="5" y="10"/>
                    </a:lnTo>
                    <a:lnTo>
                      <a:pt x="5" y="8"/>
                    </a:lnTo>
                    <a:lnTo>
                      <a:pt x="5" y="8"/>
                    </a:lnTo>
                    <a:lnTo>
                      <a:pt x="2" y="7"/>
                    </a:lnTo>
                    <a:lnTo>
                      <a:pt x="0" y="5"/>
                    </a:lnTo>
                    <a:lnTo>
                      <a:pt x="2" y="5"/>
                    </a:lnTo>
                    <a:lnTo>
                      <a:pt x="4" y="3"/>
                    </a:lnTo>
                    <a:lnTo>
                      <a:pt x="4" y="3"/>
                    </a:lnTo>
                    <a:lnTo>
                      <a:pt x="4" y="3"/>
                    </a:lnTo>
                    <a:lnTo>
                      <a:pt x="4" y="2"/>
                    </a:lnTo>
                    <a:lnTo>
                      <a:pt x="5" y="2"/>
                    </a:lnTo>
                    <a:lnTo>
                      <a:pt x="5" y="2"/>
                    </a:lnTo>
                    <a:lnTo>
                      <a:pt x="5" y="2"/>
                    </a:lnTo>
                    <a:lnTo>
                      <a:pt x="7" y="0"/>
                    </a:lnTo>
                    <a:lnTo>
                      <a:pt x="7" y="0"/>
                    </a:lnTo>
                    <a:lnTo>
                      <a:pt x="8" y="0"/>
                    </a:lnTo>
                    <a:lnTo>
                      <a:pt x="10" y="2"/>
                    </a:lnTo>
                    <a:lnTo>
                      <a:pt x="14" y="3"/>
                    </a:lnTo>
                    <a:lnTo>
                      <a:pt x="19" y="5"/>
                    </a:lnTo>
                    <a:lnTo>
                      <a:pt x="21" y="3"/>
                    </a:lnTo>
                    <a:lnTo>
                      <a:pt x="22" y="3"/>
                    </a:lnTo>
                    <a:lnTo>
                      <a:pt x="24" y="3"/>
                    </a:lnTo>
                    <a:lnTo>
                      <a:pt x="25" y="3"/>
                    </a:lnTo>
                    <a:lnTo>
                      <a:pt x="27" y="5"/>
                    </a:lnTo>
                    <a:lnTo>
                      <a:pt x="29" y="3"/>
                    </a:lnTo>
                    <a:lnTo>
                      <a:pt x="30" y="5"/>
                    </a:lnTo>
                    <a:lnTo>
                      <a:pt x="32" y="7"/>
                    </a:lnTo>
                    <a:lnTo>
                      <a:pt x="32" y="8"/>
                    </a:lnTo>
                    <a:lnTo>
                      <a:pt x="32" y="8"/>
                    </a:lnTo>
                    <a:lnTo>
                      <a:pt x="33" y="8"/>
                    </a:lnTo>
                    <a:lnTo>
                      <a:pt x="36" y="8"/>
                    </a:lnTo>
                    <a:lnTo>
                      <a:pt x="38" y="8"/>
                    </a:lnTo>
                    <a:lnTo>
                      <a:pt x="39" y="8"/>
                    </a:lnTo>
                    <a:lnTo>
                      <a:pt x="41" y="7"/>
                    </a:lnTo>
                    <a:lnTo>
                      <a:pt x="41"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2" name="Freeform 49">
                <a:extLst>
                  <a:ext uri="{FF2B5EF4-FFF2-40B4-BE49-F238E27FC236}">
                    <a16:creationId xmlns:a16="http://schemas.microsoft.com/office/drawing/2014/main" id="{313A3396-CB33-0D95-00D8-CF6638B2C81C}"/>
                  </a:ext>
                </a:extLst>
              </p:cNvPr>
              <p:cNvSpPr>
                <a:spLocks noEditPoints="1"/>
              </p:cNvSpPr>
              <p:nvPr/>
            </p:nvSpPr>
            <p:spPr bwMode="gray">
              <a:xfrm>
                <a:off x="1185" y="1161"/>
                <a:ext cx="189" cy="63"/>
              </a:xfrm>
              <a:custGeom>
                <a:avLst/>
                <a:gdLst>
                  <a:gd name="T0" fmla="*/ 38 w 189"/>
                  <a:gd name="T1" fmla="*/ 24 h 63"/>
                  <a:gd name="T2" fmla="*/ 33 w 189"/>
                  <a:gd name="T3" fmla="*/ 30 h 63"/>
                  <a:gd name="T4" fmla="*/ 30 w 189"/>
                  <a:gd name="T5" fmla="*/ 31 h 63"/>
                  <a:gd name="T6" fmla="*/ 41 w 189"/>
                  <a:gd name="T7" fmla="*/ 30 h 63"/>
                  <a:gd name="T8" fmla="*/ 122 w 189"/>
                  <a:gd name="T9" fmla="*/ 22 h 63"/>
                  <a:gd name="T10" fmla="*/ 127 w 189"/>
                  <a:gd name="T11" fmla="*/ 24 h 63"/>
                  <a:gd name="T12" fmla="*/ 122 w 189"/>
                  <a:gd name="T13" fmla="*/ 17 h 63"/>
                  <a:gd name="T14" fmla="*/ 121 w 189"/>
                  <a:gd name="T15" fmla="*/ 19 h 63"/>
                  <a:gd name="T16" fmla="*/ 122 w 189"/>
                  <a:gd name="T17" fmla="*/ 19 h 63"/>
                  <a:gd name="T18" fmla="*/ 116 w 189"/>
                  <a:gd name="T19" fmla="*/ 14 h 63"/>
                  <a:gd name="T20" fmla="*/ 121 w 189"/>
                  <a:gd name="T21" fmla="*/ 17 h 63"/>
                  <a:gd name="T22" fmla="*/ 113 w 189"/>
                  <a:gd name="T23" fmla="*/ 11 h 63"/>
                  <a:gd name="T24" fmla="*/ 110 w 189"/>
                  <a:gd name="T25" fmla="*/ 13 h 63"/>
                  <a:gd name="T26" fmla="*/ 116 w 189"/>
                  <a:gd name="T27" fmla="*/ 14 h 63"/>
                  <a:gd name="T28" fmla="*/ 92 w 189"/>
                  <a:gd name="T29" fmla="*/ 8 h 63"/>
                  <a:gd name="T30" fmla="*/ 188 w 189"/>
                  <a:gd name="T31" fmla="*/ 53 h 63"/>
                  <a:gd name="T32" fmla="*/ 182 w 189"/>
                  <a:gd name="T33" fmla="*/ 52 h 63"/>
                  <a:gd name="T34" fmla="*/ 169 w 189"/>
                  <a:gd name="T35" fmla="*/ 46 h 63"/>
                  <a:gd name="T36" fmla="*/ 160 w 189"/>
                  <a:gd name="T37" fmla="*/ 46 h 63"/>
                  <a:gd name="T38" fmla="*/ 163 w 189"/>
                  <a:gd name="T39" fmla="*/ 42 h 63"/>
                  <a:gd name="T40" fmla="*/ 155 w 189"/>
                  <a:gd name="T41" fmla="*/ 38 h 63"/>
                  <a:gd name="T42" fmla="*/ 144 w 189"/>
                  <a:gd name="T43" fmla="*/ 35 h 63"/>
                  <a:gd name="T44" fmla="*/ 141 w 189"/>
                  <a:gd name="T45" fmla="*/ 33 h 63"/>
                  <a:gd name="T46" fmla="*/ 135 w 189"/>
                  <a:gd name="T47" fmla="*/ 31 h 63"/>
                  <a:gd name="T48" fmla="*/ 136 w 189"/>
                  <a:gd name="T49" fmla="*/ 28 h 63"/>
                  <a:gd name="T50" fmla="*/ 128 w 189"/>
                  <a:gd name="T51" fmla="*/ 24 h 63"/>
                  <a:gd name="T52" fmla="*/ 127 w 189"/>
                  <a:gd name="T53" fmla="*/ 25 h 63"/>
                  <a:gd name="T54" fmla="*/ 108 w 189"/>
                  <a:gd name="T55" fmla="*/ 16 h 63"/>
                  <a:gd name="T56" fmla="*/ 99 w 189"/>
                  <a:gd name="T57" fmla="*/ 14 h 63"/>
                  <a:gd name="T58" fmla="*/ 88 w 189"/>
                  <a:gd name="T59" fmla="*/ 6 h 63"/>
                  <a:gd name="T60" fmla="*/ 83 w 189"/>
                  <a:gd name="T61" fmla="*/ 5 h 63"/>
                  <a:gd name="T62" fmla="*/ 75 w 189"/>
                  <a:gd name="T63" fmla="*/ 2 h 63"/>
                  <a:gd name="T64" fmla="*/ 63 w 189"/>
                  <a:gd name="T65" fmla="*/ 0 h 63"/>
                  <a:gd name="T66" fmla="*/ 49 w 189"/>
                  <a:gd name="T67" fmla="*/ 0 h 63"/>
                  <a:gd name="T68" fmla="*/ 28 w 189"/>
                  <a:gd name="T69" fmla="*/ 3 h 63"/>
                  <a:gd name="T70" fmla="*/ 8 w 189"/>
                  <a:gd name="T71" fmla="*/ 17 h 63"/>
                  <a:gd name="T72" fmla="*/ 6 w 189"/>
                  <a:gd name="T73" fmla="*/ 22 h 63"/>
                  <a:gd name="T74" fmla="*/ 3 w 189"/>
                  <a:gd name="T75" fmla="*/ 24 h 63"/>
                  <a:gd name="T76" fmla="*/ 6 w 189"/>
                  <a:gd name="T77" fmla="*/ 27 h 63"/>
                  <a:gd name="T78" fmla="*/ 16 w 189"/>
                  <a:gd name="T79" fmla="*/ 22 h 63"/>
                  <a:gd name="T80" fmla="*/ 22 w 189"/>
                  <a:gd name="T81" fmla="*/ 19 h 63"/>
                  <a:gd name="T82" fmla="*/ 28 w 189"/>
                  <a:gd name="T83" fmla="*/ 16 h 63"/>
                  <a:gd name="T84" fmla="*/ 36 w 189"/>
                  <a:gd name="T85" fmla="*/ 11 h 63"/>
                  <a:gd name="T86" fmla="*/ 55 w 189"/>
                  <a:gd name="T87" fmla="*/ 10 h 63"/>
                  <a:gd name="T88" fmla="*/ 55 w 189"/>
                  <a:gd name="T89" fmla="*/ 13 h 63"/>
                  <a:gd name="T90" fmla="*/ 53 w 189"/>
                  <a:gd name="T91" fmla="*/ 19 h 63"/>
                  <a:gd name="T92" fmla="*/ 64 w 189"/>
                  <a:gd name="T93" fmla="*/ 19 h 63"/>
                  <a:gd name="T94" fmla="*/ 67 w 189"/>
                  <a:gd name="T95" fmla="*/ 21 h 63"/>
                  <a:gd name="T96" fmla="*/ 78 w 189"/>
                  <a:gd name="T97" fmla="*/ 22 h 63"/>
                  <a:gd name="T98" fmla="*/ 97 w 189"/>
                  <a:gd name="T99" fmla="*/ 30 h 63"/>
                  <a:gd name="T100" fmla="*/ 110 w 189"/>
                  <a:gd name="T101" fmla="*/ 31 h 63"/>
                  <a:gd name="T102" fmla="*/ 114 w 189"/>
                  <a:gd name="T103" fmla="*/ 41 h 63"/>
                  <a:gd name="T104" fmla="*/ 128 w 189"/>
                  <a:gd name="T105" fmla="*/ 47 h 63"/>
                  <a:gd name="T106" fmla="*/ 135 w 189"/>
                  <a:gd name="T107" fmla="*/ 49 h 63"/>
                  <a:gd name="T108" fmla="*/ 135 w 189"/>
                  <a:gd name="T109" fmla="*/ 53 h 63"/>
                  <a:gd name="T110" fmla="*/ 138 w 189"/>
                  <a:gd name="T111" fmla="*/ 61 h 63"/>
                  <a:gd name="T112" fmla="*/ 153 w 189"/>
                  <a:gd name="T113" fmla="*/ 60 h 63"/>
                  <a:gd name="T114" fmla="*/ 169 w 189"/>
                  <a:gd name="T115" fmla="*/ 61 h 63"/>
                  <a:gd name="T116" fmla="*/ 172 w 189"/>
                  <a:gd name="T117" fmla="*/ 61 h 63"/>
                  <a:gd name="T118" fmla="*/ 183 w 189"/>
                  <a:gd name="T119" fmla="*/ 58 h 63"/>
                  <a:gd name="T120" fmla="*/ 188 w 189"/>
                  <a:gd name="T121"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9" h="63">
                    <a:moveTo>
                      <a:pt x="41" y="30"/>
                    </a:moveTo>
                    <a:lnTo>
                      <a:pt x="39" y="27"/>
                    </a:lnTo>
                    <a:lnTo>
                      <a:pt x="39" y="25"/>
                    </a:lnTo>
                    <a:lnTo>
                      <a:pt x="38" y="24"/>
                    </a:lnTo>
                    <a:lnTo>
                      <a:pt x="38" y="24"/>
                    </a:lnTo>
                    <a:lnTo>
                      <a:pt x="33" y="24"/>
                    </a:lnTo>
                    <a:lnTo>
                      <a:pt x="31" y="25"/>
                    </a:lnTo>
                    <a:lnTo>
                      <a:pt x="31" y="27"/>
                    </a:lnTo>
                    <a:lnTo>
                      <a:pt x="33" y="30"/>
                    </a:lnTo>
                    <a:lnTo>
                      <a:pt x="33" y="30"/>
                    </a:lnTo>
                    <a:lnTo>
                      <a:pt x="31" y="30"/>
                    </a:lnTo>
                    <a:lnTo>
                      <a:pt x="31" y="30"/>
                    </a:lnTo>
                    <a:lnTo>
                      <a:pt x="30" y="30"/>
                    </a:lnTo>
                    <a:lnTo>
                      <a:pt x="30" y="30"/>
                    </a:lnTo>
                    <a:lnTo>
                      <a:pt x="30" y="31"/>
                    </a:lnTo>
                    <a:lnTo>
                      <a:pt x="31" y="31"/>
                    </a:lnTo>
                    <a:lnTo>
                      <a:pt x="33" y="33"/>
                    </a:lnTo>
                    <a:lnTo>
                      <a:pt x="36" y="33"/>
                    </a:lnTo>
                    <a:lnTo>
                      <a:pt x="39" y="31"/>
                    </a:lnTo>
                    <a:lnTo>
                      <a:pt x="41" y="30"/>
                    </a:lnTo>
                    <a:lnTo>
                      <a:pt x="41" y="30"/>
                    </a:lnTo>
                    <a:close/>
                    <a:moveTo>
                      <a:pt x="125" y="21"/>
                    </a:moveTo>
                    <a:lnTo>
                      <a:pt x="124" y="21"/>
                    </a:lnTo>
                    <a:lnTo>
                      <a:pt x="122" y="21"/>
                    </a:lnTo>
                    <a:lnTo>
                      <a:pt x="122" y="22"/>
                    </a:lnTo>
                    <a:lnTo>
                      <a:pt x="124" y="22"/>
                    </a:lnTo>
                    <a:lnTo>
                      <a:pt x="125" y="22"/>
                    </a:lnTo>
                    <a:lnTo>
                      <a:pt x="125" y="22"/>
                    </a:lnTo>
                    <a:lnTo>
                      <a:pt x="125" y="24"/>
                    </a:lnTo>
                    <a:lnTo>
                      <a:pt x="127" y="24"/>
                    </a:lnTo>
                    <a:lnTo>
                      <a:pt x="127" y="22"/>
                    </a:lnTo>
                    <a:lnTo>
                      <a:pt x="127" y="21"/>
                    </a:lnTo>
                    <a:lnTo>
                      <a:pt x="125" y="21"/>
                    </a:lnTo>
                    <a:close/>
                    <a:moveTo>
                      <a:pt x="122" y="19"/>
                    </a:moveTo>
                    <a:lnTo>
                      <a:pt x="122" y="17"/>
                    </a:lnTo>
                    <a:lnTo>
                      <a:pt x="122" y="17"/>
                    </a:lnTo>
                    <a:lnTo>
                      <a:pt x="121" y="16"/>
                    </a:lnTo>
                    <a:lnTo>
                      <a:pt x="121" y="16"/>
                    </a:lnTo>
                    <a:lnTo>
                      <a:pt x="121" y="17"/>
                    </a:lnTo>
                    <a:lnTo>
                      <a:pt x="121" y="19"/>
                    </a:lnTo>
                    <a:lnTo>
                      <a:pt x="121" y="19"/>
                    </a:lnTo>
                    <a:lnTo>
                      <a:pt x="122" y="21"/>
                    </a:lnTo>
                    <a:lnTo>
                      <a:pt x="124" y="19"/>
                    </a:lnTo>
                    <a:lnTo>
                      <a:pt x="124" y="19"/>
                    </a:lnTo>
                    <a:lnTo>
                      <a:pt x="122" y="19"/>
                    </a:lnTo>
                    <a:close/>
                    <a:moveTo>
                      <a:pt x="119" y="16"/>
                    </a:moveTo>
                    <a:lnTo>
                      <a:pt x="119" y="14"/>
                    </a:lnTo>
                    <a:lnTo>
                      <a:pt x="117" y="14"/>
                    </a:lnTo>
                    <a:lnTo>
                      <a:pt x="117" y="14"/>
                    </a:lnTo>
                    <a:lnTo>
                      <a:pt x="116" y="14"/>
                    </a:lnTo>
                    <a:lnTo>
                      <a:pt x="116" y="14"/>
                    </a:lnTo>
                    <a:lnTo>
                      <a:pt x="117" y="14"/>
                    </a:lnTo>
                    <a:lnTo>
                      <a:pt x="117" y="16"/>
                    </a:lnTo>
                    <a:lnTo>
                      <a:pt x="119" y="16"/>
                    </a:lnTo>
                    <a:lnTo>
                      <a:pt x="121" y="17"/>
                    </a:lnTo>
                    <a:lnTo>
                      <a:pt x="121" y="17"/>
                    </a:lnTo>
                    <a:lnTo>
                      <a:pt x="119" y="16"/>
                    </a:lnTo>
                    <a:close/>
                    <a:moveTo>
                      <a:pt x="114" y="13"/>
                    </a:moveTo>
                    <a:lnTo>
                      <a:pt x="114" y="11"/>
                    </a:lnTo>
                    <a:lnTo>
                      <a:pt x="113" y="11"/>
                    </a:lnTo>
                    <a:lnTo>
                      <a:pt x="113" y="13"/>
                    </a:lnTo>
                    <a:lnTo>
                      <a:pt x="110" y="11"/>
                    </a:lnTo>
                    <a:lnTo>
                      <a:pt x="108" y="13"/>
                    </a:lnTo>
                    <a:lnTo>
                      <a:pt x="110" y="13"/>
                    </a:lnTo>
                    <a:lnTo>
                      <a:pt x="110" y="13"/>
                    </a:lnTo>
                    <a:lnTo>
                      <a:pt x="111" y="13"/>
                    </a:lnTo>
                    <a:lnTo>
                      <a:pt x="113" y="13"/>
                    </a:lnTo>
                    <a:lnTo>
                      <a:pt x="114" y="14"/>
                    </a:lnTo>
                    <a:lnTo>
                      <a:pt x="114" y="14"/>
                    </a:lnTo>
                    <a:lnTo>
                      <a:pt x="116" y="14"/>
                    </a:lnTo>
                    <a:lnTo>
                      <a:pt x="114" y="13"/>
                    </a:lnTo>
                    <a:close/>
                    <a:moveTo>
                      <a:pt x="97" y="10"/>
                    </a:moveTo>
                    <a:lnTo>
                      <a:pt x="92" y="6"/>
                    </a:lnTo>
                    <a:lnTo>
                      <a:pt x="92" y="6"/>
                    </a:lnTo>
                    <a:lnTo>
                      <a:pt x="92" y="8"/>
                    </a:lnTo>
                    <a:lnTo>
                      <a:pt x="94" y="8"/>
                    </a:lnTo>
                    <a:lnTo>
                      <a:pt x="97" y="10"/>
                    </a:lnTo>
                    <a:lnTo>
                      <a:pt x="97" y="10"/>
                    </a:lnTo>
                    <a:lnTo>
                      <a:pt x="97" y="10"/>
                    </a:lnTo>
                    <a:close/>
                    <a:moveTo>
                      <a:pt x="188" y="53"/>
                    </a:moveTo>
                    <a:lnTo>
                      <a:pt x="188" y="53"/>
                    </a:lnTo>
                    <a:lnTo>
                      <a:pt x="186" y="53"/>
                    </a:lnTo>
                    <a:lnTo>
                      <a:pt x="186" y="53"/>
                    </a:lnTo>
                    <a:lnTo>
                      <a:pt x="185" y="53"/>
                    </a:lnTo>
                    <a:lnTo>
                      <a:pt x="182" y="52"/>
                    </a:lnTo>
                    <a:lnTo>
                      <a:pt x="180" y="50"/>
                    </a:lnTo>
                    <a:lnTo>
                      <a:pt x="178" y="49"/>
                    </a:lnTo>
                    <a:lnTo>
                      <a:pt x="175" y="47"/>
                    </a:lnTo>
                    <a:lnTo>
                      <a:pt x="174" y="47"/>
                    </a:lnTo>
                    <a:lnTo>
                      <a:pt x="169" y="46"/>
                    </a:lnTo>
                    <a:lnTo>
                      <a:pt x="167" y="47"/>
                    </a:lnTo>
                    <a:lnTo>
                      <a:pt x="164" y="46"/>
                    </a:lnTo>
                    <a:lnTo>
                      <a:pt x="163" y="46"/>
                    </a:lnTo>
                    <a:lnTo>
                      <a:pt x="161" y="46"/>
                    </a:lnTo>
                    <a:lnTo>
                      <a:pt x="160" y="46"/>
                    </a:lnTo>
                    <a:lnTo>
                      <a:pt x="160" y="46"/>
                    </a:lnTo>
                    <a:lnTo>
                      <a:pt x="161" y="44"/>
                    </a:lnTo>
                    <a:lnTo>
                      <a:pt x="163" y="44"/>
                    </a:lnTo>
                    <a:lnTo>
                      <a:pt x="161" y="42"/>
                    </a:lnTo>
                    <a:lnTo>
                      <a:pt x="163" y="42"/>
                    </a:lnTo>
                    <a:lnTo>
                      <a:pt x="163" y="41"/>
                    </a:lnTo>
                    <a:lnTo>
                      <a:pt x="163" y="39"/>
                    </a:lnTo>
                    <a:lnTo>
                      <a:pt x="161" y="39"/>
                    </a:lnTo>
                    <a:lnTo>
                      <a:pt x="158" y="39"/>
                    </a:lnTo>
                    <a:lnTo>
                      <a:pt x="155" y="38"/>
                    </a:lnTo>
                    <a:lnTo>
                      <a:pt x="152" y="36"/>
                    </a:lnTo>
                    <a:lnTo>
                      <a:pt x="149" y="36"/>
                    </a:lnTo>
                    <a:lnTo>
                      <a:pt x="146" y="36"/>
                    </a:lnTo>
                    <a:lnTo>
                      <a:pt x="144" y="36"/>
                    </a:lnTo>
                    <a:lnTo>
                      <a:pt x="144" y="35"/>
                    </a:lnTo>
                    <a:lnTo>
                      <a:pt x="142" y="35"/>
                    </a:lnTo>
                    <a:lnTo>
                      <a:pt x="142" y="35"/>
                    </a:lnTo>
                    <a:lnTo>
                      <a:pt x="141" y="35"/>
                    </a:lnTo>
                    <a:lnTo>
                      <a:pt x="141" y="35"/>
                    </a:lnTo>
                    <a:lnTo>
                      <a:pt x="141" y="33"/>
                    </a:lnTo>
                    <a:lnTo>
                      <a:pt x="139" y="33"/>
                    </a:lnTo>
                    <a:lnTo>
                      <a:pt x="136" y="30"/>
                    </a:lnTo>
                    <a:lnTo>
                      <a:pt x="136" y="31"/>
                    </a:lnTo>
                    <a:lnTo>
                      <a:pt x="135" y="31"/>
                    </a:lnTo>
                    <a:lnTo>
                      <a:pt x="135" y="31"/>
                    </a:lnTo>
                    <a:lnTo>
                      <a:pt x="133" y="31"/>
                    </a:lnTo>
                    <a:lnTo>
                      <a:pt x="131" y="30"/>
                    </a:lnTo>
                    <a:lnTo>
                      <a:pt x="135" y="30"/>
                    </a:lnTo>
                    <a:lnTo>
                      <a:pt x="135" y="30"/>
                    </a:lnTo>
                    <a:lnTo>
                      <a:pt x="136" y="28"/>
                    </a:lnTo>
                    <a:lnTo>
                      <a:pt x="135" y="28"/>
                    </a:lnTo>
                    <a:lnTo>
                      <a:pt x="133" y="27"/>
                    </a:lnTo>
                    <a:lnTo>
                      <a:pt x="133" y="27"/>
                    </a:lnTo>
                    <a:lnTo>
                      <a:pt x="130" y="25"/>
                    </a:lnTo>
                    <a:lnTo>
                      <a:pt x="128" y="24"/>
                    </a:lnTo>
                    <a:lnTo>
                      <a:pt x="128" y="25"/>
                    </a:lnTo>
                    <a:lnTo>
                      <a:pt x="130" y="25"/>
                    </a:lnTo>
                    <a:lnTo>
                      <a:pt x="130" y="27"/>
                    </a:lnTo>
                    <a:lnTo>
                      <a:pt x="128" y="27"/>
                    </a:lnTo>
                    <a:lnTo>
                      <a:pt x="127" y="25"/>
                    </a:lnTo>
                    <a:lnTo>
                      <a:pt x="124" y="24"/>
                    </a:lnTo>
                    <a:lnTo>
                      <a:pt x="121" y="22"/>
                    </a:lnTo>
                    <a:lnTo>
                      <a:pt x="119" y="21"/>
                    </a:lnTo>
                    <a:lnTo>
                      <a:pt x="108" y="16"/>
                    </a:lnTo>
                    <a:lnTo>
                      <a:pt x="108" y="16"/>
                    </a:lnTo>
                    <a:lnTo>
                      <a:pt x="106" y="16"/>
                    </a:lnTo>
                    <a:lnTo>
                      <a:pt x="106" y="14"/>
                    </a:lnTo>
                    <a:lnTo>
                      <a:pt x="105" y="14"/>
                    </a:lnTo>
                    <a:lnTo>
                      <a:pt x="100" y="14"/>
                    </a:lnTo>
                    <a:lnTo>
                      <a:pt x="99" y="14"/>
                    </a:lnTo>
                    <a:lnTo>
                      <a:pt x="97" y="14"/>
                    </a:lnTo>
                    <a:lnTo>
                      <a:pt x="96" y="13"/>
                    </a:lnTo>
                    <a:lnTo>
                      <a:pt x="94" y="11"/>
                    </a:lnTo>
                    <a:lnTo>
                      <a:pt x="91" y="8"/>
                    </a:lnTo>
                    <a:lnTo>
                      <a:pt x="88" y="6"/>
                    </a:lnTo>
                    <a:lnTo>
                      <a:pt x="89" y="5"/>
                    </a:lnTo>
                    <a:lnTo>
                      <a:pt x="88" y="6"/>
                    </a:lnTo>
                    <a:lnTo>
                      <a:pt x="86" y="5"/>
                    </a:lnTo>
                    <a:lnTo>
                      <a:pt x="85" y="5"/>
                    </a:lnTo>
                    <a:lnTo>
                      <a:pt x="83" y="5"/>
                    </a:lnTo>
                    <a:lnTo>
                      <a:pt x="81" y="5"/>
                    </a:lnTo>
                    <a:lnTo>
                      <a:pt x="80" y="5"/>
                    </a:lnTo>
                    <a:lnTo>
                      <a:pt x="78" y="3"/>
                    </a:lnTo>
                    <a:lnTo>
                      <a:pt x="77" y="3"/>
                    </a:lnTo>
                    <a:lnTo>
                      <a:pt x="75" y="2"/>
                    </a:lnTo>
                    <a:lnTo>
                      <a:pt x="74" y="2"/>
                    </a:lnTo>
                    <a:lnTo>
                      <a:pt x="67" y="2"/>
                    </a:lnTo>
                    <a:lnTo>
                      <a:pt x="66" y="2"/>
                    </a:lnTo>
                    <a:lnTo>
                      <a:pt x="64" y="2"/>
                    </a:lnTo>
                    <a:lnTo>
                      <a:pt x="63" y="0"/>
                    </a:lnTo>
                    <a:lnTo>
                      <a:pt x="64" y="0"/>
                    </a:lnTo>
                    <a:lnTo>
                      <a:pt x="61" y="0"/>
                    </a:lnTo>
                    <a:lnTo>
                      <a:pt x="58" y="2"/>
                    </a:lnTo>
                    <a:lnTo>
                      <a:pt x="53" y="0"/>
                    </a:lnTo>
                    <a:lnTo>
                      <a:pt x="49" y="0"/>
                    </a:lnTo>
                    <a:lnTo>
                      <a:pt x="44" y="0"/>
                    </a:lnTo>
                    <a:lnTo>
                      <a:pt x="41" y="2"/>
                    </a:lnTo>
                    <a:lnTo>
                      <a:pt x="39" y="2"/>
                    </a:lnTo>
                    <a:lnTo>
                      <a:pt x="30" y="3"/>
                    </a:lnTo>
                    <a:lnTo>
                      <a:pt x="28" y="3"/>
                    </a:lnTo>
                    <a:lnTo>
                      <a:pt x="14" y="10"/>
                    </a:lnTo>
                    <a:lnTo>
                      <a:pt x="13" y="11"/>
                    </a:lnTo>
                    <a:lnTo>
                      <a:pt x="11" y="13"/>
                    </a:lnTo>
                    <a:lnTo>
                      <a:pt x="10" y="14"/>
                    </a:lnTo>
                    <a:lnTo>
                      <a:pt x="8" y="17"/>
                    </a:lnTo>
                    <a:lnTo>
                      <a:pt x="10" y="21"/>
                    </a:lnTo>
                    <a:lnTo>
                      <a:pt x="10" y="22"/>
                    </a:lnTo>
                    <a:lnTo>
                      <a:pt x="8" y="22"/>
                    </a:lnTo>
                    <a:lnTo>
                      <a:pt x="6" y="22"/>
                    </a:lnTo>
                    <a:lnTo>
                      <a:pt x="6" y="22"/>
                    </a:lnTo>
                    <a:lnTo>
                      <a:pt x="0" y="24"/>
                    </a:lnTo>
                    <a:lnTo>
                      <a:pt x="0" y="25"/>
                    </a:lnTo>
                    <a:lnTo>
                      <a:pt x="0" y="25"/>
                    </a:lnTo>
                    <a:lnTo>
                      <a:pt x="2" y="25"/>
                    </a:lnTo>
                    <a:lnTo>
                      <a:pt x="3" y="24"/>
                    </a:lnTo>
                    <a:lnTo>
                      <a:pt x="5" y="24"/>
                    </a:lnTo>
                    <a:lnTo>
                      <a:pt x="5" y="24"/>
                    </a:lnTo>
                    <a:lnTo>
                      <a:pt x="6" y="24"/>
                    </a:lnTo>
                    <a:lnTo>
                      <a:pt x="6" y="25"/>
                    </a:lnTo>
                    <a:lnTo>
                      <a:pt x="6" y="27"/>
                    </a:lnTo>
                    <a:lnTo>
                      <a:pt x="8" y="27"/>
                    </a:lnTo>
                    <a:lnTo>
                      <a:pt x="11" y="24"/>
                    </a:lnTo>
                    <a:lnTo>
                      <a:pt x="13" y="24"/>
                    </a:lnTo>
                    <a:lnTo>
                      <a:pt x="14" y="24"/>
                    </a:lnTo>
                    <a:lnTo>
                      <a:pt x="16" y="22"/>
                    </a:lnTo>
                    <a:lnTo>
                      <a:pt x="16" y="21"/>
                    </a:lnTo>
                    <a:lnTo>
                      <a:pt x="17" y="19"/>
                    </a:lnTo>
                    <a:lnTo>
                      <a:pt x="17" y="19"/>
                    </a:lnTo>
                    <a:lnTo>
                      <a:pt x="20" y="19"/>
                    </a:lnTo>
                    <a:lnTo>
                      <a:pt x="22" y="19"/>
                    </a:lnTo>
                    <a:lnTo>
                      <a:pt x="22" y="19"/>
                    </a:lnTo>
                    <a:lnTo>
                      <a:pt x="24" y="19"/>
                    </a:lnTo>
                    <a:lnTo>
                      <a:pt x="25" y="19"/>
                    </a:lnTo>
                    <a:lnTo>
                      <a:pt x="27" y="17"/>
                    </a:lnTo>
                    <a:lnTo>
                      <a:pt x="28" y="16"/>
                    </a:lnTo>
                    <a:lnTo>
                      <a:pt x="30" y="16"/>
                    </a:lnTo>
                    <a:lnTo>
                      <a:pt x="30" y="14"/>
                    </a:lnTo>
                    <a:lnTo>
                      <a:pt x="31" y="14"/>
                    </a:lnTo>
                    <a:lnTo>
                      <a:pt x="33" y="13"/>
                    </a:lnTo>
                    <a:lnTo>
                      <a:pt x="36" y="11"/>
                    </a:lnTo>
                    <a:lnTo>
                      <a:pt x="36" y="10"/>
                    </a:lnTo>
                    <a:lnTo>
                      <a:pt x="38" y="10"/>
                    </a:lnTo>
                    <a:lnTo>
                      <a:pt x="52" y="10"/>
                    </a:lnTo>
                    <a:lnTo>
                      <a:pt x="53" y="10"/>
                    </a:lnTo>
                    <a:lnTo>
                      <a:pt x="55" y="10"/>
                    </a:lnTo>
                    <a:lnTo>
                      <a:pt x="55" y="10"/>
                    </a:lnTo>
                    <a:lnTo>
                      <a:pt x="56" y="11"/>
                    </a:lnTo>
                    <a:lnTo>
                      <a:pt x="56" y="13"/>
                    </a:lnTo>
                    <a:lnTo>
                      <a:pt x="55" y="13"/>
                    </a:lnTo>
                    <a:lnTo>
                      <a:pt x="55" y="13"/>
                    </a:lnTo>
                    <a:lnTo>
                      <a:pt x="52" y="14"/>
                    </a:lnTo>
                    <a:lnTo>
                      <a:pt x="49" y="14"/>
                    </a:lnTo>
                    <a:lnTo>
                      <a:pt x="52" y="17"/>
                    </a:lnTo>
                    <a:lnTo>
                      <a:pt x="53" y="17"/>
                    </a:lnTo>
                    <a:lnTo>
                      <a:pt x="53" y="19"/>
                    </a:lnTo>
                    <a:lnTo>
                      <a:pt x="61" y="19"/>
                    </a:lnTo>
                    <a:lnTo>
                      <a:pt x="61" y="21"/>
                    </a:lnTo>
                    <a:lnTo>
                      <a:pt x="63" y="21"/>
                    </a:lnTo>
                    <a:lnTo>
                      <a:pt x="64" y="19"/>
                    </a:lnTo>
                    <a:lnTo>
                      <a:pt x="64" y="19"/>
                    </a:lnTo>
                    <a:lnTo>
                      <a:pt x="64" y="17"/>
                    </a:lnTo>
                    <a:lnTo>
                      <a:pt x="66" y="19"/>
                    </a:lnTo>
                    <a:lnTo>
                      <a:pt x="66" y="19"/>
                    </a:lnTo>
                    <a:lnTo>
                      <a:pt x="67" y="21"/>
                    </a:lnTo>
                    <a:lnTo>
                      <a:pt x="67" y="21"/>
                    </a:lnTo>
                    <a:lnTo>
                      <a:pt x="69" y="21"/>
                    </a:lnTo>
                    <a:lnTo>
                      <a:pt x="77" y="21"/>
                    </a:lnTo>
                    <a:lnTo>
                      <a:pt x="77" y="21"/>
                    </a:lnTo>
                    <a:lnTo>
                      <a:pt x="77" y="21"/>
                    </a:lnTo>
                    <a:lnTo>
                      <a:pt x="78" y="22"/>
                    </a:lnTo>
                    <a:lnTo>
                      <a:pt x="80" y="24"/>
                    </a:lnTo>
                    <a:lnTo>
                      <a:pt x="81" y="25"/>
                    </a:lnTo>
                    <a:lnTo>
                      <a:pt x="83" y="25"/>
                    </a:lnTo>
                    <a:lnTo>
                      <a:pt x="88" y="27"/>
                    </a:lnTo>
                    <a:lnTo>
                      <a:pt x="97" y="30"/>
                    </a:lnTo>
                    <a:lnTo>
                      <a:pt x="99" y="30"/>
                    </a:lnTo>
                    <a:lnTo>
                      <a:pt x="100" y="30"/>
                    </a:lnTo>
                    <a:lnTo>
                      <a:pt x="106" y="30"/>
                    </a:lnTo>
                    <a:lnTo>
                      <a:pt x="108" y="30"/>
                    </a:lnTo>
                    <a:lnTo>
                      <a:pt x="110" y="31"/>
                    </a:lnTo>
                    <a:lnTo>
                      <a:pt x="111" y="33"/>
                    </a:lnTo>
                    <a:lnTo>
                      <a:pt x="111" y="35"/>
                    </a:lnTo>
                    <a:lnTo>
                      <a:pt x="113" y="39"/>
                    </a:lnTo>
                    <a:lnTo>
                      <a:pt x="113" y="41"/>
                    </a:lnTo>
                    <a:lnTo>
                      <a:pt x="114" y="41"/>
                    </a:lnTo>
                    <a:lnTo>
                      <a:pt x="116" y="42"/>
                    </a:lnTo>
                    <a:lnTo>
                      <a:pt x="119" y="46"/>
                    </a:lnTo>
                    <a:lnTo>
                      <a:pt x="121" y="46"/>
                    </a:lnTo>
                    <a:lnTo>
                      <a:pt x="124" y="46"/>
                    </a:lnTo>
                    <a:lnTo>
                      <a:pt x="128" y="47"/>
                    </a:lnTo>
                    <a:lnTo>
                      <a:pt x="130" y="47"/>
                    </a:lnTo>
                    <a:lnTo>
                      <a:pt x="131" y="47"/>
                    </a:lnTo>
                    <a:lnTo>
                      <a:pt x="135" y="47"/>
                    </a:lnTo>
                    <a:lnTo>
                      <a:pt x="135" y="49"/>
                    </a:lnTo>
                    <a:lnTo>
                      <a:pt x="135" y="49"/>
                    </a:lnTo>
                    <a:lnTo>
                      <a:pt x="136" y="50"/>
                    </a:lnTo>
                    <a:lnTo>
                      <a:pt x="136" y="52"/>
                    </a:lnTo>
                    <a:lnTo>
                      <a:pt x="136" y="52"/>
                    </a:lnTo>
                    <a:lnTo>
                      <a:pt x="136" y="53"/>
                    </a:lnTo>
                    <a:lnTo>
                      <a:pt x="135" y="53"/>
                    </a:lnTo>
                    <a:lnTo>
                      <a:pt x="128" y="58"/>
                    </a:lnTo>
                    <a:lnTo>
                      <a:pt x="125" y="63"/>
                    </a:lnTo>
                    <a:lnTo>
                      <a:pt x="130" y="63"/>
                    </a:lnTo>
                    <a:lnTo>
                      <a:pt x="135" y="61"/>
                    </a:lnTo>
                    <a:lnTo>
                      <a:pt x="138" y="61"/>
                    </a:lnTo>
                    <a:lnTo>
                      <a:pt x="141" y="61"/>
                    </a:lnTo>
                    <a:lnTo>
                      <a:pt x="142" y="61"/>
                    </a:lnTo>
                    <a:lnTo>
                      <a:pt x="147" y="60"/>
                    </a:lnTo>
                    <a:lnTo>
                      <a:pt x="152" y="60"/>
                    </a:lnTo>
                    <a:lnTo>
                      <a:pt x="153" y="60"/>
                    </a:lnTo>
                    <a:lnTo>
                      <a:pt x="160" y="60"/>
                    </a:lnTo>
                    <a:lnTo>
                      <a:pt x="161" y="61"/>
                    </a:lnTo>
                    <a:lnTo>
                      <a:pt x="164" y="61"/>
                    </a:lnTo>
                    <a:lnTo>
                      <a:pt x="169" y="61"/>
                    </a:lnTo>
                    <a:lnTo>
                      <a:pt x="169" y="61"/>
                    </a:lnTo>
                    <a:lnTo>
                      <a:pt x="171" y="60"/>
                    </a:lnTo>
                    <a:lnTo>
                      <a:pt x="171" y="60"/>
                    </a:lnTo>
                    <a:lnTo>
                      <a:pt x="171" y="60"/>
                    </a:lnTo>
                    <a:lnTo>
                      <a:pt x="171" y="61"/>
                    </a:lnTo>
                    <a:lnTo>
                      <a:pt x="172" y="61"/>
                    </a:lnTo>
                    <a:lnTo>
                      <a:pt x="174" y="61"/>
                    </a:lnTo>
                    <a:lnTo>
                      <a:pt x="174" y="60"/>
                    </a:lnTo>
                    <a:lnTo>
                      <a:pt x="177" y="60"/>
                    </a:lnTo>
                    <a:lnTo>
                      <a:pt x="180" y="58"/>
                    </a:lnTo>
                    <a:lnTo>
                      <a:pt x="183" y="58"/>
                    </a:lnTo>
                    <a:lnTo>
                      <a:pt x="186" y="58"/>
                    </a:lnTo>
                    <a:lnTo>
                      <a:pt x="188" y="58"/>
                    </a:lnTo>
                    <a:lnTo>
                      <a:pt x="188" y="57"/>
                    </a:lnTo>
                    <a:lnTo>
                      <a:pt x="189" y="55"/>
                    </a:lnTo>
                    <a:lnTo>
                      <a:pt x="188" y="5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3" name="Freeform 50">
                <a:extLst>
                  <a:ext uri="{FF2B5EF4-FFF2-40B4-BE49-F238E27FC236}">
                    <a16:creationId xmlns:a16="http://schemas.microsoft.com/office/drawing/2014/main" id="{B963F5BE-4320-D797-7329-A3008A093A08}"/>
                  </a:ext>
                </a:extLst>
              </p:cNvPr>
              <p:cNvSpPr>
                <a:spLocks/>
              </p:cNvSpPr>
              <p:nvPr/>
            </p:nvSpPr>
            <p:spPr bwMode="gray">
              <a:xfrm>
                <a:off x="1460" y="1360"/>
                <a:ext cx="8" cy="5"/>
              </a:xfrm>
              <a:custGeom>
                <a:avLst/>
                <a:gdLst>
                  <a:gd name="T0" fmla="*/ 8 w 8"/>
                  <a:gd name="T1" fmla="*/ 5 h 5"/>
                  <a:gd name="T2" fmla="*/ 7 w 8"/>
                  <a:gd name="T3" fmla="*/ 5 h 5"/>
                  <a:gd name="T4" fmla="*/ 3 w 8"/>
                  <a:gd name="T5" fmla="*/ 3 h 5"/>
                  <a:gd name="T6" fmla="*/ 0 w 8"/>
                  <a:gd name="T7" fmla="*/ 0 h 5"/>
                  <a:gd name="T8" fmla="*/ 0 w 8"/>
                  <a:gd name="T9" fmla="*/ 0 h 5"/>
                  <a:gd name="T10" fmla="*/ 2 w 8"/>
                  <a:gd name="T11" fmla="*/ 0 h 5"/>
                  <a:gd name="T12" fmla="*/ 2 w 8"/>
                  <a:gd name="T13" fmla="*/ 0 h 5"/>
                  <a:gd name="T14" fmla="*/ 3 w 8"/>
                  <a:gd name="T15" fmla="*/ 1 h 5"/>
                  <a:gd name="T16" fmla="*/ 7 w 8"/>
                  <a:gd name="T17" fmla="*/ 3 h 5"/>
                  <a:gd name="T18" fmla="*/ 8 w 8"/>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8" y="5"/>
                    </a:moveTo>
                    <a:lnTo>
                      <a:pt x="7" y="5"/>
                    </a:lnTo>
                    <a:lnTo>
                      <a:pt x="3" y="3"/>
                    </a:lnTo>
                    <a:lnTo>
                      <a:pt x="0" y="0"/>
                    </a:lnTo>
                    <a:lnTo>
                      <a:pt x="0" y="0"/>
                    </a:lnTo>
                    <a:lnTo>
                      <a:pt x="2" y="0"/>
                    </a:lnTo>
                    <a:lnTo>
                      <a:pt x="2" y="0"/>
                    </a:lnTo>
                    <a:lnTo>
                      <a:pt x="3" y="1"/>
                    </a:lnTo>
                    <a:lnTo>
                      <a:pt x="7" y="3"/>
                    </a:lnTo>
                    <a:lnTo>
                      <a:pt x="8"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4" name="Freeform 51">
                <a:extLst>
                  <a:ext uri="{FF2B5EF4-FFF2-40B4-BE49-F238E27FC236}">
                    <a16:creationId xmlns:a16="http://schemas.microsoft.com/office/drawing/2014/main" id="{4B7B9229-9653-4EEC-0589-1E611C07EBD0}"/>
                  </a:ext>
                </a:extLst>
              </p:cNvPr>
              <p:cNvSpPr>
                <a:spLocks/>
              </p:cNvSpPr>
              <p:nvPr/>
            </p:nvSpPr>
            <p:spPr bwMode="gray">
              <a:xfrm>
                <a:off x="4528" y="1761"/>
                <a:ext cx="2" cy="0"/>
              </a:xfrm>
              <a:custGeom>
                <a:avLst/>
                <a:gdLst>
                  <a:gd name="T0" fmla="*/ 0 w 2"/>
                  <a:gd name="T1" fmla="*/ 2 w 2"/>
                  <a:gd name="T2" fmla="*/ 2 w 2"/>
                  <a:gd name="T3" fmla="*/ 2 w 2"/>
                </a:gdLst>
                <a:ahLst/>
                <a:cxnLst>
                  <a:cxn ang="0">
                    <a:pos x="T0" y="0"/>
                  </a:cxn>
                  <a:cxn ang="0">
                    <a:pos x="T1" y="0"/>
                  </a:cxn>
                  <a:cxn ang="0">
                    <a:pos x="T2" y="0"/>
                  </a:cxn>
                  <a:cxn ang="0">
                    <a:pos x="T3" y="0"/>
                  </a:cxn>
                </a:cxnLst>
                <a:rect l="0" t="0" r="r" b="b"/>
                <a:pathLst>
                  <a:path w="2">
                    <a:moveTo>
                      <a:pt x="0" y="0"/>
                    </a:moveTo>
                    <a:lnTo>
                      <a:pt x="2" y="0"/>
                    </a:lnTo>
                    <a:lnTo>
                      <a:pt x="2" y="0"/>
                    </a:lnTo>
                    <a:lnTo>
                      <a:pt x="2" y="0"/>
                    </a:lnTo>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5" name="Freeform 52">
                <a:extLst>
                  <a:ext uri="{FF2B5EF4-FFF2-40B4-BE49-F238E27FC236}">
                    <a16:creationId xmlns:a16="http://schemas.microsoft.com/office/drawing/2014/main" id="{0E013DA4-0E60-EC7A-A822-45BF26ED5738}"/>
                  </a:ext>
                </a:extLst>
              </p:cNvPr>
              <p:cNvSpPr>
                <a:spLocks/>
              </p:cNvSpPr>
              <p:nvPr/>
            </p:nvSpPr>
            <p:spPr bwMode="gray">
              <a:xfrm>
                <a:off x="3241" y="909"/>
                <a:ext cx="41" cy="24"/>
              </a:xfrm>
              <a:custGeom>
                <a:avLst/>
                <a:gdLst>
                  <a:gd name="T0" fmla="*/ 39 w 41"/>
                  <a:gd name="T1" fmla="*/ 2 h 24"/>
                  <a:gd name="T2" fmla="*/ 30 w 41"/>
                  <a:gd name="T3" fmla="*/ 8 h 24"/>
                  <a:gd name="T4" fmla="*/ 28 w 41"/>
                  <a:gd name="T5" fmla="*/ 10 h 24"/>
                  <a:gd name="T6" fmla="*/ 30 w 41"/>
                  <a:gd name="T7" fmla="*/ 11 h 24"/>
                  <a:gd name="T8" fmla="*/ 31 w 41"/>
                  <a:gd name="T9" fmla="*/ 13 h 24"/>
                  <a:gd name="T10" fmla="*/ 31 w 41"/>
                  <a:gd name="T11" fmla="*/ 14 h 24"/>
                  <a:gd name="T12" fmla="*/ 31 w 41"/>
                  <a:gd name="T13" fmla="*/ 14 h 24"/>
                  <a:gd name="T14" fmla="*/ 30 w 41"/>
                  <a:gd name="T15" fmla="*/ 16 h 24"/>
                  <a:gd name="T16" fmla="*/ 27 w 41"/>
                  <a:gd name="T17" fmla="*/ 16 h 24"/>
                  <a:gd name="T18" fmla="*/ 27 w 41"/>
                  <a:gd name="T19" fmla="*/ 16 h 24"/>
                  <a:gd name="T20" fmla="*/ 25 w 41"/>
                  <a:gd name="T21" fmla="*/ 16 h 24"/>
                  <a:gd name="T22" fmla="*/ 22 w 41"/>
                  <a:gd name="T23" fmla="*/ 19 h 24"/>
                  <a:gd name="T24" fmla="*/ 21 w 41"/>
                  <a:gd name="T25" fmla="*/ 21 h 24"/>
                  <a:gd name="T26" fmla="*/ 19 w 41"/>
                  <a:gd name="T27" fmla="*/ 21 h 24"/>
                  <a:gd name="T28" fmla="*/ 16 w 41"/>
                  <a:gd name="T29" fmla="*/ 21 h 24"/>
                  <a:gd name="T30" fmla="*/ 16 w 41"/>
                  <a:gd name="T31" fmla="*/ 21 h 24"/>
                  <a:gd name="T32" fmla="*/ 14 w 41"/>
                  <a:gd name="T33" fmla="*/ 22 h 24"/>
                  <a:gd name="T34" fmla="*/ 14 w 41"/>
                  <a:gd name="T35" fmla="*/ 22 h 24"/>
                  <a:gd name="T36" fmla="*/ 14 w 41"/>
                  <a:gd name="T37" fmla="*/ 24 h 24"/>
                  <a:gd name="T38" fmla="*/ 13 w 41"/>
                  <a:gd name="T39" fmla="*/ 24 h 24"/>
                  <a:gd name="T40" fmla="*/ 13 w 41"/>
                  <a:gd name="T41" fmla="*/ 24 h 24"/>
                  <a:gd name="T42" fmla="*/ 11 w 41"/>
                  <a:gd name="T43" fmla="*/ 22 h 24"/>
                  <a:gd name="T44" fmla="*/ 11 w 41"/>
                  <a:gd name="T45" fmla="*/ 22 h 24"/>
                  <a:gd name="T46" fmla="*/ 8 w 41"/>
                  <a:gd name="T47" fmla="*/ 22 h 24"/>
                  <a:gd name="T48" fmla="*/ 8 w 41"/>
                  <a:gd name="T49" fmla="*/ 22 h 24"/>
                  <a:gd name="T50" fmla="*/ 5 w 41"/>
                  <a:gd name="T51" fmla="*/ 21 h 24"/>
                  <a:gd name="T52" fmla="*/ 3 w 41"/>
                  <a:gd name="T53" fmla="*/ 21 h 24"/>
                  <a:gd name="T54" fmla="*/ 3 w 41"/>
                  <a:gd name="T55" fmla="*/ 19 h 24"/>
                  <a:gd name="T56" fmla="*/ 2 w 41"/>
                  <a:gd name="T57" fmla="*/ 16 h 24"/>
                  <a:gd name="T58" fmla="*/ 0 w 41"/>
                  <a:gd name="T59" fmla="*/ 13 h 24"/>
                  <a:gd name="T60" fmla="*/ 2 w 41"/>
                  <a:gd name="T61" fmla="*/ 14 h 24"/>
                  <a:gd name="T62" fmla="*/ 3 w 41"/>
                  <a:gd name="T63" fmla="*/ 13 h 24"/>
                  <a:gd name="T64" fmla="*/ 5 w 41"/>
                  <a:gd name="T65" fmla="*/ 11 h 24"/>
                  <a:gd name="T66" fmla="*/ 6 w 41"/>
                  <a:gd name="T67" fmla="*/ 11 h 24"/>
                  <a:gd name="T68" fmla="*/ 8 w 41"/>
                  <a:gd name="T69" fmla="*/ 11 h 24"/>
                  <a:gd name="T70" fmla="*/ 10 w 41"/>
                  <a:gd name="T71" fmla="*/ 11 h 24"/>
                  <a:gd name="T72" fmla="*/ 11 w 41"/>
                  <a:gd name="T73" fmla="*/ 11 h 24"/>
                  <a:gd name="T74" fmla="*/ 11 w 41"/>
                  <a:gd name="T75" fmla="*/ 8 h 24"/>
                  <a:gd name="T76" fmla="*/ 13 w 41"/>
                  <a:gd name="T77" fmla="*/ 7 h 24"/>
                  <a:gd name="T78" fmla="*/ 16 w 41"/>
                  <a:gd name="T79" fmla="*/ 7 h 24"/>
                  <a:gd name="T80" fmla="*/ 19 w 41"/>
                  <a:gd name="T81" fmla="*/ 8 h 24"/>
                  <a:gd name="T82" fmla="*/ 21 w 41"/>
                  <a:gd name="T83" fmla="*/ 8 h 24"/>
                  <a:gd name="T84" fmla="*/ 24 w 41"/>
                  <a:gd name="T85" fmla="*/ 7 h 24"/>
                  <a:gd name="T86" fmla="*/ 31 w 41"/>
                  <a:gd name="T87" fmla="*/ 5 h 24"/>
                  <a:gd name="T88" fmla="*/ 35 w 41"/>
                  <a:gd name="T89" fmla="*/ 3 h 24"/>
                  <a:gd name="T90" fmla="*/ 36 w 41"/>
                  <a:gd name="T91" fmla="*/ 2 h 24"/>
                  <a:gd name="T92" fmla="*/ 38 w 41"/>
                  <a:gd name="T93" fmla="*/ 2 h 24"/>
                  <a:gd name="T94" fmla="*/ 41 w 41"/>
                  <a:gd name="T95" fmla="*/ 0 h 24"/>
                  <a:gd name="T96" fmla="*/ 39 w 41"/>
                  <a:gd name="T9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24">
                    <a:moveTo>
                      <a:pt x="39" y="2"/>
                    </a:moveTo>
                    <a:lnTo>
                      <a:pt x="30" y="8"/>
                    </a:lnTo>
                    <a:lnTo>
                      <a:pt x="28" y="10"/>
                    </a:lnTo>
                    <a:lnTo>
                      <a:pt x="30" y="11"/>
                    </a:lnTo>
                    <a:lnTo>
                      <a:pt x="31" y="13"/>
                    </a:lnTo>
                    <a:lnTo>
                      <a:pt x="31" y="14"/>
                    </a:lnTo>
                    <a:lnTo>
                      <a:pt x="31" y="14"/>
                    </a:lnTo>
                    <a:lnTo>
                      <a:pt x="30" y="16"/>
                    </a:lnTo>
                    <a:lnTo>
                      <a:pt x="27" y="16"/>
                    </a:lnTo>
                    <a:lnTo>
                      <a:pt x="27" y="16"/>
                    </a:lnTo>
                    <a:lnTo>
                      <a:pt x="25" y="16"/>
                    </a:lnTo>
                    <a:lnTo>
                      <a:pt x="22" y="19"/>
                    </a:lnTo>
                    <a:lnTo>
                      <a:pt x="21" y="21"/>
                    </a:lnTo>
                    <a:lnTo>
                      <a:pt x="19" y="21"/>
                    </a:lnTo>
                    <a:lnTo>
                      <a:pt x="16" y="21"/>
                    </a:lnTo>
                    <a:lnTo>
                      <a:pt x="16" y="21"/>
                    </a:lnTo>
                    <a:lnTo>
                      <a:pt x="14" y="22"/>
                    </a:lnTo>
                    <a:lnTo>
                      <a:pt x="14" y="22"/>
                    </a:lnTo>
                    <a:lnTo>
                      <a:pt x="14" y="24"/>
                    </a:lnTo>
                    <a:lnTo>
                      <a:pt x="13" y="24"/>
                    </a:lnTo>
                    <a:lnTo>
                      <a:pt x="13" y="24"/>
                    </a:lnTo>
                    <a:lnTo>
                      <a:pt x="11" y="22"/>
                    </a:lnTo>
                    <a:lnTo>
                      <a:pt x="11" y="22"/>
                    </a:lnTo>
                    <a:lnTo>
                      <a:pt x="8" y="22"/>
                    </a:lnTo>
                    <a:lnTo>
                      <a:pt x="8" y="22"/>
                    </a:lnTo>
                    <a:lnTo>
                      <a:pt x="5" y="21"/>
                    </a:lnTo>
                    <a:lnTo>
                      <a:pt x="3" y="21"/>
                    </a:lnTo>
                    <a:lnTo>
                      <a:pt x="3" y="19"/>
                    </a:lnTo>
                    <a:lnTo>
                      <a:pt x="2" y="16"/>
                    </a:lnTo>
                    <a:lnTo>
                      <a:pt x="0" y="13"/>
                    </a:lnTo>
                    <a:lnTo>
                      <a:pt x="2" y="14"/>
                    </a:lnTo>
                    <a:lnTo>
                      <a:pt x="3" y="13"/>
                    </a:lnTo>
                    <a:lnTo>
                      <a:pt x="5" y="11"/>
                    </a:lnTo>
                    <a:lnTo>
                      <a:pt x="6" y="11"/>
                    </a:lnTo>
                    <a:lnTo>
                      <a:pt x="8" y="11"/>
                    </a:lnTo>
                    <a:lnTo>
                      <a:pt x="10" y="11"/>
                    </a:lnTo>
                    <a:lnTo>
                      <a:pt x="11" y="11"/>
                    </a:lnTo>
                    <a:lnTo>
                      <a:pt x="11" y="8"/>
                    </a:lnTo>
                    <a:lnTo>
                      <a:pt x="13" y="7"/>
                    </a:lnTo>
                    <a:lnTo>
                      <a:pt x="16" y="7"/>
                    </a:lnTo>
                    <a:lnTo>
                      <a:pt x="19" y="8"/>
                    </a:lnTo>
                    <a:lnTo>
                      <a:pt x="21" y="8"/>
                    </a:lnTo>
                    <a:lnTo>
                      <a:pt x="24" y="7"/>
                    </a:lnTo>
                    <a:lnTo>
                      <a:pt x="31" y="5"/>
                    </a:lnTo>
                    <a:lnTo>
                      <a:pt x="35" y="3"/>
                    </a:lnTo>
                    <a:lnTo>
                      <a:pt x="36" y="2"/>
                    </a:lnTo>
                    <a:lnTo>
                      <a:pt x="38" y="2"/>
                    </a:lnTo>
                    <a:lnTo>
                      <a:pt x="41" y="0"/>
                    </a:lnTo>
                    <a:lnTo>
                      <a:pt x="39"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6" name="Freeform 53">
                <a:extLst>
                  <a:ext uri="{FF2B5EF4-FFF2-40B4-BE49-F238E27FC236}">
                    <a16:creationId xmlns:a16="http://schemas.microsoft.com/office/drawing/2014/main" id="{158A5B9E-F302-022B-75BB-569164C9BF39}"/>
                  </a:ext>
                </a:extLst>
              </p:cNvPr>
              <p:cNvSpPr>
                <a:spLocks/>
              </p:cNvSpPr>
              <p:nvPr/>
            </p:nvSpPr>
            <p:spPr bwMode="gray">
              <a:xfrm>
                <a:off x="2888" y="537"/>
                <a:ext cx="117" cy="66"/>
              </a:xfrm>
              <a:custGeom>
                <a:avLst/>
                <a:gdLst>
                  <a:gd name="T0" fmla="*/ 50 w 117"/>
                  <a:gd name="T1" fmla="*/ 3 h 66"/>
                  <a:gd name="T2" fmla="*/ 55 w 117"/>
                  <a:gd name="T3" fmla="*/ 1 h 66"/>
                  <a:gd name="T4" fmla="*/ 58 w 117"/>
                  <a:gd name="T5" fmla="*/ 6 h 66"/>
                  <a:gd name="T6" fmla="*/ 64 w 117"/>
                  <a:gd name="T7" fmla="*/ 8 h 66"/>
                  <a:gd name="T8" fmla="*/ 67 w 117"/>
                  <a:gd name="T9" fmla="*/ 11 h 66"/>
                  <a:gd name="T10" fmla="*/ 75 w 117"/>
                  <a:gd name="T11" fmla="*/ 12 h 66"/>
                  <a:gd name="T12" fmla="*/ 73 w 117"/>
                  <a:gd name="T13" fmla="*/ 14 h 66"/>
                  <a:gd name="T14" fmla="*/ 72 w 117"/>
                  <a:gd name="T15" fmla="*/ 17 h 66"/>
                  <a:gd name="T16" fmla="*/ 76 w 117"/>
                  <a:gd name="T17" fmla="*/ 22 h 66"/>
                  <a:gd name="T18" fmla="*/ 81 w 117"/>
                  <a:gd name="T19" fmla="*/ 25 h 66"/>
                  <a:gd name="T20" fmla="*/ 86 w 117"/>
                  <a:gd name="T21" fmla="*/ 22 h 66"/>
                  <a:gd name="T22" fmla="*/ 83 w 117"/>
                  <a:gd name="T23" fmla="*/ 15 h 66"/>
                  <a:gd name="T24" fmla="*/ 94 w 117"/>
                  <a:gd name="T25" fmla="*/ 20 h 66"/>
                  <a:gd name="T26" fmla="*/ 98 w 117"/>
                  <a:gd name="T27" fmla="*/ 20 h 66"/>
                  <a:gd name="T28" fmla="*/ 95 w 117"/>
                  <a:gd name="T29" fmla="*/ 23 h 66"/>
                  <a:gd name="T30" fmla="*/ 100 w 117"/>
                  <a:gd name="T31" fmla="*/ 28 h 66"/>
                  <a:gd name="T32" fmla="*/ 103 w 117"/>
                  <a:gd name="T33" fmla="*/ 28 h 66"/>
                  <a:gd name="T34" fmla="*/ 105 w 117"/>
                  <a:gd name="T35" fmla="*/ 28 h 66"/>
                  <a:gd name="T36" fmla="*/ 109 w 117"/>
                  <a:gd name="T37" fmla="*/ 30 h 66"/>
                  <a:gd name="T38" fmla="*/ 112 w 117"/>
                  <a:gd name="T39" fmla="*/ 33 h 66"/>
                  <a:gd name="T40" fmla="*/ 117 w 117"/>
                  <a:gd name="T41" fmla="*/ 41 h 66"/>
                  <a:gd name="T42" fmla="*/ 114 w 117"/>
                  <a:gd name="T43" fmla="*/ 42 h 66"/>
                  <a:gd name="T44" fmla="*/ 109 w 117"/>
                  <a:gd name="T45" fmla="*/ 45 h 66"/>
                  <a:gd name="T46" fmla="*/ 105 w 117"/>
                  <a:gd name="T47" fmla="*/ 50 h 66"/>
                  <a:gd name="T48" fmla="*/ 101 w 117"/>
                  <a:gd name="T49" fmla="*/ 55 h 66"/>
                  <a:gd name="T50" fmla="*/ 98 w 117"/>
                  <a:gd name="T51" fmla="*/ 58 h 66"/>
                  <a:gd name="T52" fmla="*/ 89 w 117"/>
                  <a:gd name="T53" fmla="*/ 59 h 66"/>
                  <a:gd name="T54" fmla="*/ 84 w 117"/>
                  <a:gd name="T55" fmla="*/ 66 h 66"/>
                  <a:gd name="T56" fmla="*/ 81 w 117"/>
                  <a:gd name="T57" fmla="*/ 62 h 66"/>
                  <a:gd name="T58" fmla="*/ 76 w 117"/>
                  <a:gd name="T59" fmla="*/ 61 h 66"/>
                  <a:gd name="T60" fmla="*/ 69 w 117"/>
                  <a:gd name="T61" fmla="*/ 61 h 66"/>
                  <a:gd name="T62" fmla="*/ 61 w 117"/>
                  <a:gd name="T63" fmla="*/ 58 h 66"/>
                  <a:gd name="T64" fmla="*/ 53 w 117"/>
                  <a:gd name="T65" fmla="*/ 56 h 66"/>
                  <a:gd name="T66" fmla="*/ 50 w 117"/>
                  <a:gd name="T67" fmla="*/ 55 h 66"/>
                  <a:gd name="T68" fmla="*/ 47 w 117"/>
                  <a:gd name="T69" fmla="*/ 61 h 66"/>
                  <a:gd name="T70" fmla="*/ 42 w 117"/>
                  <a:gd name="T71" fmla="*/ 66 h 66"/>
                  <a:gd name="T72" fmla="*/ 36 w 117"/>
                  <a:gd name="T73" fmla="*/ 66 h 66"/>
                  <a:gd name="T74" fmla="*/ 30 w 117"/>
                  <a:gd name="T75" fmla="*/ 61 h 66"/>
                  <a:gd name="T76" fmla="*/ 25 w 117"/>
                  <a:gd name="T77" fmla="*/ 56 h 66"/>
                  <a:gd name="T78" fmla="*/ 22 w 117"/>
                  <a:gd name="T79" fmla="*/ 53 h 66"/>
                  <a:gd name="T80" fmla="*/ 15 w 117"/>
                  <a:gd name="T81" fmla="*/ 48 h 66"/>
                  <a:gd name="T82" fmla="*/ 9 w 117"/>
                  <a:gd name="T83" fmla="*/ 44 h 66"/>
                  <a:gd name="T84" fmla="*/ 6 w 117"/>
                  <a:gd name="T85" fmla="*/ 36 h 66"/>
                  <a:gd name="T86" fmla="*/ 6 w 117"/>
                  <a:gd name="T87" fmla="*/ 33 h 66"/>
                  <a:gd name="T88" fmla="*/ 6 w 117"/>
                  <a:gd name="T89" fmla="*/ 30 h 66"/>
                  <a:gd name="T90" fmla="*/ 1 w 117"/>
                  <a:gd name="T91" fmla="*/ 23 h 66"/>
                  <a:gd name="T92" fmla="*/ 0 w 117"/>
                  <a:gd name="T93" fmla="*/ 20 h 66"/>
                  <a:gd name="T94" fmla="*/ 1 w 117"/>
                  <a:gd name="T95" fmla="*/ 22 h 66"/>
                  <a:gd name="T96" fmla="*/ 6 w 117"/>
                  <a:gd name="T97" fmla="*/ 19 h 66"/>
                  <a:gd name="T98" fmla="*/ 11 w 117"/>
                  <a:gd name="T99" fmla="*/ 15 h 66"/>
                  <a:gd name="T100" fmla="*/ 15 w 117"/>
                  <a:gd name="T101" fmla="*/ 15 h 66"/>
                  <a:gd name="T102" fmla="*/ 20 w 117"/>
                  <a:gd name="T103" fmla="*/ 12 h 66"/>
                  <a:gd name="T104" fmla="*/ 22 w 117"/>
                  <a:gd name="T105" fmla="*/ 11 h 66"/>
                  <a:gd name="T106" fmla="*/ 25 w 117"/>
                  <a:gd name="T107" fmla="*/ 9 h 66"/>
                  <a:gd name="T108" fmla="*/ 34 w 117"/>
                  <a:gd name="T109" fmla="*/ 5 h 66"/>
                  <a:gd name="T110" fmla="*/ 37 w 117"/>
                  <a:gd name="T111" fmla="*/ 1 h 66"/>
                  <a:gd name="T112" fmla="*/ 39 w 117"/>
                  <a:gd name="T113" fmla="*/ 0 h 66"/>
                  <a:gd name="T114" fmla="*/ 42 w 117"/>
                  <a:gd name="T115" fmla="*/ 1 h 66"/>
                  <a:gd name="T116" fmla="*/ 44 w 117"/>
                  <a:gd name="T117" fmla="*/ 5 h 66"/>
                  <a:gd name="T118" fmla="*/ 47 w 117"/>
                  <a:gd name="T1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7" h="66">
                    <a:moveTo>
                      <a:pt x="47" y="5"/>
                    </a:moveTo>
                    <a:lnTo>
                      <a:pt x="48" y="5"/>
                    </a:lnTo>
                    <a:lnTo>
                      <a:pt x="50" y="3"/>
                    </a:lnTo>
                    <a:lnTo>
                      <a:pt x="50" y="3"/>
                    </a:lnTo>
                    <a:lnTo>
                      <a:pt x="50" y="0"/>
                    </a:lnTo>
                    <a:lnTo>
                      <a:pt x="50" y="0"/>
                    </a:lnTo>
                    <a:lnTo>
                      <a:pt x="53" y="0"/>
                    </a:lnTo>
                    <a:lnTo>
                      <a:pt x="55" y="1"/>
                    </a:lnTo>
                    <a:lnTo>
                      <a:pt x="55" y="3"/>
                    </a:lnTo>
                    <a:lnTo>
                      <a:pt x="56" y="5"/>
                    </a:lnTo>
                    <a:lnTo>
                      <a:pt x="56" y="6"/>
                    </a:lnTo>
                    <a:lnTo>
                      <a:pt x="58" y="6"/>
                    </a:lnTo>
                    <a:lnTo>
                      <a:pt x="58" y="6"/>
                    </a:lnTo>
                    <a:lnTo>
                      <a:pt x="61" y="8"/>
                    </a:lnTo>
                    <a:lnTo>
                      <a:pt x="62" y="8"/>
                    </a:lnTo>
                    <a:lnTo>
                      <a:pt x="64" y="8"/>
                    </a:lnTo>
                    <a:lnTo>
                      <a:pt x="65" y="9"/>
                    </a:lnTo>
                    <a:lnTo>
                      <a:pt x="67" y="9"/>
                    </a:lnTo>
                    <a:lnTo>
                      <a:pt x="67" y="11"/>
                    </a:lnTo>
                    <a:lnTo>
                      <a:pt x="67" y="11"/>
                    </a:lnTo>
                    <a:lnTo>
                      <a:pt x="69" y="11"/>
                    </a:lnTo>
                    <a:lnTo>
                      <a:pt x="73" y="9"/>
                    </a:lnTo>
                    <a:lnTo>
                      <a:pt x="73" y="11"/>
                    </a:lnTo>
                    <a:lnTo>
                      <a:pt x="75" y="12"/>
                    </a:lnTo>
                    <a:lnTo>
                      <a:pt x="75" y="12"/>
                    </a:lnTo>
                    <a:lnTo>
                      <a:pt x="75" y="12"/>
                    </a:lnTo>
                    <a:lnTo>
                      <a:pt x="75" y="14"/>
                    </a:lnTo>
                    <a:lnTo>
                      <a:pt x="73" y="14"/>
                    </a:lnTo>
                    <a:lnTo>
                      <a:pt x="73" y="14"/>
                    </a:lnTo>
                    <a:lnTo>
                      <a:pt x="72" y="15"/>
                    </a:lnTo>
                    <a:lnTo>
                      <a:pt x="72" y="15"/>
                    </a:lnTo>
                    <a:lnTo>
                      <a:pt x="72" y="17"/>
                    </a:lnTo>
                    <a:lnTo>
                      <a:pt x="73" y="17"/>
                    </a:lnTo>
                    <a:lnTo>
                      <a:pt x="73" y="17"/>
                    </a:lnTo>
                    <a:lnTo>
                      <a:pt x="73" y="19"/>
                    </a:lnTo>
                    <a:lnTo>
                      <a:pt x="76" y="22"/>
                    </a:lnTo>
                    <a:lnTo>
                      <a:pt x="78" y="25"/>
                    </a:lnTo>
                    <a:lnTo>
                      <a:pt x="80" y="25"/>
                    </a:lnTo>
                    <a:lnTo>
                      <a:pt x="80" y="25"/>
                    </a:lnTo>
                    <a:lnTo>
                      <a:pt x="81" y="25"/>
                    </a:lnTo>
                    <a:lnTo>
                      <a:pt x="81" y="23"/>
                    </a:lnTo>
                    <a:lnTo>
                      <a:pt x="83" y="23"/>
                    </a:lnTo>
                    <a:lnTo>
                      <a:pt x="83" y="22"/>
                    </a:lnTo>
                    <a:lnTo>
                      <a:pt x="86" y="22"/>
                    </a:lnTo>
                    <a:lnTo>
                      <a:pt x="86" y="20"/>
                    </a:lnTo>
                    <a:lnTo>
                      <a:pt x="84" y="19"/>
                    </a:lnTo>
                    <a:lnTo>
                      <a:pt x="83" y="17"/>
                    </a:lnTo>
                    <a:lnTo>
                      <a:pt x="83" y="15"/>
                    </a:lnTo>
                    <a:lnTo>
                      <a:pt x="84" y="17"/>
                    </a:lnTo>
                    <a:lnTo>
                      <a:pt x="87" y="17"/>
                    </a:lnTo>
                    <a:lnTo>
                      <a:pt x="92" y="20"/>
                    </a:lnTo>
                    <a:lnTo>
                      <a:pt x="94" y="20"/>
                    </a:lnTo>
                    <a:lnTo>
                      <a:pt x="95" y="20"/>
                    </a:lnTo>
                    <a:lnTo>
                      <a:pt x="97" y="20"/>
                    </a:lnTo>
                    <a:lnTo>
                      <a:pt x="98" y="20"/>
                    </a:lnTo>
                    <a:lnTo>
                      <a:pt x="98" y="20"/>
                    </a:lnTo>
                    <a:lnTo>
                      <a:pt x="98" y="22"/>
                    </a:lnTo>
                    <a:lnTo>
                      <a:pt x="98" y="23"/>
                    </a:lnTo>
                    <a:lnTo>
                      <a:pt x="95" y="23"/>
                    </a:lnTo>
                    <a:lnTo>
                      <a:pt x="95" y="23"/>
                    </a:lnTo>
                    <a:lnTo>
                      <a:pt x="97" y="25"/>
                    </a:lnTo>
                    <a:lnTo>
                      <a:pt x="97" y="25"/>
                    </a:lnTo>
                    <a:lnTo>
                      <a:pt x="98" y="26"/>
                    </a:lnTo>
                    <a:lnTo>
                      <a:pt x="100" y="28"/>
                    </a:lnTo>
                    <a:lnTo>
                      <a:pt x="100" y="28"/>
                    </a:lnTo>
                    <a:lnTo>
                      <a:pt x="100" y="28"/>
                    </a:lnTo>
                    <a:lnTo>
                      <a:pt x="103" y="28"/>
                    </a:lnTo>
                    <a:lnTo>
                      <a:pt x="103" y="28"/>
                    </a:lnTo>
                    <a:lnTo>
                      <a:pt x="103" y="26"/>
                    </a:lnTo>
                    <a:lnTo>
                      <a:pt x="103" y="26"/>
                    </a:lnTo>
                    <a:lnTo>
                      <a:pt x="105" y="28"/>
                    </a:lnTo>
                    <a:lnTo>
                      <a:pt x="105" y="28"/>
                    </a:lnTo>
                    <a:lnTo>
                      <a:pt x="106" y="30"/>
                    </a:lnTo>
                    <a:lnTo>
                      <a:pt x="108" y="30"/>
                    </a:lnTo>
                    <a:lnTo>
                      <a:pt x="108" y="30"/>
                    </a:lnTo>
                    <a:lnTo>
                      <a:pt x="109" y="30"/>
                    </a:lnTo>
                    <a:lnTo>
                      <a:pt x="112" y="31"/>
                    </a:lnTo>
                    <a:lnTo>
                      <a:pt x="112" y="31"/>
                    </a:lnTo>
                    <a:lnTo>
                      <a:pt x="112" y="33"/>
                    </a:lnTo>
                    <a:lnTo>
                      <a:pt x="112" y="33"/>
                    </a:lnTo>
                    <a:lnTo>
                      <a:pt x="114" y="34"/>
                    </a:lnTo>
                    <a:lnTo>
                      <a:pt x="117" y="39"/>
                    </a:lnTo>
                    <a:lnTo>
                      <a:pt x="117" y="41"/>
                    </a:lnTo>
                    <a:lnTo>
                      <a:pt x="117" y="41"/>
                    </a:lnTo>
                    <a:lnTo>
                      <a:pt x="117" y="41"/>
                    </a:lnTo>
                    <a:lnTo>
                      <a:pt x="116" y="42"/>
                    </a:lnTo>
                    <a:lnTo>
                      <a:pt x="114" y="42"/>
                    </a:lnTo>
                    <a:lnTo>
                      <a:pt x="114" y="42"/>
                    </a:lnTo>
                    <a:lnTo>
                      <a:pt x="112" y="42"/>
                    </a:lnTo>
                    <a:lnTo>
                      <a:pt x="111" y="44"/>
                    </a:lnTo>
                    <a:lnTo>
                      <a:pt x="111" y="44"/>
                    </a:lnTo>
                    <a:lnTo>
                      <a:pt x="109" y="45"/>
                    </a:lnTo>
                    <a:lnTo>
                      <a:pt x="109" y="45"/>
                    </a:lnTo>
                    <a:lnTo>
                      <a:pt x="106" y="48"/>
                    </a:lnTo>
                    <a:lnTo>
                      <a:pt x="105" y="48"/>
                    </a:lnTo>
                    <a:lnTo>
                      <a:pt x="105" y="50"/>
                    </a:lnTo>
                    <a:lnTo>
                      <a:pt x="105" y="51"/>
                    </a:lnTo>
                    <a:lnTo>
                      <a:pt x="105" y="53"/>
                    </a:lnTo>
                    <a:lnTo>
                      <a:pt x="103" y="55"/>
                    </a:lnTo>
                    <a:lnTo>
                      <a:pt x="101" y="55"/>
                    </a:lnTo>
                    <a:lnTo>
                      <a:pt x="101" y="55"/>
                    </a:lnTo>
                    <a:lnTo>
                      <a:pt x="101" y="56"/>
                    </a:lnTo>
                    <a:lnTo>
                      <a:pt x="100" y="56"/>
                    </a:lnTo>
                    <a:lnTo>
                      <a:pt x="98" y="58"/>
                    </a:lnTo>
                    <a:lnTo>
                      <a:pt x="97" y="59"/>
                    </a:lnTo>
                    <a:lnTo>
                      <a:pt x="94" y="59"/>
                    </a:lnTo>
                    <a:lnTo>
                      <a:pt x="91" y="59"/>
                    </a:lnTo>
                    <a:lnTo>
                      <a:pt x="89" y="59"/>
                    </a:lnTo>
                    <a:lnTo>
                      <a:pt x="87" y="59"/>
                    </a:lnTo>
                    <a:lnTo>
                      <a:pt x="86" y="61"/>
                    </a:lnTo>
                    <a:lnTo>
                      <a:pt x="84" y="64"/>
                    </a:lnTo>
                    <a:lnTo>
                      <a:pt x="84" y="66"/>
                    </a:lnTo>
                    <a:lnTo>
                      <a:pt x="84" y="66"/>
                    </a:lnTo>
                    <a:lnTo>
                      <a:pt x="83" y="62"/>
                    </a:lnTo>
                    <a:lnTo>
                      <a:pt x="83" y="62"/>
                    </a:lnTo>
                    <a:lnTo>
                      <a:pt x="81" y="62"/>
                    </a:lnTo>
                    <a:lnTo>
                      <a:pt x="80" y="62"/>
                    </a:lnTo>
                    <a:lnTo>
                      <a:pt x="78" y="61"/>
                    </a:lnTo>
                    <a:lnTo>
                      <a:pt x="78" y="61"/>
                    </a:lnTo>
                    <a:lnTo>
                      <a:pt x="76" y="61"/>
                    </a:lnTo>
                    <a:lnTo>
                      <a:pt x="75" y="61"/>
                    </a:lnTo>
                    <a:lnTo>
                      <a:pt x="75" y="62"/>
                    </a:lnTo>
                    <a:lnTo>
                      <a:pt x="72" y="62"/>
                    </a:lnTo>
                    <a:lnTo>
                      <a:pt x="69" y="61"/>
                    </a:lnTo>
                    <a:lnTo>
                      <a:pt x="64" y="58"/>
                    </a:lnTo>
                    <a:lnTo>
                      <a:pt x="64" y="58"/>
                    </a:lnTo>
                    <a:lnTo>
                      <a:pt x="62" y="59"/>
                    </a:lnTo>
                    <a:lnTo>
                      <a:pt x="61" y="58"/>
                    </a:lnTo>
                    <a:lnTo>
                      <a:pt x="58" y="56"/>
                    </a:lnTo>
                    <a:lnTo>
                      <a:pt x="56" y="56"/>
                    </a:lnTo>
                    <a:lnTo>
                      <a:pt x="55" y="56"/>
                    </a:lnTo>
                    <a:lnTo>
                      <a:pt x="53" y="56"/>
                    </a:lnTo>
                    <a:lnTo>
                      <a:pt x="53" y="56"/>
                    </a:lnTo>
                    <a:lnTo>
                      <a:pt x="53" y="56"/>
                    </a:lnTo>
                    <a:lnTo>
                      <a:pt x="51" y="55"/>
                    </a:lnTo>
                    <a:lnTo>
                      <a:pt x="50" y="55"/>
                    </a:lnTo>
                    <a:lnTo>
                      <a:pt x="50" y="55"/>
                    </a:lnTo>
                    <a:lnTo>
                      <a:pt x="50" y="59"/>
                    </a:lnTo>
                    <a:lnTo>
                      <a:pt x="48" y="61"/>
                    </a:lnTo>
                    <a:lnTo>
                      <a:pt x="47" y="61"/>
                    </a:lnTo>
                    <a:lnTo>
                      <a:pt x="47" y="61"/>
                    </a:lnTo>
                    <a:lnTo>
                      <a:pt x="45" y="64"/>
                    </a:lnTo>
                    <a:lnTo>
                      <a:pt x="45" y="66"/>
                    </a:lnTo>
                    <a:lnTo>
                      <a:pt x="42" y="66"/>
                    </a:lnTo>
                    <a:lnTo>
                      <a:pt x="40" y="66"/>
                    </a:lnTo>
                    <a:lnTo>
                      <a:pt x="40" y="66"/>
                    </a:lnTo>
                    <a:lnTo>
                      <a:pt x="39" y="66"/>
                    </a:lnTo>
                    <a:lnTo>
                      <a:pt x="36" y="66"/>
                    </a:lnTo>
                    <a:lnTo>
                      <a:pt x="34" y="66"/>
                    </a:lnTo>
                    <a:lnTo>
                      <a:pt x="33" y="62"/>
                    </a:lnTo>
                    <a:lnTo>
                      <a:pt x="31" y="62"/>
                    </a:lnTo>
                    <a:lnTo>
                      <a:pt x="30" y="61"/>
                    </a:lnTo>
                    <a:lnTo>
                      <a:pt x="30" y="61"/>
                    </a:lnTo>
                    <a:lnTo>
                      <a:pt x="28" y="59"/>
                    </a:lnTo>
                    <a:lnTo>
                      <a:pt x="26" y="58"/>
                    </a:lnTo>
                    <a:lnTo>
                      <a:pt x="25" y="56"/>
                    </a:lnTo>
                    <a:lnTo>
                      <a:pt x="23" y="56"/>
                    </a:lnTo>
                    <a:lnTo>
                      <a:pt x="22" y="56"/>
                    </a:lnTo>
                    <a:lnTo>
                      <a:pt x="22" y="55"/>
                    </a:lnTo>
                    <a:lnTo>
                      <a:pt x="22" y="53"/>
                    </a:lnTo>
                    <a:lnTo>
                      <a:pt x="20" y="51"/>
                    </a:lnTo>
                    <a:lnTo>
                      <a:pt x="19" y="51"/>
                    </a:lnTo>
                    <a:lnTo>
                      <a:pt x="17" y="50"/>
                    </a:lnTo>
                    <a:lnTo>
                      <a:pt x="15" y="48"/>
                    </a:lnTo>
                    <a:lnTo>
                      <a:pt x="14" y="45"/>
                    </a:lnTo>
                    <a:lnTo>
                      <a:pt x="12" y="47"/>
                    </a:lnTo>
                    <a:lnTo>
                      <a:pt x="11" y="45"/>
                    </a:lnTo>
                    <a:lnTo>
                      <a:pt x="9" y="44"/>
                    </a:lnTo>
                    <a:lnTo>
                      <a:pt x="9" y="42"/>
                    </a:lnTo>
                    <a:lnTo>
                      <a:pt x="8" y="39"/>
                    </a:lnTo>
                    <a:lnTo>
                      <a:pt x="6" y="37"/>
                    </a:lnTo>
                    <a:lnTo>
                      <a:pt x="6" y="36"/>
                    </a:lnTo>
                    <a:lnTo>
                      <a:pt x="5" y="36"/>
                    </a:lnTo>
                    <a:lnTo>
                      <a:pt x="5" y="34"/>
                    </a:lnTo>
                    <a:lnTo>
                      <a:pt x="6" y="33"/>
                    </a:lnTo>
                    <a:lnTo>
                      <a:pt x="6" y="33"/>
                    </a:lnTo>
                    <a:lnTo>
                      <a:pt x="6" y="31"/>
                    </a:lnTo>
                    <a:lnTo>
                      <a:pt x="6" y="31"/>
                    </a:lnTo>
                    <a:lnTo>
                      <a:pt x="6" y="31"/>
                    </a:lnTo>
                    <a:lnTo>
                      <a:pt x="6" y="30"/>
                    </a:lnTo>
                    <a:lnTo>
                      <a:pt x="5" y="28"/>
                    </a:lnTo>
                    <a:lnTo>
                      <a:pt x="3" y="26"/>
                    </a:lnTo>
                    <a:lnTo>
                      <a:pt x="1" y="25"/>
                    </a:lnTo>
                    <a:lnTo>
                      <a:pt x="1" y="23"/>
                    </a:lnTo>
                    <a:lnTo>
                      <a:pt x="0" y="23"/>
                    </a:lnTo>
                    <a:lnTo>
                      <a:pt x="0" y="22"/>
                    </a:lnTo>
                    <a:lnTo>
                      <a:pt x="0" y="20"/>
                    </a:lnTo>
                    <a:lnTo>
                      <a:pt x="0" y="20"/>
                    </a:lnTo>
                    <a:lnTo>
                      <a:pt x="0" y="19"/>
                    </a:lnTo>
                    <a:lnTo>
                      <a:pt x="0" y="19"/>
                    </a:lnTo>
                    <a:lnTo>
                      <a:pt x="0" y="20"/>
                    </a:lnTo>
                    <a:lnTo>
                      <a:pt x="1" y="22"/>
                    </a:lnTo>
                    <a:lnTo>
                      <a:pt x="3" y="23"/>
                    </a:lnTo>
                    <a:lnTo>
                      <a:pt x="3" y="22"/>
                    </a:lnTo>
                    <a:lnTo>
                      <a:pt x="5" y="20"/>
                    </a:lnTo>
                    <a:lnTo>
                      <a:pt x="6" y="19"/>
                    </a:lnTo>
                    <a:lnTo>
                      <a:pt x="8" y="17"/>
                    </a:lnTo>
                    <a:lnTo>
                      <a:pt x="9" y="17"/>
                    </a:lnTo>
                    <a:lnTo>
                      <a:pt x="9" y="17"/>
                    </a:lnTo>
                    <a:lnTo>
                      <a:pt x="11" y="15"/>
                    </a:lnTo>
                    <a:lnTo>
                      <a:pt x="12" y="17"/>
                    </a:lnTo>
                    <a:lnTo>
                      <a:pt x="14" y="17"/>
                    </a:lnTo>
                    <a:lnTo>
                      <a:pt x="14" y="17"/>
                    </a:lnTo>
                    <a:lnTo>
                      <a:pt x="15" y="15"/>
                    </a:lnTo>
                    <a:lnTo>
                      <a:pt x="15" y="14"/>
                    </a:lnTo>
                    <a:lnTo>
                      <a:pt x="19" y="14"/>
                    </a:lnTo>
                    <a:lnTo>
                      <a:pt x="19" y="12"/>
                    </a:lnTo>
                    <a:lnTo>
                      <a:pt x="20" y="12"/>
                    </a:lnTo>
                    <a:lnTo>
                      <a:pt x="20" y="12"/>
                    </a:lnTo>
                    <a:lnTo>
                      <a:pt x="22" y="11"/>
                    </a:lnTo>
                    <a:lnTo>
                      <a:pt x="22" y="11"/>
                    </a:lnTo>
                    <a:lnTo>
                      <a:pt x="22" y="11"/>
                    </a:lnTo>
                    <a:lnTo>
                      <a:pt x="23" y="11"/>
                    </a:lnTo>
                    <a:lnTo>
                      <a:pt x="23" y="11"/>
                    </a:lnTo>
                    <a:lnTo>
                      <a:pt x="25" y="9"/>
                    </a:lnTo>
                    <a:lnTo>
                      <a:pt x="25" y="9"/>
                    </a:lnTo>
                    <a:lnTo>
                      <a:pt x="28" y="8"/>
                    </a:lnTo>
                    <a:lnTo>
                      <a:pt x="31" y="8"/>
                    </a:lnTo>
                    <a:lnTo>
                      <a:pt x="33" y="6"/>
                    </a:lnTo>
                    <a:lnTo>
                      <a:pt x="34" y="5"/>
                    </a:lnTo>
                    <a:lnTo>
                      <a:pt x="36" y="5"/>
                    </a:lnTo>
                    <a:lnTo>
                      <a:pt x="39" y="3"/>
                    </a:lnTo>
                    <a:lnTo>
                      <a:pt x="39" y="3"/>
                    </a:lnTo>
                    <a:lnTo>
                      <a:pt x="37" y="1"/>
                    </a:lnTo>
                    <a:lnTo>
                      <a:pt x="37" y="1"/>
                    </a:lnTo>
                    <a:lnTo>
                      <a:pt x="37" y="0"/>
                    </a:lnTo>
                    <a:lnTo>
                      <a:pt x="37" y="0"/>
                    </a:lnTo>
                    <a:lnTo>
                      <a:pt x="39" y="0"/>
                    </a:lnTo>
                    <a:lnTo>
                      <a:pt x="39" y="0"/>
                    </a:lnTo>
                    <a:lnTo>
                      <a:pt x="42" y="0"/>
                    </a:lnTo>
                    <a:lnTo>
                      <a:pt x="42" y="0"/>
                    </a:lnTo>
                    <a:lnTo>
                      <a:pt x="42" y="1"/>
                    </a:lnTo>
                    <a:lnTo>
                      <a:pt x="44" y="3"/>
                    </a:lnTo>
                    <a:lnTo>
                      <a:pt x="44" y="3"/>
                    </a:lnTo>
                    <a:lnTo>
                      <a:pt x="44" y="5"/>
                    </a:lnTo>
                    <a:lnTo>
                      <a:pt x="44" y="5"/>
                    </a:lnTo>
                    <a:lnTo>
                      <a:pt x="45" y="6"/>
                    </a:lnTo>
                    <a:lnTo>
                      <a:pt x="47" y="6"/>
                    </a:lnTo>
                    <a:lnTo>
                      <a:pt x="47" y="5"/>
                    </a:lnTo>
                    <a:lnTo>
                      <a:pt x="47"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7" name="Freeform 54">
                <a:extLst>
                  <a:ext uri="{FF2B5EF4-FFF2-40B4-BE49-F238E27FC236}">
                    <a16:creationId xmlns:a16="http://schemas.microsoft.com/office/drawing/2014/main" id="{386F477D-0AC0-7497-A927-81F201AF77EB}"/>
                  </a:ext>
                </a:extLst>
              </p:cNvPr>
              <p:cNvSpPr>
                <a:spLocks noEditPoints="1"/>
              </p:cNvSpPr>
              <p:nvPr/>
            </p:nvSpPr>
            <p:spPr bwMode="gray">
              <a:xfrm>
                <a:off x="2778" y="419"/>
                <a:ext cx="160" cy="218"/>
              </a:xfrm>
              <a:custGeom>
                <a:avLst/>
                <a:gdLst>
                  <a:gd name="T0" fmla="*/ 141 w 160"/>
                  <a:gd name="T1" fmla="*/ 35 h 218"/>
                  <a:gd name="T2" fmla="*/ 93 w 160"/>
                  <a:gd name="T3" fmla="*/ 19 h 218"/>
                  <a:gd name="T4" fmla="*/ 136 w 160"/>
                  <a:gd name="T5" fmla="*/ 15 h 218"/>
                  <a:gd name="T6" fmla="*/ 129 w 160"/>
                  <a:gd name="T7" fmla="*/ 21 h 218"/>
                  <a:gd name="T8" fmla="*/ 46 w 160"/>
                  <a:gd name="T9" fmla="*/ 8 h 218"/>
                  <a:gd name="T10" fmla="*/ 158 w 160"/>
                  <a:gd name="T11" fmla="*/ 105 h 218"/>
                  <a:gd name="T12" fmla="*/ 155 w 160"/>
                  <a:gd name="T13" fmla="*/ 91 h 218"/>
                  <a:gd name="T14" fmla="*/ 152 w 160"/>
                  <a:gd name="T15" fmla="*/ 82 h 218"/>
                  <a:gd name="T16" fmla="*/ 146 w 160"/>
                  <a:gd name="T17" fmla="*/ 62 h 218"/>
                  <a:gd name="T18" fmla="*/ 147 w 160"/>
                  <a:gd name="T19" fmla="*/ 40 h 218"/>
                  <a:gd name="T20" fmla="*/ 124 w 160"/>
                  <a:gd name="T21" fmla="*/ 19 h 218"/>
                  <a:gd name="T22" fmla="*/ 97 w 160"/>
                  <a:gd name="T23" fmla="*/ 33 h 218"/>
                  <a:gd name="T24" fmla="*/ 79 w 160"/>
                  <a:gd name="T25" fmla="*/ 19 h 218"/>
                  <a:gd name="T26" fmla="*/ 68 w 160"/>
                  <a:gd name="T27" fmla="*/ 8 h 218"/>
                  <a:gd name="T28" fmla="*/ 54 w 160"/>
                  <a:gd name="T29" fmla="*/ 5 h 218"/>
                  <a:gd name="T30" fmla="*/ 52 w 160"/>
                  <a:gd name="T31" fmla="*/ 19 h 218"/>
                  <a:gd name="T32" fmla="*/ 55 w 160"/>
                  <a:gd name="T33" fmla="*/ 35 h 218"/>
                  <a:gd name="T34" fmla="*/ 54 w 160"/>
                  <a:gd name="T35" fmla="*/ 36 h 218"/>
                  <a:gd name="T36" fmla="*/ 43 w 160"/>
                  <a:gd name="T37" fmla="*/ 44 h 218"/>
                  <a:gd name="T38" fmla="*/ 22 w 160"/>
                  <a:gd name="T39" fmla="*/ 46 h 218"/>
                  <a:gd name="T40" fmla="*/ 21 w 160"/>
                  <a:gd name="T41" fmla="*/ 71 h 218"/>
                  <a:gd name="T42" fmla="*/ 16 w 160"/>
                  <a:gd name="T43" fmla="*/ 77 h 218"/>
                  <a:gd name="T44" fmla="*/ 16 w 160"/>
                  <a:gd name="T45" fmla="*/ 88 h 218"/>
                  <a:gd name="T46" fmla="*/ 8 w 160"/>
                  <a:gd name="T47" fmla="*/ 94 h 218"/>
                  <a:gd name="T48" fmla="*/ 4 w 160"/>
                  <a:gd name="T49" fmla="*/ 101 h 218"/>
                  <a:gd name="T50" fmla="*/ 4 w 160"/>
                  <a:gd name="T51" fmla="*/ 113 h 218"/>
                  <a:gd name="T52" fmla="*/ 2 w 160"/>
                  <a:gd name="T53" fmla="*/ 119 h 218"/>
                  <a:gd name="T54" fmla="*/ 7 w 160"/>
                  <a:gd name="T55" fmla="*/ 129 h 218"/>
                  <a:gd name="T56" fmla="*/ 5 w 160"/>
                  <a:gd name="T57" fmla="*/ 141 h 218"/>
                  <a:gd name="T58" fmla="*/ 11 w 160"/>
                  <a:gd name="T59" fmla="*/ 152 h 218"/>
                  <a:gd name="T60" fmla="*/ 8 w 160"/>
                  <a:gd name="T61" fmla="*/ 160 h 218"/>
                  <a:gd name="T62" fmla="*/ 16 w 160"/>
                  <a:gd name="T63" fmla="*/ 168 h 218"/>
                  <a:gd name="T64" fmla="*/ 22 w 160"/>
                  <a:gd name="T65" fmla="*/ 169 h 218"/>
                  <a:gd name="T66" fmla="*/ 39 w 160"/>
                  <a:gd name="T67" fmla="*/ 174 h 218"/>
                  <a:gd name="T68" fmla="*/ 30 w 160"/>
                  <a:gd name="T69" fmla="*/ 195 h 218"/>
                  <a:gd name="T70" fmla="*/ 30 w 160"/>
                  <a:gd name="T71" fmla="*/ 210 h 218"/>
                  <a:gd name="T72" fmla="*/ 46 w 160"/>
                  <a:gd name="T73" fmla="*/ 210 h 218"/>
                  <a:gd name="T74" fmla="*/ 44 w 160"/>
                  <a:gd name="T75" fmla="*/ 207 h 218"/>
                  <a:gd name="T76" fmla="*/ 52 w 160"/>
                  <a:gd name="T77" fmla="*/ 207 h 218"/>
                  <a:gd name="T78" fmla="*/ 68 w 160"/>
                  <a:gd name="T79" fmla="*/ 212 h 218"/>
                  <a:gd name="T80" fmla="*/ 74 w 160"/>
                  <a:gd name="T81" fmla="*/ 215 h 218"/>
                  <a:gd name="T82" fmla="*/ 79 w 160"/>
                  <a:gd name="T83" fmla="*/ 216 h 218"/>
                  <a:gd name="T84" fmla="*/ 82 w 160"/>
                  <a:gd name="T85" fmla="*/ 212 h 218"/>
                  <a:gd name="T86" fmla="*/ 91 w 160"/>
                  <a:gd name="T87" fmla="*/ 215 h 218"/>
                  <a:gd name="T88" fmla="*/ 102 w 160"/>
                  <a:gd name="T89" fmla="*/ 210 h 218"/>
                  <a:gd name="T90" fmla="*/ 115 w 160"/>
                  <a:gd name="T91" fmla="*/ 209 h 218"/>
                  <a:gd name="T92" fmla="*/ 122 w 160"/>
                  <a:gd name="T93" fmla="*/ 212 h 218"/>
                  <a:gd name="T94" fmla="*/ 124 w 160"/>
                  <a:gd name="T95" fmla="*/ 207 h 218"/>
                  <a:gd name="T96" fmla="*/ 127 w 160"/>
                  <a:gd name="T97" fmla="*/ 191 h 218"/>
                  <a:gd name="T98" fmla="*/ 136 w 160"/>
                  <a:gd name="T99" fmla="*/ 185 h 218"/>
                  <a:gd name="T100" fmla="*/ 135 w 160"/>
                  <a:gd name="T101" fmla="*/ 174 h 218"/>
                  <a:gd name="T102" fmla="*/ 125 w 160"/>
                  <a:gd name="T103" fmla="*/ 166 h 218"/>
                  <a:gd name="T104" fmla="*/ 115 w 160"/>
                  <a:gd name="T105" fmla="*/ 154 h 218"/>
                  <a:gd name="T106" fmla="*/ 113 w 160"/>
                  <a:gd name="T107" fmla="*/ 144 h 218"/>
                  <a:gd name="T108" fmla="*/ 111 w 160"/>
                  <a:gd name="T109" fmla="*/ 140 h 218"/>
                  <a:gd name="T110" fmla="*/ 119 w 160"/>
                  <a:gd name="T111" fmla="*/ 135 h 218"/>
                  <a:gd name="T112" fmla="*/ 129 w 160"/>
                  <a:gd name="T113" fmla="*/ 130 h 218"/>
                  <a:gd name="T114" fmla="*/ 133 w 160"/>
                  <a:gd name="T115" fmla="*/ 129 h 218"/>
                  <a:gd name="T116" fmla="*/ 147 w 160"/>
                  <a:gd name="T117" fmla="*/ 119 h 218"/>
                  <a:gd name="T118" fmla="*/ 154 w 160"/>
                  <a:gd name="T119" fmla="*/ 121 h 218"/>
                  <a:gd name="T120" fmla="*/ 157 w 160"/>
                  <a:gd name="T121" fmla="*/ 123 h 218"/>
                  <a:gd name="T122" fmla="*/ 44 w 160"/>
                  <a:gd name="T1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218">
                    <a:moveTo>
                      <a:pt x="146" y="35"/>
                    </a:moveTo>
                    <a:lnTo>
                      <a:pt x="146" y="33"/>
                    </a:lnTo>
                    <a:lnTo>
                      <a:pt x="143" y="30"/>
                    </a:lnTo>
                    <a:lnTo>
                      <a:pt x="140" y="29"/>
                    </a:lnTo>
                    <a:lnTo>
                      <a:pt x="140" y="29"/>
                    </a:lnTo>
                    <a:lnTo>
                      <a:pt x="140" y="30"/>
                    </a:lnTo>
                    <a:lnTo>
                      <a:pt x="141" y="30"/>
                    </a:lnTo>
                    <a:lnTo>
                      <a:pt x="141" y="32"/>
                    </a:lnTo>
                    <a:lnTo>
                      <a:pt x="141" y="33"/>
                    </a:lnTo>
                    <a:lnTo>
                      <a:pt x="141" y="35"/>
                    </a:lnTo>
                    <a:lnTo>
                      <a:pt x="143" y="36"/>
                    </a:lnTo>
                    <a:lnTo>
                      <a:pt x="146" y="35"/>
                    </a:lnTo>
                    <a:lnTo>
                      <a:pt x="146" y="36"/>
                    </a:lnTo>
                    <a:lnTo>
                      <a:pt x="146" y="35"/>
                    </a:lnTo>
                    <a:close/>
                    <a:moveTo>
                      <a:pt x="94" y="16"/>
                    </a:moveTo>
                    <a:lnTo>
                      <a:pt x="91" y="16"/>
                    </a:lnTo>
                    <a:lnTo>
                      <a:pt x="91" y="16"/>
                    </a:lnTo>
                    <a:lnTo>
                      <a:pt x="89" y="18"/>
                    </a:lnTo>
                    <a:lnTo>
                      <a:pt x="91" y="18"/>
                    </a:lnTo>
                    <a:lnTo>
                      <a:pt x="93" y="19"/>
                    </a:lnTo>
                    <a:lnTo>
                      <a:pt x="94" y="19"/>
                    </a:lnTo>
                    <a:lnTo>
                      <a:pt x="94" y="19"/>
                    </a:lnTo>
                    <a:lnTo>
                      <a:pt x="94" y="16"/>
                    </a:lnTo>
                    <a:close/>
                    <a:moveTo>
                      <a:pt x="138" y="21"/>
                    </a:moveTo>
                    <a:lnTo>
                      <a:pt x="135" y="19"/>
                    </a:lnTo>
                    <a:lnTo>
                      <a:pt x="135" y="18"/>
                    </a:lnTo>
                    <a:lnTo>
                      <a:pt x="136" y="18"/>
                    </a:lnTo>
                    <a:lnTo>
                      <a:pt x="136" y="16"/>
                    </a:lnTo>
                    <a:lnTo>
                      <a:pt x="136" y="15"/>
                    </a:lnTo>
                    <a:lnTo>
                      <a:pt x="136" y="15"/>
                    </a:lnTo>
                    <a:lnTo>
                      <a:pt x="133" y="13"/>
                    </a:lnTo>
                    <a:lnTo>
                      <a:pt x="133" y="13"/>
                    </a:lnTo>
                    <a:lnTo>
                      <a:pt x="132" y="11"/>
                    </a:lnTo>
                    <a:lnTo>
                      <a:pt x="132" y="11"/>
                    </a:lnTo>
                    <a:lnTo>
                      <a:pt x="129" y="13"/>
                    </a:lnTo>
                    <a:lnTo>
                      <a:pt x="129" y="15"/>
                    </a:lnTo>
                    <a:lnTo>
                      <a:pt x="129" y="16"/>
                    </a:lnTo>
                    <a:lnTo>
                      <a:pt x="129" y="16"/>
                    </a:lnTo>
                    <a:lnTo>
                      <a:pt x="127" y="19"/>
                    </a:lnTo>
                    <a:lnTo>
                      <a:pt x="129" y="21"/>
                    </a:lnTo>
                    <a:lnTo>
                      <a:pt x="129" y="22"/>
                    </a:lnTo>
                    <a:lnTo>
                      <a:pt x="132" y="24"/>
                    </a:lnTo>
                    <a:lnTo>
                      <a:pt x="132" y="24"/>
                    </a:lnTo>
                    <a:lnTo>
                      <a:pt x="133" y="22"/>
                    </a:lnTo>
                    <a:lnTo>
                      <a:pt x="135" y="22"/>
                    </a:lnTo>
                    <a:lnTo>
                      <a:pt x="138" y="24"/>
                    </a:lnTo>
                    <a:lnTo>
                      <a:pt x="138" y="22"/>
                    </a:lnTo>
                    <a:lnTo>
                      <a:pt x="138" y="21"/>
                    </a:lnTo>
                    <a:close/>
                    <a:moveTo>
                      <a:pt x="47" y="10"/>
                    </a:moveTo>
                    <a:lnTo>
                      <a:pt x="46" y="8"/>
                    </a:lnTo>
                    <a:lnTo>
                      <a:pt x="46" y="10"/>
                    </a:lnTo>
                    <a:lnTo>
                      <a:pt x="44" y="10"/>
                    </a:lnTo>
                    <a:lnTo>
                      <a:pt x="44" y="10"/>
                    </a:lnTo>
                    <a:lnTo>
                      <a:pt x="46" y="11"/>
                    </a:lnTo>
                    <a:lnTo>
                      <a:pt x="47" y="11"/>
                    </a:lnTo>
                    <a:lnTo>
                      <a:pt x="47" y="10"/>
                    </a:lnTo>
                    <a:lnTo>
                      <a:pt x="47" y="10"/>
                    </a:lnTo>
                    <a:close/>
                    <a:moveTo>
                      <a:pt x="160" y="108"/>
                    </a:moveTo>
                    <a:lnTo>
                      <a:pt x="158" y="107"/>
                    </a:lnTo>
                    <a:lnTo>
                      <a:pt x="158" y="105"/>
                    </a:lnTo>
                    <a:lnTo>
                      <a:pt x="158" y="105"/>
                    </a:lnTo>
                    <a:lnTo>
                      <a:pt x="155" y="104"/>
                    </a:lnTo>
                    <a:lnTo>
                      <a:pt x="155" y="104"/>
                    </a:lnTo>
                    <a:lnTo>
                      <a:pt x="155" y="101"/>
                    </a:lnTo>
                    <a:lnTo>
                      <a:pt x="155" y="99"/>
                    </a:lnTo>
                    <a:lnTo>
                      <a:pt x="155" y="99"/>
                    </a:lnTo>
                    <a:lnTo>
                      <a:pt x="154" y="96"/>
                    </a:lnTo>
                    <a:lnTo>
                      <a:pt x="154" y="94"/>
                    </a:lnTo>
                    <a:lnTo>
                      <a:pt x="155" y="93"/>
                    </a:lnTo>
                    <a:lnTo>
                      <a:pt x="155" y="91"/>
                    </a:lnTo>
                    <a:lnTo>
                      <a:pt x="155" y="90"/>
                    </a:lnTo>
                    <a:lnTo>
                      <a:pt x="155" y="88"/>
                    </a:lnTo>
                    <a:lnTo>
                      <a:pt x="155" y="88"/>
                    </a:lnTo>
                    <a:lnTo>
                      <a:pt x="155" y="88"/>
                    </a:lnTo>
                    <a:lnTo>
                      <a:pt x="155" y="87"/>
                    </a:lnTo>
                    <a:lnTo>
                      <a:pt x="155" y="87"/>
                    </a:lnTo>
                    <a:lnTo>
                      <a:pt x="155" y="85"/>
                    </a:lnTo>
                    <a:lnTo>
                      <a:pt x="155" y="83"/>
                    </a:lnTo>
                    <a:lnTo>
                      <a:pt x="154" y="82"/>
                    </a:lnTo>
                    <a:lnTo>
                      <a:pt x="152" y="82"/>
                    </a:lnTo>
                    <a:lnTo>
                      <a:pt x="152" y="80"/>
                    </a:lnTo>
                    <a:lnTo>
                      <a:pt x="152" y="77"/>
                    </a:lnTo>
                    <a:lnTo>
                      <a:pt x="154" y="76"/>
                    </a:lnTo>
                    <a:lnTo>
                      <a:pt x="154" y="74"/>
                    </a:lnTo>
                    <a:lnTo>
                      <a:pt x="152" y="71"/>
                    </a:lnTo>
                    <a:lnTo>
                      <a:pt x="152" y="71"/>
                    </a:lnTo>
                    <a:lnTo>
                      <a:pt x="147" y="68"/>
                    </a:lnTo>
                    <a:lnTo>
                      <a:pt x="144" y="65"/>
                    </a:lnTo>
                    <a:lnTo>
                      <a:pt x="146" y="63"/>
                    </a:lnTo>
                    <a:lnTo>
                      <a:pt x="146" y="62"/>
                    </a:lnTo>
                    <a:lnTo>
                      <a:pt x="147" y="60"/>
                    </a:lnTo>
                    <a:lnTo>
                      <a:pt x="147" y="60"/>
                    </a:lnTo>
                    <a:lnTo>
                      <a:pt x="149" y="58"/>
                    </a:lnTo>
                    <a:lnTo>
                      <a:pt x="150" y="55"/>
                    </a:lnTo>
                    <a:lnTo>
                      <a:pt x="150" y="55"/>
                    </a:lnTo>
                    <a:lnTo>
                      <a:pt x="150" y="54"/>
                    </a:lnTo>
                    <a:lnTo>
                      <a:pt x="147" y="46"/>
                    </a:lnTo>
                    <a:lnTo>
                      <a:pt x="147" y="43"/>
                    </a:lnTo>
                    <a:lnTo>
                      <a:pt x="147" y="41"/>
                    </a:lnTo>
                    <a:lnTo>
                      <a:pt x="147" y="40"/>
                    </a:lnTo>
                    <a:lnTo>
                      <a:pt x="147" y="40"/>
                    </a:lnTo>
                    <a:lnTo>
                      <a:pt x="143" y="40"/>
                    </a:lnTo>
                    <a:lnTo>
                      <a:pt x="141" y="38"/>
                    </a:lnTo>
                    <a:lnTo>
                      <a:pt x="140" y="36"/>
                    </a:lnTo>
                    <a:lnTo>
                      <a:pt x="140" y="32"/>
                    </a:lnTo>
                    <a:lnTo>
                      <a:pt x="138" y="27"/>
                    </a:lnTo>
                    <a:lnTo>
                      <a:pt x="133" y="27"/>
                    </a:lnTo>
                    <a:lnTo>
                      <a:pt x="127" y="24"/>
                    </a:lnTo>
                    <a:lnTo>
                      <a:pt x="125" y="19"/>
                    </a:lnTo>
                    <a:lnTo>
                      <a:pt x="124" y="19"/>
                    </a:lnTo>
                    <a:lnTo>
                      <a:pt x="121" y="19"/>
                    </a:lnTo>
                    <a:lnTo>
                      <a:pt x="118" y="18"/>
                    </a:lnTo>
                    <a:lnTo>
                      <a:pt x="115" y="21"/>
                    </a:lnTo>
                    <a:lnTo>
                      <a:pt x="113" y="24"/>
                    </a:lnTo>
                    <a:lnTo>
                      <a:pt x="110" y="26"/>
                    </a:lnTo>
                    <a:lnTo>
                      <a:pt x="110" y="27"/>
                    </a:lnTo>
                    <a:lnTo>
                      <a:pt x="104" y="27"/>
                    </a:lnTo>
                    <a:lnTo>
                      <a:pt x="102" y="29"/>
                    </a:lnTo>
                    <a:lnTo>
                      <a:pt x="97" y="33"/>
                    </a:lnTo>
                    <a:lnTo>
                      <a:pt x="97" y="33"/>
                    </a:lnTo>
                    <a:lnTo>
                      <a:pt x="91" y="32"/>
                    </a:lnTo>
                    <a:lnTo>
                      <a:pt x="88" y="32"/>
                    </a:lnTo>
                    <a:lnTo>
                      <a:pt x="88" y="32"/>
                    </a:lnTo>
                    <a:lnTo>
                      <a:pt x="86" y="30"/>
                    </a:lnTo>
                    <a:lnTo>
                      <a:pt x="89" y="27"/>
                    </a:lnTo>
                    <a:lnTo>
                      <a:pt x="91" y="24"/>
                    </a:lnTo>
                    <a:lnTo>
                      <a:pt x="89" y="21"/>
                    </a:lnTo>
                    <a:lnTo>
                      <a:pt x="89" y="21"/>
                    </a:lnTo>
                    <a:lnTo>
                      <a:pt x="85" y="22"/>
                    </a:lnTo>
                    <a:lnTo>
                      <a:pt x="79" y="19"/>
                    </a:lnTo>
                    <a:lnTo>
                      <a:pt x="75" y="19"/>
                    </a:lnTo>
                    <a:lnTo>
                      <a:pt x="75" y="18"/>
                    </a:lnTo>
                    <a:lnTo>
                      <a:pt x="75" y="18"/>
                    </a:lnTo>
                    <a:lnTo>
                      <a:pt x="71" y="18"/>
                    </a:lnTo>
                    <a:lnTo>
                      <a:pt x="71" y="16"/>
                    </a:lnTo>
                    <a:lnTo>
                      <a:pt x="72" y="15"/>
                    </a:lnTo>
                    <a:lnTo>
                      <a:pt x="72" y="11"/>
                    </a:lnTo>
                    <a:lnTo>
                      <a:pt x="72" y="10"/>
                    </a:lnTo>
                    <a:lnTo>
                      <a:pt x="71" y="8"/>
                    </a:lnTo>
                    <a:lnTo>
                      <a:pt x="68" y="8"/>
                    </a:lnTo>
                    <a:lnTo>
                      <a:pt x="68" y="7"/>
                    </a:lnTo>
                    <a:lnTo>
                      <a:pt x="68" y="7"/>
                    </a:lnTo>
                    <a:lnTo>
                      <a:pt x="66" y="7"/>
                    </a:lnTo>
                    <a:lnTo>
                      <a:pt x="66" y="7"/>
                    </a:lnTo>
                    <a:lnTo>
                      <a:pt x="66" y="7"/>
                    </a:lnTo>
                    <a:lnTo>
                      <a:pt x="63" y="7"/>
                    </a:lnTo>
                    <a:lnTo>
                      <a:pt x="61" y="8"/>
                    </a:lnTo>
                    <a:lnTo>
                      <a:pt x="60" y="8"/>
                    </a:lnTo>
                    <a:lnTo>
                      <a:pt x="58" y="7"/>
                    </a:lnTo>
                    <a:lnTo>
                      <a:pt x="54" y="5"/>
                    </a:lnTo>
                    <a:lnTo>
                      <a:pt x="54" y="5"/>
                    </a:lnTo>
                    <a:lnTo>
                      <a:pt x="52" y="5"/>
                    </a:lnTo>
                    <a:lnTo>
                      <a:pt x="49" y="5"/>
                    </a:lnTo>
                    <a:lnTo>
                      <a:pt x="49" y="5"/>
                    </a:lnTo>
                    <a:lnTo>
                      <a:pt x="49" y="8"/>
                    </a:lnTo>
                    <a:lnTo>
                      <a:pt x="50" y="11"/>
                    </a:lnTo>
                    <a:lnTo>
                      <a:pt x="54" y="15"/>
                    </a:lnTo>
                    <a:lnTo>
                      <a:pt x="54" y="16"/>
                    </a:lnTo>
                    <a:lnTo>
                      <a:pt x="54" y="18"/>
                    </a:lnTo>
                    <a:lnTo>
                      <a:pt x="52" y="19"/>
                    </a:lnTo>
                    <a:lnTo>
                      <a:pt x="49" y="21"/>
                    </a:lnTo>
                    <a:lnTo>
                      <a:pt x="49" y="21"/>
                    </a:lnTo>
                    <a:lnTo>
                      <a:pt x="49" y="22"/>
                    </a:lnTo>
                    <a:lnTo>
                      <a:pt x="50" y="22"/>
                    </a:lnTo>
                    <a:lnTo>
                      <a:pt x="50" y="22"/>
                    </a:lnTo>
                    <a:lnTo>
                      <a:pt x="52" y="22"/>
                    </a:lnTo>
                    <a:lnTo>
                      <a:pt x="54" y="24"/>
                    </a:lnTo>
                    <a:lnTo>
                      <a:pt x="54" y="32"/>
                    </a:lnTo>
                    <a:lnTo>
                      <a:pt x="54" y="33"/>
                    </a:lnTo>
                    <a:lnTo>
                      <a:pt x="55" y="35"/>
                    </a:lnTo>
                    <a:lnTo>
                      <a:pt x="57" y="35"/>
                    </a:lnTo>
                    <a:lnTo>
                      <a:pt x="58" y="35"/>
                    </a:lnTo>
                    <a:lnTo>
                      <a:pt x="60" y="36"/>
                    </a:lnTo>
                    <a:lnTo>
                      <a:pt x="66" y="44"/>
                    </a:lnTo>
                    <a:lnTo>
                      <a:pt x="69" y="46"/>
                    </a:lnTo>
                    <a:lnTo>
                      <a:pt x="66" y="44"/>
                    </a:lnTo>
                    <a:lnTo>
                      <a:pt x="64" y="44"/>
                    </a:lnTo>
                    <a:lnTo>
                      <a:pt x="60" y="38"/>
                    </a:lnTo>
                    <a:lnTo>
                      <a:pt x="58" y="36"/>
                    </a:lnTo>
                    <a:lnTo>
                      <a:pt x="54" y="36"/>
                    </a:lnTo>
                    <a:lnTo>
                      <a:pt x="49" y="35"/>
                    </a:lnTo>
                    <a:lnTo>
                      <a:pt x="47" y="36"/>
                    </a:lnTo>
                    <a:lnTo>
                      <a:pt x="47" y="38"/>
                    </a:lnTo>
                    <a:lnTo>
                      <a:pt x="46" y="41"/>
                    </a:lnTo>
                    <a:lnTo>
                      <a:pt x="47" y="46"/>
                    </a:lnTo>
                    <a:lnTo>
                      <a:pt x="46" y="51"/>
                    </a:lnTo>
                    <a:lnTo>
                      <a:pt x="46" y="46"/>
                    </a:lnTo>
                    <a:lnTo>
                      <a:pt x="46" y="46"/>
                    </a:lnTo>
                    <a:lnTo>
                      <a:pt x="43" y="44"/>
                    </a:lnTo>
                    <a:lnTo>
                      <a:pt x="43" y="44"/>
                    </a:lnTo>
                    <a:lnTo>
                      <a:pt x="43" y="46"/>
                    </a:lnTo>
                    <a:lnTo>
                      <a:pt x="41" y="49"/>
                    </a:lnTo>
                    <a:lnTo>
                      <a:pt x="41" y="49"/>
                    </a:lnTo>
                    <a:lnTo>
                      <a:pt x="39" y="47"/>
                    </a:lnTo>
                    <a:lnTo>
                      <a:pt x="39" y="46"/>
                    </a:lnTo>
                    <a:lnTo>
                      <a:pt x="38" y="41"/>
                    </a:lnTo>
                    <a:lnTo>
                      <a:pt x="30" y="41"/>
                    </a:lnTo>
                    <a:lnTo>
                      <a:pt x="25" y="41"/>
                    </a:lnTo>
                    <a:lnTo>
                      <a:pt x="24" y="43"/>
                    </a:lnTo>
                    <a:lnTo>
                      <a:pt x="22" y="46"/>
                    </a:lnTo>
                    <a:lnTo>
                      <a:pt x="21" y="47"/>
                    </a:lnTo>
                    <a:lnTo>
                      <a:pt x="21" y="51"/>
                    </a:lnTo>
                    <a:lnTo>
                      <a:pt x="22" y="52"/>
                    </a:lnTo>
                    <a:lnTo>
                      <a:pt x="24" y="54"/>
                    </a:lnTo>
                    <a:lnTo>
                      <a:pt x="22" y="55"/>
                    </a:lnTo>
                    <a:lnTo>
                      <a:pt x="24" y="62"/>
                    </a:lnTo>
                    <a:lnTo>
                      <a:pt x="22" y="63"/>
                    </a:lnTo>
                    <a:lnTo>
                      <a:pt x="22" y="65"/>
                    </a:lnTo>
                    <a:lnTo>
                      <a:pt x="21" y="69"/>
                    </a:lnTo>
                    <a:lnTo>
                      <a:pt x="21" y="71"/>
                    </a:lnTo>
                    <a:lnTo>
                      <a:pt x="21" y="72"/>
                    </a:lnTo>
                    <a:lnTo>
                      <a:pt x="16" y="72"/>
                    </a:lnTo>
                    <a:lnTo>
                      <a:pt x="14" y="72"/>
                    </a:lnTo>
                    <a:lnTo>
                      <a:pt x="14" y="72"/>
                    </a:lnTo>
                    <a:lnTo>
                      <a:pt x="14" y="74"/>
                    </a:lnTo>
                    <a:lnTo>
                      <a:pt x="14" y="74"/>
                    </a:lnTo>
                    <a:lnTo>
                      <a:pt x="14" y="76"/>
                    </a:lnTo>
                    <a:lnTo>
                      <a:pt x="14" y="76"/>
                    </a:lnTo>
                    <a:lnTo>
                      <a:pt x="16" y="77"/>
                    </a:lnTo>
                    <a:lnTo>
                      <a:pt x="16" y="77"/>
                    </a:lnTo>
                    <a:lnTo>
                      <a:pt x="19" y="77"/>
                    </a:lnTo>
                    <a:lnTo>
                      <a:pt x="19" y="77"/>
                    </a:lnTo>
                    <a:lnTo>
                      <a:pt x="19" y="79"/>
                    </a:lnTo>
                    <a:lnTo>
                      <a:pt x="21" y="79"/>
                    </a:lnTo>
                    <a:lnTo>
                      <a:pt x="21" y="80"/>
                    </a:lnTo>
                    <a:lnTo>
                      <a:pt x="21" y="82"/>
                    </a:lnTo>
                    <a:lnTo>
                      <a:pt x="19" y="85"/>
                    </a:lnTo>
                    <a:lnTo>
                      <a:pt x="18" y="87"/>
                    </a:lnTo>
                    <a:lnTo>
                      <a:pt x="16" y="87"/>
                    </a:lnTo>
                    <a:lnTo>
                      <a:pt x="16" y="88"/>
                    </a:lnTo>
                    <a:lnTo>
                      <a:pt x="14" y="88"/>
                    </a:lnTo>
                    <a:lnTo>
                      <a:pt x="14" y="88"/>
                    </a:lnTo>
                    <a:lnTo>
                      <a:pt x="14" y="90"/>
                    </a:lnTo>
                    <a:lnTo>
                      <a:pt x="16" y="91"/>
                    </a:lnTo>
                    <a:lnTo>
                      <a:pt x="16" y="91"/>
                    </a:lnTo>
                    <a:lnTo>
                      <a:pt x="16" y="91"/>
                    </a:lnTo>
                    <a:lnTo>
                      <a:pt x="14" y="93"/>
                    </a:lnTo>
                    <a:lnTo>
                      <a:pt x="11" y="94"/>
                    </a:lnTo>
                    <a:lnTo>
                      <a:pt x="10" y="94"/>
                    </a:lnTo>
                    <a:lnTo>
                      <a:pt x="8" y="94"/>
                    </a:lnTo>
                    <a:lnTo>
                      <a:pt x="8" y="96"/>
                    </a:lnTo>
                    <a:lnTo>
                      <a:pt x="7" y="94"/>
                    </a:lnTo>
                    <a:lnTo>
                      <a:pt x="5" y="93"/>
                    </a:lnTo>
                    <a:lnTo>
                      <a:pt x="4" y="94"/>
                    </a:lnTo>
                    <a:lnTo>
                      <a:pt x="4" y="94"/>
                    </a:lnTo>
                    <a:lnTo>
                      <a:pt x="2" y="94"/>
                    </a:lnTo>
                    <a:lnTo>
                      <a:pt x="2" y="96"/>
                    </a:lnTo>
                    <a:lnTo>
                      <a:pt x="2" y="97"/>
                    </a:lnTo>
                    <a:lnTo>
                      <a:pt x="4" y="101"/>
                    </a:lnTo>
                    <a:lnTo>
                      <a:pt x="4" y="101"/>
                    </a:lnTo>
                    <a:lnTo>
                      <a:pt x="4" y="102"/>
                    </a:lnTo>
                    <a:lnTo>
                      <a:pt x="5" y="102"/>
                    </a:lnTo>
                    <a:lnTo>
                      <a:pt x="5" y="105"/>
                    </a:lnTo>
                    <a:lnTo>
                      <a:pt x="5" y="105"/>
                    </a:lnTo>
                    <a:lnTo>
                      <a:pt x="5" y="107"/>
                    </a:lnTo>
                    <a:lnTo>
                      <a:pt x="5" y="108"/>
                    </a:lnTo>
                    <a:lnTo>
                      <a:pt x="4" y="112"/>
                    </a:lnTo>
                    <a:lnTo>
                      <a:pt x="4" y="113"/>
                    </a:lnTo>
                    <a:lnTo>
                      <a:pt x="4" y="113"/>
                    </a:lnTo>
                    <a:lnTo>
                      <a:pt x="4" y="113"/>
                    </a:lnTo>
                    <a:lnTo>
                      <a:pt x="5" y="113"/>
                    </a:lnTo>
                    <a:lnTo>
                      <a:pt x="5" y="115"/>
                    </a:lnTo>
                    <a:lnTo>
                      <a:pt x="2" y="116"/>
                    </a:lnTo>
                    <a:lnTo>
                      <a:pt x="0" y="118"/>
                    </a:lnTo>
                    <a:lnTo>
                      <a:pt x="0" y="118"/>
                    </a:lnTo>
                    <a:lnTo>
                      <a:pt x="0" y="118"/>
                    </a:lnTo>
                    <a:lnTo>
                      <a:pt x="0" y="118"/>
                    </a:lnTo>
                    <a:lnTo>
                      <a:pt x="0" y="119"/>
                    </a:lnTo>
                    <a:lnTo>
                      <a:pt x="0" y="119"/>
                    </a:lnTo>
                    <a:lnTo>
                      <a:pt x="2" y="119"/>
                    </a:lnTo>
                    <a:lnTo>
                      <a:pt x="2" y="119"/>
                    </a:lnTo>
                    <a:lnTo>
                      <a:pt x="4" y="121"/>
                    </a:lnTo>
                    <a:lnTo>
                      <a:pt x="2" y="126"/>
                    </a:lnTo>
                    <a:lnTo>
                      <a:pt x="2" y="126"/>
                    </a:lnTo>
                    <a:lnTo>
                      <a:pt x="2" y="126"/>
                    </a:lnTo>
                    <a:lnTo>
                      <a:pt x="2" y="126"/>
                    </a:lnTo>
                    <a:lnTo>
                      <a:pt x="4" y="127"/>
                    </a:lnTo>
                    <a:lnTo>
                      <a:pt x="5" y="129"/>
                    </a:lnTo>
                    <a:lnTo>
                      <a:pt x="7" y="129"/>
                    </a:lnTo>
                    <a:lnTo>
                      <a:pt x="7" y="129"/>
                    </a:lnTo>
                    <a:lnTo>
                      <a:pt x="5" y="130"/>
                    </a:lnTo>
                    <a:lnTo>
                      <a:pt x="5" y="132"/>
                    </a:lnTo>
                    <a:lnTo>
                      <a:pt x="5" y="132"/>
                    </a:lnTo>
                    <a:lnTo>
                      <a:pt x="7" y="132"/>
                    </a:lnTo>
                    <a:lnTo>
                      <a:pt x="8" y="133"/>
                    </a:lnTo>
                    <a:lnTo>
                      <a:pt x="8" y="135"/>
                    </a:lnTo>
                    <a:lnTo>
                      <a:pt x="8" y="137"/>
                    </a:lnTo>
                    <a:lnTo>
                      <a:pt x="8" y="137"/>
                    </a:lnTo>
                    <a:lnTo>
                      <a:pt x="5" y="140"/>
                    </a:lnTo>
                    <a:lnTo>
                      <a:pt x="5" y="141"/>
                    </a:lnTo>
                    <a:lnTo>
                      <a:pt x="4" y="143"/>
                    </a:lnTo>
                    <a:lnTo>
                      <a:pt x="4" y="143"/>
                    </a:lnTo>
                    <a:lnTo>
                      <a:pt x="4" y="144"/>
                    </a:lnTo>
                    <a:lnTo>
                      <a:pt x="5" y="146"/>
                    </a:lnTo>
                    <a:lnTo>
                      <a:pt x="5" y="148"/>
                    </a:lnTo>
                    <a:lnTo>
                      <a:pt x="7" y="149"/>
                    </a:lnTo>
                    <a:lnTo>
                      <a:pt x="8" y="151"/>
                    </a:lnTo>
                    <a:lnTo>
                      <a:pt x="10" y="151"/>
                    </a:lnTo>
                    <a:lnTo>
                      <a:pt x="11" y="151"/>
                    </a:lnTo>
                    <a:lnTo>
                      <a:pt x="11" y="152"/>
                    </a:lnTo>
                    <a:lnTo>
                      <a:pt x="11" y="154"/>
                    </a:lnTo>
                    <a:lnTo>
                      <a:pt x="11" y="154"/>
                    </a:lnTo>
                    <a:lnTo>
                      <a:pt x="10" y="154"/>
                    </a:lnTo>
                    <a:lnTo>
                      <a:pt x="10" y="154"/>
                    </a:lnTo>
                    <a:lnTo>
                      <a:pt x="10" y="155"/>
                    </a:lnTo>
                    <a:lnTo>
                      <a:pt x="8" y="157"/>
                    </a:lnTo>
                    <a:lnTo>
                      <a:pt x="8" y="159"/>
                    </a:lnTo>
                    <a:lnTo>
                      <a:pt x="8" y="160"/>
                    </a:lnTo>
                    <a:lnTo>
                      <a:pt x="8" y="160"/>
                    </a:lnTo>
                    <a:lnTo>
                      <a:pt x="8" y="160"/>
                    </a:lnTo>
                    <a:lnTo>
                      <a:pt x="8" y="160"/>
                    </a:lnTo>
                    <a:lnTo>
                      <a:pt x="10" y="162"/>
                    </a:lnTo>
                    <a:lnTo>
                      <a:pt x="11" y="162"/>
                    </a:lnTo>
                    <a:lnTo>
                      <a:pt x="13" y="163"/>
                    </a:lnTo>
                    <a:lnTo>
                      <a:pt x="13" y="165"/>
                    </a:lnTo>
                    <a:lnTo>
                      <a:pt x="13" y="165"/>
                    </a:lnTo>
                    <a:lnTo>
                      <a:pt x="14" y="168"/>
                    </a:lnTo>
                    <a:lnTo>
                      <a:pt x="16" y="169"/>
                    </a:lnTo>
                    <a:lnTo>
                      <a:pt x="16" y="168"/>
                    </a:lnTo>
                    <a:lnTo>
                      <a:pt x="16" y="168"/>
                    </a:lnTo>
                    <a:lnTo>
                      <a:pt x="18" y="168"/>
                    </a:lnTo>
                    <a:lnTo>
                      <a:pt x="18" y="168"/>
                    </a:lnTo>
                    <a:lnTo>
                      <a:pt x="18" y="168"/>
                    </a:lnTo>
                    <a:lnTo>
                      <a:pt x="19" y="168"/>
                    </a:lnTo>
                    <a:lnTo>
                      <a:pt x="19" y="168"/>
                    </a:lnTo>
                    <a:lnTo>
                      <a:pt x="19" y="168"/>
                    </a:lnTo>
                    <a:lnTo>
                      <a:pt x="21" y="169"/>
                    </a:lnTo>
                    <a:lnTo>
                      <a:pt x="21" y="169"/>
                    </a:lnTo>
                    <a:lnTo>
                      <a:pt x="21" y="169"/>
                    </a:lnTo>
                    <a:lnTo>
                      <a:pt x="22" y="169"/>
                    </a:lnTo>
                    <a:lnTo>
                      <a:pt x="24" y="169"/>
                    </a:lnTo>
                    <a:lnTo>
                      <a:pt x="25" y="169"/>
                    </a:lnTo>
                    <a:lnTo>
                      <a:pt x="27" y="169"/>
                    </a:lnTo>
                    <a:lnTo>
                      <a:pt x="27" y="169"/>
                    </a:lnTo>
                    <a:lnTo>
                      <a:pt x="29" y="171"/>
                    </a:lnTo>
                    <a:lnTo>
                      <a:pt x="30" y="171"/>
                    </a:lnTo>
                    <a:lnTo>
                      <a:pt x="33" y="171"/>
                    </a:lnTo>
                    <a:lnTo>
                      <a:pt x="38" y="173"/>
                    </a:lnTo>
                    <a:lnTo>
                      <a:pt x="39" y="173"/>
                    </a:lnTo>
                    <a:lnTo>
                      <a:pt x="39" y="174"/>
                    </a:lnTo>
                    <a:lnTo>
                      <a:pt x="39" y="174"/>
                    </a:lnTo>
                    <a:lnTo>
                      <a:pt x="39" y="176"/>
                    </a:lnTo>
                    <a:lnTo>
                      <a:pt x="39" y="176"/>
                    </a:lnTo>
                    <a:lnTo>
                      <a:pt x="36" y="180"/>
                    </a:lnTo>
                    <a:lnTo>
                      <a:pt x="35" y="182"/>
                    </a:lnTo>
                    <a:lnTo>
                      <a:pt x="33" y="185"/>
                    </a:lnTo>
                    <a:lnTo>
                      <a:pt x="33" y="188"/>
                    </a:lnTo>
                    <a:lnTo>
                      <a:pt x="32" y="191"/>
                    </a:lnTo>
                    <a:lnTo>
                      <a:pt x="32" y="191"/>
                    </a:lnTo>
                    <a:lnTo>
                      <a:pt x="30" y="195"/>
                    </a:lnTo>
                    <a:lnTo>
                      <a:pt x="30" y="198"/>
                    </a:lnTo>
                    <a:lnTo>
                      <a:pt x="30" y="199"/>
                    </a:lnTo>
                    <a:lnTo>
                      <a:pt x="30" y="202"/>
                    </a:lnTo>
                    <a:lnTo>
                      <a:pt x="30" y="204"/>
                    </a:lnTo>
                    <a:lnTo>
                      <a:pt x="29" y="205"/>
                    </a:lnTo>
                    <a:lnTo>
                      <a:pt x="29" y="205"/>
                    </a:lnTo>
                    <a:lnTo>
                      <a:pt x="29" y="207"/>
                    </a:lnTo>
                    <a:lnTo>
                      <a:pt x="30" y="210"/>
                    </a:lnTo>
                    <a:lnTo>
                      <a:pt x="30" y="210"/>
                    </a:lnTo>
                    <a:lnTo>
                      <a:pt x="30" y="210"/>
                    </a:lnTo>
                    <a:lnTo>
                      <a:pt x="32" y="210"/>
                    </a:lnTo>
                    <a:lnTo>
                      <a:pt x="36" y="210"/>
                    </a:lnTo>
                    <a:lnTo>
                      <a:pt x="39" y="210"/>
                    </a:lnTo>
                    <a:lnTo>
                      <a:pt x="39" y="210"/>
                    </a:lnTo>
                    <a:lnTo>
                      <a:pt x="41" y="210"/>
                    </a:lnTo>
                    <a:lnTo>
                      <a:pt x="41" y="210"/>
                    </a:lnTo>
                    <a:lnTo>
                      <a:pt x="43" y="210"/>
                    </a:lnTo>
                    <a:lnTo>
                      <a:pt x="44" y="210"/>
                    </a:lnTo>
                    <a:lnTo>
                      <a:pt x="44" y="210"/>
                    </a:lnTo>
                    <a:lnTo>
                      <a:pt x="46" y="210"/>
                    </a:lnTo>
                    <a:lnTo>
                      <a:pt x="46" y="209"/>
                    </a:lnTo>
                    <a:lnTo>
                      <a:pt x="47" y="209"/>
                    </a:lnTo>
                    <a:lnTo>
                      <a:pt x="47" y="209"/>
                    </a:lnTo>
                    <a:lnTo>
                      <a:pt x="47" y="209"/>
                    </a:lnTo>
                    <a:lnTo>
                      <a:pt x="47" y="209"/>
                    </a:lnTo>
                    <a:lnTo>
                      <a:pt x="47" y="209"/>
                    </a:lnTo>
                    <a:lnTo>
                      <a:pt x="47" y="209"/>
                    </a:lnTo>
                    <a:lnTo>
                      <a:pt x="46" y="209"/>
                    </a:lnTo>
                    <a:lnTo>
                      <a:pt x="44" y="209"/>
                    </a:lnTo>
                    <a:lnTo>
                      <a:pt x="44" y="207"/>
                    </a:lnTo>
                    <a:lnTo>
                      <a:pt x="46" y="207"/>
                    </a:lnTo>
                    <a:lnTo>
                      <a:pt x="46" y="205"/>
                    </a:lnTo>
                    <a:lnTo>
                      <a:pt x="46" y="205"/>
                    </a:lnTo>
                    <a:lnTo>
                      <a:pt x="47" y="205"/>
                    </a:lnTo>
                    <a:lnTo>
                      <a:pt x="49" y="205"/>
                    </a:lnTo>
                    <a:lnTo>
                      <a:pt x="50" y="207"/>
                    </a:lnTo>
                    <a:lnTo>
                      <a:pt x="50" y="207"/>
                    </a:lnTo>
                    <a:lnTo>
                      <a:pt x="50" y="207"/>
                    </a:lnTo>
                    <a:lnTo>
                      <a:pt x="50" y="207"/>
                    </a:lnTo>
                    <a:lnTo>
                      <a:pt x="52" y="207"/>
                    </a:lnTo>
                    <a:lnTo>
                      <a:pt x="52" y="207"/>
                    </a:lnTo>
                    <a:lnTo>
                      <a:pt x="52" y="209"/>
                    </a:lnTo>
                    <a:lnTo>
                      <a:pt x="54" y="209"/>
                    </a:lnTo>
                    <a:lnTo>
                      <a:pt x="57" y="209"/>
                    </a:lnTo>
                    <a:lnTo>
                      <a:pt x="58" y="209"/>
                    </a:lnTo>
                    <a:lnTo>
                      <a:pt x="61" y="210"/>
                    </a:lnTo>
                    <a:lnTo>
                      <a:pt x="64" y="212"/>
                    </a:lnTo>
                    <a:lnTo>
                      <a:pt x="64" y="212"/>
                    </a:lnTo>
                    <a:lnTo>
                      <a:pt x="66" y="212"/>
                    </a:lnTo>
                    <a:lnTo>
                      <a:pt x="68" y="212"/>
                    </a:lnTo>
                    <a:lnTo>
                      <a:pt x="68" y="210"/>
                    </a:lnTo>
                    <a:lnTo>
                      <a:pt x="68" y="210"/>
                    </a:lnTo>
                    <a:lnTo>
                      <a:pt x="69" y="210"/>
                    </a:lnTo>
                    <a:lnTo>
                      <a:pt x="72" y="212"/>
                    </a:lnTo>
                    <a:lnTo>
                      <a:pt x="72" y="212"/>
                    </a:lnTo>
                    <a:lnTo>
                      <a:pt x="72" y="213"/>
                    </a:lnTo>
                    <a:lnTo>
                      <a:pt x="72" y="213"/>
                    </a:lnTo>
                    <a:lnTo>
                      <a:pt x="74" y="213"/>
                    </a:lnTo>
                    <a:lnTo>
                      <a:pt x="74" y="215"/>
                    </a:lnTo>
                    <a:lnTo>
                      <a:pt x="74" y="215"/>
                    </a:lnTo>
                    <a:lnTo>
                      <a:pt x="74" y="215"/>
                    </a:lnTo>
                    <a:lnTo>
                      <a:pt x="75" y="215"/>
                    </a:lnTo>
                    <a:lnTo>
                      <a:pt x="75" y="216"/>
                    </a:lnTo>
                    <a:lnTo>
                      <a:pt x="75" y="216"/>
                    </a:lnTo>
                    <a:lnTo>
                      <a:pt x="75" y="216"/>
                    </a:lnTo>
                    <a:lnTo>
                      <a:pt x="75" y="218"/>
                    </a:lnTo>
                    <a:lnTo>
                      <a:pt x="77" y="218"/>
                    </a:lnTo>
                    <a:lnTo>
                      <a:pt x="77" y="218"/>
                    </a:lnTo>
                    <a:lnTo>
                      <a:pt x="79" y="216"/>
                    </a:lnTo>
                    <a:lnTo>
                      <a:pt x="79" y="216"/>
                    </a:lnTo>
                    <a:lnTo>
                      <a:pt x="79" y="216"/>
                    </a:lnTo>
                    <a:lnTo>
                      <a:pt x="79" y="216"/>
                    </a:lnTo>
                    <a:lnTo>
                      <a:pt x="80" y="215"/>
                    </a:lnTo>
                    <a:lnTo>
                      <a:pt x="80" y="212"/>
                    </a:lnTo>
                    <a:lnTo>
                      <a:pt x="80" y="212"/>
                    </a:lnTo>
                    <a:lnTo>
                      <a:pt x="80" y="212"/>
                    </a:lnTo>
                    <a:lnTo>
                      <a:pt x="80" y="212"/>
                    </a:lnTo>
                    <a:lnTo>
                      <a:pt x="80" y="210"/>
                    </a:lnTo>
                    <a:lnTo>
                      <a:pt x="80" y="212"/>
                    </a:lnTo>
                    <a:lnTo>
                      <a:pt x="82" y="212"/>
                    </a:lnTo>
                    <a:lnTo>
                      <a:pt x="82" y="212"/>
                    </a:lnTo>
                    <a:lnTo>
                      <a:pt x="83" y="212"/>
                    </a:lnTo>
                    <a:lnTo>
                      <a:pt x="85" y="212"/>
                    </a:lnTo>
                    <a:lnTo>
                      <a:pt x="88" y="212"/>
                    </a:lnTo>
                    <a:lnTo>
                      <a:pt x="88" y="212"/>
                    </a:lnTo>
                    <a:lnTo>
                      <a:pt x="88" y="212"/>
                    </a:lnTo>
                    <a:lnTo>
                      <a:pt x="88" y="213"/>
                    </a:lnTo>
                    <a:lnTo>
                      <a:pt x="89" y="215"/>
                    </a:lnTo>
                    <a:lnTo>
                      <a:pt x="89" y="215"/>
                    </a:lnTo>
                    <a:lnTo>
                      <a:pt x="91" y="215"/>
                    </a:lnTo>
                    <a:lnTo>
                      <a:pt x="93" y="215"/>
                    </a:lnTo>
                    <a:lnTo>
                      <a:pt x="93" y="215"/>
                    </a:lnTo>
                    <a:lnTo>
                      <a:pt x="94" y="215"/>
                    </a:lnTo>
                    <a:lnTo>
                      <a:pt x="96" y="215"/>
                    </a:lnTo>
                    <a:lnTo>
                      <a:pt x="97" y="213"/>
                    </a:lnTo>
                    <a:lnTo>
                      <a:pt x="97" y="213"/>
                    </a:lnTo>
                    <a:lnTo>
                      <a:pt x="99" y="212"/>
                    </a:lnTo>
                    <a:lnTo>
                      <a:pt x="100" y="212"/>
                    </a:lnTo>
                    <a:lnTo>
                      <a:pt x="102" y="210"/>
                    </a:lnTo>
                    <a:lnTo>
                      <a:pt x="102" y="210"/>
                    </a:lnTo>
                    <a:lnTo>
                      <a:pt x="111" y="209"/>
                    </a:lnTo>
                    <a:lnTo>
                      <a:pt x="111" y="209"/>
                    </a:lnTo>
                    <a:lnTo>
                      <a:pt x="111" y="209"/>
                    </a:lnTo>
                    <a:lnTo>
                      <a:pt x="111" y="207"/>
                    </a:lnTo>
                    <a:lnTo>
                      <a:pt x="111" y="207"/>
                    </a:lnTo>
                    <a:lnTo>
                      <a:pt x="111" y="207"/>
                    </a:lnTo>
                    <a:lnTo>
                      <a:pt x="113" y="207"/>
                    </a:lnTo>
                    <a:lnTo>
                      <a:pt x="113" y="207"/>
                    </a:lnTo>
                    <a:lnTo>
                      <a:pt x="115" y="207"/>
                    </a:lnTo>
                    <a:lnTo>
                      <a:pt x="115" y="209"/>
                    </a:lnTo>
                    <a:lnTo>
                      <a:pt x="116" y="209"/>
                    </a:lnTo>
                    <a:lnTo>
                      <a:pt x="116" y="209"/>
                    </a:lnTo>
                    <a:lnTo>
                      <a:pt x="118" y="209"/>
                    </a:lnTo>
                    <a:lnTo>
                      <a:pt x="119" y="209"/>
                    </a:lnTo>
                    <a:lnTo>
                      <a:pt x="121" y="209"/>
                    </a:lnTo>
                    <a:lnTo>
                      <a:pt x="121" y="209"/>
                    </a:lnTo>
                    <a:lnTo>
                      <a:pt x="121" y="210"/>
                    </a:lnTo>
                    <a:lnTo>
                      <a:pt x="121" y="210"/>
                    </a:lnTo>
                    <a:lnTo>
                      <a:pt x="121" y="210"/>
                    </a:lnTo>
                    <a:lnTo>
                      <a:pt x="122" y="212"/>
                    </a:lnTo>
                    <a:lnTo>
                      <a:pt x="122" y="212"/>
                    </a:lnTo>
                    <a:lnTo>
                      <a:pt x="124" y="213"/>
                    </a:lnTo>
                    <a:lnTo>
                      <a:pt x="125" y="213"/>
                    </a:lnTo>
                    <a:lnTo>
                      <a:pt x="125" y="213"/>
                    </a:lnTo>
                    <a:lnTo>
                      <a:pt x="125" y="212"/>
                    </a:lnTo>
                    <a:lnTo>
                      <a:pt x="125" y="210"/>
                    </a:lnTo>
                    <a:lnTo>
                      <a:pt x="125" y="209"/>
                    </a:lnTo>
                    <a:lnTo>
                      <a:pt x="125" y="207"/>
                    </a:lnTo>
                    <a:lnTo>
                      <a:pt x="125" y="207"/>
                    </a:lnTo>
                    <a:lnTo>
                      <a:pt x="124" y="207"/>
                    </a:lnTo>
                    <a:lnTo>
                      <a:pt x="124" y="207"/>
                    </a:lnTo>
                    <a:lnTo>
                      <a:pt x="124" y="205"/>
                    </a:lnTo>
                    <a:lnTo>
                      <a:pt x="124" y="204"/>
                    </a:lnTo>
                    <a:lnTo>
                      <a:pt x="124" y="202"/>
                    </a:lnTo>
                    <a:lnTo>
                      <a:pt x="122" y="199"/>
                    </a:lnTo>
                    <a:lnTo>
                      <a:pt x="121" y="198"/>
                    </a:lnTo>
                    <a:lnTo>
                      <a:pt x="121" y="196"/>
                    </a:lnTo>
                    <a:lnTo>
                      <a:pt x="122" y="195"/>
                    </a:lnTo>
                    <a:lnTo>
                      <a:pt x="124" y="195"/>
                    </a:lnTo>
                    <a:lnTo>
                      <a:pt x="127" y="191"/>
                    </a:lnTo>
                    <a:lnTo>
                      <a:pt x="127" y="191"/>
                    </a:lnTo>
                    <a:lnTo>
                      <a:pt x="127" y="191"/>
                    </a:lnTo>
                    <a:lnTo>
                      <a:pt x="129" y="191"/>
                    </a:lnTo>
                    <a:lnTo>
                      <a:pt x="130" y="190"/>
                    </a:lnTo>
                    <a:lnTo>
                      <a:pt x="132" y="190"/>
                    </a:lnTo>
                    <a:lnTo>
                      <a:pt x="132" y="190"/>
                    </a:lnTo>
                    <a:lnTo>
                      <a:pt x="132" y="188"/>
                    </a:lnTo>
                    <a:lnTo>
                      <a:pt x="133" y="185"/>
                    </a:lnTo>
                    <a:lnTo>
                      <a:pt x="133" y="184"/>
                    </a:lnTo>
                    <a:lnTo>
                      <a:pt x="136" y="185"/>
                    </a:lnTo>
                    <a:lnTo>
                      <a:pt x="138" y="185"/>
                    </a:lnTo>
                    <a:lnTo>
                      <a:pt x="138" y="185"/>
                    </a:lnTo>
                    <a:lnTo>
                      <a:pt x="140" y="184"/>
                    </a:lnTo>
                    <a:lnTo>
                      <a:pt x="140" y="184"/>
                    </a:lnTo>
                    <a:lnTo>
                      <a:pt x="140" y="180"/>
                    </a:lnTo>
                    <a:lnTo>
                      <a:pt x="140" y="179"/>
                    </a:lnTo>
                    <a:lnTo>
                      <a:pt x="140" y="179"/>
                    </a:lnTo>
                    <a:lnTo>
                      <a:pt x="138" y="177"/>
                    </a:lnTo>
                    <a:lnTo>
                      <a:pt x="136" y="176"/>
                    </a:lnTo>
                    <a:lnTo>
                      <a:pt x="135" y="174"/>
                    </a:lnTo>
                    <a:lnTo>
                      <a:pt x="133" y="174"/>
                    </a:lnTo>
                    <a:lnTo>
                      <a:pt x="132" y="174"/>
                    </a:lnTo>
                    <a:lnTo>
                      <a:pt x="132" y="173"/>
                    </a:lnTo>
                    <a:lnTo>
                      <a:pt x="132" y="171"/>
                    </a:lnTo>
                    <a:lnTo>
                      <a:pt x="130" y="169"/>
                    </a:lnTo>
                    <a:lnTo>
                      <a:pt x="130" y="169"/>
                    </a:lnTo>
                    <a:lnTo>
                      <a:pt x="129" y="169"/>
                    </a:lnTo>
                    <a:lnTo>
                      <a:pt x="127" y="168"/>
                    </a:lnTo>
                    <a:lnTo>
                      <a:pt x="125" y="166"/>
                    </a:lnTo>
                    <a:lnTo>
                      <a:pt x="125" y="166"/>
                    </a:lnTo>
                    <a:lnTo>
                      <a:pt x="124" y="163"/>
                    </a:lnTo>
                    <a:lnTo>
                      <a:pt x="124" y="163"/>
                    </a:lnTo>
                    <a:lnTo>
                      <a:pt x="122" y="165"/>
                    </a:lnTo>
                    <a:lnTo>
                      <a:pt x="121" y="163"/>
                    </a:lnTo>
                    <a:lnTo>
                      <a:pt x="119" y="162"/>
                    </a:lnTo>
                    <a:lnTo>
                      <a:pt x="119" y="160"/>
                    </a:lnTo>
                    <a:lnTo>
                      <a:pt x="118" y="157"/>
                    </a:lnTo>
                    <a:lnTo>
                      <a:pt x="116" y="155"/>
                    </a:lnTo>
                    <a:lnTo>
                      <a:pt x="116" y="154"/>
                    </a:lnTo>
                    <a:lnTo>
                      <a:pt x="115" y="154"/>
                    </a:lnTo>
                    <a:lnTo>
                      <a:pt x="115" y="152"/>
                    </a:lnTo>
                    <a:lnTo>
                      <a:pt x="116" y="151"/>
                    </a:lnTo>
                    <a:lnTo>
                      <a:pt x="116" y="151"/>
                    </a:lnTo>
                    <a:lnTo>
                      <a:pt x="116" y="149"/>
                    </a:lnTo>
                    <a:lnTo>
                      <a:pt x="116" y="149"/>
                    </a:lnTo>
                    <a:lnTo>
                      <a:pt x="116" y="149"/>
                    </a:lnTo>
                    <a:lnTo>
                      <a:pt x="116" y="148"/>
                    </a:lnTo>
                    <a:lnTo>
                      <a:pt x="116" y="148"/>
                    </a:lnTo>
                    <a:lnTo>
                      <a:pt x="115" y="146"/>
                    </a:lnTo>
                    <a:lnTo>
                      <a:pt x="113" y="144"/>
                    </a:lnTo>
                    <a:lnTo>
                      <a:pt x="111" y="143"/>
                    </a:lnTo>
                    <a:lnTo>
                      <a:pt x="111" y="141"/>
                    </a:lnTo>
                    <a:lnTo>
                      <a:pt x="110" y="141"/>
                    </a:lnTo>
                    <a:lnTo>
                      <a:pt x="110" y="140"/>
                    </a:lnTo>
                    <a:lnTo>
                      <a:pt x="110" y="138"/>
                    </a:lnTo>
                    <a:lnTo>
                      <a:pt x="110" y="138"/>
                    </a:lnTo>
                    <a:lnTo>
                      <a:pt x="110" y="137"/>
                    </a:lnTo>
                    <a:lnTo>
                      <a:pt x="110" y="137"/>
                    </a:lnTo>
                    <a:lnTo>
                      <a:pt x="110" y="138"/>
                    </a:lnTo>
                    <a:lnTo>
                      <a:pt x="111" y="140"/>
                    </a:lnTo>
                    <a:lnTo>
                      <a:pt x="113" y="141"/>
                    </a:lnTo>
                    <a:lnTo>
                      <a:pt x="113" y="141"/>
                    </a:lnTo>
                    <a:lnTo>
                      <a:pt x="113" y="141"/>
                    </a:lnTo>
                    <a:lnTo>
                      <a:pt x="113" y="140"/>
                    </a:lnTo>
                    <a:lnTo>
                      <a:pt x="115" y="138"/>
                    </a:lnTo>
                    <a:lnTo>
                      <a:pt x="115" y="138"/>
                    </a:lnTo>
                    <a:lnTo>
                      <a:pt x="116" y="137"/>
                    </a:lnTo>
                    <a:lnTo>
                      <a:pt x="118" y="135"/>
                    </a:lnTo>
                    <a:lnTo>
                      <a:pt x="119" y="135"/>
                    </a:lnTo>
                    <a:lnTo>
                      <a:pt x="119" y="135"/>
                    </a:lnTo>
                    <a:lnTo>
                      <a:pt x="121" y="133"/>
                    </a:lnTo>
                    <a:lnTo>
                      <a:pt x="122" y="135"/>
                    </a:lnTo>
                    <a:lnTo>
                      <a:pt x="124" y="135"/>
                    </a:lnTo>
                    <a:lnTo>
                      <a:pt x="124" y="135"/>
                    </a:lnTo>
                    <a:lnTo>
                      <a:pt x="124" y="135"/>
                    </a:lnTo>
                    <a:lnTo>
                      <a:pt x="125" y="133"/>
                    </a:lnTo>
                    <a:lnTo>
                      <a:pt x="125" y="132"/>
                    </a:lnTo>
                    <a:lnTo>
                      <a:pt x="129" y="132"/>
                    </a:lnTo>
                    <a:lnTo>
                      <a:pt x="129" y="132"/>
                    </a:lnTo>
                    <a:lnTo>
                      <a:pt x="129" y="130"/>
                    </a:lnTo>
                    <a:lnTo>
                      <a:pt x="130" y="130"/>
                    </a:lnTo>
                    <a:lnTo>
                      <a:pt x="130" y="130"/>
                    </a:lnTo>
                    <a:lnTo>
                      <a:pt x="130" y="130"/>
                    </a:lnTo>
                    <a:lnTo>
                      <a:pt x="132" y="129"/>
                    </a:lnTo>
                    <a:lnTo>
                      <a:pt x="132" y="129"/>
                    </a:lnTo>
                    <a:lnTo>
                      <a:pt x="132" y="129"/>
                    </a:lnTo>
                    <a:lnTo>
                      <a:pt x="133" y="129"/>
                    </a:lnTo>
                    <a:lnTo>
                      <a:pt x="133" y="129"/>
                    </a:lnTo>
                    <a:lnTo>
                      <a:pt x="133" y="129"/>
                    </a:lnTo>
                    <a:lnTo>
                      <a:pt x="133" y="129"/>
                    </a:lnTo>
                    <a:lnTo>
                      <a:pt x="135" y="127"/>
                    </a:lnTo>
                    <a:lnTo>
                      <a:pt x="135" y="127"/>
                    </a:lnTo>
                    <a:lnTo>
                      <a:pt x="138" y="126"/>
                    </a:lnTo>
                    <a:lnTo>
                      <a:pt x="141" y="126"/>
                    </a:lnTo>
                    <a:lnTo>
                      <a:pt x="143" y="124"/>
                    </a:lnTo>
                    <a:lnTo>
                      <a:pt x="144" y="123"/>
                    </a:lnTo>
                    <a:lnTo>
                      <a:pt x="146" y="123"/>
                    </a:lnTo>
                    <a:lnTo>
                      <a:pt x="149" y="121"/>
                    </a:lnTo>
                    <a:lnTo>
                      <a:pt x="149" y="121"/>
                    </a:lnTo>
                    <a:lnTo>
                      <a:pt x="147" y="119"/>
                    </a:lnTo>
                    <a:lnTo>
                      <a:pt x="147" y="119"/>
                    </a:lnTo>
                    <a:lnTo>
                      <a:pt x="147" y="118"/>
                    </a:lnTo>
                    <a:lnTo>
                      <a:pt x="147" y="118"/>
                    </a:lnTo>
                    <a:lnTo>
                      <a:pt x="149" y="118"/>
                    </a:lnTo>
                    <a:lnTo>
                      <a:pt x="149" y="118"/>
                    </a:lnTo>
                    <a:lnTo>
                      <a:pt x="152" y="118"/>
                    </a:lnTo>
                    <a:lnTo>
                      <a:pt x="152" y="118"/>
                    </a:lnTo>
                    <a:lnTo>
                      <a:pt x="152" y="118"/>
                    </a:lnTo>
                    <a:lnTo>
                      <a:pt x="152" y="119"/>
                    </a:lnTo>
                    <a:lnTo>
                      <a:pt x="154" y="121"/>
                    </a:lnTo>
                    <a:lnTo>
                      <a:pt x="154" y="121"/>
                    </a:lnTo>
                    <a:lnTo>
                      <a:pt x="154" y="121"/>
                    </a:lnTo>
                    <a:lnTo>
                      <a:pt x="154" y="123"/>
                    </a:lnTo>
                    <a:lnTo>
                      <a:pt x="154" y="123"/>
                    </a:lnTo>
                    <a:lnTo>
                      <a:pt x="155" y="124"/>
                    </a:lnTo>
                    <a:lnTo>
                      <a:pt x="157" y="124"/>
                    </a:lnTo>
                    <a:lnTo>
                      <a:pt x="157" y="124"/>
                    </a:lnTo>
                    <a:lnTo>
                      <a:pt x="157" y="123"/>
                    </a:lnTo>
                    <a:lnTo>
                      <a:pt x="157" y="123"/>
                    </a:lnTo>
                    <a:lnTo>
                      <a:pt x="157" y="123"/>
                    </a:lnTo>
                    <a:lnTo>
                      <a:pt x="158" y="118"/>
                    </a:lnTo>
                    <a:lnTo>
                      <a:pt x="160" y="116"/>
                    </a:lnTo>
                    <a:lnTo>
                      <a:pt x="160" y="112"/>
                    </a:lnTo>
                    <a:lnTo>
                      <a:pt x="160" y="108"/>
                    </a:lnTo>
                    <a:close/>
                    <a:moveTo>
                      <a:pt x="44" y="5"/>
                    </a:moveTo>
                    <a:lnTo>
                      <a:pt x="44" y="4"/>
                    </a:lnTo>
                    <a:lnTo>
                      <a:pt x="44" y="2"/>
                    </a:lnTo>
                    <a:lnTo>
                      <a:pt x="44" y="2"/>
                    </a:lnTo>
                    <a:lnTo>
                      <a:pt x="46" y="0"/>
                    </a:lnTo>
                    <a:lnTo>
                      <a:pt x="44" y="0"/>
                    </a:lnTo>
                    <a:lnTo>
                      <a:pt x="43" y="5"/>
                    </a:lnTo>
                    <a:lnTo>
                      <a:pt x="43" y="8"/>
                    </a:lnTo>
                    <a:lnTo>
                      <a:pt x="43" y="8"/>
                    </a:lnTo>
                    <a:lnTo>
                      <a:pt x="43" y="7"/>
                    </a:lnTo>
                    <a:lnTo>
                      <a:pt x="47" y="5"/>
                    </a:lnTo>
                    <a:lnTo>
                      <a:pt x="49" y="5"/>
                    </a:lnTo>
                    <a:lnTo>
                      <a:pt x="44"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8" name="Freeform 55">
                <a:extLst>
                  <a:ext uri="{FF2B5EF4-FFF2-40B4-BE49-F238E27FC236}">
                    <a16:creationId xmlns:a16="http://schemas.microsoft.com/office/drawing/2014/main" id="{4EC11834-50CA-607B-22F9-D00B27507369}"/>
                  </a:ext>
                </a:extLst>
              </p:cNvPr>
              <p:cNvSpPr>
                <a:spLocks/>
              </p:cNvSpPr>
              <p:nvPr/>
            </p:nvSpPr>
            <p:spPr bwMode="gray">
              <a:xfrm>
                <a:off x="3408" y="1354"/>
                <a:ext cx="29" cy="31"/>
              </a:xfrm>
              <a:custGeom>
                <a:avLst/>
                <a:gdLst>
                  <a:gd name="T0" fmla="*/ 25 w 29"/>
                  <a:gd name="T1" fmla="*/ 22 h 31"/>
                  <a:gd name="T2" fmla="*/ 24 w 29"/>
                  <a:gd name="T3" fmla="*/ 23 h 31"/>
                  <a:gd name="T4" fmla="*/ 22 w 29"/>
                  <a:gd name="T5" fmla="*/ 26 h 31"/>
                  <a:gd name="T6" fmla="*/ 21 w 29"/>
                  <a:gd name="T7" fmla="*/ 29 h 31"/>
                  <a:gd name="T8" fmla="*/ 19 w 29"/>
                  <a:gd name="T9" fmla="*/ 29 h 31"/>
                  <a:gd name="T10" fmla="*/ 18 w 29"/>
                  <a:gd name="T11" fmla="*/ 29 h 31"/>
                  <a:gd name="T12" fmla="*/ 18 w 29"/>
                  <a:gd name="T13" fmla="*/ 29 h 31"/>
                  <a:gd name="T14" fmla="*/ 16 w 29"/>
                  <a:gd name="T15" fmla="*/ 28 h 31"/>
                  <a:gd name="T16" fmla="*/ 15 w 29"/>
                  <a:gd name="T17" fmla="*/ 28 h 31"/>
                  <a:gd name="T18" fmla="*/ 13 w 29"/>
                  <a:gd name="T19" fmla="*/ 29 h 31"/>
                  <a:gd name="T20" fmla="*/ 10 w 29"/>
                  <a:gd name="T21" fmla="*/ 29 h 31"/>
                  <a:gd name="T22" fmla="*/ 7 w 29"/>
                  <a:gd name="T23" fmla="*/ 29 h 31"/>
                  <a:gd name="T24" fmla="*/ 5 w 29"/>
                  <a:gd name="T25" fmla="*/ 31 h 31"/>
                  <a:gd name="T26" fmla="*/ 4 w 29"/>
                  <a:gd name="T27" fmla="*/ 31 h 31"/>
                  <a:gd name="T28" fmla="*/ 2 w 29"/>
                  <a:gd name="T29" fmla="*/ 31 h 31"/>
                  <a:gd name="T30" fmla="*/ 0 w 29"/>
                  <a:gd name="T31" fmla="*/ 29 h 31"/>
                  <a:gd name="T32" fmla="*/ 0 w 29"/>
                  <a:gd name="T33" fmla="*/ 26 h 31"/>
                  <a:gd name="T34" fmla="*/ 0 w 29"/>
                  <a:gd name="T35" fmla="*/ 23 h 31"/>
                  <a:gd name="T36" fmla="*/ 0 w 29"/>
                  <a:gd name="T37" fmla="*/ 20 h 31"/>
                  <a:gd name="T38" fmla="*/ 0 w 29"/>
                  <a:gd name="T39" fmla="*/ 17 h 31"/>
                  <a:gd name="T40" fmla="*/ 0 w 29"/>
                  <a:gd name="T41" fmla="*/ 17 h 31"/>
                  <a:gd name="T42" fmla="*/ 4 w 29"/>
                  <a:gd name="T43" fmla="*/ 14 h 31"/>
                  <a:gd name="T44" fmla="*/ 4 w 29"/>
                  <a:gd name="T45" fmla="*/ 14 h 31"/>
                  <a:gd name="T46" fmla="*/ 7 w 29"/>
                  <a:gd name="T47" fmla="*/ 9 h 31"/>
                  <a:gd name="T48" fmla="*/ 8 w 29"/>
                  <a:gd name="T49" fmla="*/ 6 h 31"/>
                  <a:gd name="T50" fmla="*/ 11 w 29"/>
                  <a:gd name="T51" fmla="*/ 4 h 31"/>
                  <a:gd name="T52" fmla="*/ 11 w 29"/>
                  <a:gd name="T53" fmla="*/ 3 h 31"/>
                  <a:gd name="T54" fmla="*/ 11 w 29"/>
                  <a:gd name="T55" fmla="*/ 3 h 31"/>
                  <a:gd name="T56" fmla="*/ 13 w 29"/>
                  <a:gd name="T57" fmla="*/ 3 h 31"/>
                  <a:gd name="T58" fmla="*/ 16 w 29"/>
                  <a:gd name="T59" fmla="*/ 6 h 31"/>
                  <a:gd name="T60" fmla="*/ 16 w 29"/>
                  <a:gd name="T61" fmla="*/ 6 h 31"/>
                  <a:gd name="T62" fmla="*/ 18 w 29"/>
                  <a:gd name="T63" fmla="*/ 4 h 31"/>
                  <a:gd name="T64" fmla="*/ 19 w 29"/>
                  <a:gd name="T65" fmla="*/ 1 h 31"/>
                  <a:gd name="T66" fmla="*/ 19 w 29"/>
                  <a:gd name="T67" fmla="*/ 1 h 31"/>
                  <a:gd name="T68" fmla="*/ 19 w 29"/>
                  <a:gd name="T69" fmla="*/ 1 h 31"/>
                  <a:gd name="T70" fmla="*/ 22 w 29"/>
                  <a:gd name="T71" fmla="*/ 0 h 31"/>
                  <a:gd name="T72" fmla="*/ 24 w 29"/>
                  <a:gd name="T73" fmla="*/ 0 h 31"/>
                  <a:gd name="T74" fmla="*/ 24 w 29"/>
                  <a:gd name="T75" fmla="*/ 0 h 31"/>
                  <a:gd name="T76" fmla="*/ 27 w 29"/>
                  <a:gd name="T77" fmla="*/ 4 h 31"/>
                  <a:gd name="T78" fmla="*/ 27 w 29"/>
                  <a:gd name="T79" fmla="*/ 6 h 31"/>
                  <a:gd name="T80" fmla="*/ 29 w 29"/>
                  <a:gd name="T81" fmla="*/ 9 h 31"/>
                  <a:gd name="T82" fmla="*/ 29 w 29"/>
                  <a:gd name="T83" fmla="*/ 11 h 31"/>
                  <a:gd name="T84" fmla="*/ 27 w 29"/>
                  <a:gd name="T85" fmla="*/ 12 h 31"/>
                  <a:gd name="T86" fmla="*/ 27 w 29"/>
                  <a:gd name="T87" fmla="*/ 12 h 31"/>
                  <a:gd name="T88" fmla="*/ 22 w 29"/>
                  <a:gd name="T89" fmla="*/ 15 h 31"/>
                  <a:gd name="T90" fmla="*/ 18 w 29"/>
                  <a:gd name="T91" fmla="*/ 17 h 31"/>
                  <a:gd name="T92" fmla="*/ 15 w 29"/>
                  <a:gd name="T93" fmla="*/ 20 h 31"/>
                  <a:gd name="T94" fmla="*/ 13 w 29"/>
                  <a:gd name="T95" fmla="*/ 20 h 31"/>
                  <a:gd name="T96" fmla="*/ 13 w 29"/>
                  <a:gd name="T97" fmla="*/ 22 h 31"/>
                  <a:gd name="T98" fmla="*/ 15 w 29"/>
                  <a:gd name="T99" fmla="*/ 22 h 31"/>
                  <a:gd name="T100" fmla="*/ 16 w 29"/>
                  <a:gd name="T101" fmla="*/ 20 h 31"/>
                  <a:gd name="T102" fmla="*/ 18 w 29"/>
                  <a:gd name="T103" fmla="*/ 20 h 31"/>
                  <a:gd name="T104" fmla="*/ 21 w 29"/>
                  <a:gd name="T105" fmla="*/ 20 h 31"/>
                  <a:gd name="T106" fmla="*/ 22 w 29"/>
                  <a:gd name="T107" fmla="*/ 20 h 31"/>
                  <a:gd name="T108" fmla="*/ 24 w 29"/>
                  <a:gd name="T109" fmla="*/ 20 h 31"/>
                  <a:gd name="T110" fmla="*/ 25 w 29"/>
                  <a:gd name="T111"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 h="31">
                    <a:moveTo>
                      <a:pt x="25" y="22"/>
                    </a:moveTo>
                    <a:lnTo>
                      <a:pt x="24" y="23"/>
                    </a:lnTo>
                    <a:lnTo>
                      <a:pt x="22" y="26"/>
                    </a:lnTo>
                    <a:lnTo>
                      <a:pt x="21" y="29"/>
                    </a:lnTo>
                    <a:lnTo>
                      <a:pt x="19" y="29"/>
                    </a:lnTo>
                    <a:lnTo>
                      <a:pt x="18" y="29"/>
                    </a:lnTo>
                    <a:lnTo>
                      <a:pt x="18" y="29"/>
                    </a:lnTo>
                    <a:lnTo>
                      <a:pt x="16" y="28"/>
                    </a:lnTo>
                    <a:lnTo>
                      <a:pt x="15" y="28"/>
                    </a:lnTo>
                    <a:lnTo>
                      <a:pt x="13" y="29"/>
                    </a:lnTo>
                    <a:lnTo>
                      <a:pt x="10" y="29"/>
                    </a:lnTo>
                    <a:lnTo>
                      <a:pt x="7" y="29"/>
                    </a:lnTo>
                    <a:lnTo>
                      <a:pt x="5" y="31"/>
                    </a:lnTo>
                    <a:lnTo>
                      <a:pt x="4" y="31"/>
                    </a:lnTo>
                    <a:lnTo>
                      <a:pt x="2" y="31"/>
                    </a:lnTo>
                    <a:lnTo>
                      <a:pt x="0" y="29"/>
                    </a:lnTo>
                    <a:lnTo>
                      <a:pt x="0" y="26"/>
                    </a:lnTo>
                    <a:lnTo>
                      <a:pt x="0" y="23"/>
                    </a:lnTo>
                    <a:lnTo>
                      <a:pt x="0" y="20"/>
                    </a:lnTo>
                    <a:lnTo>
                      <a:pt x="0" y="17"/>
                    </a:lnTo>
                    <a:lnTo>
                      <a:pt x="0" y="17"/>
                    </a:lnTo>
                    <a:lnTo>
                      <a:pt x="4" y="14"/>
                    </a:lnTo>
                    <a:lnTo>
                      <a:pt x="4" y="14"/>
                    </a:lnTo>
                    <a:lnTo>
                      <a:pt x="7" y="9"/>
                    </a:lnTo>
                    <a:lnTo>
                      <a:pt x="8" y="6"/>
                    </a:lnTo>
                    <a:lnTo>
                      <a:pt x="11" y="4"/>
                    </a:lnTo>
                    <a:lnTo>
                      <a:pt x="11" y="3"/>
                    </a:lnTo>
                    <a:lnTo>
                      <a:pt x="11" y="3"/>
                    </a:lnTo>
                    <a:lnTo>
                      <a:pt x="13" y="3"/>
                    </a:lnTo>
                    <a:lnTo>
                      <a:pt x="16" y="6"/>
                    </a:lnTo>
                    <a:lnTo>
                      <a:pt x="16" y="6"/>
                    </a:lnTo>
                    <a:lnTo>
                      <a:pt x="18" y="4"/>
                    </a:lnTo>
                    <a:lnTo>
                      <a:pt x="19" y="1"/>
                    </a:lnTo>
                    <a:lnTo>
                      <a:pt x="19" y="1"/>
                    </a:lnTo>
                    <a:lnTo>
                      <a:pt x="19" y="1"/>
                    </a:lnTo>
                    <a:lnTo>
                      <a:pt x="22" y="0"/>
                    </a:lnTo>
                    <a:lnTo>
                      <a:pt x="24" y="0"/>
                    </a:lnTo>
                    <a:lnTo>
                      <a:pt x="24" y="0"/>
                    </a:lnTo>
                    <a:lnTo>
                      <a:pt x="27" y="4"/>
                    </a:lnTo>
                    <a:lnTo>
                      <a:pt x="27" y="6"/>
                    </a:lnTo>
                    <a:lnTo>
                      <a:pt x="29" y="9"/>
                    </a:lnTo>
                    <a:lnTo>
                      <a:pt x="29" y="11"/>
                    </a:lnTo>
                    <a:lnTo>
                      <a:pt x="27" y="12"/>
                    </a:lnTo>
                    <a:lnTo>
                      <a:pt x="27" y="12"/>
                    </a:lnTo>
                    <a:lnTo>
                      <a:pt x="22" y="15"/>
                    </a:lnTo>
                    <a:lnTo>
                      <a:pt x="18" y="17"/>
                    </a:lnTo>
                    <a:lnTo>
                      <a:pt x="15" y="20"/>
                    </a:lnTo>
                    <a:lnTo>
                      <a:pt x="13" y="20"/>
                    </a:lnTo>
                    <a:lnTo>
                      <a:pt x="13" y="22"/>
                    </a:lnTo>
                    <a:lnTo>
                      <a:pt x="15" y="22"/>
                    </a:lnTo>
                    <a:lnTo>
                      <a:pt x="16" y="20"/>
                    </a:lnTo>
                    <a:lnTo>
                      <a:pt x="18" y="20"/>
                    </a:lnTo>
                    <a:lnTo>
                      <a:pt x="21" y="20"/>
                    </a:lnTo>
                    <a:lnTo>
                      <a:pt x="22" y="20"/>
                    </a:lnTo>
                    <a:lnTo>
                      <a:pt x="24" y="20"/>
                    </a:lnTo>
                    <a:lnTo>
                      <a:pt x="25" y="2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29" name="Freeform 56">
                <a:extLst>
                  <a:ext uri="{FF2B5EF4-FFF2-40B4-BE49-F238E27FC236}">
                    <a16:creationId xmlns:a16="http://schemas.microsoft.com/office/drawing/2014/main" id="{021AB9C4-AA37-E79A-B172-47EF1294C15C}"/>
                  </a:ext>
                </a:extLst>
              </p:cNvPr>
              <p:cNvSpPr>
                <a:spLocks noEditPoints="1"/>
              </p:cNvSpPr>
              <p:nvPr/>
            </p:nvSpPr>
            <p:spPr bwMode="gray">
              <a:xfrm>
                <a:off x="2817" y="333"/>
                <a:ext cx="124" cy="99"/>
              </a:xfrm>
              <a:custGeom>
                <a:avLst/>
                <a:gdLst>
                  <a:gd name="T0" fmla="*/ 57 w 124"/>
                  <a:gd name="T1" fmla="*/ 91 h 99"/>
                  <a:gd name="T2" fmla="*/ 58 w 124"/>
                  <a:gd name="T3" fmla="*/ 99 h 99"/>
                  <a:gd name="T4" fmla="*/ 41 w 124"/>
                  <a:gd name="T5" fmla="*/ 91 h 99"/>
                  <a:gd name="T6" fmla="*/ 40 w 124"/>
                  <a:gd name="T7" fmla="*/ 93 h 99"/>
                  <a:gd name="T8" fmla="*/ 77 w 124"/>
                  <a:gd name="T9" fmla="*/ 88 h 99"/>
                  <a:gd name="T10" fmla="*/ 72 w 124"/>
                  <a:gd name="T11" fmla="*/ 86 h 99"/>
                  <a:gd name="T12" fmla="*/ 72 w 124"/>
                  <a:gd name="T13" fmla="*/ 91 h 99"/>
                  <a:gd name="T14" fmla="*/ 35 w 124"/>
                  <a:gd name="T15" fmla="*/ 91 h 99"/>
                  <a:gd name="T16" fmla="*/ 30 w 124"/>
                  <a:gd name="T17" fmla="*/ 91 h 99"/>
                  <a:gd name="T18" fmla="*/ 49 w 124"/>
                  <a:gd name="T19" fmla="*/ 83 h 99"/>
                  <a:gd name="T20" fmla="*/ 44 w 124"/>
                  <a:gd name="T21" fmla="*/ 93 h 99"/>
                  <a:gd name="T22" fmla="*/ 50 w 124"/>
                  <a:gd name="T23" fmla="*/ 83 h 99"/>
                  <a:gd name="T24" fmla="*/ 116 w 124"/>
                  <a:gd name="T25" fmla="*/ 85 h 99"/>
                  <a:gd name="T26" fmla="*/ 124 w 124"/>
                  <a:gd name="T27" fmla="*/ 83 h 99"/>
                  <a:gd name="T28" fmla="*/ 44 w 124"/>
                  <a:gd name="T29" fmla="*/ 69 h 99"/>
                  <a:gd name="T30" fmla="*/ 33 w 124"/>
                  <a:gd name="T31" fmla="*/ 71 h 99"/>
                  <a:gd name="T32" fmla="*/ 33 w 124"/>
                  <a:gd name="T33" fmla="*/ 83 h 99"/>
                  <a:gd name="T34" fmla="*/ 47 w 124"/>
                  <a:gd name="T35" fmla="*/ 82 h 99"/>
                  <a:gd name="T36" fmla="*/ 79 w 124"/>
                  <a:gd name="T37" fmla="*/ 66 h 99"/>
                  <a:gd name="T38" fmla="*/ 80 w 124"/>
                  <a:gd name="T39" fmla="*/ 69 h 99"/>
                  <a:gd name="T40" fmla="*/ 43 w 124"/>
                  <a:gd name="T41" fmla="*/ 60 h 99"/>
                  <a:gd name="T42" fmla="*/ 44 w 124"/>
                  <a:gd name="T43" fmla="*/ 61 h 99"/>
                  <a:gd name="T44" fmla="*/ 79 w 124"/>
                  <a:gd name="T45" fmla="*/ 55 h 99"/>
                  <a:gd name="T46" fmla="*/ 72 w 124"/>
                  <a:gd name="T47" fmla="*/ 54 h 99"/>
                  <a:gd name="T48" fmla="*/ 68 w 124"/>
                  <a:gd name="T49" fmla="*/ 61 h 99"/>
                  <a:gd name="T50" fmla="*/ 63 w 124"/>
                  <a:gd name="T51" fmla="*/ 65 h 99"/>
                  <a:gd name="T52" fmla="*/ 58 w 124"/>
                  <a:gd name="T53" fmla="*/ 60 h 99"/>
                  <a:gd name="T54" fmla="*/ 52 w 124"/>
                  <a:gd name="T55" fmla="*/ 65 h 99"/>
                  <a:gd name="T56" fmla="*/ 54 w 124"/>
                  <a:gd name="T57" fmla="*/ 71 h 99"/>
                  <a:gd name="T58" fmla="*/ 57 w 124"/>
                  <a:gd name="T59" fmla="*/ 82 h 99"/>
                  <a:gd name="T60" fmla="*/ 63 w 124"/>
                  <a:gd name="T61" fmla="*/ 86 h 99"/>
                  <a:gd name="T62" fmla="*/ 69 w 124"/>
                  <a:gd name="T63" fmla="*/ 91 h 99"/>
                  <a:gd name="T64" fmla="*/ 76 w 124"/>
                  <a:gd name="T65" fmla="*/ 79 h 99"/>
                  <a:gd name="T66" fmla="*/ 74 w 124"/>
                  <a:gd name="T67" fmla="*/ 69 h 99"/>
                  <a:gd name="T68" fmla="*/ 79 w 124"/>
                  <a:gd name="T69" fmla="*/ 63 h 99"/>
                  <a:gd name="T70" fmla="*/ 50 w 124"/>
                  <a:gd name="T71" fmla="*/ 18 h 99"/>
                  <a:gd name="T72" fmla="*/ 49 w 124"/>
                  <a:gd name="T73" fmla="*/ 41 h 99"/>
                  <a:gd name="T74" fmla="*/ 38 w 124"/>
                  <a:gd name="T75" fmla="*/ 32 h 99"/>
                  <a:gd name="T76" fmla="*/ 43 w 124"/>
                  <a:gd name="T77" fmla="*/ 18 h 99"/>
                  <a:gd name="T78" fmla="*/ 41 w 124"/>
                  <a:gd name="T79" fmla="*/ 4 h 99"/>
                  <a:gd name="T80" fmla="*/ 30 w 124"/>
                  <a:gd name="T81" fmla="*/ 10 h 99"/>
                  <a:gd name="T82" fmla="*/ 15 w 124"/>
                  <a:gd name="T83" fmla="*/ 21 h 99"/>
                  <a:gd name="T84" fmla="*/ 4 w 124"/>
                  <a:gd name="T85" fmla="*/ 32 h 99"/>
                  <a:gd name="T86" fmla="*/ 11 w 124"/>
                  <a:gd name="T87" fmla="*/ 33 h 99"/>
                  <a:gd name="T88" fmla="*/ 19 w 124"/>
                  <a:gd name="T89" fmla="*/ 32 h 99"/>
                  <a:gd name="T90" fmla="*/ 15 w 124"/>
                  <a:gd name="T91" fmla="*/ 33 h 99"/>
                  <a:gd name="T92" fmla="*/ 8 w 124"/>
                  <a:gd name="T93" fmla="*/ 40 h 99"/>
                  <a:gd name="T94" fmla="*/ 0 w 124"/>
                  <a:gd name="T95" fmla="*/ 47 h 99"/>
                  <a:gd name="T96" fmla="*/ 4 w 124"/>
                  <a:gd name="T97" fmla="*/ 72 h 99"/>
                  <a:gd name="T98" fmla="*/ 10 w 124"/>
                  <a:gd name="T99" fmla="*/ 86 h 99"/>
                  <a:gd name="T100" fmla="*/ 15 w 124"/>
                  <a:gd name="T101" fmla="*/ 91 h 99"/>
                  <a:gd name="T102" fmla="*/ 27 w 124"/>
                  <a:gd name="T103" fmla="*/ 93 h 99"/>
                  <a:gd name="T104" fmla="*/ 29 w 124"/>
                  <a:gd name="T105" fmla="*/ 90 h 99"/>
                  <a:gd name="T106" fmla="*/ 24 w 124"/>
                  <a:gd name="T107" fmla="*/ 86 h 99"/>
                  <a:gd name="T108" fmla="*/ 27 w 124"/>
                  <a:gd name="T109" fmla="*/ 76 h 99"/>
                  <a:gd name="T110" fmla="*/ 32 w 124"/>
                  <a:gd name="T111" fmla="*/ 66 h 99"/>
                  <a:gd name="T112" fmla="*/ 33 w 124"/>
                  <a:gd name="T113" fmla="*/ 61 h 99"/>
                  <a:gd name="T114" fmla="*/ 40 w 124"/>
                  <a:gd name="T115" fmla="*/ 50 h 99"/>
                  <a:gd name="T116" fmla="*/ 47 w 124"/>
                  <a:gd name="T117" fmla="*/ 4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99">
                    <a:moveTo>
                      <a:pt x="65" y="94"/>
                    </a:moveTo>
                    <a:lnTo>
                      <a:pt x="65" y="94"/>
                    </a:lnTo>
                    <a:lnTo>
                      <a:pt x="63" y="93"/>
                    </a:lnTo>
                    <a:lnTo>
                      <a:pt x="60" y="93"/>
                    </a:lnTo>
                    <a:lnTo>
                      <a:pt x="57" y="91"/>
                    </a:lnTo>
                    <a:lnTo>
                      <a:pt x="55" y="90"/>
                    </a:lnTo>
                    <a:lnTo>
                      <a:pt x="52" y="90"/>
                    </a:lnTo>
                    <a:lnTo>
                      <a:pt x="52" y="91"/>
                    </a:lnTo>
                    <a:lnTo>
                      <a:pt x="52" y="94"/>
                    </a:lnTo>
                    <a:lnTo>
                      <a:pt x="58" y="99"/>
                    </a:lnTo>
                    <a:lnTo>
                      <a:pt x="61" y="97"/>
                    </a:lnTo>
                    <a:lnTo>
                      <a:pt x="63" y="99"/>
                    </a:lnTo>
                    <a:lnTo>
                      <a:pt x="65" y="97"/>
                    </a:lnTo>
                    <a:lnTo>
                      <a:pt x="65" y="94"/>
                    </a:lnTo>
                    <a:close/>
                    <a:moveTo>
                      <a:pt x="41" y="91"/>
                    </a:moveTo>
                    <a:lnTo>
                      <a:pt x="40" y="91"/>
                    </a:lnTo>
                    <a:lnTo>
                      <a:pt x="38" y="90"/>
                    </a:lnTo>
                    <a:lnTo>
                      <a:pt x="36" y="90"/>
                    </a:lnTo>
                    <a:lnTo>
                      <a:pt x="36" y="90"/>
                    </a:lnTo>
                    <a:lnTo>
                      <a:pt x="40" y="93"/>
                    </a:lnTo>
                    <a:lnTo>
                      <a:pt x="41" y="93"/>
                    </a:lnTo>
                    <a:lnTo>
                      <a:pt x="41" y="93"/>
                    </a:lnTo>
                    <a:lnTo>
                      <a:pt x="43" y="93"/>
                    </a:lnTo>
                    <a:lnTo>
                      <a:pt x="41" y="91"/>
                    </a:lnTo>
                    <a:close/>
                    <a:moveTo>
                      <a:pt x="77" y="88"/>
                    </a:moveTo>
                    <a:lnTo>
                      <a:pt x="77" y="86"/>
                    </a:lnTo>
                    <a:lnTo>
                      <a:pt x="76" y="86"/>
                    </a:lnTo>
                    <a:lnTo>
                      <a:pt x="74" y="86"/>
                    </a:lnTo>
                    <a:lnTo>
                      <a:pt x="74" y="86"/>
                    </a:lnTo>
                    <a:lnTo>
                      <a:pt x="72" y="86"/>
                    </a:lnTo>
                    <a:lnTo>
                      <a:pt x="72" y="88"/>
                    </a:lnTo>
                    <a:lnTo>
                      <a:pt x="71" y="88"/>
                    </a:lnTo>
                    <a:lnTo>
                      <a:pt x="71" y="90"/>
                    </a:lnTo>
                    <a:lnTo>
                      <a:pt x="71" y="90"/>
                    </a:lnTo>
                    <a:lnTo>
                      <a:pt x="72" y="91"/>
                    </a:lnTo>
                    <a:lnTo>
                      <a:pt x="76" y="90"/>
                    </a:lnTo>
                    <a:lnTo>
                      <a:pt x="77" y="90"/>
                    </a:lnTo>
                    <a:lnTo>
                      <a:pt x="79" y="88"/>
                    </a:lnTo>
                    <a:lnTo>
                      <a:pt x="77" y="88"/>
                    </a:lnTo>
                    <a:close/>
                    <a:moveTo>
                      <a:pt x="35" y="91"/>
                    </a:moveTo>
                    <a:lnTo>
                      <a:pt x="33" y="88"/>
                    </a:lnTo>
                    <a:lnTo>
                      <a:pt x="30" y="86"/>
                    </a:lnTo>
                    <a:lnTo>
                      <a:pt x="30" y="85"/>
                    </a:lnTo>
                    <a:lnTo>
                      <a:pt x="29" y="86"/>
                    </a:lnTo>
                    <a:lnTo>
                      <a:pt x="30" y="91"/>
                    </a:lnTo>
                    <a:lnTo>
                      <a:pt x="32" y="91"/>
                    </a:lnTo>
                    <a:lnTo>
                      <a:pt x="33" y="91"/>
                    </a:lnTo>
                    <a:lnTo>
                      <a:pt x="35" y="91"/>
                    </a:lnTo>
                    <a:lnTo>
                      <a:pt x="35" y="91"/>
                    </a:lnTo>
                    <a:close/>
                    <a:moveTo>
                      <a:pt x="49" y="83"/>
                    </a:moveTo>
                    <a:lnTo>
                      <a:pt x="49" y="86"/>
                    </a:lnTo>
                    <a:lnTo>
                      <a:pt x="46" y="90"/>
                    </a:lnTo>
                    <a:lnTo>
                      <a:pt x="46" y="91"/>
                    </a:lnTo>
                    <a:lnTo>
                      <a:pt x="44" y="93"/>
                    </a:lnTo>
                    <a:lnTo>
                      <a:pt x="44" y="93"/>
                    </a:lnTo>
                    <a:lnTo>
                      <a:pt x="46" y="96"/>
                    </a:lnTo>
                    <a:lnTo>
                      <a:pt x="46" y="96"/>
                    </a:lnTo>
                    <a:lnTo>
                      <a:pt x="47" y="94"/>
                    </a:lnTo>
                    <a:lnTo>
                      <a:pt x="49" y="86"/>
                    </a:lnTo>
                    <a:lnTo>
                      <a:pt x="50" y="83"/>
                    </a:lnTo>
                    <a:lnTo>
                      <a:pt x="49" y="83"/>
                    </a:lnTo>
                    <a:close/>
                    <a:moveTo>
                      <a:pt x="124" y="83"/>
                    </a:moveTo>
                    <a:lnTo>
                      <a:pt x="118" y="79"/>
                    </a:lnTo>
                    <a:lnTo>
                      <a:pt x="116" y="80"/>
                    </a:lnTo>
                    <a:lnTo>
                      <a:pt x="116" y="85"/>
                    </a:lnTo>
                    <a:lnTo>
                      <a:pt x="119" y="86"/>
                    </a:lnTo>
                    <a:lnTo>
                      <a:pt x="122" y="88"/>
                    </a:lnTo>
                    <a:lnTo>
                      <a:pt x="122" y="86"/>
                    </a:lnTo>
                    <a:lnTo>
                      <a:pt x="124" y="85"/>
                    </a:lnTo>
                    <a:lnTo>
                      <a:pt x="124" y="83"/>
                    </a:lnTo>
                    <a:close/>
                    <a:moveTo>
                      <a:pt x="47" y="79"/>
                    </a:moveTo>
                    <a:lnTo>
                      <a:pt x="46" y="74"/>
                    </a:lnTo>
                    <a:lnTo>
                      <a:pt x="46" y="71"/>
                    </a:lnTo>
                    <a:lnTo>
                      <a:pt x="44" y="69"/>
                    </a:lnTo>
                    <a:lnTo>
                      <a:pt x="44" y="69"/>
                    </a:lnTo>
                    <a:lnTo>
                      <a:pt x="43" y="71"/>
                    </a:lnTo>
                    <a:lnTo>
                      <a:pt x="41" y="71"/>
                    </a:lnTo>
                    <a:lnTo>
                      <a:pt x="40" y="69"/>
                    </a:lnTo>
                    <a:lnTo>
                      <a:pt x="38" y="69"/>
                    </a:lnTo>
                    <a:lnTo>
                      <a:pt x="33" y="71"/>
                    </a:lnTo>
                    <a:lnTo>
                      <a:pt x="30" y="72"/>
                    </a:lnTo>
                    <a:lnTo>
                      <a:pt x="30" y="77"/>
                    </a:lnTo>
                    <a:lnTo>
                      <a:pt x="32" y="80"/>
                    </a:lnTo>
                    <a:lnTo>
                      <a:pt x="33" y="82"/>
                    </a:lnTo>
                    <a:lnTo>
                      <a:pt x="33" y="83"/>
                    </a:lnTo>
                    <a:lnTo>
                      <a:pt x="38" y="85"/>
                    </a:lnTo>
                    <a:lnTo>
                      <a:pt x="41" y="86"/>
                    </a:lnTo>
                    <a:lnTo>
                      <a:pt x="44" y="86"/>
                    </a:lnTo>
                    <a:lnTo>
                      <a:pt x="47" y="83"/>
                    </a:lnTo>
                    <a:lnTo>
                      <a:pt x="47" y="82"/>
                    </a:lnTo>
                    <a:lnTo>
                      <a:pt x="47" y="80"/>
                    </a:lnTo>
                    <a:lnTo>
                      <a:pt x="47" y="79"/>
                    </a:lnTo>
                    <a:close/>
                    <a:moveTo>
                      <a:pt x="80" y="68"/>
                    </a:moveTo>
                    <a:lnTo>
                      <a:pt x="79" y="66"/>
                    </a:lnTo>
                    <a:lnTo>
                      <a:pt x="79" y="66"/>
                    </a:lnTo>
                    <a:lnTo>
                      <a:pt x="79" y="68"/>
                    </a:lnTo>
                    <a:lnTo>
                      <a:pt x="77" y="69"/>
                    </a:lnTo>
                    <a:lnTo>
                      <a:pt x="79" y="71"/>
                    </a:lnTo>
                    <a:lnTo>
                      <a:pt x="79" y="71"/>
                    </a:lnTo>
                    <a:lnTo>
                      <a:pt x="80" y="69"/>
                    </a:lnTo>
                    <a:lnTo>
                      <a:pt x="80" y="68"/>
                    </a:lnTo>
                    <a:close/>
                    <a:moveTo>
                      <a:pt x="44" y="60"/>
                    </a:moveTo>
                    <a:lnTo>
                      <a:pt x="43" y="57"/>
                    </a:lnTo>
                    <a:lnTo>
                      <a:pt x="43" y="58"/>
                    </a:lnTo>
                    <a:lnTo>
                      <a:pt x="43" y="60"/>
                    </a:lnTo>
                    <a:lnTo>
                      <a:pt x="43" y="61"/>
                    </a:lnTo>
                    <a:lnTo>
                      <a:pt x="43" y="63"/>
                    </a:lnTo>
                    <a:lnTo>
                      <a:pt x="44" y="65"/>
                    </a:lnTo>
                    <a:lnTo>
                      <a:pt x="44" y="63"/>
                    </a:lnTo>
                    <a:lnTo>
                      <a:pt x="44" y="61"/>
                    </a:lnTo>
                    <a:lnTo>
                      <a:pt x="44" y="60"/>
                    </a:lnTo>
                    <a:lnTo>
                      <a:pt x="44" y="60"/>
                    </a:lnTo>
                    <a:close/>
                    <a:moveTo>
                      <a:pt x="77" y="60"/>
                    </a:moveTo>
                    <a:lnTo>
                      <a:pt x="79" y="58"/>
                    </a:lnTo>
                    <a:lnTo>
                      <a:pt x="79" y="55"/>
                    </a:lnTo>
                    <a:lnTo>
                      <a:pt x="79" y="55"/>
                    </a:lnTo>
                    <a:lnTo>
                      <a:pt x="77" y="54"/>
                    </a:lnTo>
                    <a:lnTo>
                      <a:pt x="76" y="54"/>
                    </a:lnTo>
                    <a:lnTo>
                      <a:pt x="74" y="54"/>
                    </a:lnTo>
                    <a:lnTo>
                      <a:pt x="72" y="54"/>
                    </a:lnTo>
                    <a:lnTo>
                      <a:pt x="69" y="55"/>
                    </a:lnTo>
                    <a:lnTo>
                      <a:pt x="66" y="58"/>
                    </a:lnTo>
                    <a:lnTo>
                      <a:pt x="68" y="58"/>
                    </a:lnTo>
                    <a:lnTo>
                      <a:pt x="68" y="60"/>
                    </a:lnTo>
                    <a:lnTo>
                      <a:pt x="68" y="61"/>
                    </a:lnTo>
                    <a:lnTo>
                      <a:pt x="66" y="63"/>
                    </a:lnTo>
                    <a:lnTo>
                      <a:pt x="66" y="65"/>
                    </a:lnTo>
                    <a:lnTo>
                      <a:pt x="65" y="66"/>
                    </a:lnTo>
                    <a:lnTo>
                      <a:pt x="65" y="66"/>
                    </a:lnTo>
                    <a:lnTo>
                      <a:pt x="63" y="65"/>
                    </a:lnTo>
                    <a:lnTo>
                      <a:pt x="63" y="61"/>
                    </a:lnTo>
                    <a:lnTo>
                      <a:pt x="63" y="60"/>
                    </a:lnTo>
                    <a:lnTo>
                      <a:pt x="61" y="58"/>
                    </a:lnTo>
                    <a:lnTo>
                      <a:pt x="60" y="58"/>
                    </a:lnTo>
                    <a:lnTo>
                      <a:pt x="58" y="60"/>
                    </a:lnTo>
                    <a:lnTo>
                      <a:pt x="58" y="60"/>
                    </a:lnTo>
                    <a:lnTo>
                      <a:pt x="57" y="65"/>
                    </a:lnTo>
                    <a:lnTo>
                      <a:pt x="55" y="65"/>
                    </a:lnTo>
                    <a:lnTo>
                      <a:pt x="55" y="65"/>
                    </a:lnTo>
                    <a:lnTo>
                      <a:pt x="52" y="65"/>
                    </a:lnTo>
                    <a:lnTo>
                      <a:pt x="50" y="66"/>
                    </a:lnTo>
                    <a:lnTo>
                      <a:pt x="50" y="68"/>
                    </a:lnTo>
                    <a:lnTo>
                      <a:pt x="52" y="68"/>
                    </a:lnTo>
                    <a:lnTo>
                      <a:pt x="54" y="69"/>
                    </a:lnTo>
                    <a:lnTo>
                      <a:pt x="54" y="71"/>
                    </a:lnTo>
                    <a:lnTo>
                      <a:pt x="54" y="71"/>
                    </a:lnTo>
                    <a:lnTo>
                      <a:pt x="54" y="74"/>
                    </a:lnTo>
                    <a:lnTo>
                      <a:pt x="54" y="77"/>
                    </a:lnTo>
                    <a:lnTo>
                      <a:pt x="57" y="82"/>
                    </a:lnTo>
                    <a:lnTo>
                      <a:pt x="57" y="82"/>
                    </a:lnTo>
                    <a:lnTo>
                      <a:pt x="58" y="82"/>
                    </a:lnTo>
                    <a:lnTo>
                      <a:pt x="60" y="82"/>
                    </a:lnTo>
                    <a:lnTo>
                      <a:pt x="63" y="82"/>
                    </a:lnTo>
                    <a:lnTo>
                      <a:pt x="63" y="85"/>
                    </a:lnTo>
                    <a:lnTo>
                      <a:pt x="63" y="86"/>
                    </a:lnTo>
                    <a:lnTo>
                      <a:pt x="65" y="88"/>
                    </a:lnTo>
                    <a:lnTo>
                      <a:pt x="65" y="90"/>
                    </a:lnTo>
                    <a:lnTo>
                      <a:pt x="66" y="94"/>
                    </a:lnTo>
                    <a:lnTo>
                      <a:pt x="69" y="93"/>
                    </a:lnTo>
                    <a:lnTo>
                      <a:pt x="69" y="91"/>
                    </a:lnTo>
                    <a:lnTo>
                      <a:pt x="69" y="88"/>
                    </a:lnTo>
                    <a:lnTo>
                      <a:pt x="69" y="85"/>
                    </a:lnTo>
                    <a:lnTo>
                      <a:pt x="71" y="82"/>
                    </a:lnTo>
                    <a:lnTo>
                      <a:pt x="74" y="80"/>
                    </a:lnTo>
                    <a:lnTo>
                      <a:pt x="76" y="79"/>
                    </a:lnTo>
                    <a:lnTo>
                      <a:pt x="76" y="76"/>
                    </a:lnTo>
                    <a:lnTo>
                      <a:pt x="74" y="76"/>
                    </a:lnTo>
                    <a:lnTo>
                      <a:pt x="72" y="74"/>
                    </a:lnTo>
                    <a:lnTo>
                      <a:pt x="72" y="71"/>
                    </a:lnTo>
                    <a:lnTo>
                      <a:pt x="74" y="69"/>
                    </a:lnTo>
                    <a:lnTo>
                      <a:pt x="76" y="69"/>
                    </a:lnTo>
                    <a:lnTo>
                      <a:pt x="77" y="68"/>
                    </a:lnTo>
                    <a:lnTo>
                      <a:pt x="79" y="68"/>
                    </a:lnTo>
                    <a:lnTo>
                      <a:pt x="79" y="66"/>
                    </a:lnTo>
                    <a:lnTo>
                      <a:pt x="79" y="63"/>
                    </a:lnTo>
                    <a:lnTo>
                      <a:pt x="77" y="60"/>
                    </a:lnTo>
                    <a:close/>
                    <a:moveTo>
                      <a:pt x="52" y="14"/>
                    </a:moveTo>
                    <a:lnTo>
                      <a:pt x="50" y="14"/>
                    </a:lnTo>
                    <a:lnTo>
                      <a:pt x="49" y="16"/>
                    </a:lnTo>
                    <a:lnTo>
                      <a:pt x="50" y="18"/>
                    </a:lnTo>
                    <a:lnTo>
                      <a:pt x="52" y="18"/>
                    </a:lnTo>
                    <a:lnTo>
                      <a:pt x="52" y="16"/>
                    </a:lnTo>
                    <a:lnTo>
                      <a:pt x="54" y="14"/>
                    </a:lnTo>
                    <a:lnTo>
                      <a:pt x="52" y="14"/>
                    </a:lnTo>
                    <a:close/>
                    <a:moveTo>
                      <a:pt x="49" y="41"/>
                    </a:moveTo>
                    <a:lnTo>
                      <a:pt x="49" y="41"/>
                    </a:lnTo>
                    <a:lnTo>
                      <a:pt x="43" y="41"/>
                    </a:lnTo>
                    <a:lnTo>
                      <a:pt x="40" y="40"/>
                    </a:lnTo>
                    <a:lnTo>
                      <a:pt x="38" y="38"/>
                    </a:lnTo>
                    <a:lnTo>
                      <a:pt x="38" y="32"/>
                    </a:lnTo>
                    <a:lnTo>
                      <a:pt x="38" y="30"/>
                    </a:lnTo>
                    <a:lnTo>
                      <a:pt x="38" y="25"/>
                    </a:lnTo>
                    <a:lnTo>
                      <a:pt x="40" y="24"/>
                    </a:lnTo>
                    <a:lnTo>
                      <a:pt x="41" y="19"/>
                    </a:lnTo>
                    <a:lnTo>
                      <a:pt x="43" y="18"/>
                    </a:lnTo>
                    <a:lnTo>
                      <a:pt x="43" y="13"/>
                    </a:lnTo>
                    <a:lnTo>
                      <a:pt x="43" y="10"/>
                    </a:lnTo>
                    <a:lnTo>
                      <a:pt x="41" y="7"/>
                    </a:lnTo>
                    <a:lnTo>
                      <a:pt x="41" y="5"/>
                    </a:lnTo>
                    <a:lnTo>
                      <a:pt x="41" y="4"/>
                    </a:lnTo>
                    <a:lnTo>
                      <a:pt x="44" y="0"/>
                    </a:lnTo>
                    <a:lnTo>
                      <a:pt x="43" y="0"/>
                    </a:lnTo>
                    <a:lnTo>
                      <a:pt x="38" y="5"/>
                    </a:lnTo>
                    <a:lnTo>
                      <a:pt x="33" y="7"/>
                    </a:lnTo>
                    <a:lnTo>
                      <a:pt x="30" y="10"/>
                    </a:lnTo>
                    <a:lnTo>
                      <a:pt x="25" y="18"/>
                    </a:lnTo>
                    <a:lnTo>
                      <a:pt x="24" y="19"/>
                    </a:lnTo>
                    <a:lnTo>
                      <a:pt x="21" y="21"/>
                    </a:lnTo>
                    <a:lnTo>
                      <a:pt x="16" y="21"/>
                    </a:lnTo>
                    <a:lnTo>
                      <a:pt x="15" y="21"/>
                    </a:lnTo>
                    <a:lnTo>
                      <a:pt x="13" y="21"/>
                    </a:lnTo>
                    <a:lnTo>
                      <a:pt x="10" y="21"/>
                    </a:lnTo>
                    <a:lnTo>
                      <a:pt x="5" y="25"/>
                    </a:lnTo>
                    <a:lnTo>
                      <a:pt x="4" y="30"/>
                    </a:lnTo>
                    <a:lnTo>
                      <a:pt x="4" y="32"/>
                    </a:lnTo>
                    <a:lnTo>
                      <a:pt x="4" y="33"/>
                    </a:lnTo>
                    <a:lnTo>
                      <a:pt x="5" y="35"/>
                    </a:lnTo>
                    <a:lnTo>
                      <a:pt x="7" y="36"/>
                    </a:lnTo>
                    <a:lnTo>
                      <a:pt x="8" y="35"/>
                    </a:lnTo>
                    <a:lnTo>
                      <a:pt x="11" y="33"/>
                    </a:lnTo>
                    <a:lnTo>
                      <a:pt x="13" y="29"/>
                    </a:lnTo>
                    <a:lnTo>
                      <a:pt x="16" y="24"/>
                    </a:lnTo>
                    <a:lnTo>
                      <a:pt x="18" y="24"/>
                    </a:lnTo>
                    <a:lnTo>
                      <a:pt x="21" y="25"/>
                    </a:lnTo>
                    <a:lnTo>
                      <a:pt x="19" y="32"/>
                    </a:lnTo>
                    <a:lnTo>
                      <a:pt x="19" y="35"/>
                    </a:lnTo>
                    <a:lnTo>
                      <a:pt x="18" y="33"/>
                    </a:lnTo>
                    <a:lnTo>
                      <a:pt x="18" y="32"/>
                    </a:lnTo>
                    <a:lnTo>
                      <a:pt x="16" y="32"/>
                    </a:lnTo>
                    <a:lnTo>
                      <a:pt x="15" y="33"/>
                    </a:lnTo>
                    <a:lnTo>
                      <a:pt x="11" y="36"/>
                    </a:lnTo>
                    <a:lnTo>
                      <a:pt x="11" y="40"/>
                    </a:lnTo>
                    <a:lnTo>
                      <a:pt x="10" y="41"/>
                    </a:lnTo>
                    <a:lnTo>
                      <a:pt x="8" y="41"/>
                    </a:lnTo>
                    <a:lnTo>
                      <a:pt x="8" y="40"/>
                    </a:lnTo>
                    <a:lnTo>
                      <a:pt x="7" y="40"/>
                    </a:lnTo>
                    <a:lnTo>
                      <a:pt x="4" y="38"/>
                    </a:lnTo>
                    <a:lnTo>
                      <a:pt x="2" y="38"/>
                    </a:lnTo>
                    <a:lnTo>
                      <a:pt x="0" y="38"/>
                    </a:lnTo>
                    <a:lnTo>
                      <a:pt x="0" y="47"/>
                    </a:lnTo>
                    <a:lnTo>
                      <a:pt x="0" y="52"/>
                    </a:lnTo>
                    <a:lnTo>
                      <a:pt x="2" y="57"/>
                    </a:lnTo>
                    <a:lnTo>
                      <a:pt x="2" y="60"/>
                    </a:lnTo>
                    <a:lnTo>
                      <a:pt x="0" y="69"/>
                    </a:lnTo>
                    <a:lnTo>
                      <a:pt x="4" y="72"/>
                    </a:lnTo>
                    <a:lnTo>
                      <a:pt x="10" y="76"/>
                    </a:lnTo>
                    <a:lnTo>
                      <a:pt x="10" y="77"/>
                    </a:lnTo>
                    <a:lnTo>
                      <a:pt x="10" y="83"/>
                    </a:lnTo>
                    <a:lnTo>
                      <a:pt x="8" y="83"/>
                    </a:lnTo>
                    <a:lnTo>
                      <a:pt x="10" y="86"/>
                    </a:lnTo>
                    <a:lnTo>
                      <a:pt x="10" y="88"/>
                    </a:lnTo>
                    <a:lnTo>
                      <a:pt x="10" y="91"/>
                    </a:lnTo>
                    <a:lnTo>
                      <a:pt x="13" y="91"/>
                    </a:lnTo>
                    <a:lnTo>
                      <a:pt x="15" y="91"/>
                    </a:lnTo>
                    <a:lnTo>
                      <a:pt x="15" y="91"/>
                    </a:lnTo>
                    <a:lnTo>
                      <a:pt x="19" y="93"/>
                    </a:lnTo>
                    <a:lnTo>
                      <a:pt x="21" y="94"/>
                    </a:lnTo>
                    <a:lnTo>
                      <a:pt x="22" y="94"/>
                    </a:lnTo>
                    <a:lnTo>
                      <a:pt x="24" y="93"/>
                    </a:lnTo>
                    <a:lnTo>
                      <a:pt x="27" y="93"/>
                    </a:lnTo>
                    <a:lnTo>
                      <a:pt x="27" y="93"/>
                    </a:lnTo>
                    <a:lnTo>
                      <a:pt x="27" y="93"/>
                    </a:lnTo>
                    <a:lnTo>
                      <a:pt x="29" y="93"/>
                    </a:lnTo>
                    <a:lnTo>
                      <a:pt x="29" y="93"/>
                    </a:lnTo>
                    <a:lnTo>
                      <a:pt x="29" y="90"/>
                    </a:lnTo>
                    <a:lnTo>
                      <a:pt x="29" y="88"/>
                    </a:lnTo>
                    <a:lnTo>
                      <a:pt x="29" y="88"/>
                    </a:lnTo>
                    <a:lnTo>
                      <a:pt x="27" y="86"/>
                    </a:lnTo>
                    <a:lnTo>
                      <a:pt x="25" y="86"/>
                    </a:lnTo>
                    <a:lnTo>
                      <a:pt x="24" y="86"/>
                    </a:lnTo>
                    <a:lnTo>
                      <a:pt x="25" y="85"/>
                    </a:lnTo>
                    <a:lnTo>
                      <a:pt x="27" y="82"/>
                    </a:lnTo>
                    <a:lnTo>
                      <a:pt x="27" y="80"/>
                    </a:lnTo>
                    <a:lnTo>
                      <a:pt x="27" y="77"/>
                    </a:lnTo>
                    <a:lnTo>
                      <a:pt x="27" y="76"/>
                    </a:lnTo>
                    <a:lnTo>
                      <a:pt x="25" y="72"/>
                    </a:lnTo>
                    <a:lnTo>
                      <a:pt x="27" y="71"/>
                    </a:lnTo>
                    <a:lnTo>
                      <a:pt x="30" y="69"/>
                    </a:lnTo>
                    <a:lnTo>
                      <a:pt x="30" y="68"/>
                    </a:lnTo>
                    <a:lnTo>
                      <a:pt x="32" y="66"/>
                    </a:lnTo>
                    <a:lnTo>
                      <a:pt x="33" y="65"/>
                    </a:lnTo>
                    <a:lnTo>
                      <a:pt x="33" y="65"/>
                    </a:lnTo>
                    <a:lnTo>
                      <a:pt x="33" y="63"/>
                    </a:lnTo>
                    <a:lnTo>
                      <a:pt x="32" y="61"/>
                    </a:lnTo>
                    <a:lnTo>
                      <a:pt x="33" y="61"/>
                    </a:lnTo>
                    <a:lnTo>
                      <a:pt x="35" y="61"/>
                    </a:lnTo>
                    <a:lnTo>
                      <a:pt x="36" y="61"/>
                    </a:lnTo>
                    <a:lnTo>
                      <a:pt x="36" y="61"/>
                    </a:lnTo>
                    <a:lnTo>
                      <a:pt x="38" y="57"/>
                    </a:lnTo>
                    <a:lnTo>
                      <a:pt x="40" y="50"/>
                    </a:lnTo>
                    <a:lnTo>
                      <a:pt x="40" y="49"/>
                    </a:lnTo>
                    <a:lnTo>
                      <a:pt x="41" y="47"/>
                    </a:lnTo>
                    <a:lnTo>
                      <a:pt x="43" y="50"/>
                    </a:lnTo>
                    <a:lnTo>
                      <a:pt x="44" y="50"/>
                    </a:lnTo>
                    <a:lnTo>
                      <a:pt x="47" y="49"/>
                    </a:lnTo>
                    <a:lnTo>
                      <a:pt x="49" y="47"/>
                    </a:lnTo>
                    <a:lnTo>
                      <a:pt x="49" y="46"/>
                    </a:lnTo>
                    <a:lnTo>
                      <a:pt x="49" y="43"/>
                    </a:lnTo>
                    <a:lnTo>
                      <a:pt x="49" y="4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0" name="Freeform 57">
                <a:extLst>
                  <a:ext uri="{FF2B5EF4-FFF2-40B4-BE49-F238E27FC236}">
                    <a16:creationId xmlns:a16="http://schemas.microsoft.com/office/drawing/2014/main" id="{0F699D3F-4D62-FFAB-3367-8417EF934408}"/>
                  </a:ext>
                </a:extLst>
              </p:cNvPr>
              <p:cNvSpPr>
                <a:spLocks/>
              </p:cNvSpPr>
              <p:nvPr/>
            </p:nvSpPr>
            <p:spPr bwMode="gray">
              <a:xfrm>
                <a:off x="1596" y="1300"/>
                <a:ext cx="3" cy="8"/>
              </a:xfrm>
              <a:custGeom>
                <a:avLst/>
                <a:gdLst>
                  <a:gd name="T0" fmla="*/ 3 w 3"/>
                  <a:gd name="T1" fmla="*/ 8 h 8"/>
                  <a:gd name="T2" fmla="*/ 2 w 3"/>
                  <a:gd name="T3" fmla="*/ 8 h 8"/>
                  <a:gd name="T4" fmla="*/ 0 w 3"/>
                  <a:gd name="T5" fmla="*/ 5 h 8"/>
                  <a:gd name="T6" fmla="*/ 0 w 3"/>
                  <a:gd name="T7" fmla="*/ 2 h 8"/>
                  <a:gd name="T8" fmla="*/ 0 w 3"/>
                  <a:gd name="T9" fmla="*/ 0 h 8"/>
                  <a:gd name="T10" fmla="*/ 0 w 3"/>
                  <a:gd name="T11" fmla="*/ 0 h 8"/>
                  <a:gd name="T12" fmla="*/ 2 w 3"/>
                  <a:gd name="T13" fmla="*/ 2 h 8"/>
                  <a:gd name="T14" fmla="*/ 3 w 3"/>
                  <a:gd name="T15" fmla="*/ 2 h 8"/>
                  <a:gd name="T16" fmla="*/ 3 w 3"/>
                  <a:gd name="T17" fmla="*/ 5 h 8"/>
                  <a:gd name="T18" fmla="*/ 3 w 3"/>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8"/>
                    </a:moveTo>
                    <a:lnTo>
                      <a:pt x="2" y="8"/>
                    </a:lnTo>
                    <a:lnTo>
                      <a:pt x="0" y="5"/>
                    </a:lnTo>
                    <a:lnTo>
                      <a:pt x="0" y="2"/>
                    </a:lnTo>
                    <a:lnTo>
                      <a:pt x="0" y="0"/>
                    </a:lnTo>
                    <a:lnTo>
                      <a:pt x="0" y="0"/>
                    </a:lnTo>
                    <a:lnTo>
                      <a:pt x="2" y="2"/>
                    </a:lnTo>
                    <a:lnTo>
                      <a:pt x="3" y="2"/>
                    </a:lnTo>
                    <a:lnTo>
                      <a:pt x="3" y="5"/>
                    </a:lnTo>
                    <a:lnTo>
                      <a:pt x="3" y="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1" name="Freeform 58">
                <a:extLst>
                  <a:ext uri="{FF2B5EF4-FFF2-40B4-BE49-F238E27FC236}">
                    <a16:creationId xmlns:a16="http://schemas.microsoft.com/office/drawing/2014/main" id="{10FD118D-62AB-0A54-2A63-FC0E44F6B381}"/>
                  </a:ext>
                </a:extLst>
              </p:cNvPr>
              <p:cNvSpPr>
                <a:spLocks/>
              </p:cNvSpPr>
              <p:nvPr/>
            </p:nvSpPr>
            <p:spPr bwMode="gray">
              <a:xfrm>
                <a:off x="1412" y="1222"/>
                <a:ext cx="64" cy="42"/>
              </a:xfrm>
              <a:custGeom>
                <a:avLst/>
                <a:gdLst>
                  <a:gd name="T0" fmla="*/ 3 w 64"/>
                  <a:gd name="T1" fmla="*/ 32 h 42"/>
                  <a:gd name="T2" fmla="*/ 3 w 64"/>
                  <a:gd name="T3" fmla="*/ 30 h 42"/>
                  <a:gd name="T4" fmla="*/ 0 w 64"/>
                  <a:gd name="T5" fmla="*/ 27 h 42"/>
                  <a:gd name="T6" fmla="*/ 0 w 64"/>
                  <a:gd name="T7" fmla="*/ 24 h 42"/>
                  <a:gd name="T8" fmla="*/ 3 w 64"/>
                  <a:gd name="T9" fmla="*/ 24 h 42"/>
                  <a:gd name="T10" fmla="*/ 5 w 64"/>
                  <a:gd name="T11" fmla="*/ 21 h 42"/>
                  <a:gd name="T12" fmla="*/ 3 w 64"/>
                  <a:gd name="T13" fmla="*/ 19 h 42"/>
                  <a:gd name="T14" fmla="*/ 3 w 64"/>
                  <a:gd name="T15" fmla="*/ 16 h 42"/>
                  <a:gd name="T16" fmla="*/ 6 w 64"/>
                  <a:gd name="T17" fmla="*/ 14 h 42"/>
                  <a:gd name="T18" fmla="*/ 3 w 64"/>
                  <a:gd name="T19" fmla="*/ 11 h 42"/>
                  <a:gd name="T20" fmla="*/ 5 w 64"/>
                  <a:gd name="T21" fmla="*/ 10 h 42"/>
                  <a:gd name="T22" fmla="*/ 3 w 64"/>
                  <a:gd name="T23" fmla="*/ 5 h 42"/>
                  <a:gd name="T24" fmla="*/ 5 w 64"/>
                  <a:gd name="T25" fmla="*/ 3 h 42"/>
                  <a:gd name="T26" fmla="*/ 5 w 64"/>
                  <a:gd name="T27" fmla="*/ 2 h 42"/>
                  <a:gd name="T28" fmla="*/ 6 w 64"/>
                  <a:gd name="T29" fmla="*/ 0 h 42"/>
                  <a:gd name="T30" fmla="*/ 12 w 64"/>
                  <a:gd name="T31" fmla="*/ 2 h 42"/>
                  <a:gd name="T32" fmla="*/ 15 w 64"/>
                  <a:gd name="T33" fmla="*/ 0 h 42"/>
                  <a:gd name="T34" fmla="*/ 20 w 64"/>
                  <a:gd name="T35" fmla="*/ 0 h 42"/>
                  <a:gd name="T36" fmla="*/ 22 w 64"/>
                  <a:gd name="T37" fmla="*/ 2 h 42"/>
                  <a:gd name="T38" fmla="*/ 26 w 64"/>
                  <a:gd name="T39" fmla="*/ 3 h 42"/>
                  <a:gd name="T40" fmla="*/ 30 w 64"/>
                  <a:gd name="T41" fmla="*/ 5 h 42"/>
                  <a:gd name="T42" fmla="*/ 33 w 64"/>
                  <a:gd name="T43" fmla="*/ 5 h 42"/>
                  <a:gd name="T44" fmla="*/ 34 w 64"/>
                  <a:gd name="T45" fmla="*/ 5 h 42"/>
                  <a:gd name="T46" fmla="*/ 36 w 64"/>
                  <a:gd name="T47" fmla="*/ 8 h 42"/>
                  <a:gd name="T48" fmla="*/ 39 w 64"/>
                  <a:gd name="T49" fmla="*/ 11 h 42"/>
                  <a:gd name="T50" fmla="*/ 48 w 64"/>
                  <a:gd name="T51" fmla="*/ 13 h 42"/>
                  <a:gd name="T52" fmla="*/ 47 w 64"/>
                  <a:gd name="T53" fmla="*/ 13 h 42"/>
                  <a:gd name="T54" fmla="*/ 41 w 64"/>
                  <a:gd name="T55" fmla="*/ 13 h 42"/>
                  <a:gd name="T56" fmla="*/ 41 w 64"/>
                  <a:gd name="T57" fmla="*/ 14 h 42"/>
                  <a:gd name="T58" fmla="*/ 45 w 64"/>
                  <a:gd name="T59" fmla="*/ 16 h 42"/>
                  <a:gd name="T60" fmla="*/ 48 w 64"/>
                  <a:gd name="T61" fmla="*/ 16 h 42"/>
                  <a:gd name="T62" fmla="*/ 53 w 64"/>
                  <a:gd name="T63" fmla="*/ 17 h 42"/>
                  <a:gd name="T64" fmla="*/ 61 w 64"/>
                  <a:gd name="T65" fmla="*/ 22 h 42"/>
                  <a:gd name="T66" fmla="*/ 64 w 64"/>
                  <a:gd name="T67" fmla="*/ 24 h 42"/>
                  <a:gd name="T68" fmla="*/ 61 w 64"/>
                  <a:gd name="T69" fmla="*/ 28 h 42"/>
                  <a:gd name="T70" fmla="*/ 59 w 64"/>
                  <a:gd name="T71" fmla="*/ 28 h 42"/>
                  <a:gd name="T72" fmla="*/ 58 w 64"/>
                  <a:gd name="T73" fmla="*/ 32 h 42"/>
                  <a:gd name="T74" fmla="*/ 56 w 64"/>
                  <a:gd name="T75" fmla="*/ 32 h 42"/>
                  <a:gd name="T76" fmla="*/ 55 w 64"/>
                  <a:gd name="T77" fmla="*/ 30 h 42"/>
                  <a:gd name="T78" fmla="*/ 50 w 64"/>
                  <a:gd name="T79" fmla="*/ 28 h 42"/>
                  <a:gd name="T80" fmla="*/ 45 w 64"/>
                  <a:gd name="T81" fmla="*/ 28 h 42"/>
                  <a:gd name="T82" fmla="*/ 41 w 64"/>
                  <a:gd name="T83" fmla="*/ 27 h 42"/>
                  <a:gd name="T84" fmla="*/ 36 w 64"/>
                  <a:gd name="T85" fmla="*/ 28 h 42"/>
                  <a:gd name="T86" fmla="*/ 33 w 64"/>
                  <a:gd name="T87" fmla="*/ 28 h 42"/>
                  <a:gd name="T88" fmla="*/ 31 w 64"/>
                  <a:gd name="T89" fmla="*/ 32 h 42"/>
                  <a:gd name="T90" fmla="*/ 25 w 64"/>
                  <a:gd name="T91" fmla="*/ 30 h 42"/>
                  <a:gd name="T92" fmla="*/ 20 w 64"/>
                  <a:gd name="T93" fmla="*/ 28 h 42"/>
                  <a:gd name="T94" fmla="*/ 15 w 64"/>
                  <a:gd name="T95" fmla="*/ 30 h 42"/>
                  <a:gd name="T96" fmla="*/ 15 w 64"/>
                  <a:gd name="T97" fmla="*/ 32 h 42"/>
                  <a:gd name="T98" fmla="*/ 15 w 64"/>
                  <a:gd name="T99" fmla="*/ 35 h 42"/>
                  <a:gd name="T100" fmla="*/ 11 w 64"/>
                  <a:gd name="T101" fmla="*/ 41 h 42"/>
                  <a:gd name="T102" fmla="*/ 9 w 64"/>
                  <a:gd name="T103" fmla="*/ 42 h 42"/>
                  <a:gd name="T104" fmla="*/ 6 w 64"/>
                  <a:gd name="T105" fmla="*/ 39 h 42"/>
                  <a:gd name="T106" fmla="*/ 5 w 64"/>
                  <a:gd name="T107" fmla="*/ 39 h 42"/>
                  <a:gd name="T108" fmla="*/ 5 w 64"/>
                  <a:gd name="T109" fmla="*/ 36 h 42"/>
                  <a:gd name="T110" fmla="*/ 3 w 64"/>
                  <a:gd name="T11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42">
                    <a:moveTo>
                      <a:pt x="3" y="35"/>
                    </a:moveTo>
                    <a:lnTo>
                      <a:pt x="3" y="32"/>
                    </a:lnTo>
                    <a:lnTo>
                      <a:pt x="3" y="30"/>
                    </a:lnTo>
                    <a:lnTo>
                      <a:pt x="3" y="30"/>
                    </a:lnTo>
                    <a:lnTo>
                      <a:pt x="1" y="28"/>
                    </a:lnTo>
                    <a:lnTo>
                      <a:pt x="0" y="27"/>
                    </a:lnTo>
                    <a:lnTo>
                      <a:pt x="0" y="25"/>
                    </a:lnTo>
                    <a:lnTo>
                      <a:pt x="0" y="24"/>
                    </a:lnTo>
                    <a:lnTo>
                      <a:pt x="1" y="24"/>
                    </a:lnTo>
                    <a:lnTo>
                      <a:pt x="3" y="24"/>
                    </a:lnTo>
                    <a:lnTo>
                      <a:pt x="3" y="22"/>
                    </a:lnTo>
                    <a:lnTo>
                      <a:pt x="5" y="21"/>
                    </a:lnTo>
                    <a:lnTo>
                      <a:pt x="5" y="19"/>
                    </a:lnTo>
                    <a:lnTo>
                      <a:pt x="3" y="19"/>
                    </a:lnTo>
                    <a:lnTo>
                      <a:pt x="3" y="17"/>
                    </a:lnTo>
                    <a:lnTo>
                      <a:pt x="3" y="16"/>
                    </a:lnTo>
                    <a:lnTo>
                      <a:pt x="5" y="14"/>
                    </a:lnTo>
                    <a:lnTo>
                      <a:pt x="6" y="14"/>
                    </a:lnTo>
                    <a:lnTo>
                      <a:pt x="5" y="13"/>
                    </a:lnTo>
                    <a:lnTo>
                      <a:pt x="3" y="11"/>
                    </a:lnTo>
                    <a:lnTo>
                      <a:pt x="3" y="11"/>
                    </a:lnTo>
                    <a:lnTo>
                      <a:pt x="5" y="10"/>
                    </a:lnTo>
                    <a:lnTo>
                      <a:pt x="5" y="8"/>
                    </a:lnTo>
                    <a:lnTo>
                      <a:pt x="3" y="5"/>
                    </a:lnTo>
                    <a:lnTo>
                      <a:pt x="3" y="3"/>
                    </a:lnTo>
                    <a:lnTo>
                      <a:pt x="5" y="3"/>
                    </a:lnTo>
                    <a:lnTo>
                      <a:pt x="5" y="2"/>
                    </a:lnTo>
                    <a:lnTo>
                      <a:pt x="5" y="2"/>
                    </a:lnTo>
                    <a:lnTo>
                      <a:pt x="6" y="0"/>
                    </a:lnTo>
                    <a:lnTo>
                      <a:pt x="6" y="0"/>
                    </a:lnTo>
                    <a:lnTo>
                      <a:pt x="9" y="0"/>
                    </a:lnTo>
                    <a:lnTo>
                      <a:pt x="12" y="2"/>
                    </a:lnTo>
                    <a:lnTo>
                      <a:pt x="12" y="2"/>
                    </a:lnTo>
                    <a:lnTo>
                      <a:pt x="15" y="0"/>
                    </a:lnTo>
                    <a:lnTo>
                      <a:pt x="17" y="0"/>
                    </a:lnTo>
                    <a:lnTo>
                      <a:pt x="20" y="0"/>
                    </a:lnTo>
                    <a:lnTo>
                      <a:pt x="20" y="2"/>
                    </a:lnTo>
                    <a:lnTo>
                      <a:pt x="22" y="2"/>
                    </a:lnTo>
                    <a:lnTo>
                      <a:pt x="23" y="3"/>
                    </a:lnTo>
                    <a:lnTo>
                      <a:pt x="26" y="3"/>
                    </a:lnTo>
                    <a:lnTo>
                      <a:pt x="26" y="3"/>
                    </a:lnTo>
                    <a:lnTo>
                      <a:pt x="30" y="5"/>
                    </a:lnTo>
                    <a:lnTo>
                      <a:pt x="31" y="5"/>
                    </a:lnTo>
                    <a:lnTo>
                      <a:pt x="33" y="5"/>
                    </a:lnTo>
                    <a:lnTo>
                      <a:pt x="34" y="5"/>
                    </a:lnTo>
                    <a:lnTo>
                      <a:pt x="34" y="5"/>
                    </a:lnTo>
                    <a:lnTo>
                      <a:pt x="36" y="6"/>
                    </a:lnTo>
                    <a:lnTo>
                      <a:pt x="36" y="8"/>
                    </a:lnTo>
                    <a:lnTo>
                      <a:pt x="37" y="10"/>
                    </a:lnTo>
                    <a:lnTo>
                      <a:pt x="39" y="11"/>
                    </a:lnTo>
                    <a:lnTo>
                      <a:pt x="47" y="11"/>
                    </a:lnTo>
                    <a:lnTo>
                      <a:pt x="48" y="13"/>
                    </a:lnTo>
                    <a:lnTo>
                      <a:pt x="47" y="13"/>
                    </a:lnTo>
                    <a:lnTo>
                      <a:pt x="47" y="13"/>
                    </a:lnTo>
                    <a:lnTo>
                      <a:pt x="42" y="13"/>
                    </a:lnTo>
                    <a:lnTo>
                      <a:pt x="41" y="13"/>
                    </a:lnTo>
                    <a:lnTo>
                      <a:pt x="41" y="14"/>
                    </a:lnTo>
                    <a:lnTo>
                      <a:pt x="41" y="14"/>
                    </a:lnTo>
                    <a:lnTo>
                      <a:pt x="44" y="14"/>
                    </a:lnTo>
                    <a:lnTo>
                      <a:pt x="45" y="16"/>
                    </a:lnTo>
                    <a:lnTo>
                      <a:pt x="47" y="16"/>
                    </a:lnTo>
                    <a:lnTo>
                      <a:pt x="48" y="16"/>
                    </a:lnTo>
                    <a:lnTo>
                      <a:pt x="51" y="17"/>
                    </a:lnTo>
                    <a:lnTo>
                      <a:pt x="53" y="17"/>
                    </a:lnTo>
                    <a:lnTo>
                      <a:pt x="58" y="19"/>
                    </a:lnTo>
                    <a:lnTo>
                      <a:pt x="61" y="22"/>
                    </a:lnTo>
                    <a:lnTo>
                      <a:pt x="62" y="24"/>
                    </a:lnTo>
                    <a:lnTo>
                      <a:pt x="64" y="24"/>
                    </a:lnTo>
                    <a:lnTo>
                      <a:pt x="62" y="25"/>
                    </a:lnTo>
                    <a:lnTo>
                      <a:pt x="61" y="28"/>
                    </a:lnTo>
                    <a:lnTo>
                      <a:pt x="61" y="28"/>
                    </a:lnTo>
                    <a:lnTo>
                      <a:pt x="59" y="28"/>
                    </a:lnTo>
                    <a:lnTo>
                      <a:pt x="59" y="30"/>
                    </a:lnTo>
                    <a:lnTo>
                      <a:pt x="58" y="32"/>
                    </a:lnTo>
                    <a:lnTo>
                      <a:pt x="58" y="32"/>
                    </a:lnTo>
                    <a:lnTo>
                      <a:pt x="56" y="32"/>
                    </a:lnTo>
                    <a:lnTo>
                      <a:pt x="56" y="30"/>
                    </a:lnTo>
                    <a:lnTo>
                      <a:pt x="55" y="30"/>
                    </a:lnTo>
                    <a:lnTo>
                      <a:pt x="53" y="28"/>
                    </a:lnTo>
                    <a:lnTo>
                      <a:pt x="50" y="28"/>
                    </a:lnTo>
                    <a:lnTo>
                      <a:pt x="47" y="27"/>
                    </a:lnTo>
                    <a:lnTo>
                      <a:pt x="45" y="28"/>
                    </a:lnTo>
                    <a:lnTo>
                      <a:pt x="42" y="28"/>
                    </a:lnTo>
                    <a:lnTo>
                      <a:pt x="41" y="27"/>
                    </a:lnTo>
                    <a:lnTo>
                      <a:pt x="39" y="27"/>
                    </a:lnTo>
                    <a:lnTo>
                      <a:pt x="36" y="28"/>
                    </a:lnTo>
                    <a:lnTo>
                      <a:pt x="34" y="28"/>
                    </a:lnTo>
                    <a:lnTo>
                      <a:pt x="33" y="28"/>
                    </a:lnTo>
                    <a:lnTo>
                      <a:pt x="31" y="30"/>
                    </a:lnTo>
                    <a:lnTo>
                      <a:pt x="31" y="32"/>
                    </a:lnTo>
                    <a:lnTo>
                      <a:pt x="26" y="32"/>
                    </a:lnTo>
                    <a:lnTo>
                      <a:pt x="25" y="30"/>
                    </a:lnTo>
                    <a:lnTo>
                      <a:pt x="23" y="30"/>
                    </a:lnTo>
                    <a:lnTo>
                      <a:pt x="20" y="28"/>
                    </a:lnTo>
                    <a:lnTo>
                      <a:pt x="19" y="30"/>
                    </a:lnTo>
                    <a:lnTo>
                      <a:pt x="15" y="30"/>
                    </a:lnTo>
                    <a:lnTo>
                      <a:pt x="15" y="32"/>
                    </a:lnTo>
                    <a:lnTo>
                      <a:pt x="15" y="32"/>
                    </a:lnTo>
                    <a:lnTo>
                      <a:pt x="15" y="33"/>
                    </a:lnTo>
                    <a:lnTo>
                      <a:pt x="15" y="35"/>
                    </a:lnTo>
                    <a:lnTo>
                      <a:pt x="12" y="38"/>
                    </a:lnTo>
                    <a:lnTo>
                      <a:pt x="11" y="41"/>
                    </a:lnTo>
                    <a:lnTo>
                      <a:pt x="9" y="42"/>
                    </a:lnTo>
                    <a:lnTo>
                      <a:pt x="9" y="42"/>
                    </a:lnTo>
                    <a:lnTo>
                      <a:pt x="8" y="41"/>
                    </a:lnTo>
                    <a:lnTo>
                      <a:pt x="6" y="39"/>
                    </a:lnTo>
                    <a:lnTo>
                      <a:pt x="6" y="39"/>
                    </a:lnTo>
                    <a:lnTo>
                      <a:pt x="5" y="39"/>
                    </a:lnTo>
                    <a:lnTo>
                      <a:pt x="5" y="38"/>
                    </a:lnTo>
                    <a:lnTo>
                      <a:pt x="5" y="36"/>
                    </a:lnTo>
                    <a:lnTo>
                      <a:pt x="5" y="35"/>
                    </a:lnTo>
                    <a:lnTo>
                      <a:pt x="3" y="3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2" name="Freeform 59">
                <a:extLst>
                  <a:ext uri="{FF2B5EF4-FFF2-40B4-BE49-F238E27FC236}">
                    <a16:creationId xmlns:a16="http://schemas.microsoft.com/office/drawing/2014/main" id="{817DAAF1-6A76-4621-7178-CD14502EBF84}"/>
                  </a:ext>
                </a:extLst>
              </p:cNvPr>
              <p:cNvSpPr>
                <a:spLocks/>
              </p:cNvSpPr>
              <p:nvPr/>
            </p:nvSpPr>
            <p:spPr bwMode="gray">
              <a:xfrm>
                <a:off x="2522" y="878"/>
                <a:ext cx="363" cy="361"/>
              </a:xfrm>
              <a:custGeom>
                <a:avLst/>
                <a:gdLst>
                  <a:gd name="T0" fmla="*/ 300 w 363"/>
                  <a:gd name="T1" fmla="*/ 11 h 361"/>
                  <a:gd name="T2" fmla="*/ 300 w 363"/>
                  <a:gd name="T3" fmla="*/ 16 h 361"/>
                  <a:gd name="T4" fmla="*/ 299 w 363"/>
                  <a:gd name="T5" fmla="*/ 31 h 361"/>
                  <a:gd name="T6" fmla="*/ 299 w 363"/>
                  <a:gd name="T7" fmla="*/ 47 h 361"/>
                  <a:gd name="T8" fmla="*/ 292 w 363"/>
                  <a:gd name="T9" fmla="*/ 56 h 361"/>
                  <a:gd name="T10" fmla="*/ 285 w 363"/>
                  <a:gd name="T11" fmla="*/ 70 h 361"/>
                  <a:gd name="T12" fmla="*/ 291 w 363"/>
                  <a:gd name="T13" fmla="*/ 84 h 361"/>
                  <a:gd name="T14" fmla="*/ 302 w 363"/>
                  <a:gd name="T15" fmla="*/ 100 h 361"/>
                  <a:gd name="T16" fmla="*/ 314 w 363"/>
                  <a:gd name="T17" fmla="*/ 116 h 361"/>
                  <a:gd name="T18" fmla="*/ 320 w 363"/>
                  <a:gd name="T19" fmla="*/ 145 h 361"/>
                  <a:gd name="T20" fmla="*/ 322 w 363"/>
                  <a:gd name="T21" fmla="*/ 158 h 361"/>
                  <a:gd name="T22" fmla="*/ 325 w 363"/>
                  <a:gd name="T23" fmla="*/ 189 h 361"/>
                  <a:gd name="T24" fmla="*/ 325 w 363"/>
                  <a:gd name="T25" fmla="*/ 211 h 361"/>
                  <a:gd name="T26" fmla="*/ 319 w 363"/>
                  <a:gd name="T27" fmla="*/ 224 h 361"/>
                  <a:gd name="T28" fmla="*/ 328 w 363"/>
                  <a:gd name="T29" fmla="*/ 243 h 361"/>
                  <a:gd name="T30" fmla="*/ 336 w 363"/>
                  <a:gd name="T31" fmla="*/ 258 h 361"/>
                  <a:gd name="T32" fmla="*/ 356 w 363"/>
                  <a:gd name="T33" fmla="*/ 264 h 361"/>
                  <a:gd name="T34" fmla="*/ 336 w 363"/>
                  <a:gd name="T35" fmla="*/ 294 h 361"/>
                  <a:gd name="T36" fmla="*/ 285 w 363"/>
                  <a:gd name="T37" fmla="*/ 327 h 361"/>
                  <a:gd name="T38" fmla="*/ 261 w 363"/>
                  <a:gd name="T39" fmla="*/ 347 h 361"/>
                  <a:gd name="T40" fmla="*/ 231 w 363"/>
                  <a:gd name="T41" fmla="*/ 358 h 361"/>
                  <a:gd name="T42" fmla="*/ 211 w 363"/>
                  <a:gd name="T43" fmla="*/ 361 h 361"/>
                  <a:gd name="T44" fmla="*/ 208 w 363"/>
                  <a:gd name="T45" fmla="*/ 357 h 361"/>
                  <a:gd name="T46" fmla="*/ 209 w 363"/>
                  <a:gd name="T47" fmla="*/ 352 h 361"/>
                  <a:gd name="T48" fmla="*/ 205 w 363"/>
                  <a:gd name="T49" fmla="*/ 344 h 361"/>
                  <a:gd name="T50" fmla="*/ 192 w 363"/>
                  <a:gd name="T51" fmla="*/ 338 h 361"/>
                  <a:gd name="T52" fmla="*/ 181 w 363"/>
                  <a:gd name="T53" fmla="*/ 333 h 361"/>
                  <a:gd name="T54" fmla="*/ 174 w 363"/>
                  <a:gd name="T55" fmla="*/ 325 h 361"/>
                  <a:gd name="T56" fmla="*/ 159 w 363"/>
                  <a:gd name="T57" fmla="*/ 313 h 361"/>
                  <a:gd name="T58" fmla="*/ 125 w 363"/>
                  <a:gd name="T59" fmla="*/ 288 h 361"/>
                  <a:gd name="T60" fmla="*/ 91 w 363"/>
                  <a:gd name="T61" fmla="*/ 263 h 361"/>
                  <a:gd name="T62" fmla="*/ 61 w 363"/>
                  <a:gd name="T63" fmla="*/ 243 h 361"/>
                  <a:gd name="T64" fmla="*/ 41 w 363"/>
                  <a:gd name="T65" fmla="*/ 230 h 361"/>
                  <a:gd name="T66" fmla="*/ 20 w 363"/>
                  <a:gd name="T67" fmla="*/ 216 h 361"/>
                  <a:gd name="T68" fmla="*/ 0 w 363"/>
                  <a:gd name="T69" fmla="*/ 203 h 361"/>
                  <a:gd name="T70" fmla="*/ 0 w 363"/>
                  <a:gd name="T71" fmla="*/ 180 h 361"/>
                  <a:gd name="T72" fmla="*/ 6 w 363"/>
                  <a:gd name="T73" fmla="*/ 171 h 361"/>
                  <a:gd name="T74" fmla="*/ 22 w 363"/>
                  <a:gd name="T75" fmla="*/ 161 h 361"/>
                  <a:gd name="T76" fmla="*/ 28 w 363"/>
                  <a:gd name="T77" fmla="*/ 156 h 361"/>
                  <a:gd name="T78" fmla="*/ 39 w 363"/>
                  <a:gd name="T79" fmla="*/ 156 h 361"/>
                  <a:gd name="T80" fmla="*/ 41 w 363"/>
                  <a:gd name="T81" fmla="*/ 153 h 361"/>
                  <a:gd name="T82" fmla="*/ 58 w 363"/>
                  <a:gd name="T83" fmla="*/ 150 h 361"/>
                  <a:gd name="T84" fmla="*/ 72 w 363"/>
                  <a:gd name="T85" fmla="*/ 138 h 361"/>
                  <a:gd name="T86" fmla="*/ 88 w 363"/>
                  <a:gd name="T87" fmla="*/ 130 h 361"/>
                  <a:gd name="T88" fmla="*/ 86 w 363"/>
                  <a:gd name="T89" fmla="*/ 125 h 361"/>
                  <a:gd name="T90" fmla="*/ 86 w 363"/>
                  <a:gd name="T91" fmla="*/ 120 h 361"/>
                  <a:gd name="T92" fmla="*/ 88 w 363"/>
                  <a:gd name="T93" fmla="*/ 114 h 361"/>
                  <a:gd name="T94" fmla="*/ 102 w 363"/>
                  <a:gd name="T95" fmla="*/ 108 h 361"/>
                  <a:gd name="T96" fmla="*/ 114 w 363"/>
                  <a:gd name="T97" fmla="*/ 106 h 361"/>
                  <a:gd name="T98" fmla="*/ 131 w 363"/>
                  <a:gd name="T99" fmla="*/ 106 h 361"/>
                  <a:gd name="T100" fmla="*/ 133 w 363"/>
                  <a:gd name="T101" fmla="*/ 97 h 361"/>
                  <a:gd name="T102" fmla="*/ 125 w 363"/>
                  <a:gd name="T103" fmla="*/ 86 h 361"/>
                  <a:gd name="T104" fmla="*/ 123 w 363"/>
                  <a:gd name="T105" fmla="*/ 70 h 361"/>
                  <a:gd name="T106" fmla="*/ 122 w 363"/>
                  <a:gd name="T107" fmla="*/ 56 h 361"/>
                  <a:gd name="T108" fmla="*/ 119 w 363"/>
                  <a:gd name="T109" fmla="*/ 48 h 361"/>
                  <a:gd name="T110" fmla="*/ 123 w 363"/>
                  <a:gd name="T111" fmla="*/ 42 h 361"/>
                  <a:gd name="T112" fmla="*/ 145 w 363"/>
                  <a:gd name="T113" fmla="*/ 27 h 361"/>
                  <a:gd name="T114" fmla="*/ 158 w 363"/>
                  <a:gd name="T115" fmla="*/ 20 h 361"/>
                  <a:gd name="T116" fmla="*/ 194 w 363"/>
                  <a:gd name="T117" fmla="*/ 11 h 361"/>
                  <a:gd name="T118" fmla="*/ 236 w 363"/>
                  <a:gd name="T119" fmla="*/ 5 h 361"/>
                  <a:gd name="T120" fmla="*/ 253 w 363"/>
                  <a:gd name="T121" fmla="*/ 6 h 361"/>
                  <a:gd name="T122" fmla="*/ 275 w 363"/>
                  <a:gd name="T123" fmla="*/ 5 h 361"/>
                  <a:gd name="T124" fmla="*/ 289 w 363"/>
                  <a:gd name="T125" fmla="*/ 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3" h="361">
                    <a:moveTo>
                      <a:pt x="303" y="3"/>
                    </a:moveTo>
                    <a:lnTo>
                      <a:pt x="303" y="5"/>
                    </a:lnTo>
                    <a:lnTo>
                      <a:pt x="303" y="6"/>
                    </a:lnTo>
                    <a:lnTo>
                      <a:pt x="302" y="8"/>
                    </a:lnTo>
                    <a:lnTo>
                      <a:pt x="302" y="8"/>
                    </a:lnTo>
                    <a:lnTo>
                      <a:pt x="300" y="11"/>
                    </a:lnTo>
                    <a:lnTo>
                      <a:pt x="297" y="12"/>
                    </a:lnTo>
                    <a:lnTo>
                      <a:pt x="297" y="12"/>
                    </a:lnTo>
                    <a:lnTo>
                      <a:pt x="297" y="14"/>
                    </a:lnTo>
                    <a:lnTo>
                      <a:pt x="299" y="14"/>
                    </a:lnTo>
                    <a:lnTo>
                      <a:pt x="299" y="16"/>
                    </a:lnTo>
                    <a:lnTo>
                      <a:pt x="300" y="16"/>
                    </a:lnTo>
                    <a:lnTo>
                      <a:pt x="299" y="20"/>
                    </a:lnTo>
                    <a:lnTo>
                      <a:pt x="299" y="23"/>
                    </a:lnTo>
                    <a:lnTo>
                      <a:pt x="297" y="27"/>
                    </a:lnTo>
                    <a:lnTo>
                      <a:pt x="297" y="28"/>
                    </a:lnTo>
                    <a:lnTo>
                      <a:pt x="299" y="30"/>
                    </a:lnTo>
                    <a:lnTo>
                      <a:pt x="299" y="31"/>
                    </a:lnTo>
                    <a:lnTo>
                      <a:pt x="299" y="33"/>
                    </a:lnTo>
                    <a:lnTo>
                      <a:pt x="299" y="38"/>
                    </a:lnTo>
                    <a:lnTo>
                      <a:pt x="300" y="39"/>
                    </a:lnTo>
                    <a:lnTo>
                      <a:pt x="300" y="41"/>
                    </a:lnTo>
                    <a:lnTo>
                      <a:pt x="299" y="44"/>
                    </a:lnTo>
                    <a:lnTo>
                      <a:pt x="299" y="47"/>
                    </a:lnTo>
                    <a:lnTo>
                      <a:pt x="297" y="50"/>
                    </a:lnTo>
                    <a:lnTo>
                      <a:pt x="297" y="52"/>
                    </a:lnTo>
                    <a:lnTo>
                      <a:pt x="297" y="53"/>
                    </a:lnTo>
                    <a:lnTo>
                      <a:pt x="295" y="55"/>
                    </a:lnTo>
                    <a:lnTo>
                      <a:pt x="294" y="56"/>
                    </a:lnTo>
                    <a:lnTo>
                      <a:pt x="292" y="56"/>
                    </a:lnTo>
                    <a:lnTo>
                      <a:pt x="291" y="58"/>
                    </a:lnTo>
                    <a:lnTo>
                      <a:pt x="289" y="61"/>
                    </a:lnTo>
                    <a:lnTo>
                      <a:pt x="286" y="64"/>
                    </a:lnTo>
                    <a:lnTo>
                      <a:pt x="285" y="66"/>
                    </a:lnTo>
                    <a:lnTo>
                      <a:pt x="285" y="67"/>
                    </a:lnTo>
                    <a:lnTo>
                      <a:pt x="285" y="70"/>
                    </a:lnTo>
                    <a:lnTo>
                      <a:pt x="285" y="74"/>
                    </a:lnTo>
                    <a:lnTo>
                      <a:pt x="286" y="77"/>
                    </a:lnTo>
                    <a:lnTo>
                      <a:pt x="288" y="80"/>
                    </a:lnTo>
                    <a:lnTo>
                      <a:pt x="289" y="83"/>
                    </a:lnTo>
                    <a:lnTo>
                      <a:pt x="289" y="83"/>
                    </a:lnTo>
                    <a:lnTo>
                      <a:pt x="291" y="84"/>
                    </a:lnTo>
                    <a:lnTo>
                      <a:pt x="294" y="86"/>
                    </a:lnTo>
                    <a:lnTo>
                      <a:pt x="295" y="86"/>
                    </a:lnTo>
                    <a:lnTo>
                      <a:pt x="297" y="89"/>
                    </a:lnTo>
                    <a:lnTo>
                      <a:pt x="299" y="94"/>
                    </a:lnTo>
                    <a:lnTo>
                      <a:pt x="299" y="97"/>
                    </a:lnTo>
                    <a:lnTo>
                      <a:pt x="302" y="100"/>
                    </a:lnTo>
                    <a:lnTo>
                      <a:pt x="305" y="102"/>
                    </a:lnTo>
                    <a:lnTo>
                      <a:pt x="308" y="105"/>
                    </a:lnTo>
                    <a:lnTo>
                      <a:pt x="311" y="106"/>
                    </a:lnTo>
                    <a:lnTo>
                      <a:pt x="311" y="106"/>
                    </a:lnTo>
                    <a:lnTo>
                      <a:pt x="313" y="111"/>
                    </a:lnTo>
                    <a:lnTo>
                      <a:pt x="314" y="116"/>
                    </a:lnTo>
                    <a:lnTo>
                      <a:pt x="314" y="122"/>
                    </a:lnTo>
                    <a:lnTo>
                      <a:pt x="316" y="127"/>
                    </a:lnTo>
                    <a:lnTo>
                      <a:pt x="317" y="133"/>
                    </a:lnTo>
                    <a:lnTo>
                      <a:pt x="317" y="136"/>
                    </a:lnTo>
                    <a:lnTo>
                      <a:pt x="319" y="141"/>
                    </a:lnTo>
                    <a:lnTo>
                      <a:pt x="320" y="145"/>
                    </a:lnTo>
                    <a:lnTo>
                      <a:pt x="319" y="145"/>
                    </a:lnTo>
                    <a:lnTo>
                      <a:pt x="316" y="147"/>
                    </a:lnTo>
                    <a:lnTo>
                      <a:pt x="317" y="150"/>
                    </a:lnTo>
                    <a:lnTo>
                      <a:pt x="320" y="153"/>
                    </a:lnTo>
                    <a:lnTo>
                      <a:pt x="322" y="156"/>
                    </a:lnTo>
                    <a:lnTo>
                      <a:pt x="322" y="158"/>
                    </a:lnTo>
                    <a:lnTo>
                      <a:pt x="324" y="163"/>
                    </a:lnTo>
                    <a:lnTo>
                      <a:pt x="325" y="166"/>
                    </a:lnTo>
                    <a:lnTo>
                      <a:pt x="325" y="167"/>
                    </a:lnTo>
                    <a:lnTo>
                      <a:pt x="325" y="171"/>
                    </a:lnTo>
                    <a:lnTo>
                      <a:pt x="325" y="178"/>
                    </a:lnTo>
                    <a:lnTo>
                      <a:pt x="325" y="189"/>
                    </a:lnTo>
                    <a:lnTo>
                      <a:pt x="327" y="194"/>
                    </a:lnTo>
                    <a:lnTo>
                      <a:pt x="325" y="199"/>
                    </a:lnTo>
                    <a:lnTo>
                      <a:pt x="324" y="202"/>
                    </a:lnTo>
                    <a:lnTo>
                      <a:pt x="324" y="205"/>
                    </a:lnTo>
                    <a:lnTo>
                      <a:pt x="325" y="208"/>
                    </a:lnTo>
                    <a:lnTo>
                      <a:pt x="325" y="211"/>
                    </a:lnTo>
                    <a:lnTo>
                      <a:pt x="327" y="213"/>
                    </a:lnTo>
                    <a:lnTo>
                      <a:pt x="327" y="216"/>
                    </a:lnTo>
                    <a:lnTo>
                      <a:pt x="325" y="217"/>
                    </a:lnTo>
                    <a:lnTo>
                      <a:pt x="324" y="221"/>
                    </a:lnTo>
                    <a:lnTo>
                      <a:pt x="319" y="222"/>
                    </a:lnTo>
                    <a:lnTo>
                      <a:pt x="319" y="224"/>
                    </a:lnTo>
                    <a:lnTo>
                      <a:pt x="319" y="225"/>
                    </a:lnTo>
                    <a:lnTo>
                      <a:pt x="319" y="227"/>
                    </a:lnTo>
                    <a:lnTo>
                      <a:pt x="320" y="230"/>
                    </a:lnTo>
                    <a:lnTo>
                      <a:pt x="325" y="236"/>
                    </a:lnTo>
                    <a:lnTo>
                      <a:pt x="328" y="241"/>
                    </a:lnTo>
                    <a:lnTo>
                      <a:pt x="328" y="243"/>
                    </a:lnTo>
                    <a:lnTo>
                      <a:pt x="328" y="247"/>
                    </a:lnTo>
                    <a:lnTo>
                      <a:pt x="330" y="252"/>
                    </a:lnTo>
                    <a:lnTo>
                      <a:pt x="333" y="253"/>
                    </a:lnTo>
                    <a:lnTo>
                      <a:pt x="333" y="257"/>
                    </a:lnTo>
                    <a:lnTo>
                      <a:pt x="335" y="257"/>
                    </a:lnTo>
                    <a:lnTo>
                      <a:pt x="336" y="258"/>
                    </a:lnTo>
                    <a:lnTo>
                      <a:pt x="336" y="258"/>
                    </a:lnTo>
                    <a:lnTo>
                      <a:pt x="341" y="257"/>
                    </a:lnTo>
                    <a:lnTo>
                      <a:pt x="349" y="258"/>
                    </a:lnTo>
                    <a:lnTo>
                      <a:pt x="355" y="261"/>
                    </a:lnTo>
                    <a:lnTo>
                      <a:pt x="355" y="261"/>
                    </a:lnTo>
                    <a:lnTo>
                      <a:pt x="356" y="264"/>
                    </a:lnTo>
                    <a:lnTo>
                      <a:pt x="360" y="269"/>
                    </a:lnTo>
                    <a:lnTo>
                      <a:pt x="361" y="272"/>
                    </a:lnTo>
                    <a:lnTo>
                      <a:pt x="363" y="277"/>
                    </a:lnTo>
                    <a:lnTo>
                      <a:pt x="353" y="282"/>
                    </a:lnTo>
                    <a:lnTo>
                      <a:pt x="345" y="288"/>
                    </a:lnTo>
                    <a:lnTo>
                      <a:pt x="336" y="294"/>
                    </a:lnTo>
                    <a:lnTo>
                      <a:pt x="327" y="299"/>
                    </a:lnTo>
                    <a:lnTo>
                      <a:pt x="317" y="305"/>
                    </a:lnTo>
                    <a:lnTo>
                      <a:pt x="308" y="311"/>
                    </a:lnTo>
                    <a:lnTo>
                      <a:pt x="299" y="316"/>
                    </a:lnTo>
                    <a:lnTo>
                      <a:pt x="291" y="322"/>
                    </a:lnTo>
                    <a:lnTo>
                      <a:pt x="285" y="327"/>
                    </a:lnTo>
                    <a:lnTo>
                      <a:pt x="280" y="330"/>
                    </a:lnTo>
                    <a:lnTo>
                      <a:pt x="275" y="333"/>
                    </a:lnTo>
                    <a:lnTo>
                      <a:pt x="270" y="338"/>
                    </a:lnTo>
                    <a:lnTo>
                      <a:pt x="267" y="341"/>
                    </a:lnTo>
                    <a:lnTo>
                      <a:pt x="263" y="346"/>
                    </a:lnTo>
                    <a:lnTo>
                      <a:pt x="261" y="347"/>
                    </a:lnTo>
                    <a:lnTo>
                      <a:pt x="255" y="352"/>
                    </a:lnTo>
                    <a:lnTo>
                      <a:pt x="253" y="354"/>
                    </a:lnTo>
                    <a:lnTo>
                      <a:pt x="247" y="355"/>
                    </a:lnTo>
                    <a:lnTo>
                      <a:pt x="241" y="355"/>
                    </a:lnTo>
                    <a:lnTo>
                      <a:pt x="234" y="357"/>
                    </a:lnTo>
                    <a:lnTo>
                      <a:pt x="231" y="358"/>
                    </a:lnTo>
                    <a:lnTo>
                      <a:pt x="227" y="358"/>
                    </a:lnTo>
                    <a:lnTo>
                      <a:pt x="222" y="360"/>
                    </a:lnTo>
                    <a:lnTo>
                      <a:pt x="217" y="360"/>
                    </a:lnTo>
                    <a:lnTo>
                      <a:pt x="213" y="361"/>
                    </a:lnTo>
                    <a:lnTo>
                      <a:pt x="213" y="361"/>
                    </a:lnTo>
                    <a:lnTo>
                      <a:pt x="211" y="361"/>
                    </a:lnTo>
                    <a:lnTo>
                      <a:pt x="211" y="361"/>
                    </a:lnTo>
                    <a:lnTo>
                      <a:pt x="209" y="361"/>
                    </a:lnTo>
                    <a:lnTo>
                      <a:pt x="208" y="360"/>
                    </a:lnTo>
                    <a:lnTo>
                      <a:pt x="208" y="360"/>
                    </a:lnTo>
                    <a:lnTo>
                      <a:pt x="208" y="358"/>
                    </a:lnTo>
                    <a:lnTo>
                      <a:pt x="208" y="357"/>
                    </a:lnTo>
                    <a:lnTo>
                      <a:pt x="208" y="357"/>
                    </a:lnTo>
                    <a:lnTo>
                      <a:pt x="209" y="355"/>
                    </a:lnTo>
                    <a:lnTo>
                      <a:pt x="209" y="355"/>
                    </a:lnTo>
                    <a:lnTo>
                      <a:pt x="209" y="354"/>
                    </a:lnTo>
                    <a:lnTo>
                      <a:pt x="209" y="354"/>
                    </a:lnTo>
                    <a:lnTo>
                      <a:pt x="209" y="352"/>
                    </a:lnTo>
                    <a:lnTo>
                      <a:pt x="209" y="350"/>
                    </a:lnTo>
                    <a:lnTo>
                      <a:pt x="209" y="347"/>
                    </a:lnTo>
                    <a:lnTo>
                      <a:pt x="209" y="347"/>
                    </a:lnTo>
                    <a:lnTo>
                      <a:pt x="209" y="346"/>
                    </a:lnTo>
                    <a:lnTo>
                      <a:pt x="208" y="346"/>
                    </a:lnTo>
                    <a:lnTo>
                      <a:pt x="205" y="344"/>
                    </a:lnTo>
                    <a:lnTo>
                      <a:pt x="203" y="343"/>
                    </a:lnTo>
                    <a:lnTo>
                      <a:pt x="202" y="343"/>
                    </a:lnTo>
                    <a:lnTo>
                      <a:pt x="200" y="343"/>
                    </a:lnTo>
                    <a:lnTo>
                      <a:pt x="197" y="343"/>
                    </a:lnTo>
                    <a:lnTo>
                      <a:pt x="195" y="341"/>
                    </a:lnTo>
                    <a:lnTo>
                      <a:pt x="192" y="338"/>
                    </a:lnTo>
                    <a:lnTo>
                      <a:pt x="192" y="338"/>
                    </a:lnTo>
                    <a:lnTo>
                      <a:pt x="186" y="338"/>
                    </a:lnTo>
                    <a:lnTo>
                      <a:pt x="184" y="336"/>
                    </a:lnTo>
                    <a:lnTo>
                      <a:pt x="183" y="336"/>
                    </a:lnTo>
                    <a:lnTo>
                      <a:pt x="183" y="335"/>
                    </a:lnTo>
                    <a:lnTo>
                      <a:pt x="181" y="333"/>
                    </a:lnTo>
                    <a:lnTo>
                      <a:pt x="181" y="333"/>
                    </a:lnTo>
                    <a:lnTo>
                      <a:pt x="181" y="332"/>
                    </a:lnTo>
                    <a:lnTo>
                      <a:pt x="175" y="329"/>
                    </a:lnTo>
                    <a:lnTo>
                      <a:pt x="174" y="329"/>
                    </a:lnTo>
                    <a:lnTo>
                      <a:pt x="174" y="327"/>
                    </a:lnTo>
                    <a:lnTo>
                      <a:pt x="174" y="325"/>
                    </a:lnTo>
                    <a:lnTo>
                      <a:pt x="174" y="324"/>
                    </a:lnTo>
                    <a:lnTo>
                      <a:pt x="174" y="322"/>
                    </a:lnTo>
                    <a:lnTo>
                      <a:pt x="174" y="322"/>
                    </a:lnTo>
                    <a:lnTo>
                      <a:pt x="170" y="321"/>
                    </a:lnTo>
                    <a:lnTo>
                      <a:pt x="164" y="316"/>
                    </a:lnTo>
                    <a:lnTo>
                      <a:pt x="159" y="313"/>
                    </a:lnTo>
                    <a:lnTo>
                      <a:pt x="153" y="308"/>
                    </a:lnTo>
                    <a:lnTo>
                      <a:pt x="147" y="304"/>
                    </a:lnTo>
                    <a:lnTo>
                      <a:pt x="142" y="300"/>
                    </a:lnTo>
                    <a:lnTo>
                      <a:pt x="136" y="296"/>
                    </a:lnTo>
                    <a:lnTo>
                      <a:pt x="130" y="293"/>
                    </a:lnTo>
                    <a:lnTo>
                      <a:pt x="125" y="288"/>
                    </a:lnTo>
                    <a:lnTo>
                      <a:pt x="119" y="283"/>
                    </a:lnTo>
                    <a:lnTo>
                      <a:pt x="113" y="280"/>
                    </a:lnTo>
                    <a:lnTo>
                      <a:pt x="108" y="275"/>
                    </a:lnTo>
                    <a:lnTo>
                      <a:pt x="102" y="272"/>
                    </a:lnTo>
                    <a:lnTo>
                      <a:pt x="95" y="268"/>
                    </a:lnTo>
                    <a:lnTo>
                      <a:pt x="91" y="263"/>
                    </a:lnTo>
                    <a:lnTo>
                      <a:pt x="84" y="260"/>
                    </a:lnTo>
                    <a:lnTo>
                      <a:pt x="78" y="255"/>
                    </a:lnTo>
                    <a:lnTo>
                      <a:pt x="73" y="252"/>
                    </a:lnTo>
                    <a:lnTo>
                      <a:pt x="69" y="249"/>
                    </a:lnTo>
                    <a:lnTo>
                      <a:pt x="64" y="246"/>
                    </a:lnTo>
                    <a:lnTo>
                      <a:pt x="61" y="243"/>
                    </a:lnTo>
                    <a:lnTo>
                      <a:pt x="56" y="239"/>
                    </a:lnTo>
                    <a:lnTo>
                      <a:pt x="53" y="238"/>
                    </a:lnTo>
                    <a:lnTo>
                      <a:pt x="50" y="236"/>
                    </a:lnTo>
                    <a:lnTo>
                      <a:pt x="47" y="233"/>
                    </a:lnTo>
                    <a:lnTo>
                      <a:pt x="44" y="232"/>
                    </a:lnTo>
                    <a:lnTo>
                      <a:pt x="41" y="230"/>
                    </a:lnTo>
                    <a:lnTo>
                      <a:pt x="37" y="227"/>
                    </a:lnTo>
                    <a:lnTo>
                      <a:pt x="33" y="225"/>
                    </a:lnTo>
                    <a:lnTo>
                      <a:pt x="30" y="224"/>
                    </a:lnTo>
                    <a:lnTo>
                      <a:pt x="27" y="221"/>
                    </a:lnTo>
                    <a:lnTo>
                      <a:pt x="23" y="219"/>
                    </a:lnTo>
                    <a:lnTo>
                      <a:pt x="20" y="216"/>
                    </a:lnTo>
                    <a:lnTo>
                      <a:pt x="17" y="214"/>
                    </a:lnTo>
                    <a:lnTo>
                      <a:pt x="14" y="213"/>
                    </a:lnTo>
                    <a:lnTo>
                      <a:pt x="11" y="210"/>
                    </a:lnTo>
                    <a:lnTo>
                      <a:pt x="8" y="208"/>
                    </a:lnTo>
                    <a:lnTo>
                      <a:pt x="3" y="205"/>
                    </a:lnTo>
                    <a:lnTo>
                      <a:pt x="0" y="203"/>
                    </a:lnTo>
                    <a:lnTo>
                      <a:pt x="0" y="199"/>
                    </a:lnTo>
                    <a:lnTo>
                      <a:pt x="0" y="196"/>
                    </a:lnTo>
                    <a:lnTo>
                      <a:pt x="0" y="191"/>
                    </a:lnTo>
                    <a:lnTo>
                      <a:pt x="0" y="188"/>
                    </a:lnTo>
                    <a:lnTo>
                      <a:pt x="0" y="183"/>
                    </a:lnTo>
                    <a:lnTo>
                      <a:pt x="0" y="180"/>
                    </a:lnTo>
                    <a:lnTo>
                      <a:pt x="0" y="177"/>
                    </a:lnTo>
                    <a:lnTo>
                      <a:pt x="0" y="175"/>
                    </a:lnTo>
                    <a:lnTo>
                      <a:pt x="2" y="175"/>
                    </a:lnTo>
                    <a:lnTo>
                      <a:pt x="3" y="174"/>
                    </a:lnTo>
                    <a:lnTo>
                      <a:pt x="6" y="172"/>
                    </a:lnTo>
                    <a:lnTo>
                      <a:pt x="6" y="171"/>
                    </a:lnTo>
                    <a:lnTo>
                      <a:pt x="8" y="171"/>
                    </a:lnTo>
                    <a:lnTo>
                      <a:pt x="12" y="167"/>
                    </a:lnTo>
                    <a:lnTo>
                      <a:pt x="14" y="166"/>
                    </a:lnTo>
                    <a:lnTo>
                      <a:pt x="19" y="163"/>
                    </a:lnTo>
                    <a:lnTo>
                      <a:pt x="19" y="163"/>
                    </a:lnTo>
                    <a:lnTo>
                      <a:pt x="22" y="161"/>
                    </a:lnTo>
                    <a:lnTo>
                      <a:pt x="22" y="161"/>
                    </a:lnTo>
                    <a:lnTo>
                      <a:pt x="23" y="160"/>
                    </a:lnTo>
                    <a:lnTo>
                      <a:pt x="27" y="158"/>
                    </a:lnTo>
                    <a:lnTo>
                      <a:pt x="27" y="158"/>
                    </a:lnTo>
                    <a:lnTo>
                      <a:pt x="28" y="156"/>
                    </a:lnTo>
                    <a:lnTo>
                      <a:pt x="28" y="156"/>
                    </a:lnTo>
                    <a:lnTo>
                      <a:pt x="33" y="158"/>
                    </a:lnTo>
                    <a:lnTo>
                      <a:pt x="34" y="158"/>
                    </a:lnTo>
                    <a:lnTo>
                      <a:pt x="36" y="158"/>
                    </a:lnTo>
                    <a:lnTo>
                      <a:pt x="37" y="158"/>
                    </a:lnTo>
                    <a:lnTo>
                      <a:pt x="37" y="158"/>
                    </a:lnTo>
                    <a:lnTo>
                      <a:pt x="39" y="156"/>
                    </a:lnTo>
                    <a:lnTo>
                      <a:pt x="39" y="155"/>
                    </a:lnTo>
                    <a:lnTo>
                      <a:pt x="39" y="153"/>
                    </a:lnTo>
                    <a:lnTo>
                      <a:pt x="39" y="153"/>
                    </a:lnTo>
                    <a:lnTo>
                      <a:pt x="39" y="153"/>
                    </a:lnTo>
                    <a:lnTo>
                      <a:pt x="41" y="153"/>
                    </a:lnTo>
                    <a:lnTo>
                      <a:pt x="41" y="153"/>
                    </a:lnTo>
                    <a:lnTo>
                      <a:pt x="44" y="153"/>
                    </a:lnTo>
                    <a:lnTo>
                      <a:pt x="45" y="153"/>
                    </a:lnTo>
                    <a:lnTo>
                      <a:pt x="47" y="153"/>
                    </a:lnTo>
                    <a:lnTo>
                      <a:pt x="52" y="152"/>
                    </a:lnTo>
                    <a:lnTo>
                      <a:pt x="55" y="152"/>
                    </a:lnTo>
                    <a:lnTo>
                      <a:pt x="58" y="150"/>
                    </a:lnTo>
                    <a:lnTo>
                      <a:pt x="59" y="149"/>
                    </a:lnTo>
                    <a:lnTo>
                      <a:pt x="63" y="145"/>
                    </a:lnTo>
                    <a:lnTo>
                      <a:pt x="64" y="142"/>
                    </a:lnTo>
                    <a:lnTo>
                      <a:pt x="66" y="141"/>
                    </a:lnTo>
                    <a:lnTo>
                      <a:pt x="69" y="138"/>
                    </a:lnTo>
                    <a:lnTo>
                      <a:pt x="72" y="138"/>
                    </a:lnTo>
                    <a:lnTo>
                      <a:pt x="73" y="136"/>
                    </a:lnTo>
                    <a:lnTo>
                      <a:pt x="77" y="135"/>
                    </a:lnTo>
                    <a:lnTo>
                      <a:pt x="80" y="133"/>
                    </a:lnTo>
                    <a:lnTo>
                      <a:pt x="83" y="131"/>
                    </a:lnTo>
                    <a:lnTo>
                      <a:pt x="84" y="131"/>
                    </a:lnTo>
                    <a:lnTo>
                      <a:pt x="88" y="130"/>
                    </a:lnTo>
                    <a:lnTo>
                      <a:pt x="89" y="130"/>
                    </a:lnTo>
                    <a:lnTo>
                      <a:pt x="89" y="130"/>
                    </a:lnTo>
                    <a:lnTo>
                      <a:pt x="89" y="128"/>
                    </a:lnTo>
                    <a:lnTo>
                      <a:pt x="89" y="127"/>
                    </a:lnTo>
                    <a:lnTo>
                      <a:pt x="88" y="127"/>
                    </a:lnTo>
                    <a:lnTo>
                      <a:pt x="86" y="125"/>
                    </a:lnTo>
                    <a:lnTo>
                      <a:pt x="86" y="125"/>
                    </a:lnTo>
                    <a:lnTo>
                      <a:pt x="86" y="125"/>
                    </a:lnTo>
                    <a:lnTo>
                      <a:pt x="86" y="124"/>
                    </a:lnTo>
                    <a:lnTo>
                      <a:pt x="86" y="124"/>
                    </a:lnTo>
                    <a:lnTo>
                      <a:pt x="86" y="122"/>
                    </a:lnTo>
                    <a:lnTo>
                      <a:pt x="86" y="120"/>
                    </a:lnTo>
                    <a:lnTo>
                      <a:pt x="86" y="119"/>
                    </a:lnTo>
                    <a:lnTo>
                      <a:pt x="86" y="117"/>
                    </a:lnTo>
                    <a:lnTo>
                      <a:pt x="86" y="116"/>
                    </a:lnTo>
                    <a:lnTo>
                      <a:pt x="86" y="116"/>
                    </a:lnTo>
                    <a:lnTo>
                      <a:pt x="86" y="116"/>
                    </a:lnTo>
                    <a:lnTo>
                      <a:pt x="88" y="114"/>
                    </a:lnTo>
                    <a:lnTo>
                      <a:pt x="89" y="116"/>
                    </a:lnTo>
                    <a:lnTo>
                      <a:pt x="92" y="114"/>
                    </a:lnTo>
                    <a:lnTo>
                      <a:pt x="100" y="113"/>
                    </a:lnTo>
                    <a:lnTo>
                      <a:pt x="100" y="111"/>
                    </a:lnTo>
                    <a:lnTo>
                      <a:pt x="102" y="110"/>
                    </a:lnTo>
                    <a:lnTo>
                      <a:pt x="102" y="108"/>
                    </a:lnTo>
                    <a:lnTo>
                      <a:pt x="102" y="108"/>
                    </a:lnTo>
                    <a:lnTo>
                      <a:pt x="103" y="106"/>
                    </a:lnTo>
                    <a:lnTo>
                      <a:pt x="105" y="106"/>
                    </a:lnTo>
                    <a:lnTo>
                      <a:pt x="108" y="106"/>
                    </a:lnTo>
                    <a:lnTo>
                      <a:pt x="109" y="106"/>
                    </a:lnTo>
                    <a:lnTo>
                      <a:pt x="114" y="106"/>
                    </a:lnTo>
                    <a:lnTo>
                      <a:pt x="117" y="106"/>
                    </a:lnTo>
                    <a:lnTo>
                      <a:pt x="120" y="106"/>
                    </a:lnTo>
                    <a:lnTo>
                      <a:pt x="123" y="106"/>
                    </a:lnTo>
                    <a:lnTo>
                      <a:pt x="127" y="106"/>
                    </a:lnTo>
                    <a:lnTo>
                      <a:pt x="130" y="106"/>
                    </a:lnTo>
                    <a:lnTo>
                      <a:pt x="131" y="106"/>
                    </a:lnTo>
                    <a:lnTo>
                      <a:pt x="131" y="105"/>
                    </a:lnTo>
                    <a:lnTo>
                      <a:pt x="131" y="103"/>
                    </a:lnTo>
                    <a:lnTo>
                      <a:pt x="131" y="102"/>
                    </a:lnTo>
                    <a:lnTo>
                      <a:pt x="133" y="100"/>
                    </a:lnTo>
                    <a:lnTo>
                      <a:pt x="134" y="99"/>
                    </a:lnTo>
                    <a:lnTo>
                      <a:pt x="133" y="97"/>
                    </a:lnTo>
                    <a:lnTo>
                      <a:pt x="131" y="95"/>
                    </a:lnTo>
                    <a:lnTo>
                      <a:pt x="130" y="95"/>
                    </a:lnTo>
                    <a:lnTo>
                      <a:pt x="130" y="94"/>
                    </a:lnTo>
                    <a:lnTo>
                      <a:pt x="128" y="92"/>
                    </a:lnTo>
                    <a:lnTo>
                      <a:pt x="127" y="91"/>
                    </a:lnTo>
                    <a:lnTo>
                      <a:pt x="125" y="86"/>
                    </a:lnTo>
                    <a:lnTo>
                      <a:pt x="125" y="84"/>
                    </a:lnTo>
                    <a:lnTo>
                      <a:pt x="123" y="81"/>
                    </a:lnTo>
                    <a:lnTo>
                      <a:pt x="123" y="77"/>
                    </a:lnTo>
                    <a:lnTo>
                      <a:pt x="123" y="74"/>
                    </a:lnTo>
                    <a:lnTo>
                      <a:pt x="123" y="72"/>
                    </a:lnTo>
                    <a:lnTo>
                      <a:pt x="123" y="70"/>
                    </a:lnTo>
                    <a:lnTo>
                      <a:pt x="123" y="67"/>
                    </a:lnTo>
                    <a:lnTo>
                      <a:pt x="123" y="63"/>
                    </a:lnTo>
                    <a:lnTo>
                      <a:pt x="122" y="59"/>
                    </a:lnTo>
                    <a:lnTo>
                      <a:pt x="122" y="58"/>
                    </a:lnTo>
                    <a:lnTo>
                      <a:pt x="122" y="56"/>
                    </a:lnTo>
                    <a:lnTo>
                      <a:pt x="122" y="56"/>
                    </a:lnTo>
                    <a:lnTo>
                      <a:pt x="120" y="55"/>
                    </a:lnTo>
                    <a:lnTo>
                      <a:pt x="120" y="55"/>
                    </a:lnTo>
                    <a:lnTo>
                      <a:pt x="120" y="53"/>
                    </a:lnTo>
                    <a:lnTo>
                      <a:pt x="122" y="52"/>
                    </a:lnTo>
                    <a:lnTo>
                      <a:pt x="122" y="52"/>
                    </a:lnTo>
                    <a:lnTo>
                      <a:pt x="119" y="48"/>
                    </a:lnTo>
                    <a:lnTo>
                      <a:pt x="116" y="47"/>
                    </a:lnTo>
                    <a:lnTo>
                      <a:pt x="114" y="45"/>
                    </a:lnTo>
                    <a:lnTo>
                      <a:pt x="114" y="44"/>
                    </a:lnTo>
                    <a:lnTo>
                      <a:pt x="117" y="44"/>
                    </a:lnTo>
                    <a:lnTo>
                      <a:pt x="119" y="44"/>
                    </a:lnTo>
                    <a:lnTo>
                      <a:pt x="123" y="42"/>
                    </a:lnTo>
                    <a:lnTo>
                      <a:pt x="127" y="39"/>
                    </a:lnTo>
                    <a:lnTo>
                      <a:pt x="130" y="38"/>
                    </a:lnTo>
                    <a:lnTo>
                      <a:pt x="131" y="34"/>
                    </a:lnTo>
                    <a:lnTo>
                      <a:pt x="134" y="33"/>
                    </a:lnTo>
                    <a:lnTo>
                      <a:pt x="138" y="31"/>
                    </a:lnTo>
                    <a:lnTo>
                      <a:pt x="145" y="27"/>
                    </a:lnTo>
                    <a:lnTo>
                      <a:pt x="147" y="27"/>
                    </a:lnTo>
                    <a:lnTo>
                      <a:pt x="150" y="28"/>
                    </a:lnTo>
                    <a:lnTo>
                      <a:pt x="152" y="28"/>
                    </a:lnTo>
                    <a:lnTo>
                      <a:pt x="153" y="27"/>
                    </a:lnTo>
                    <a:lnTo>
                      <a:pt x="156" y="23"/>
                    </a:lnTo>
                    <a:lnTo>
                      <a:pt x="158" y="20"/>
                    </a:lnTo>
                    <a:lnTo>
                      <a:pt x="163" y="19"/>
                    </a:lnTo>
                    <a:lnTo>
                      <a:pt x="167" y="17"/>
                    </a:lnTo>
                    <a:lnTo>
                      <a:pt x="170" y="14"/>
                    </a:lnTo>
                    <a:lnTo>
                      <a:pt x="175" y="12"/>
                    </a:lnTo>
                    <a:lnTo>
                      <a:pt x="188" y="12"/>
                    </a:lnTo>
                    <a:lnTo>
                      <a:pt x="194" y="11"/>
                    </a:lnTo>
                    <a:lnTo>
                      <a:pt x="199" y="11"/>
                    </a:lnTo>
                    <a:lnTo>
                      <a:pt x="203" y="8"/>
                    </a:lnTo>
                    <a:lnTo>
                      <a:pt x="205" y="8"/>
                    </a:lnTo>
                    <a:lnTo>
                      <a:pt x="214" y="6"/>
                    </a:lnTo>
                    <a:lnTo>
                      <a:pt x="219" y="5"/>
                    </a:lnTo>
                    <a:lnTo>
                      <a:pt x="236" y="5"/>
                    </a:lnTo>
                    <a:lnTo>
                      <a:pt x="239" y="6"/>
                    </a:lnTo>
                    <a:lnTo>
                      <a:pt x="241" y="6"/>
                    </a:lnTo>
                    <a:lnTo>
                      <a:pt x="244" y="9"/>
                    </a:lnTo>
                    <a:lnTo>
                      <a:pt x="245" y="11"/>
                    </a:lnTo>
                    <a:lnTo>
                      <a:pt x="249" y="9"/>
                    </a:lnTo>
                    <a:lnTo>
                      <a:pt x="253" y="6"/>
                    </a:lnTo>
                    <a:lnTo>
                      <a:pt x="260" y="6"/>
                    </a:lnTo>
                    <a:lnTo>
                      <a:pt x="263" y="3"/>
                    </a:lnTo>
                    <a:lnTo>
                      <a:pt x="264" y="2"/>
                    </a:lnTo>
                    <a:lnTo>
                      <a:pt x="267" y="0"/>
                    </a:lnTo>
                    <a:lnTo>
                      <a:pt x="269" y="3"/>
                    </a:lnTo>
                    <a:lnTo>
                      <a:pt x="275" y="5"/>
                    </a:lnTo>
                    <a:lnTo>
                      <a:pt x="278" y="3"/>
                    </a:lnTo>
                    <a:lnTo>
                      <a:pt x="280" y="3"/>
                    </a:lnTo>
                    <a:lnTo>
                      <a:pt x="280" y="0"/>
                    </a:lnTo>
                    <a:lnTo>
                      <a:pt x="283" y="2"/>
                    </a:lnTo>
                    <a:lnTo>
                      <a:pt x="286" y="3"/>
                    </a:lnTo>
                    <a:lnTo>
                      <a:pt x="289" y="5"/>
                    </a:lnTo>
                    <a:lnTo>
                      <a:pt x="292" y="6"/>
                    </a:lnTo>
                    <a:lnTo>
                      <a:pt x="295" y="5"/>
                    </a:lnTo>
                    <a:lnTo>
                      <a:pt x="303"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3" name="Freeform 60">
                <a:extLst>
                  <a:ext uri="{FF2B5EF4-FFF2-40B4-BE49-F238E27FC236}">
                    <a16:creationId xmlns:a16="http://schemas.microsoft.com/office/drawing/2014/main" id="{C9B764C5-2262-D50B-7A76-3BDBA5C08800}"/>
                  </a:ext>
                </a:extLst>
              </p:cNvPr>
              <p:cNvSpPr>
                <a:spLocks noEditPoints="1"/>
              </p:cNvSpPr>
              <p:nvPr/>
            </p:nvSpPr>
            <p:spPr bwMode="gray">
              <a:xfrm>
                <a:off x="1254" y="1551"/>
                <a:ext cx="100" cy="113"/>
              </a:xfrm>
              <a:custGeom>
                <a:avLst/>
                <a:gdLst>
                  <a:gd name="T0" fmla="*/ 12 w 100"/>
                  <a:gd name="T1" fmla="*/ 75 h 113"/>
                  <a:gd name="T2" fmla="*/ 14 w 100"/>
                  <a:gd name="T3" fmla="*/ 78 h 113"/>
                  <a:gd name="T4" fmla="*/ 17 w 100"/>
                  <a:gd name="T5" fmla="*/ 73 h 113"/>
                  <a:gd name="T6" fmla="*/ 36 w 100"/>
                  <a:gd name="T7" fmla="*/ 3 h 113"/>
                  <a:gd name="T8" fmla="*/ 100 w 100"/>
                  <a:gd name="T9" fmla="*/ 36 h 113"/>
                  <a:gd name="T10" fmla="*/ 95 w 100"/>
                  <a:gd name="T11" fmla="*/ 30 h 113"/>
                  <a:gd name="T12" fmla="*/ 97 w 100"/>
                  <a:gd name="T13" fmla="*/ 28 h 113"/>
                  <a:gd name="T14" fmla="*/ 94 w 100"/>
                  <a:gd name="T15" fmla="*/ 25 h 113"/>
                  <a:gd name="T16" fmla="*/ 89 w 100"/>
                  <a:gd name="T17" fmla="*/ 23 h 113"/>
                  <a:gd name="T18" fmla="*/ 83 w 100"/>
                  <a:gd name="T19" fmla="*/ 19 h 113"/>
                  <a:gd name="T20" fmla="*/ 80 w 100"/>
                  <a:gd name="T21" fmla="*/ 20 h 113"/>
                  <a:gd name="T22" fmla="*/ 75 w 100"/>
                  <a:gd name="T23" fmla="*/ 22 h 113"/>
                  <a:gd name="T24" fmla="*/ 72 w 100"/>
                  <a:gd name="T25" fmla="*/ 22 h 113"/>
                  <a:gd name="T26" fmla="*/ 66 w 100"/>
                  <a:gd name="T27" fmla="*/ 20 h 113"/>
                  <a:gd name="T28" fmla="*/ 61 w 100"/>
                  <a:gd name="T29" fmla="*/ 15 h 113"/>
                  <a:gd name="T30" fmla="*/ 58 w 100"/>
                  <a:gd name="T31" fmla="*/ 14 h 113"/>
                  <a:gd name="T32" fmla="*/ 52 w 100"/>
                  <a:gd name="T33" fmla="*/ 11 h 113"/>
                  <a:gd name="T34" fmla="*/ 41 w 100"/>
                  <a:gd name="T35" fmla="*/ 3 h 113"/>
                  <a:gd name="T36" fmla="*/ 37 w 100"/>
                  <a:gd name="T37" fmla="*/ 0 h 113"/>
                  <a:gd name="T38" fmla="*/ 27 w 100"/>
                  <a:gd name="T39" fmla="*/ 8 h 113"/>
                  <a:gd name="T40" fmla="*/ 16 w 100"/>
                  <a:gd name="T41" fmla="*/ 11 h 113"/>
                  <a:gd name="T42" fmla="*/ 14 w 100"/>
                  <a:gd name="T43" fmla="*/ 26 h 113"/>
                  <a:gd name="T44" fmla="*/ 9 w 100"/>
                  <a:gd name="T45" fmla="*/ 36 h 113"/>
                  <a:gd name="T46" fmla="*/ 6 w 100"/>
                  <a:gd name="T47" fmla="*/ 41 h 113"/>
                  <a:gd name="T48" fmla="*/ 3 w 100"/>
                  <a:gd name="T49" fmla="*/ 50 h 113"/>
                  <a:gd name="T50" fmla="*/ 2 w 100"/>
                  <a:gd name="T51" fmla="*/ 64 h 113"/>
                  <a:gd name="T52" fmla="*/ 5 w 100"/>
                  <a:gd name="T53" fmla="*/ 67 h 113"/>
                  <a:gd name="T54" fmla="*/ 12 w 100"/>
                  <a:gd name="T55" fmla="*/ 72 h 113"/>
                  <a:gd name="T56" fmla="*/ 17 w 100"/>
                  <a:gd name="T57" fmla="*/ 70 h 113"/>
                  <a:gd name="T58" fmla="*/ 20 w 100"/>
                  <a:gd name="T59" fmla="*/ 62 h 113"/>
                  <a:gd name="T60" fmla="*/ 20 w 100"/>
                  <a:gd name="T61" fmla="*/ 75 h 113"/>
                  <a:gd name="T62" fmla="*/ 14 w 100"/>
                  <a:gd name="T63" fmla="*/ 84 h 113"/>
                  <a:gd name="T64" fmla="*/ 12 w 100"/>
                  <a:gd name="T65" fmla="*/ 86 h 113"/>
                  <a:gd name="T66" fmla="*/ 12 w 100"/>
                  <a:gd name="T67" fmla="*/ 89 h 113"/>
                  <a:gd name="T68" fmla="*/ 12 w 100"/>
                  <a:gd name="T69" fmla="*/ 92 h 113"/>
                  <a:gd name="T70" fmla="*/ 11 w 100"/>
                  <a:gd name="T71" fmla="*/ 95 h 113"/>
                  <a:gd name="T72" fmla="*/ 8 w 100"/>
                  <a:gd name="T73" fmla="*/ 98 h 113"/>
                  <a:gd name="T74" fmla="*/ 9 w 100"/>
                  <a:gd name="T75" fmla="*/ 102 h 113"/>
                  <a:gd name="T76" fmla="*/ 11 w 100"/>
                  <a:gd name="T77" fmla="*/ 103 h 113"/>
                  <a:gd name="T78" fmla="*/ 17 w 100"/>
                  <a:gd name="T79" fmla="*/ 102 h 113"/>
                  <a:gd name="T80" fmla="*/ 23 w 100"/>
                  <a:gd name="T81" fmla="*/ 103 h 113"/>
                  <a:gd name="T82" fmla="*/ 27 w 100"/>
                  <a:gd name="T83" fmla="*/ 111 h 113"/>
                  <a:gd name="T84" fmla="*/ 34 w 100"/>
                  <a:gd name="T85" fmla="*/ 113 h 113"/>
                  <a:gd name="T86" fmla="*/ 36 w 100"/>
                  <a:gd name="T87" fmla="*/ 109 h 113"/>
                  <a:gd name="T88" fmla="*/ 39 w 100"/>
                  <a:gd name="T89" fmla="*/ 106 h 113"/>
                  <a:gd name="T90" fmla="*/ 39 w 100"/>
                  <a:gd name="T91" fmla="*/ 103 h 113"/>
                  <a:gd name="T92" fmla="*/ 42 w 100"/>
                  <a:gd name="T93" fmla="*/ 95 h 113"/>
                  <a:gd name="T94" fmla="*/ 44 w 100"/>
                  <a:gd name="T95" fmla="*/ 91 h 113"/>
                  <a:gd name="T96" fmla="*/ 47 w 100"/>
                  <a:gd name="T97" fmla="*/ 84 h 113"/>
                  <a:gd name="T98" fmla="*/ 48 w 100"/>
                  <a:gd name="T99" fmla="*/ 87 h 113"/>
                  <a:gd name="T100" fmla="*/ 48 w 100"/>
                  <a:gd name="T101" fmla="*/ 84 h 113"/>
                  <a:gd name="T102" fmla="*/ 53 w 100"/>
                  <a:gd name="T103" fmla="*/ 80 h 113"/>
                  <a:gd name="T104" fmla="*/ 67 w 100"/>
                  <a:gd name="T105" fmla="*/ 73 h 113"/>
                  <a:gd name="T106" fmla="*/ 83 w 100"/>
                  <a:gd name="T107" fmla="*/ 66 h 113"/>
                  <a:gd name="T108" fmla="*/ 94 w 100"/>
                  <a:gd name="T109" fmla="*/ 53 h 113"/>
                  <a:gd name="T110" fmla="*/ 98 w 100"/>
                  <a:gd name="T111" fmla="*/ 42 h 113"/>
                  <a:gd name="T112" fmla="*/ 100 w 100"/>
                  <a:gd name="T113"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13">
                    <a:moveTo>
                      <a:pt x="17" y="73"/>
                    </a:moveTo>
                    <a:lnTo>
                      <a:pt x="16" y="72"/>
                    </a:lnTo>
                    <a:lnTo>
                      <a:pt x="14" y="73"/>
                    </a:lnTo>
                    <a:lnTo>
                      <a:pt x="12" y="73"/>
                    </a:lnTo>
                    <a:lnTo>
                      <a:pt x="12" y="75"/>
                    </a:lnTo>
                    <a:lnTo>
                      <a:pt x="12" y="78"/>
                    </a:lnTo>
                    <a:lnTo>
                      <a:pt x="12" y="78"/>
                    </a:lnTo>
                    <a:lnTo>
                      <a:pt x="12" y="78"/>
                    </a:lnTo>
                    <a:lnTo>
                      <a:pt x="14" y="78"/>
                    </a:lnTo>
                    <a:lnTo>
                      <a:pt x="14" y="78"/>
                    </a:lnTo>
                    <a:lnTo>
                      <a:pt x="16" y="75"/>
                    </a:lnTo>
                    <a:lnTo>
                      <a:pt x="16" y="75"/>
                    </a:lnTo>
                    <a:lnTo>
                      <a:pt x="17" y="75"/>
                    </a:lnTo>
                    <a:lnTo>
                      <a:pt x="19" y="73"/>
                    </a:lnTo>
                    <a:lnTo>
                      <a:pt x="17" y="73"/>
                    </a:lnTo>
                    <a:close/>
                    <a:moveTo>
                      <a:pt x="36" y="3"/>
                    </a:moveTo>
                    <a:lnTo>
                      <a:pt x="34" y="3"/>
                    </a:lnTo>
                    <a:lnTo>
                      <a:pt x="34" y="5"/>
                    </a:lnTo>
                    <a:lnTo>
                      <a:pt x="36" y="5"/>
                    </a:lnTo>
                    <a:lnTo>
                      <a:pt x="36" y="3"/>
                    </a:lnTo>
                    <a:lnTo>
                      <a:pt x="36" y="3"/>
                    </a:lnTo>
                    <a:close/>
                    <a:moveTo>
                      <a:pt x="100" y="39"/>
                    </a:moveTo>
                    <a:lnTo>
                      <a:pt x="100" y="37"/>
                    </a:lnTo>
                    <a:lnTo>
                      <a:pt x="100" y="36"/>
                    </a:lnTo>
                    <a:lnTo>
                      <a:pt x="100" y="36"/>
                    </a:lnTo>
                    <a:lnTo>
                      <a:pt x="98" y="34"/>
                    </a:lnTo>
                    <a:lnTo>
                      <a:pt x="97" y="33"/>
                    </a:lnTo>
                    <a:lnTo>
                      <a:pt x="97" y="31"/>
                    </a:lnTo>
                    <a:lnTo>
                      <a:pt x="95" y="30"/>
                    </a:lnTo>
                    <a:lnTo>
                      <a:pt x="95" y="30"/>
                    </a:lnTo>
                    <a:lnTo>
                      <a:pt x="94" y="28"/>
                    </a:lnTo>
                    <a:lnTo>
                      <a:pt x="94" y="28"/>
                    </a:lnTo>
                    <a:lnTo>
                      <a:pt x="94" y="28"/>
                    </a:lnTo>
                    <a:lnTo>
                      <a:pt x="97" y="28"/>
                    </a:lnTo>
                    <a:lnTo>
                      <a:pt x="97" y="28"/>
                    </a:lnTo>
                    <a:lnTo>
                      <a:pt x="98" y="28"/>
                    </a:lnTo>
                    <a:lnTo>
                      <a:pt x="100" y="28"/>
                    </a:lnTo>
                    <a:lnTo>
                      <a:pt x="97" y="26"/>
                    </a:lnTo>
                    <a:lnTo>
                      <a:pt x="94" y="25"/>
                    </a:lnTo>
                    <a:lnTo>
                      <a:pt x="94" y="25"/>
                    </a:lnTo>
                    <a:lnTo>
                      <a:pt x="92" y="25"/>
                    </a:lnTo>
                    <a:lnTo>
                      <a:pt x="91" y="25"/>
                    </a:lnTo>
                    <a:lnTo>
                      <a:pt x="91" y="25"/>
                    </a:lnTo>
                    <a:lnTo>
                      <a:pt x="89" y="23"/>
                    </a:lnTo>
                    <a:lnTo>
                      <a:pt x="89" y="23"/>
                    </a:lnTo>
                    <a:lnTo>
                      <a:pt x="88" y="22"/>
                    </a:lnTo>
                    <a:lnTo>
                      <a:pt x="86" y="20"/>
                    </a:lnTo>
                    <a:lnTo>
                      <a:pt x="86" y="20"/>
                    </a:lnTo>
                    <a:lnTo>
                      <a:pt x="83" y="19"/>
                    </a:lnTo>
                    <a:lnTo>
                      <a:pt x="83" y="19"/>
                    </a:lnTo>
                    <a:lnTo>
                      <a:pt x="81" y="19"/>
                    </a:lnTo>
                    <a:lnTo>
                      <a:pt x="80" y="19"/>
                    </a:lnTo>
                    <a:lnTo>
                      <a:pt x="80" y="19"/>
                    </a:lnTo>
                    <a:lnTo>
                      <a:pt x="80" y="19"/>
                    </a:lnTo>
                    <a:lnTo>
                      <a:pt x="80" y="20"/>
                    </a:lnTo>
                    <a:lnTo>
                      <a:pt x="80" y="22"/>
                    </a:lnTo>
                    <a:lnTo>
                      <a:pt x="78" y="22"/>
                    </a:lnTo>
                    <a:lnTo>
                      <a:pt x="77" y="22"/>
                    </a:lnTo>
                    <a:lnTo>
                      <a:pt x="75" y="22"/>
                    </a:lnTo>
                    <a:lnTo>
                      <a:pt x="75" y="22"/>
                    </a:lnTo>
                    <a:lnTo>
                      <a:pt x="73" y="22"/>
                    </a:lnTo>
                    <a:lnTo>
                      <a:pt x="73" y="22"/>
                    </a:lnTo>
                    <a:lnTo>
                      <a:pt x="73" y="22"/>
                    </a:lnTo>
                    <a:lnTo>
                      <a:pt x="72" y="22"/>
                    </a:lnTo>
                    <a:lnTo>
                      <a:pt x="72" y="22"/>
                    </a:lnTo>
                    <a:lnTo>
                      <a:pt x="70" y="22"/>
                    </a:lnTo>
                    <a:lnTo>
                      <a:pt x="69" y="20"/>
                    </a:lnTo>
                    <a:lnTo>
                      <a:pt x="67" y="20"/>
                    </a:lnTo>
                    <a:lnTo>
                      <a:pt x="67" y="20"/>
                    </a:lnTo>
                    <a:lnTo>
                      <a:pt x="66" y="20"/>
                    </a:lnTo>
                    <a:lnTo>
                      <a:pt x="64" y="20"/>
                    </a:lnTo>
                    <a:lnTo>
                      <a:pt x="62" y="19"/>
                    </a:lnTo>
                    <a:lnTo>
                      <a:pt x="62" y="19"/>
                    </a:lnTo>
                    <a:lnTo>
                      <a:pt x="62" y="19"/>
                    </a:lnTo>
                    <a:lnTo>
                      <a:pt x="61" y="15"/>
                    </a:lnTo>
                    <a:lnTo>
                      <a:pt x="61" y="14"/>
                    </a:lnTo>
                    <a:lnTo>
                      <a:pt x="61" y="14"/>
                    </a:lnTo>
                    <a:lnTo>
                      <a:pt x="59" y="14"/>
                    </a:lnTo>
                    <a:lnTo>
                      <a:pt x="59" y="14"/>
                    </a:lnTo>
                    <a:lnTo>
                      <a:pt x="58" y="14"/>
                    </a:lnTo>
                    <a:lnTo>
                      <a:pt x="58" y="12"/>
                    </a:lnTo>
                    <a:lnTo>
                      <a:pt x="58" y="11"/>
                    </a:lnTo>
                    <a:lnTo>
                      <a:pt x="56" y="11"/>
                    </a:lnTo>
                    <a:lnTo>
                      <a:pt x="55" y="11"/>
                    </a:lnTo>
                    <a:lnTo>
                      <a:pt x="52" y="11"/>
                    </a:lnTo>
                    <a:lnTo>
                      <a:pt x="48" y="9"/>
                    </a:lnTo>
                    <a:lnTo>
                      <a:pt x="47" y="8"/>
                    </a:lnTo>
                    <a:lnTo>
                      <a:pt x="42" y="5"/>
                    </a:lnTo>
                    <a:lnTo>
                      <a:pt x="42" y="5"/>
                    </a:lnTo>
                    <a:lnTo>
                      <a:pt x="41" y="3"/>
                    </a:lnTo>
                    <a:lnTo>
                      <a:pt x="39" y="3"/>
                    </a:lnTo>
                    <a:lnTo>
                      <a:pt x="39" y="3"/>
                    </a:lnTo>
                    <a:lnTo>
                      <a:pt x="39" y="3"/>
                    </a:lnTo>
                    <a:lnTo>
                      <a:pt x="37" y="1"/>
                    </a:lnTo>
                    <a:lnTo>
                      <a:pt x="37" y="0"/>
                    </a:lnTo>
                    <a:lnTo>
                      <a:pt x="36" y="0"/>
                    </a:lnTo>
                    <a:lnTo>
                      <a:pt x="37" y="3"/>
                    </a:lnTo>
                    <a:lnTo>
                      <a:pt x="36" y="5"/>
                    </a:lnTo>
                    <a:lnTo>
                      <a:pt x="30" y="6"/>
                    </a:lnTo>
                    <a:lnTo>
                      <a:pt x="27" y="8"/>
                    </a:lnTo>
                    <a:lnTo>
                      <a:pt x="23" y="9"/>
                    </a:lnTo>
                    <a:lnTo>
                      <a:pt x="22" y="9"/>
                    </a:lnTo>
                    <a:lnTo>
                      <a:pt x="20" y="9"/>
                    </a:lnTo>
                    <a:lnTo>
                      <a:pt x="19" y="11"/>
                    </a:lnTo>
                    <a:lnTo>
                      <a:pt x="16" y="11"/>
                    </a:lnTo>
                    <a:lnTo>
                      <a:pt x="16" y="12"/>
                    </a:lnTo>
                    <a:lnTo>
                      <a:pt x="16" y="15"/>
                    </a:lnTo>
                    <a:lnTo>
                      <a:pt x="16" y="19"/>
                    </a:lnTo>
                    <a:lnTo>
                      <a:pt x="16" y="23"/>
                    </a:lnTo>
                    <a:lnTo>
                      <a:pt x="14" y="26"/>
                    </a:lnTo>
                    <a:lnTo>
                      <a:pt x="12" y="28"/>
                    </a:lnTo>
                    <a:lnTo>
                      <a:pt x="11" y="30"/>
                    </a:lnTo>
                    <a:lnTo>
                      <a:pt x="8" y="33"/>
                    </a:lnTo>
                    <a:lnTo>
                      <a:pt x="8" y="34"/>
                    </a:lnTo>
                    <a:lnTo>
                      <a:pt x="9" y="36"/>
                    </a:lnTo>
                    <a:lnTo>
                      <a:pt x="12" y="37"/>
                    </a:lnTo>
                    <a:lnTo>
                      <a:pt x="11" y="37"/>
                    </a:lnTo>
                    <a:lnTo>
                      <a:pt x="9" y="36"/>
                    </a:lnTo>
                    <a:lnTo>
                      <a:pt x="8" y="37"/>
                    </a:lnTo>
                    <a:lnTo>
                      <a:pt x="6" y="41"/>
                    </a:lnTo>
                    <a:lnTo>
                      <a:pt x="6" y="42"/>
                    </a:lnTo>
                    <a:lnTo>
                      <a:pt x="2" y="44"/>
                    </a:lnTo>
                    <a:lnTo>
                      <a:pt x="2" y="45"/>
                    </a:lnTo>
                    <a:lnTo>
                      <a:pt x="3" y="48"/>
                    </a:lnTo>
                    <a:lnTo>
                      <a:pt x="3" y="50"/>
                    </a:lnTo>
                    <a:lnTo>
                      <a:pt x="2" y="55"/>
                    </a:lnTo>
                    <a:lnTo>
                      <a:pt x="3" y="58"/>
                    </a:lnTo>
                    <a:lnTo>
                      <a:pt x="3" y="59"/>
                    </a:lnTo>
                    <a:lnTo>
                      <a:pt x="3" y="62"/>
                    </a:lnTo>
                    <a:lnTo>
                      <a:pt x="2" y="64"/>
                    </a:lnTo>
                    <a:lnTo>
                      <a:pt x="0" y="64"/>
                    </a:lnTo>
                    <a:lnTo>
                      <a:pt x="0" y="66"/>
                    </a:lnTo>
                    <a:lnTo>
                      <a:pt x="0" y="66"/>
                    </a:lnTo>
                    <a:lnTo>
                      <a:pt x="2" y="67"/>
                    </a:lnTo>
                    <a:lnTo>
                      <a:pt x="5" y="67"/>
                    </a:lnTo>
                    <a:lnTo>
                      <a:pt x="9" y="72"/>
                    </a:lnTo>
                    <a:lnTo>
                      <a:pt x="9" y="72"/>
                    </a:lnTo>
                    <a:lnTo>
                      <a:pt x="12" y="73"/>
                    </a:lnTo>
                    <a:lnTo>
                      <a:pt x="12" y="72"/>
                    </a:lnTo>
                    <a:lnTo>
                      <a:pt x="12" y="72"/>
                    </a:lnTo>
                    <a:lnTo>
                      <a:pt x="14" y="70"/>
                    </a:lnTo>
                    <a:lnTo>
                      <a:pt x="16" y="67"/>
                    </a:lnTo>
                    <a:lnTo>
                      <a:pt x="17" y="67"/>
                    </a:lnTo>
                    <a:lnTo>
                      <a:pt x="16" y="70"/>
                    </a:lnTo>
                    <a:lnTo>
                      <a:pt x="17" y="70"/>
                    </a:lnTo>
                    <a:lnTo>
                      <a:pt x="19" y="70"/>
                    </a:lnTo>
                    <a:lnTo>
                      <a:pt x="19" y="69"/>
                    </a:lnTo>
                    <a:lnTo>
                      <a:pt x="19" y="64"/>
                    </a:lnTo>
                    <a:lnTo>
                      <a:pt x="19" y="62"/>
                    </a:lnTo>
                    <a:lnTo>
                      <a:pt x="20" y="62"/>
                    </a:lnTo>
                    <a:lnTo>
                      <a:pt x="20" y="64"/>
                    </a:lnTo>
                    <a:lnTo>
                      <a:pt x="20" y="67"/>
                    </a:lnTo>
                    <a:lnTo>
                      <a:pt x="22" y="69"/>
                    </a:lnTo>
                    <a:lnTo>
                      <a:pt x="22" y="70"/>
                    </a:lnTo>
                    <a:lnTo>
                      <a:pt x="20" y="75"/>
                    </a:lnTo>
                    <a:lnTo>
                      <a:pt x="19" y="80"/>
                    </a:lnTo>
                    <a:lnTo>
                      <a:pt x="17" y="81"/>
                    </a:lnTo>
                    <a:lnTo>
                      <a:pt x="16" y="83"/>
                    </a:lnTo>
                    <a:lnTo>
                      <a:pt x="16" y="83"/>
                    </a:lnTo>
                    <a:lnTo>
                      <a:pt x="14" y="84"/>
                    </a:lnTo>
                    <a:lnTo>
                      <a:pt x="11" y="84"/>
                    </a:lnTo>
                    <a:lnTo>
                      <a:pt x="11" y="84"/>
                    </a:lnTo>
                    <a:lnTo>
                      <a:pt x="11" y="86"/>
                    </a:lnTo>
                    <a:lnTo>
                      <a:pt x="12" y="86"/>
                    </a:lnTo>
                    <a:lnTo>
                      <a:pt x="12" y="86"/>
                    </a:lnTo>
                    <a:lnTo>
                      <a:pt x="12" y="87"/>
                    </a:lnTo>
                    <a:lnTo>
                      <a:pt x="12" y="87"/>
                    </a:lnTo>
                    <a:lnTo>
                      <a:pt x="12" y="87"/>
                    </a:lnTo>
                    <a:lnTo>
                      <a:pt x="12" y="89"/>
                    </a:lnTo>
                    <a:lnTo>
                      <a:pt x="12" y="89"/>
                    </a:lnTo>
                    <a:lnTo>
                      <a:pt x="12" y="89"/>
                    </a:lnTo>
                    <a:lnTo>
                      <a:pt x="12" y="89"/>
                    </a:lnTo>
                    <a:lnTo>
                      <a:pt x="12" y="91"/>
                    </a:lnTo>
                    <a:lnTo>
                      <a:pt x="12" y="91"/>
                    </a:lnTo>
                    <a:lnTo>
                      <a:pt x="12" y="92"/>
                    </a:lnTo>
                    <a:lnTo>
                      <a:pt x="14" y="94"/>
                    </a:lnTo>
                    <a:lnTo>
                      <a:pt x="14" y="94"/>
                    </a:lnTo>
                    <a:lnTo>
                      <a:pt x="12" y="94"/>
                    </a:lnTo>
                    <a:lnTo>
                      <a:pt x="12" y="95"/>
                    </a:lnTo>
                    <a:lnTo>
                      <a:pt x="11" y="95"/>
                    </a:lnTo>
                    <a:lnTo>
                      <a:pt x="11" y="95"/>
                    </a:lnTo>
                    <a:lnTo>
                      <a:pt x="9" y="95"/>
                    </a:lnTo>
                    <a:lnTo>
                      <a:pt x="8" y="95"/>
                    </a:lnTo>
                    <a:lnTo>
                      <a:pt x="8" y="97"/>
                    </a:lnTo>
                    <a:lnTo>
                      <a:pt x="8" y="98"/>
                    </a:lnTo>
                    <a:lnTo>
                      <a:pt x="8" y="98"/>
                    </a:lnTo>
                    <a:lnTo>
                      <a:pt x="9" y="100"/>
                    </a:lnTo>
                    <a:lnTo>
                      <a:pt x="9" y="100"/>
                    </a:lnTo>
                    <a:lnTo>
                      <a:pt x="11" y="100"/>
                    </a:lnTo>
                    <a:lnTo>
                      <a:pt x="9" y="102"/>
                    </a:lnTo>
                    <a:lnTo>
                      <a:pt x="8" y="103"/>
                    </a:lnTo>
                    <a:lnTo>
                      <a:pt x="8" y="103"/>
                    </a:lnTo>
                    <a:lnTo>
                      <a:pt x="9" y="103"/>
                    </a:lnTo>
                    <a:lnTo>
                      <a:pt x="9" y="103"/>
                    </a:lnTo>
                    <a:lnTo>
                      <a:pt x="11" y="103"/>
                    </a:lnTo>
                    <a:lnTo>
                      <a:pt x="12" y="102"/>
                    </a:lnTo>
                    <a:lnTo>
                      <a:pt x="14" y="102"/>
                    </a:lnTo>
                    <a:lnTo>
                      <a:pt x="14" y="102"/>
                    </a:lnTo>
                    <a:lnTo>
                      <a:pt x="16" y="102"/>
                    </a:lnTo>
                    <a:lnTo>
                      <a:pt x="17" y="102"/>
                    </a:lnTo>
                    <a:lnTo>
                      <a:pt x="17" y="103"/>
                    </a:lnTo>
                    <a:lnTo>
                      <a:pt x="19" y="103"/>
                    </a:lnTo>
                    <a:lnTo>
                      <a:pt x="20" y="105"/>
                    </a:lnTo>
                    <a:lnTo>
                      <a:pt x="22" y="105"/>
                    </a:lnTo>
                    <a:lnTo>
                      <a:pt x="23" y="103"/>
                    </a:lnTo>
                    <a:lnTo>
                      <a:pt x="23" y="105"/>
                    </a:lnTo>
                    <a:lnTo>
                      <a:pt x="25" y="105"/>
                    </a:lnTo>
                    <a:lnTo>
                      <a:pt x="25" y="108"/>
                    </a:lnTo>
                    <a:lnTo>
                      <a:pt x="27" y="109"/>
                    </a:lnTo>
                    <a:lnTo>
                      <a:pt x="27" y="111"/>
                    </a:lnTo>
                    <a:lnTo>
                      <a:pt x="28" y="113"/>
                    </a:lnTo>
                    <a:lnTo>
                      <a:pt x="30" y="113"/>
                    </a:lnTo>
                    <a:lnTo>
                      <a:pt x="31" y="113"/>
                    </a:lnTo>
                    <a:lnTo>
                      <a:pt x="33" y="113"/>
                    </a:lnTo>
                    <a:lnTo>
                      <a:pt x="34" y="113"/>
                    </a:lnTo>
                    <a:lnTo>
                      <a:pt x="34" y="111"/>
                    </a:lnTo>
                    <a:lnTo>
                      <a:pt x="34" y="111"/>
                    </a:lnTo>
                    <a:lnTo>
                      <a:pt x="36" y="111"/>
                    </a:lnTo>
                    <a:lnTo>
                      <a:pt x="36" y="109"/>
                    </a:lnTo>
                    <a:lnTo>
                      <a:pt x="36" y="109"/>
                    </a:lnTo>
                    <a:lnTo>
                      <a:pt x="36" y="109"/>
                    </a:lnTo>
                    <a:lnTo>
                      <a:pt x="36" y="108"/>
                    </a:lnTo>
                    <a:lnTo>
                      <a:pt x="36" y="108"/>
                    </a:lnTo>
                    <a:lnTo>
                      <a:pt x="37" y="108"/>
                    </a:lnTo>
                    <a:lnTo>
                      <a:pt x="39" y="106"/>
                    </a:lnTo>
                    <a:lnTo>
                      <a:pt x="39" y="106"/>
                    </a:lnTo>
                    <a:lnTo>
                      <a:pt x="41" y="105"/>
                    </a:lnTo>
                    <a:lnTo>
                      <a:pt x="41" y="103"/>
                    </a:lnTo>
                    <a:lnTo>
                      <a:pt x="41" y="103"/>
                    </a:lnTo>
                    <a:lnTo>
                      <a:pt x="39" y="103"/>
                    </a:lnTo>
                    <a:lnTo>
                      <a:pt x="41" y="102"/>
                    </a:lnTo>
                    <a:lnTo>
                      <a:pt x="41" y="100"/>
                    </a:lnTo>
                    <a:lnTo>
                      <a:pt x="41" y="98"/>
                    </a:lnTo>
                    <a:lnTo>
                      <a:pt x="42" y="97"/>
                    </a:lnTo>
                    <a:lnTo>
                      <a:pt x="42" y="95"/>
                    </a:lnTo>
                    <a:lnTo>
                      <a:pt x="42" y="95"/>
                    </a:lnTo>
                    <a:lnTo>
                      <a:pt x="44" y="94"/>
                    </a:lnTo>
                    <a:lnTo>
                      <a:pt x="44" y="94"/>
                    </a:lnTo>
                    <a:lnTo>
                      <a:pt x="44" y="92"/>
                    </a:lnTo>
                    <a:lnTo>
                      <a:pt x="44" y="91"/>
                    </a:lnTo>
                    <a:lnTo>
                      <a:pt x="45" y="91"/>
                    </a:lnTo>
                    <a:lnTo>
                      <a:pt x="45" y="89"/>
                    </a:lnTo>
                    <a:lnTo>
                      <a:pt x="45" y="86"/>
                    </a:lnTo>
                    <a:lnTo>
                      <a:pt x="45" y="86"/>
                    </a:lnTo>
                    <a:lnTo>
                      <a:pt x="47" y="84"/>
                    </a:lnTo>
                    <a:lnTo>
                      <a:pt x="47" y="86"/>
                    </a:lnTo>
                    <a:lnTo>
                      <a:pt x="47" y="86"/>
                    </a:lnTo>
                    <a:lnTo>
                      <a:pt x="47" y="86"/>
                    </a:lnTo>
                    <a:lnTo>
                      <a:pt x="48" y="87"/>
                    </a:lnTo>
                    <a:lnTo>
                      <a:pt x="48" y="87"/>
                    </a:lnTo>
                    <a:lnTo>
                      <a:pt x="48" y="86"/>
                    </a:lnTo>
                    <a:lnTo>
                      <a:pt x="48" y="86"/>
                    </a:lnTo>
                    <a:lnTo>
                      <a:pt x="48" y="86"/>
                    </a:lnTo>
                    <a:lnTo>
                      <a:pt x="48" y="84"/>
                    </a:lnTo>
                    <a:lnTo>
                      <a:pt x="48" y="84"/>
                    </a:lnTo>
                    <a:lnTo>
                      <a:pt x="50" y="83"/>
                    </a:lnTo>
                    <a:lnTo>
                      <a:pt x="50" y="81"/>
                    </a:lnTo>
                    <a:lnTo>
                      <a:pt x="52" y="81"/>
                    </a:lnTo>
                    <a:lnTo>
                      <a:pt x="53" y="80"/>
                    </a:lnTo>
                    <a:lnTo>
                      <a:pt x="53" y="80"/>
                    </a:lnTo>
                    <a:lnTo>
                      <a:pt x="55" y="78"/>
                    </a:lnTo>
                    <a:lnTo>
                      <a:pt x="58" y="77"/>
                    </a:lnTo>
                    <a:lnTo>
                      <a:pt x="61" y="77"/>
                    </a:lnTo>
                    <a:lnTo>
                      <a:pt x="62" y="75"/>
                    </a:lnTo>
                    <a:lnTo>
                      <a:pt x="67" y="73"/>
                    </a:lnTo>
                    <a:lnTo>
                      <a:pt x="72" y="72"/>
                    </a:lnTo>
                    <a:lnTo>
                      <a:pt x="75" y="70"/>
                    </a:lnTo>
                    <a:lnTo>
                      <a:pt x="78" y="69"/>
                    </a:lnTo>
                    <a:lnTo>
                      <a:pt x="81" y="67"/>
                    </a:lnTo>
                    <a:lnTo>
                      <a:pt x="83" y="66"/>
                    </a:lnTo>
                    <a:lnTo>
                      <a:pt x="86" y="62"/>
                    </a:lnTo>
                    <a:lnTo>
                      <a:pt x="89" y="59"/>
                    </a:lnTo>
                    <a:lnTo>
                      <a:pt x="91" y="56"/>
                    </a:lnTo>
                    <a:lnTo>
                      <a:pt x="94" y="55"/>
                    </a:lnTo>
                    <a:lnTo>
                      <a:pt x="94" y="53"/>
                    </a:lnTo>
                    <a:lnTo>
                      <a:pt x="95" y="48"/>
                    </a:lnTo>
                    <a:lnTo>
                      <a:pt x="97" y="45"/>
                    </a:lnTo>
                    <a:lnTo>
                      <a:pt x="97" y="42"/>
                    </a:lnTo>
                    <a:lnTo>
                      <a:pt x="97" y="42"/>
                    </a:lnTo>
                    <a:lnTo>
                      <a:pt x="98" y="42"/>
                    </a:lnTo>
                    <a:lnTo>
                      <a:pt x="98" y="42"/>
                    </a:lnTo>
                    <a:lnTo>
                      <a:pt x="100" y="42"/>
                    </a:lnTo>
                    <a:lnTo>
                      <a:pt x="100" y="42"/>
                    </a:lnTo>
                    <a:lnTo>
                      <a:pt x="100" y="42"/>
                    </a:lnTo>
                    <a:lnTo>
                      <a:pt x="100" y="3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4" name="Freeform 61">
                <a:extLst>
                  <a:ext uri="{FF2B5EF4-FFF2-40B4-BE49-F238E27FC236}">
                    <a16:creationId xmlns:a16="http://schemas.microsoft.com/office/drawing/2014/main" id="{8BDE16F2-A92E-4314-8D60-14CE31856CB8}"/>
                  </a:ext>
                </a:extLst>
              </p:cNvPr>
              <p:cNvSpPr>
                <a:spLocks noEditPoints="1"/>
              </p:cNvSpPr>
              <p:nvPr/>
            </p:nvSpPr>
            <p:spPr bwMode="gray">
              <a:xfrm>
                <a:off x="3058" y="269"/>
                <a:ext cx="111" cy="72"/>
              </a:xfrm>
              <a:custGeom>
                <a:avLst/>
                <a:gdLst>
                  <a:gd name="T0" fmla="*/ 16 w 111"/>
                  <a:gd name="T1" fmla="*/ 36 h 72"/>
                  <a:gd name="T2" fmla="*/ 11 w 111"/>
                  <a:gd name="T3" fmla="*/ 36 h 72"/>
                  <a:gd name="T4" fmla="*/ 7 w 111"/>
                  <a:gd name="T5" fmla="*/ 39 h 72"/>
                  <a:gd name="T6" fmla="*/ 0 w 111"/>
                  <a:gd name="T7" fmla="*/ 39 h 72"/>
                  <a:gd name="T8" fmla="*/ 2 w 111"/>
                  <a:gd name="T9" fmla="*/ 46 h 72"/>
                  <a:gd name="T10" fmla="*/ 5 w 111"/>
                  <a:gd name="T11" fmla="*/ 50 h 72"/>
                  <a:gd name="T12" fmla="*/ 3 w 111"/>
                  <a:gd name="T13" fmla="*/ 58 h 72"/>
                  <a:gd name="T14" fmla="*/ 7 w 111"/>
                  <a:gd name="T15" fmla="*/ 55 h 72"/>
                  <a:gd name="T16" fmla="*/ 16 w 111"/>
                  <a:gd name="T17" fmla="*/ 49 h 72"/>
                  <a:gd name="T18" fmla="*/ 21 w 111"/>
                  <a:gd name="T19" fmla="*/ 44 h 72"/>
                  <a:gd name="T20" fmla="*/ 25 w 111"/>
                  <a:gd name="T21" fmla="*/ 41 h 72"/>
                  <a:gd name="T22" fmla="*/ 22 w 111"/>
                  <a:gd name="T23" fmla="*/ 36 h 72"/>
                  <a:gd name="T24" fmla="*/ 27 w 111"/>
                  <a:gd name="T25" fmla="*/ 35 h 72"/>
                  <a:gd name="T26" fmla="*/ 16 w 111"/>
                  <a:gd name="T27" fmla="*/ 22 h 72"/>
                  <a:gd name="T28" fmla="*/ 11 w 111"/>
                  <a:gd name="T29" fmla="*/ 22 h 72"/>
                  <a:gd name="T30" fmla="*/ 8 w 111"/>
                  <a:gd name="T31" fmla="*/ 27 h 72"/>
                  <a:gd name="T32" fmla="*/ 13 w 111"/>
                  <a:gd name="T33" fmla="*/ 33 h 72"/>
                  <a:gd name="T34" fmla="*/ 17 w 111"/>
                  <a:gd name="T35" fmla="*/ 30 h 72"/>
                  <a:gd name="T36" fmla="*/ 111 w 111"/>
                  <a:gd name="T37" fmla="*/ 10 h 72"/>
                  <a:gd name="T38" fmla="*/ 107 w 111"/>
                  <a:gd name="T39" fmla="*/ 8 h 72"/>
                  <a:gd name="T40" fmla="*/ 85 w 111"/>
                  <a:gd name="T41" fmla="*/ 3 h 72"/>
                  <a:gd name="T42" fmla="*/ 64 w 111"/>
                  <a:gd name="T43" fmla="*/ 0 h 72"/>
                  <a:gd name="T44" fmla="*/ 53 w 111"/>
                  <a:gd name="T45" fmla="*/ 5 h 72"/>
                  <a:gd name="T46" fmla="*/ 39 w 111"/>
                  <a:gd name="T47" fmla="*/ 10 h 72"/>
                  <a:gd name="T48" fmla="*/ 30 w 111"/>
                  <a:gd name="T49" fmla="*/ 16 h 72"/>
                  <a:gd name="T50" fmla="*/ 30 w 111"/>
                  <a:gd name="T51" fmla="*/ 22 h 72"/>
                  <a:gd name="T52" fmla="*/ 30 w 111"/>
                  <a:gd name="T53" fmla="*/ 30 h 72"/>
                  <a:gd name="T54" fmla="*/ 30 w 111"/>
                  <a:gd name="T55" fmla="*/ 33 h 72"/>
                  <a:gd name="T56" fmla="*/ 33 w 111"/>
                  <a:gd name="T57" fmla="*/ 43 h 72"/>
                  <a:gd name="T58" fmla="*/ 42 w 111"/>
                  <a:gd name="T59" fmla="*/ 47 h 72"/>
                  <a:gd name="T60" fmla="*/ 47 w 111"/>
                  <a:gd name="T61" fmla="*/ 44 h 72"/>
                  <a:gd name="T62" fmla="*/ 46 w 111"/>
                  <a:gd name="T63" fmla="*/ 53 h 72"/>
                  <a:gd name="T64" fmla="*/ 46 w 111"/>
                  <a:gd name="T65" fmla="*/ 60 h 72"/>
                  <a:gd name="T66" fmla="*/ 58 w 111"/>
                  <a:gd name="T67" fmla="*/ 55 h 72"/>
                  <a:gd name="T68" fmla="*/ 60 w 111"/>
                  <a:gd name="T69" fmla="*/ 57 h 72"/>
                  <a:gd name="T70" fmla="*/ 61 w 111"/>
                  <a:gd name="T71" fmla="*/ 55 h 72"/>
                  <a:gd name="T72" fmla="*/ 69 w 111"/>
                  <a:gd name="T73" fmla="*/ 61 h 72"/>
                  <a:gd name="T74" fmla="*/ 77 w 111"/>
                  <a:gd name="T75" fmla="*/ 68 h 72"/>
                  <a:gd name="T76" fmla="*/ 83 w 111"/>
                  <a:gd name="T77" fmla="*/ 72 h 72"/>
                  <a:gd name="T78" fmla="*/ 91 w 111"/>
                  <a:gd name="T79" fmla="*/ 71 h 72"/>
                  <a:gd name="T80" fmla="*/ 97 w 111"/>
                  <a:gd name="T81" fmla="*/ 71 h 72"/>
                  <a:gd name="T82" fmla="*/ 99 w 111"/>
                  <a:gd name="T83" fmla="*/ 66 h 72"/>
                  <a:gd name="T84" fmla="*/ 103 w 111"/>
                  <a:gd name="T85" fmla="*/ 61 h 72"/>
                  <a:gd name="T86" fmla="*/ 103 w 111"/>
                  <a:gd name="T87" fmla="*/ 60 h 72"/>
                  <a:gd name="T88" fmla="*/ 102 w 111"/>
                  <a:gd name="T89" fmla="*/ 57 h 72"/>
                  <a:gd name="T90" fmla="*/ 100 w 111"/>
                  <a:gd name="T91" fmla="*/ 49 h 72"/>
                  <a:gd name="T92" fmla="*/ 100 w 111"/>
                  <a:gd name="T93" fmla="*/ 43 h 72"/>
                  <a:gd name="T94" fmla="*/ 99 w 111"/>
                  <a:gd name="T95" fmla="*/ 28 h 72"/>
                  <a:gd name="T96" fmla="*/ 103 w 111"/>
                  <a:gd name="T97" fmla="*/ 21 h 72"/>
                  <a:gd name="T98" fmla="*/ 107 w 111"/>
                  <a:gd name="T99" fmla="*/ 13 h 72"/>
                  <a:gd name="T100" fmla="*/ 110 w 111"/>
                  <a:gd name="T10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1" h="72">
                    <a:moveTo>
                      <a:pt x="25" y="41"/>
                    </a:moveTo>
                    <a:lnTo>
                      <a:pt x="21" y="36"/>
                    </a:lnTo>
                    <a:lnTo>
                      <a:pt x="17" y="36"/>
                    </a:lnTo>
                    <a:lnTo>
                      <a:pt x="16" y="36"/>
                    </a:lnTo>
                    <a:lnTo>
                      <a:pt x="14" y="36"/>
                    </a:lnTo>
                    <a:lnTo>
                      <a:pt x="14" y="36"/>
                    </a:lnTo>
                    <a:lnTo>
                      <a:pt x="13" y="36"/>
                    </a:lnTo>
                    <a:lnTo>
                      <a:pt x="11" y="36"/>
                    </a:lnTo>
                    <a:lnTo>
                      <a:pt x="8" y="38"/>
                    </a:lnTo>
                    <a:lnTo>
                      <a:pt x="8" y="39"/>
                    </a:lnTo>
                    <a:lnTo>
                      <a:pt x="7" y="39"/>
                    </a:lnTo>
                    <a:lnTo>
                      <a:pt x="7" y="39"/>
                    </a:lnTo>
                    <a:lnTo>
                      <a:pt x="5" y="41"/>
                    </a:lnTo>
                    <a:lnTo>
                      <a:pt x="3" y="39"/>
                    </a:lnTo>
                    <a:lnTo>
                      <a:pt x="2" y="39"/>
                    </a:lnTo>
                    <a:lnTo>
                      <a:pt x="0" y="39"/>
                    </a:lnTo>
                    <a:lnTo>
                      <a:pt x="3" y="44"/>
                    </a:lnTo>
                    <a:lnTo>
                      <a:pt x="2" y="44"/>
                    </a:lnTo>
                    <a:lnTo>
                      <a:pt x="2" y="46"/>
                    </a:lnTo>
                    <a:lnTo>
                      <a:pt x="2" y="46"/>
                    </a:lnTo>
                    <a:lnTo>
                      <a:pt x="0" y="46"/>
                    </a:lnTo>
                    <a:lnTo>
                      <a:pt x="0" y="47"/>
                    </a:lnTo>
                    <a:lnTo>
                      <a:pt x="3" y="49"/>
                    </a:lnTo>
                    <a:lnTo>
                      <a:pt x="5" y="50"/>
                    </a:lnTo>
                    <a:lnTo>
                      <a:pt x="7" y="52"/>
                    </a:lnTo>
                    <a:lnTo>
                      <a:pt x="5" y="52"/>
                    </a:lnTo>
                    <a:lnTo>
                      <a:pt x="3" y="57"/>
                    </a:lnTo>
                    <a:lnTo>
                      <a:pt x="3" y="58"/>
                    </a:lnTo>
                    <a:lnTo>
                      <a:pt x="3" y="58"/>
                    </a:lnTo>
                    <a:lnTo>
                      <a:pt x="5" y="58"/>
                    </a:lnTo>
                    <a:lnTo>
                      <a:pt x="5" y="58"/>
                    </a:lnTo>
                    <a:lnTo>
                      <a:pt x="7" y="55"/>
                    </a:lnTo>
                    <a:lnTo>
                      <a:pt x="8" y="50"/>
                    </a:lnTo>
                    <a:lnTo>
                      <a:pt x="10" y="49"/>
                    </a:lnTo>
                    <a:lnTo>
                      <a:pt x="11" y="49"/>
                    </a:lnTo>
                    <a:lnTo>
                      <a:pt x="16" y="49"/>
                    </a:lnTo>
                    <a:lnTo>
                      <a:pt x="16" y="47"/>
                    </a:lnTo>
                    <a:lnTo>
                      <a:pt x="19" y="46"/>
                    </a:lnTo>
                    <a:lnTo>
                      <a:pt x="21" y="44"/>
                    </a:lnTo>
                    <a:lnTo>
                      <a:pt x="21" y="44"/>
                    </a:lnTo>
                    <a:lnTo>
                      <a:pt x="22" y="43"/>
                    </a:lnTo>
                    <a:lnTo>
                      <a:pt x="22" y="43"/>
                    </a:lnTo>
                    <a:lnTo>
                      <a:pt x="27" y="41"/>
                    </a:lnTo>
                    <a:lnTo>
                      <a:pt x="25" y="41"/>
                    </a:lnTo>
                    <a:close/>
                    <a:moveTo>
                      <a:pt x="27" y="35"/>
                    </a:moveTo>
                    <a:lnTo>
                      <a:pt x="24" y="33"/>
                    </a:lnTo>
                    <a:lnTo>
                      <a:pt x="22" y="35"/>
                    </a:lnTo>
                    <a:lnTo>
                      <a:pt x="22" y="36"/>
                    </a:lnTo>
                    <a:lnTo>
                      <a:pt x="25" y="38"/>
                    </a:lnTo>
                    <a:lnTo>
                      <a:pt x="27" y="38"/>
                    </a:lnTo>
                    <a:lnTo>
                      <a:pt x="27" y="38"/>
                    </a:lnTo>
                    <a:lnTo>
                      <a:pt x="27" y="35"/>
                    </a:lnTo>
                    <a:close/>
                    <a:moveTo>
                      <a:pt x="21" y="25"/>
                    </a:moveTo>
                    <a:lnTo>
                      <a:pt x="19" y="24"/>
                    </a:lnTo>
                    <a:lnTo>
                      <a:pt x="16" y="22"/>
                    </a:lnTo>
                    <a:lnTo>
                      <a:pt x="16" y="22"/>
                    </a:lnTo>
                    <a:lnTo>
                      <a:pt x="16" y="21"/>
                    </a:lnTo>
                    <a:lnTo>
                      <a:pt x="14" y="21"/>
                    </a:lnTo>
                    <a:lnTo>
                      <a:pt x="13" y="21"/>
                    </a:lnTo>
                    <a:lnTo>
                      <a:pt x="11" y="22"/>
                    </a:lnTo>
                    <a:lnTo>
                      <a:pt x="11" y="24"/>
                    </a:lnTo>
                    <a:lnTo>
                      <a:pt x="3" y="25"/>
                    </a:lnTo>
                    <a:lnTo>
                      <a:pt x="7" y="27"/>
                    </a:lnTo>
                    <a:lnTo>
                      <a:pt x="8" y="27"/>
                    </a:lnTo>
                    <a:lnTo>
                      <a:pt x="10" y="27"/>
                    </a:lnTo>
                    <a:lnTo>
                      <a:pt x="11" y="32"/>
                    </a:lnTo>
                    <a:lnTo>
                      <a:pt x="11" y="33"/>
                    </a:lnTo>
                    <a:lnTo>
                      <a:pt x="13" y="33"/>
                    </a:lnTo>
                    <a:lnTo>
                      <a:pt x="14" y="33"/>
                    </a:lnTo>
                    <a:lnTo>
                      <a:pt x="16" y="28"/>
                    </a:lnTo>
                    <a:lnTo>
                      <a:pt x="17" y="30"/>
                    </a:lnTo>
                    <a:lnTo>
                      <a:pt x="17" y="30"/>
                    </a:lnTo>
                    <a:lnTo>
                      <a:pt x="19" y="28"/>
                    </a:lnTo>
                    <a:lnTo>
                      <a:pt x="21" y="28"/>
                    </a:lnTo>
                    <a:lnTo>
                      <a:pt x="21" y="25"/>
                    </a:lnTo>
                    <a:close/>
                    <a:moveTo>
                      <a:pt x="111" y="10"/>
                    </a:moveTo>
                    <a:lnTo>
                      <a:pt x="110" y="8"/>
                    </a:lnTo>
                    <a:lnTo>
                      <a:pt x="108" y="7"/>
                    </a:lnTo>
                    <a:lnTo>
                      <a:pt x="108" y="7"/>
                    </a:lnTo>
                    <a:lnTo>
                      <a:pt x="107" y="8"/>
                    </a:lnTo>
                    <a:lnTo>
                      <a:pt x="97" y="8"/>
                    </a:lnTo>
                    <a:lnTo>
                      <a:pt x="91" y="8"/>
                    </a:lnTo>
                    <a:lnTo>
                      <a:pt x="88" y="7"/>
                    </a:lnTo>
                    <a:lnTo>
                      <a:pt x="85" y="3"/>
                    </a:lnTo>
                    <a:lnTo>
                      <a:pt x="82" y="3"/>
                    </a:lnTo>
                    <a:lnTo>
                      <a:pt x="69" y="0"/>
                    </a:lnTo>
                    <a:lnTo>
                      <a:pt x="66" y="2"/>
                    </a:lnTo>
                    <a:lnTo>
                      <a:pt x="64" y="0"/>
                    </a:lnTo>
                    <a:lnTo>
                      <a:pt x="64" y="2"/>
                    </a:lnTo>
                    <a:lnTo>
                      <a:pt x="64" y="3"/>
                    </a:lnTo>
                    <a:lnTo>
                      <a:pt x="63" y="5"/>
                    </a:lnTo>
                    <a:lnTo>
                      <a:pt x="53" y="5"/>
                    </a:lnTo>
                    <a:lnTo>
                      <a:pt x="49" y="7"/>
                    </a:lnTo>
                    <a:lnTo>
                      <a:pt x="44" y="7"/>
                    </a:lnTo>
                    <a:lnTo>
                      <a:pt x="41" y="10"/>
                    </a:lnTo>
                    <a:lnTo>
                      <a:pt x="39" y="10"/>
                    </a:lnTo>
                    <a:lnTo>
                      <a:pt x="39" y="13"/>
                    </a:lnTo>
                    <a:lnTo>
                      <a:pt x="35" y="13"/>
                    </a:lnTo>
                    <a:lnTo>
                      <a:pt x="32" y="14"/>
                    </a:lnTo>
                    <a:lnTo>
                      <a:pt x="30" y="16"/>
                    </a:lnTo>
                    <a:lnTo>
                      <a:pt x="30" y="19"/>
                    </a:lnTo>
                    <a:lnTo>
                      <a:pt x="28" y="21"/>
                    </a:lnTo>
                    <a:lnTo>
                      <a:pt x="28" y="22"/>
                    </a:lnTo>
                    <a:lnTo>
                      <a:pt x="30" y="22"/>
                    </a:lnTo>
                    <a:lnTo>
                      <a:pt x="28" y="24"/>
                    </a:lnTo>
                    <a:lnTo>
                      <a:pt x="28" y="25"/>
                    </a:lnTo>
                    <a:lnTo>
                      <a:pt x="30" y="28"/>
                    </a:lnTo>
                    <a:lnTo>
                      <a:pt x="30" y="30"/>
                    </a:lnTo>
                    <a:lnTo>
                      <a:pt x="30" y="30"/>
                    </a:lnTo>
                    <a:lnTo>
                      <a:pt x="33" y="30"/>
                    </a:lnTo>
                    <a:lnTo>
                      <a:pt x="32" y="32"/>
                    </a:lnTo>
                    <a:lnTo>
                      <a:pt x="30" y="33"/>
                    </a:lnTo>
                    <a:lnTo>
                      <a:pt x="30" y="35"/>
                    </a:lnTo>
                    <a:lnTo>
                      <a:pt x="30" y="38"/>
                    </a:lnTo>
                    <a:lnTo>
                      <a:pt x="33" y="39"/>
                    </a:lnTo>
                    <a:lnTo>
                      <a:pt x="33" y="43"/>
                    </a:lnTo>
                    <a:lnTo>
                      <a:pt x="35" y="44"/>
                    </a:lnTo>
                    <a:lnTo>
                      <a:pt x="38" y="46"/>
                    </a:lnTo>
                    <a:lnTo>
                      <a:pt x="39" y="47"/>
                    </a:lnTo>
                    <a:lnTo>
                      <a:pt x="42" y="47"/>
                    </a:lnTo>
                    <a:lnTo>
                      <a:pt x="42" y="46"/>
                    </a:lnTo>
                    <a:lnTo>
                      <a:pt x="44" y="44"/>
                    </a:lnTo>
                    <a:lnTo>
                      <a:pt x="46" y="44"/>
                    </a:lnTo>
                    <a:lnTo>
                      <a:pt x="47" y="44"/>
                    </a:lnTo>
                    <a:lnTo>
                      <a:pt x="47" y="46"/>
                    </a:lnTo>
                    <a:lnTo>
                      <a:pt x="47" y="47"/>
                    </a:lnTo>
                    <a:lnTo>
                      <a:pt x="47" y="47"/>
                    </a:lnTo>
                    <a:lnTo>
                      <a:pt x="46" y="53"/>
                    </a:lnTo>
                    <a:lnTo>
                      <a:pt x="44" y="60"/>
                    </a:lnTo>
                    <a:lnTo>
                      <a:pt x="44" y="61"/>
                    </a:lnTo>
                    <a:lnTo>
                      <a:pt x="44" y="61"/>
                    </a:lnTo>
                    <a:lnTo>
                      <a:pt x="46" y="60"/>
                    </a:lnTo>
                    <a:lnTo>
                      <a:pt x="52" y="57"/>
                    </a:lnTo>
                    <a:lnTo>
                      <a:pt x="53" y="57"/>
                    </a:lnTo>
                    <a:lnTo>
                      <a:pt x="53" y="57"/>
                    </a:lnTo>
                    <a:lnTo>
                      <a:pt x="58" y="55"/>
                    </a:lnTo>
                    <a:lnTo>
                      <a:pt x="58" y="55"/>
                    </a:lnTo>
                    <a:lnTo>
                      <a:pt x="60" y="57"/>
                    </a:lnTo>
                    <a:lnTo>
                      <a:pt x="60" y="57"/>
                    </a:lnTo>
                    <a:lnTo>
                      <a:pt x="60" y="57"/>
                    </a:lnTo>
                    <a:lnTo>
                      <a:pt x="60" y="55"/>
                    </a:lnTo>
                    <a:lnTo>
                      <a:pt x="61" y="55"/>
                    </a:lnTo>
                    <a:lnTo>
                      <a:pt x="61" y="55"/>
                    </a:lnTo>
                    <a:lnTo>
                      <a:pt x="61" y="55"/>
                    </a:lnTo>
                    <a:lnTo>
                      <a:pt x="66" y="58"/>
                    </a:lnTo>
                    <a:lnTo>
                      <a:pt x="67" y="60"/>
                    </a:lnTo>
                    <a:lnTo>
                      <a:pt x="69" y="60"/>
                    </a:lnTo>
                    <a:lnTo>
                      <a:pt x="69" y="61"/>
                    </a:lnTo>
                    <a:lnTo>
                      <a:pt x="74" y="61"/>
                    </a:lnTo>
                    <a:lnTo>
                      <a:pt x="74" y="63"/>
                    </a:lnTo>
                    <a:lnTo>
                      <a:pt x="74" y="63"/>
                    </a:lnTo>
                    <a:lnTo>
                      <a:pt x="77" y="68"/>
                    </a:lnTo>
                    <a:lnTo>
                      <a:pt x="78" y="69"/>
                    </a:lnTo>
                    <a:lnTo>
                      <a:pt x="78" y="69"/>
                    </a:lnTo>
                    <a:lnTo>
                      <a:pt x="82" y="71"/>
                    </a:lnTo>
                    <a:lnTo>
                      <a:pt x="83" y="72"/>
                    </a:lnTo>
                    <a:lnTo>
                      <a:pt x="88" y="71"/>
                    </a:lnTo>
                    <a:lnTo>
                      <a:pt x="89" y="69"/>
                    </a:lnTo>
                    <a:lnTo>
                      <a:pt x="91" y="69"/>
                    </a:lnTo>
                    <a:lnTo>
                      <a:pt x="91" y="71"/>
                    </a:lnTo>
                    <a:lnTo>
                      <a:pt x="94" y="72"/>
                    </a:lnTo>
                    <a:lnTo>
                      <a:pt x="97" y="72"/>
                    </a:lnTo>
                    <a:lnTo>
                      <a:pt x="97" y="72"/>
                    </a:lnTo>
                    <a:lnTo>
                      <a:pt x="97" y="71"/>
                    </a:lnTo>
                    <a:lnTo>
                      <a:pt x="97" y="69"/>
                    </a:lnTo>
                    <a:lnTo>
                      <a:pt x="97" y="68"/>
                    </a:lnTo>
                    <a:lnTo>
                      <a:pt x="97" y="68"/>
                    </a:lnTo>
                    <a:lnTo>
                      <a:pt x="99" y="66"/>
                    </a:lnTo>
                    <a:lnTo>
                      <a:pt x="100" y="64"/>
                    </a:lnTo>
                    <a:lnTo>
                      <a:pt x="100" y="63"/>
                    </a:lnTo>
                    <a:lnTo>
                      <a:pt x="100" y="63"/>
                    </a:lnTo>
                    <a:lnTo>
                      <a:pt x="103" y="61"/>
                    </a:lnTo>
                    <a:lnTo>
                      <a:pt x="105" y="61"/>
                    </a:lnTo>
                    <a:lnTo>
                      <a:pt x="105" y="61"/>
                    </a:lnTo>
                    <a:lnTo>
                      <a:pt x="105" y="60"/>
                    </a:lnTo>
                    <a:lnTo>
                      <a:pt x="103" y="60"/>
                    </a:lnTo>
                    <a:lnTo>
                      <a:pt x="103" y="60"/>
                    </a:lnTo>
                    <a:lnTo>
                      <a:pt x="102" y="58"/>
                    </a:lnTo>
                    <a:lnTo>
                      <a:pt x="102" y="58"/>
                    </a:lnTo>
                    <a:lnTo>
                      <a:pt x="102" y="57"/>
                    </a:lnTo>
                    <a:lnTo>
                      <a:pt x="102" y="53"/>
                    </a:lnTo>
                    <a:lnTo>
                      <a:pt x="100" y="52"/>
                    </a:lnTo>
                    <a:lnTo>
                      <a:pt x="100" y="49"/>
                    </a:lnTo>
                    <a:lnTo>
                      <a:pt x="100" y="49"/>
                    </a:lnTo>
                    <a:lnTo>
                      <a:pt x="99" y="47"/>
                    </a:lnTo>
                    <a:lnTo>
                      <a:pt x="100" y="46"/>
                    </a:lnTo>
                    <a:lnTo>
                      <a:pt x="100" y="44"/>
                    </a:lnTo>
                    <a:lnTo>
                      <a:pt x="100" y="43"/>
                    </a:lnTo>
                    <a:lnTo>
                      <a:pt x="99" y="32"/>
                    </a:lnTo>
                    <a:lnTo>
                      <a:pt x="99" y="30"/>
                    </a:lnTo>
                    <a:lnTo>
                      <a:pt x="99" y="28"/>
                    </a:lnTo>
                    <a:lnTo>
                      <a:pt x="99" y="28"/>
                    </a:lnTo>
                    <a:lnTo>
                      <a:pt x="100" y="27"/>
                    </a:lnTo>
                    <a:lnTo>
                      <a:pt x="102" y="25"/>
                    </a:lnTo>
                    <a:lnTo>
                      <a:pt x="102" y="25"/>
                    </a:lnTo>
                    <a:lnTo>
                      <a:pt x="103" y="21"/>
                    </a:lnTo>
                    <a:lnTo>
                      <a:pt x="105" y="16"/>
                    </a:lnTo>
                    <a:lnTo>
                      <a:pt x="105" y="16"/>
                    </a:lnTo>
                    <a:lnTo>
                      <a:pt x="107" y="13"/>
                    </a:lnTo>
                    <a:lnTo>
                      <a:pt x="107" y="13"/>
                    </a:lnTo>
                    <a:lnTo>
                      <a:pt x="108" y="13"/>
                    </a:lnTo>
                    <a:lnTo>
                      <a:pt x="110" y="11"/>
                    </a:lnTo>
                    <a:lnTo>
                      <a:pt x="110" y="11"/>
                    </a:lnTo>
                    <a:lnTo>
                      <a:pt x="110" y="11"/>
                    </a:lnTo>
                    <a:lnTo>
                      <a:pt x="111" y="11"/>
                    </a:lnTo>
                    <a:lnTo>
                      <a:pt x="111" y="10"/>
                    </a:lnTo>
                    <a:lnTo>
                      <a:pt x="111" y="1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5" name="Freeform 62">
                <a:extLst>
                  <a:ext uri="{FF2B5EF4-FFF2-40B4-BE49-F238E27FC236}">
                    <a16:creationId xmlns:a16="http://schemas.microsoft.com/office/drawing/2014/main" id="{89B692FA-4B14-0624-5044-2CD83505A3CF}"/>
                  </a:ext>
                </a:extLst>
              </p:cNvPr>
              <p:cNvSpPr>
                <a:spLocks/>
              </p:cNvSpPr>
              <p:nvPr/>
            </p:nvSpPr>
            <p:spPr bwMode="gray">
              <a:xfrm>
                <a:off x="3108" y="994"/>
                <a:ext cx="214" cy="189"/>
              </a:xfrm>
              <a:custGeom>
                <a:avLst/>
                <a:gdLst>
                  <a:gd name="T0" fmla="*/ 169 w 214"/>
                  <a:gd name="T1" fmla="*/ 14 h 189"/>
                  <a:gd name="T2" fmla="*/ 172 w 214"/>
                  <a:gd name="T3" fmla="*/ 25 h 189"/>
                  <a:gd name="T4" fmla="*/ 179 w 214"/>
                  <a:gd name="T5" fmla="*/ 42 h 189"/>
                  <a:gd name="T6" fmla="*/ 174 w 214"/>
                  <a:gd name="T7" fmla="*/ 58 h 189"/>
                  <a:gd name="T8" fmla="*/ 169 w 214"/>
                  <a:gd name="T9" fmla="*/ 75 h 189"/>
                  <a:gd name="T10" fmla="*/ 157 w 214"/>
                  <a:gd name="T11" fmla="*/ 69 h 189"/>
                  <a:gd name="T12" fmla="*/ 150 w 214"/>
                  <a:gd name="T13" fmla="*/ 58 h 189"/>
                  <a:gd name="T14" fmla="*/ 143 w 214"/>
                  <a:gd name="T15" fmla="*/ 45 h 189"/>
                  <a:gd name="T16" fmla="*/ 138 w 214"/>
                  <a:gd name="T17" fmla="*/ 34 h 189"/>
                  <a:gd name="T18" fmla="*/ 135 w 214"/>
                  <a:gd name="T19" fmla="*/ 40 h 189"/>
                  <a:gd name="T20" fmla="*/ 139 w 214"/>
                  <a:gd name="T21" fmla="*/ 50 h 189"/>
                  <a:gd name="T22" fmla="*/ 143 w 214"/>
                  <a:gd name="T23" fmla="*/ 59 h 189"/>
                  <a:gd name="T24" fmla="*/ 150 w 214"/>
                  <a:gd name="T25" fmla="*/ 69 h 189"/>
                  <a:gd name="T26" fmla="*/ 157 w 214"/>
                  <a:gd name="T27" fmla="*/ 80 h 189"/>
                  <a:gd name="T28" fmla="*/ 160 w 214"/>
                  <a:gd name="T29" fmla="*/ 87 h 189"/>
                  <a:gd name="T30" fmla="*/ 164 w 214"/>
                  <a:gd name="T31" fmla="*/ 101 h 189"/>
                  <a:gd name="T32" fmla="*/ 179 w 214"/>
                  <a:gd name="T33" fmla="*/ 130 h 189"/>
                  <a:gd name="T34" fmla="*/ 193 w 214"/>
                  <a:gd name="T35" fmla="*/ 150 h 189"/>
                  <a:gd name="T36" fmla="*/ 191 w 214"/>
                  <a:gd name="T37" fmla="*/ 153 h 189"/>
                  <a:gd name="T38" fmla="*/ 191 w 214"/>
                  <a:gd name="T39" fmla="*/ 166 h 189"/>
                  <a:gd name="T40" fmla="*/ 197 w 214"/>
                  <a:gd name="T41" fmla="*/ 175 h 189"/>
                  <a:gd name="T42" fmla="*/ 214 w 214"/>
                  <a:gd name="T43" fmla="*/ 189 h 189"/>
                  <a:gd name="T44" fmla="*/ 197 w 214"/>
                  <a:gd name="T45" fmla="*/ 189 h 189"/>
                  <a:gd name="T46" fmla="*/ 174 w 214"/>
                  <a:gd name="T47" fmla="*/ 189 h 189"/>
                  <a:gd name="T48" fmla="*/ 150 w 214"/>
                  <a:gd name="T49" fmla="*/ 189 h 189"/>
                  <a:gd name="T50" fmla="*/ 127 w 214"/>
                  <a:gd name="T51" fmla="*/ 189 h 189"/>
                  <a:gd name="T52" fmla="*/ 119 w 214"/>
                  <a:gd name="T53" fmla="*/ 186 h 189"/>
                  <a:gd name="T54" fmla="*/ 116 w 214"/>
                  <a:gd name="T55" fmla="*/ 189 h 189"/>
                  <a:gd name="T56" fmla="*/ 99 w 214"/>
                  <a:gd name="T57" fmla="*/ 189 h 189"/>
                  <a:gd name="T58" fmla="*/ 72 w 214"/>
                  <a:gd name="T59" fmla="*/ 189 h 189"/>
                  <a:gd name="T60" fmla="*/ 46 w 214"/>
                  <a:gd name="T61" fmla="*/ 189 h 189"/>
                  <a:gd name="T62" fmla="*/ 19 w 214"/>
                  <a:gd name="T63" fmla="*/ 189 h 189"/>
                  <a:gd name="T64" fmla="*/ 5 w 214"/>
                  <a:gd name="T65" fmla="*/ 181 h 189"/>
                  <a:gd name="T66" fmla="*/ 5 w 214"/>
                  <a:gd name="T67" fmla="*/ 164 h 189"/>
                  <a:gd name="T68" fmla="*/ 5 w 214"/>
                  <a:gd name="T69" fmla="*/ 147 h 189"/>
                  <a:gd name="T70" fmla="*/ 5 w 214"/>
                  <a:gd name="T71" fmla="*/ 130 h 189"/>
                  <a:gd name="T72" fmla="*/ 5 w 214"/>
                  <a:gd name="T73" fmla="*/ 112 h 189"/>
                  <a:gd name="T74" fmla="*/ 5 w 214"/>
                  <a:gd name="T75" fmla="*/ 94 h 189"/>
                  <a:gd name="T76" fmla="*/ 5 w 214"/>
                  <a:gd name="T77" fmla="*/ 76 h 189"/>
                  <a:gd name="T78" fmla="*/ 5 w 214"/>
                  <a:gd name="T79" fmla="*/ 59 h 189"/>
                  <a:gd name="T80" fmla="*/ 5 w 214"/>
                  <a:gd name="T81" fmla="*/ 47 h 189"/>
                  <a:gd name="T82" fmla="*/ 0 w 214"/>
                  <a:gd name="T83" fmla="*/ 31 h 189"/>
                  <a:gd name="T84" fmla="*/ 5 w 214"/>
                  <a:gd name="T85" fmla="*/ 22 h 189"/>
                  <a:gd name="T86" fmla="*/ 3 w 214"/>
                  <a:gd name="T87" fmla="*/ 12 h 189"/>
                  <a:gd name="T88" fmla="*/ 7 w 214"/>
                  <a:gd name="T89" fmla="*/ 3 h 189"/>
                  <a:gd name="T90" fmla="*/ 10 w 214"/>
                  <a:gd name="T91" fmla="*/ 3 h 189"/>
                  <a:gd name="T92" fmla="*/ 36 w 214"/>
                  <a:gd name="T93" fmla="*/ 3 h 189"/>
                  <a:gd name="T94" fmla="*/ 55 w 214"/>
                  <a:gd name="T95" fmla="*/ 9 h 189"/>
                  <a:gd name="T96" fmla="*/ 75 w 214"/>
                  <a:gd name="T97" fmla="*/ 15 h 189"/>
                  <a:gd name="T98" fmla="*/ 83 w 214"/>
                  <a:gd name="T99" fmla="*/ 15 h 189"/>
                  <a:gd name="T100" fmla="*/ 96 w 214"/>
                  <a:gd name="T101" fmla="*/ 8 h 189"/>
                  <a:gd name="T102" fmla="*/ 99 w 214"/>
                  <a:gd name="T103" fmla="*/ 4 h 189"/>
                  <a:gd name="T104" fmla="*/ 110 w 214"/>
                  <a:gd name="T105" fmla="*/ 3 h 189"/>
                  <a:gd name="T106" fmla="*/ 111 w 214"/>
                  <a:gd name="T107" fmla="*/ 4 h 189"/>
                  <a:gd name="T108" fmla="*/ 114 w 214"/>
                  <a:gd name="T109" fmla="*/ 1 h 189"/>
                  <a:gd name="T110" fmla="*/ 127 w 214"/>
                  <a:gd name="T111" fmla="*/ 1 h 189"/>
                  <a:gd name="T112" fmla="*/ 127 w 214"/>
                  <a:gd name="T113" fmla="*/ 3 h 189"/>
                  <a:gd name="T114" fmla="*/ 128 w 214"/>
                  <a:gd name="T115" fmla="*/ 9 h 189"/>
                  <a:gd name="T116" fmla="*/ 133 w 214"/>
                  <a:gd name="T117" fmla="*/ 9 h 189"/>
                  <a:gd name="T118" fmla="*/ 135 w 214"/>
                  <a:gd name="T119" fmla="*/ 8 h 189"/>
                  <a:gd name="T120" fmla="*/ 144 w 214"/>
                  <a:gd name="T121" fmla="*/ 11 h 189"/>
                  <a:gd name="T122" fmla="*/ 149 w 214"/>
                  <a:gd name="T123" fmla="*/ 11 h 189"/>
                  <a:gd name="T124" fmla="*/ 166 w 214"/>
                  <a:gd name="T125" fmla="*/ 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 h="189">
                    <a:moveTo>
                      <a:pt x="168" y="6"/>
                    </a:moveTo>
                    <a:lnTo>
                      <a:pt x="168" y="8"/>
                    </a:lnTo>
                    <a:lnTo>
                      <a:pt x="168" y="9"/>
                    </a:lnTo>
                    <a:lnTo>
                      <a:pt x="169" y="14"/>
                    </a:lnTo>
                    <a:lnTo>
                      <a:pt x="171" y="17"/>
                    </a:lnTo>
                    <a:lnTo>
                      <a:pt x="172" y="22"/>
                    </a:lnTo>
                    <a:lnTo>
                      <a:pt x="172" y="23"/>
                    </a:lnTo>
                    <a:lnTo>
                      <a:pt x="172" y="25"/>
                    </a:lnTo>
                    <a:lnTo>
                      <a:pt x="175" y="29"/>
                    </a:lnTo>
                    <a:lnTo>
                      <a:pt x="177" y="34"/>
                    </a:lnTo>
                    <a:lnTo>
                      <a:pt x="177" y="37"/>
                    </a:lnTo>
                    <a:lnTo>
                      <a:pt x="179" y="42"/>
                    </a:lnTo>
                    <a:lnTo>
                      <a:pt x="180" y="44"/>
                    </a:lnTo>
                    <a:lnTo>
                      <a:pt x="179" y="45"/>
                    </a:lnTo>
                    <a:lnTo>
                      <a:pt x="177" y="48"/>
                    </a:lnTo>
                    <a:lnTo>
                      <a:pt x="174" y="58"/>
                    </a:lnTo>
                    <a:lnTo>
                      <a:pt x="171" y="67"/>
                    </a:lnTo>
                    <a:lnTo>
                      <a:pt x="171" y="72"/>
                    </a:lnTo>
                    <a:lnTo>
                      <a:pt x="171" y="73"/>
                    </a:lnTo>
                    <a:lnTo>
                      <a:pt x="169" y="75"/>
                    </a:lnTo>
                    <a:lnTo>
                      <a:pt x="168" y="78"/>
                    </a:lnTo>
                    <a:lnTo>
                      <a:pt x="164" y="76"/>
                    </a:lnTo>
                    <a:lnTo>
                      <a:pt x="160" y="72"/>
                    </a:lnTo>
                    <a:lnTo>
                      <a:pt x="157" y="69"/>
                    </a:lnTo>
                    <a:lnTo>
                      <a:pt x="154" y="65"/>
                    </a:lnTo>
                    <a:lnTo>
                      <a:pt x="150" y="62"/>
                    </a:lnTo>
                    <a:lnTo>
                      <a:pt x="150" y="59"/>
                    </a:lnTo>
                    <a:lnTo>
                      <a:pt x="150" y="58"/>
                    </a:lnTo>
                    <a:lnTo>
                      <a:pt x="149" y="55"/>
                    </a:lnTo>
                    <a:lnTo>
                      <a:pt x="147" y="51"/>
                    </a:lnTo>
                    <a:lnTo>
                      <a:pt x="144" y="48"/>
                    </a:lnTo>
                    <a:lnTo>
                      <a:pt x="143" y="45"/>
                    </a:lnTo>
                    <a:lnTo>
                      <a:pt x="143" y="45"/>
                    </a:lnTo>
                    <a:lnTo>
                      <a:pt x="141" y="44"/>
                    </a:lnTo>
                    <a:lnTo>
                      <a:pt x="139" y="37"/>
                    </a:lnTo>
                    <a:lnTo>
                      <a:pt x="138" y="34"/>
                    </a:lnTo>
                    <a:lnTo>
                      <a:pt x="136" y="34"/>
                    </a:lnTo>
                    <a:lnTo>
                      <a:pt x="138" y="36"/>
                    </a:lnTo>
                    <a:lnTo>
                      <a:pt x="136" y="39"/>
                    </a:lnTo>
                    <a:lnTo>
                      <a:pt x="135" y="40"/>
                    </a:lnTo>
                    <a:lnTo>
                      <a:pt x="135" y="44"/>
                    </a:lnTo>
                    <a:lnTo>
                      <a:pt x="138" y="45"/>
                    </a:lnTo>
                    <a:lnTo>
                      <a:pt x="139" y="47"/>
                    </a:lnTo>
                    <a:lnTo>
                      <a:pt x="139" y="50"/>
                    </a:lnTo>
                    <a:lnTo>
                      <a:pt x="139" y="53"/>
                    </a:lnTo>
                    <a:lnTo>
                      <a:pt x="139" y="55"/>
                    </a:lnTo>
                    <a:lnTo>
                      <a:pt x="143" y="58"/>
                    </a:lnTo>
                    <a:lnTo>
                      <a:pt x="143" y="59"/>
                    </a:lnTo>
                    <a:lnTo>
                      <a:pt x="144" y="61"/>
                    </a:lnTo>
                    <a:lnTo>
                      <a:pt x="144" y="62"/>
                    </a:lnTo>
                    <a:lnTo>
                      <a:pt x="147" y="64"/>
                    </a:lnTo>
                    <a:lnTo>
                      <a:pt x="150" y="69"/>
                    </a:lnTo>
                    <a:lnTo>
                      <a:pt x="152" y="72"/>
                    </a:lnTo>
                    <a:lnTo>
                      <a:pt x="155" y="73"/>
                    </a:lnTo>
                    <a:lnTo>
                      <a:pt x="155" y="75"/>
                    </a:lnTo>
                    <a:lnTo>
                      <a:pt x="157" y="80"/>
                    </a:lnTo>
                    <a:lnTo>
                      <a:pt x="155" y="81"/>
                    </a:lnTo>
                    <a:lnTo>
                      <a:pt x="158" y="84"/>
                    </a:lnTo>
                    <a:lnTo>
                      <a:pt x="158" y="86"/>
                    </a:lnTo>
                    <a:lnTo>
                      <a:pt x="160" y="87"/>
                    </a:lnTo>
                    <a:lnTo>
                      <a:pt x="161" y="89"/>
                    </a:lnTo>
                    <a:lnTo>
                      <a:pt x="161" y="92"/>
                    </a:lnTo>
                    <a:lnTo>
                      <a:pt x="163" y="100"/>
                    </a:lnTo>
                    <a:lnTo>
                      <a:pt x="164" y="101"/>
                    </a:lnTo>
                    <a:lnTo>
                      <a:pt x="169" y="112"/>
                    </a:lnTo>
                    <a:lnTo>
                      <a:pt x="174" y="119"/>
                    </a:lnTo>
                    <a:lnTo>
                      <a:pt x="175" y="123"/>
                    </a:lnTo>
                    <a:lnTo>
                      <a:pt x="179" y="130"/>
                    </a:lnTo>
                    <a:lnTo>
                      <a:pt x="185" y="142"/>
                    </a:lnTo>
                    <a:lnTo>
                      <a:pt x="188" y="145"/>
                    </a:lnTo>
                    <a:lnTo>
                      <a:pt x="189" y="148"/>
                    </a:lnTo>
                    <a:lnTo>
                      <a:pt x="193" y="150"/>
                    </a:lnTo>
                    <a:lnTo>
                      <a:pt x="196" y="153"/>
                    </a:lnTo>
                    <a:lnTo>
                      <a:pt x="193" y="152"/>
                    </a:lnTo>
                    <a:lnTo>
                      <a:pt x="191" y="152"/>
                    </a:lnTo>
                    <a:lnTo>
                      <a:pt x="191" y="153"/>
                    </a:lnTo>
                    <a:lnTo>
                      <a:pt x="189" y="155"/>
                    </a:lnTo>
                    <a:lnTo>
                      <a:pt x="189" y="155"/>
                    </a:lnTo>
                    <a:lnTo>
                      <a:pt x="191" y="163"/>
                    </a:lnTo>
                    <a:lnTo>
                      <a:pt x="191" y="166"/>
                    </a:lnTo>
                    <a:lnTo>
                      <a:pt x="194" y="172"/>
                    </a:lnTo>
                    <a:lnTo>
                      <a:pt x="196" y="173"/>
                    </a:lnTo>
                    <a:lnTo>
                      <a:pt x="196" y="175"/>
                    </a:lnTo>
                    <a:lnTo>
                      <a:pt x="197" y="175"/>
                    </a:lnTo>
                    <a:lnTo>
                      <a:pt x="204" y="177"/>
                    </a:lnTo>
                    <a:lnTo>
                      <a:pt x="207" y="181"/>
                    </a:lnTo>
                    <a:lnTo>
                      <a:pt x="213" y="188"/>
                    </a:lnTo>
                    <a:lnTo>
                      <a:pt x="214" y="189"/>
                    </a:lnTo>
                    <a:lnTo>
                      <a:pt x="214" y="189"/>
                    </a:lnTo>
                    <a:lnTo>
                      <a:pt x="208" y="189"/>
                    </a:lnTo>
                    <a:lnTo>
                      <a:pt x="202" y="189"/>
                    </a:lnTo>
                    <a:lnTo>
                      <a:pt x="197" y="189"/>
                    </a:lnTo>
                    <a:lnTo>
                      <a:pt x="191" y="189"/>
                    </a:lnTo>
                    <a:lnTo>
                      <a:pt x="185" y="189"/>
                    </a:lnTo>
                    <a:lnTo>
                      <a:pt x="180" y="189"/>
                    </a:lnTo>
                    <a:lnTo>
                      <a:pt x="174" y="189"/>
                    </a:lnTo>
                    <a:lnTo>
                      <a:pt x="168" y="189"/>
                    </a:lnTo>
                    <a:lnTo>
                      <a:pt x="163" y="189"/>
                    </a:lnTo>
                    <a:lnTo>
                      <a:pt x="157" y="189"/>
                    </a:lnTo>
                    <a:lnTo>
                      <a:pt x="150" y="189"/>
                    </a:lnTo>
                    <a:lnTo>
                      <a:pt x="146" y="189"/>
                    </a:lnTo>
                    <a:lnTo>
                      <a:pt x="139" y="189"/>
                    </a:lnTo>
                    <a:lnTo>
                      <a:pt x="133" y="189"/>
                    </a:lnTo>
                    <a:lnTo>
                      <a:pt x="127" y="189"/>
                    </a:lnTo>
                    <a:lnTo>
                      <a:pt x="122" y="189"/>
                    </a:lnTo>
                    <a:lnTo>
                      <a:pt x="119" y="189"/>
                    </a:lnTo>
                    <a:lnTo>
                      <a:pt x="119" y="188"/>
                    </a:lnTo>
                    <a:lnTo>
                      <a:pt x="119" y="186"/>
                    </a:lnTo>
                    <a:lnTo>
                      <a:pt x="119" y="186"/>
                    </a:lnTo>
                    <a:lnTo>
                      <a:pt x="118" y="186"/>
                    </a:lnTo>
                    <a:lnTo>
                      <a:pt x="118" y="186"/>
                    </a:lnTo>
                    <a:lnTo>
                      <a:pt x="116" y="189"/>
                    </a:lnTo>
                    <a:lnTo>
                      <a:pt x="114" y="189"/>
                    </a:lnTo>
                    <a:lnTo>
                      <a:pt x="113" y="189"/>
                    </a:lnTo>
                    <a:lnTo>
                      <a:pt x="107" y="189"/>
                    </a:lnTo>
                    <a:lnTo>
                      <a:pt x="99" y="189"/>
                    </a:lnTo>
                    <a:lnTo>
                      <a:pt x="93" y="189"/>
                    </a:lnTo>
                    <a:lnTo>
                      <a:pt x="86" y="189"/>
                    </a:lnTo>
                    <a:lnTo>
                      <a:pt x="78" y="189"/>
                    </a:lnTo>
                    <a:lnTo>
                      <a:pt x="72" y="189"/>
                    </a:lnTo>
                    <a:lnTo>
                      <a:pt x="66" y="189"/>
                    </a:lnTo>
                    <a:lnTo>
                      <a:pt x="60" y="189"/>
                    </a:lnTo>
                    <a:lnTo>
                      <a:pt x="52" y="189"/>
                    </a:lnTo>
                    <a:lnTo>
                      <a:pt x="46" y="189"/>
                    </a:lnTo>
                    <a:lnTo>
                      <a:pt x="39" y="189"/>
                    </a:lnTo>
                    <a:lnTo>
                      <a:pt x="32" y="189"/>
                    </a:lnTo>
                    <a:lnTo>
                      <a:pt x="25" y="189"/>
                    </a:lnTo>
                    <a:lnTo>
                      <a:pt x="19" y="189"/>
                    </a:lnTo>
                    <a:lnTo>
                      <a:pt x="13" y="189"/>
                    </a:lnTo>
                    <a:lnTo>
                      <a:pt x="5" y="189"/>
                    </a:lnTo>
                    <a:lnTo>
                      <a:pt x="5" y="184"/>
                    </a:lnTo>
                    <a:lnTo>
                      <a:pt x="5" y="181"/>
                    </a:lnTo>
                    <a:lnTo>
                      <a:pt x="5" y="177"/>
                    </a:lnTo>
                    <a:lnTo>
                      <a:pt x="5" y="172"/>
                    </a:lnTo>
                    <a:lnTo>
                      <a:pt x="5" y="167"/>
                    </a:lnTo>
                    <a:lnTo>
                      <a:pt x="5" y="164"/>
                    </a:lnTo>
                    <a:lnTo>
                      <a:pt x="5" y="159"/>
                    </a:lnTo>
                    <a:lnTo>
                      <a:pt x="5" y="155"/>
                    </a:lnTo>
                    <a:lnTo>
                      <a:pt x="5" y="152"/>
                    </a:lnTo>
                    <a:lnTo>
                      <a:pt x="5" y="147"/>
                    </a:lnTo>
                    <a:lnTo>
                      <a:pt x="5" y="142"/>
                    </a:lnTo>
                    <a:lnTo>
                      <a:pt x="5" y="137"/>
                    </a:lnTo>
                    <a:lnTo>
                      <a:pt x="5" y="134"/>
                    </a:lnTo>
                    <a:lnTo>
                      <a:pt x="5" y="130"/>
                    </a:lnTo>
                    <a:lnTo>
                      <a:pt x="5" y="125"/>
                    </a:lnTo>
                    <a:lnTo>
                      <a:pt x="5" y="120"/>
                    </a:lnTo>
                    <a:lnTo>
                      <a:pt x="5" y="116"/>
                    </a:lnTo>
                    <a:lnTo>
                      <a:pt x="5" y="112"/>
                    </a:lnTo>
                    <a:lnTo>
                      <a:pt x="5" y="108"/>
                    </a:lnTo>
                    <a:lnTo>
                      <a:pt x="5" y="103"/>
                    </a:lnTo>
                    <a:lnTo>
                      <a:pt x="5" y="98"/>
                    </a:lnTo>
                    <a:lnTo>
                      <a:pt x="5" y="94"/>
                    </a:lnTo>
                    <a:lnTo>
                      <a:pt x="5" y="91"/>
                    </a:lnTo>
                    <a:lnTo>
                      <a:pt x="5" y="86"/>
                    </a:lnTo>
                    <a:lnTo>
                      <a:pt x="5" y="81"/>
                    </a:lnTo>
                    <a:lnTo>
                      <a:pt x="5" y="76"/>
                    </a:lnTo>
                    <a:lnTo>
                      <a:pt x="5" y="72"/>
                    </a:lnTo>
                    <a:lnTo>
                      <a:pt x="5" y="67"/>
                    </a:lnTo>
                    <a:lnTo>
                      <a:pt x="5" y="64"/>
                    </a:lnTo>
                    <a:lnTo>
                      <a:pt x="5" y="59"/>
                    </a:lnTo>
                    <a:lnTo>
                      <a:pt x="5" y="55"/>
                    </a:lnTo>
                    <a:lnTo>
                      <a:pt x="5" y="50"/>
                    </a:lnTo>
                    <a:lnTo>
                      <a:pt x="5" y="48"/>
                    </a:lnTo>
                    <a:lnTo>
                      <a:pt x="5" y="47"/>
                    </a:lnTo>
                    <a:lnTo>
                      <a:pt x="3" y="42"/>
                    </a:lnTo>
                    <a:lnTo>
                      <a:pt x="2" y="37"/>
                    </a:lnTo>
                    <a:lnTo>
                      <a:pt x="2" y="36"/>
                    </a:lnTo>
                    <a:lnTo>
                      <a:pt x="0" y="31"/>
                    </a:lnTo>
                    <a:lnTo>
                      <a:pt x="0" y="29"/>
                    </a:lnTo>
                    <a:lnTo>
                      <a:pt x="0" y="28"/>
                    </a:lnTo>
                    <a:lnTo>
                      <a:pt x="3" y="25"/>
                    </a:lnTo>
                    <a:lnTo>
                      <a:pt x="5" y="22"/>
                    </a:lnTo>
                    <a:lnTo>
                      <a:pt x="5" y="20"/>
                    </a:lnTo>
                    <a:lnTo>
                      <a:pt x="5" y="17"/>
                    </a:lnTo>
                    <a:lnTo>
                      <a:pt x="5" y="15"/>
                    </a:lnTo>
                    <a:lnTo>
                      <a:pt x="3" y="12"/>
                    </a:lnTo>
                    <a:lnTo>
                      <a:pt x="3" y="9"/>
                    </a:lnTo>
                    <a:lnTo>
                      <a:pt x="3" y="6"/>
                    </a:lnTo>
                    <a:lnTo>
                      <a:pt x="5" y="4"/>
                    </a:lnTo>
                    <a:lnTo>
                      <a:pt x="7" y="3"/>
                    </a:lnTo>
                    <a:lnTo>
                      <a:pt x="7" y="1"/>
                    </a:lnTo>
                    <a:lnTo>
                      <a:pt x="8" y="0"/>
                    </a:lnTo>
                    <a:lnTo>
                      <a:pt x="8" y="0"/>
                    </a:lnTo>
                    <a:lnTo>
                      <a:pt x="10" y="3"/>
                    </a:lnTo>
                    <a:lnTo>
                      <a:pt x="13" y="3"/>
                    </a:lnTo>
                    <a:lnTo>
                      <a:pt x="21" y="0"/>
                    </a:lnTo>
                    <a:lnTo>
                      <a:pt x="32" y="3"/>
                    </a:lnTo>
                    <a:lnTo>
                      <a:pt x="36" y="3"/>
                    </a:lnTo>
                    <a:lnTo>
                      <a:pt x="46" y="6"/>
                    </a:lnTo>
                    <a:lnTo>
                      <a:pt x="50" y="9"/>
                    </a:lnTo>
                    <a:lnTo>
                      <a:pt x="52" y="9"/>
                    </a:lnTo>
                    <a:lnTo>
                      <a:pt x="55" y="9"/>
                    </a:lnTo>
                    <a:lnTo>
                      <a:pt x="58" y="11"/>
                    </a:lnTo>
                    <a:lnTo>
                      <a:pt x="68" y="12"/>
                    </a:lnTo>
                    <a:lnTo>
                      <a:pt x="72" y="14"/>
                    </a:lnTo>
                    <a:lnTo>
                      <a:pt x="75" y="15"/>
                    </a:lnTo>
                    <a:lnTo>
                      <a:pt x="77" y="17"/>
                    </a:lnTo>
                    <a:lnTo>
                      <a:pt x="78" y="17"/>
                    </a:lnTo>
                    <a:lnTo>
                      <a:pt x="80" y="15"/>
                    </a:lnTo>
                    <a:lnTo>
                      <a:pt x="83" y="15"/>
                    </a:lnTo>
                    <a:lnTo>
                      <a:pt x="86" y="12"/>
                    </a:lnTo>
                    <a:lnTo>
                      <a:pt x="93" y="9"/>
                    </a:lnTo>
                    <a:lnTo>
                      <a:pt x="94" y="8"/>
                    </a:lnTo>
                    <a:lnTo>
                      <a:pt x="96" y="8"/>
                    </a:lnTo>
                    <a:lnTo>
                      <a:pt x="97" y="8"/>
                    </a:lnTo>
                    <a:lnTo>
                      <a:pt x="99" y="6"/>
                    </a:lnTo>
                    <a:lnTo>
                      <a:pt x="99" y="6"/>
                    </a:lnTo>
                    <a:lnTo>
                      <a:pt x="99" y="4"/>
                    </a:lnTo>
                    <a:lnTo>
                      <a:pt x="100" y="4"/>
                    </a:lnTo>
                    <a:lnTo>
                      <a:pt x="103" y="3"/>
                    </a:lnTo>
                    <a:lnTo>
                      <a:pt x="110" y="1"/>
                    </a:lnTo>
                    <a:lnTo>
                      <a:pt x="110" y="3"/>
                    </a:lnTo>
                    <a:lnTo>
                      <a:pt x="103" y="4"/>
                    </a:lnTo>
                    <a:lnTo>
                      <a:pt x="105" y="4"/>
                    </a:lnTo>
                    <a:lnTo>
                      <a:pt x="108" y="4"/>
                    </a:lnTo>
                    <a:lnTo>
                      <a:pt x="111" y="4"/>
                    </a:lnTo>
                    <a:lnTo>
                      <a:pt x="111" y="3"/>
                    </a:lnTo>
                    <a:lnTo>
                      <a:pt x="111" y="1"/>
                    </a:lnTo>
                    <a:lnTo>
                      <a:pt x="113" y="1"/>
                    </a:lnTo>
                    <a:lnTo>
                      <a:pt x="114" y="1"/>
                    </a:lnTo>
                    <a:lnTo>
                      <a:pt x="121" y="4"/>
                    </a:lnTo>
                    <a:lnTo>
                      <a:pt x="122" y="4"/>
                    </a:lnTo>
                    <a:lnTo>
                      <a:pt x="125" y="3"/>
                    </a:lnTo>
                    <a:lnTo>
                      <a:pt x="127" y="1"/>
                    </a:lnTo>
                    <a:lnTo>
                      <a:pt x="128" y="3"/>
                    </a:lnTo>
                    <a:lnTo>
                      <a:pt x="132" y="6"/>
                    </a:lnTo>
                    <a:lnTo>
                      <a:pt x="130" y="6"/>
                    </a:lnTo>
                    <a:lnTo>
                      <a:pt x="127" y="3"/>
                    </a:lnTo>
                    <a:lnTo>
                      <a:pt x="127" y="4"/>
                    </a:lnTo>
                    <a:lnTo>
                      <a:pt x="124" y="8"/>
                    </a:lnTo>
                    <a:lnTo>
                      <a:pt x="127" y="8"/>
                    </a:lnTo>
                    <a:lnTo>
                      <a:pt x="128" y="9"/>
                    </a:lnTo>
                    <a:lnTo>
                      <a:pt x="130" y="11"/>
                    </a:lnTo>
                    <a:lnTo>
                      <a:pt x="130" y="11"/>
                    </a:lnTo>
                    <a:lnTo>
                      <a:pt x="132" y="11"/>
                    </a:lnTo>
                    <a:lnTo>
                      <a:pt x="133" y="9"/>
                    </a:lnTo>
                    <a:lnTo>
                      <a:pt x="133" y="8"/>
                    </a:lnTo>
                    <a:lnTo>
                      <a:pt x="132" y="8"/>
                    </a:lnTo>
                    <a:lnTo>
                      <a:pt x="133" y="8"/>
                    </a:lnTo>
                    <a:lnTo>
                      <a:pt x="135" y="8"/>
                    </a:lnTo>
                    <a:lnTo>
                      <a:pt x="138" y="11"/>
                    </a:lnTo>
                    <a:lnTo>
                      <a:pt x="139" y="12"/>
                    </a:lnTo>
                    <a:lnTo>
                      <a:pt x="141" y="12"/>
                    </a:lnTo>
                    <a:lnTo>
                      <a:pt x="144" y="11"/>
                    </a:lnTo>
                    <a:lnTo>
                      <a:pt x="144" y="11"/>
                    </a:lnTo>
                    <a:lnTo>
                      <a:pt x="149" y="9"/>
                    </a:lnTo>
                    <a:lnTo>
                      <a:pt x="149" y="11"/>
                    </a:lnTo>
                    <a:lnTo>
                      <a:pt x="149" y="11"/>
                    </a:lnTo>
                    <a:lnTo>
                      <a:pt x="154" y="11"/>
                    </a:lnTo>
                    <a:lnTo>
                      <a:pt x="158" y="11"/>
                    </a:lnTo>
                    <a:lnTo>
                      <a:pt x="161" y="9"/>
                    </a:lnTo>
                    <a:lnTo>
                      <a:pt x="166" y="8"/>
                    </a:lnTo>
                    <a:lnTo>
                      <a:pt x="168"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6" name="Freeform 63">
                <a:extLst>
                  <a:ext uri="{FF2B5EF4-FFF2-40B4-BE49-F238E27FC236}">
                    <a16:creationId xmlns:a16="http://schemas.microsoft.com/office/drawing/2014/main" id="{BF50B040-F98C-06DD-255F-3EB111E0D7C1}"/>
                  </a:ext>
                </a:extLst>
              </p:cNvPr>
              <p:cNvSpPr>
                <a:spLocks/>
              </p:cNvSpPr>
              <p:nvPr/>
            </p:nvSpPr>
            <p:spPr bwMode="gray">
              <a:xfrm>
                <a:off x="2375" y="1074"/>
                <a:ext cx="147" cy="131"/>
              </a:xfrm>
              <a:custGeom>
                <a:avLst/>
                <a:gdLst>
                  <a:gd name="T0" fmla="*/ 147 w 147"/>
                  <a:gd name="T1" fmla="*/ 15 h 131"/>
                  <a:gd name="T2" fmla="*/ 147 w 147"/>
                  <a:gd name="T3" fmla="*/ 28 h 131"/>
                  <a:gd name="T4" fmla="*/ 144 w 147"/>
                  <a:gd name="T5" fmla="*/ 32 h 131"/>
                  <a:gd name="T6" fmla="*/ 134 w 147"/>
                  <a:gd name="T7" fmla="*/ 32 h 131"/>
                  <a:gd name="T8" fmla="*/ 125 w 147"/>
                  <a:gd name="T9" fmla="*/ 32 h 131"/>
                  <a:gd name="T10" fmla="*/ 114 w 147"/>
                  <a:gd name="T11" fmla="*/ 32 h 131"/>
                  <a:gd name="T12" fmla="*/ 105 w 147"/>
                  <a:gd name="T13" fmla="*/ 32 h 131"/>
                  <a:gd name="T14" fmla="*/ 95 w 147"/>
                  <a:gd name="T15" fmla="*/ 32 h 131"/>
                  <a:gd name="T16" fmla="*/ 89 w 147"/>
                  <a:gd name="T17" fmla="*/ 36 h 131"/>
                  <a:gd name="T18" fmla="*/ 89 w 147"/>
                  <a:gd name="T19" fmla="*/ 43 h 131"/>
                  <a:gd name="T20" fmla="*/ 89 w 147"/>
                  <a:gd name="T21" fmla="*/ 51 h 131"/>
                  <a:gd name="T22" fmla="*/ 89 w 147"/>
                  <a:gd name="T23" fmla="*/ 59 h 131"/>
                  <a:gd name="T24" fmla="*/ 89 w 147"/>
                  <a:gd name="T25" fmla="*/ 67 h 131"/>
                  <a:gd name="T26" fmla="*/ 89 w 147"/>
                  <a:gd name="T27" fmla="*/ 75 h 131"/>
                  <a:gd name="T28" fmla="*/ 89 w 147"/>
                  <a:gd name="T29" fmla="*/ 81 h 131"/>
                  <a:gd name="T30" fmla="*/ 83 w 147"/>
                  <a:gd name="T31" fmla="*/ 84 h 131"/>
                  <a:gd name="T32" fmla="*/ 77 w 147"/>
                  <a:gd name="T33" fmla="*/ 87 h 131"/>
                  <a:gd name="T34" fmla="*/ 70 w 147"/>
                  <a:gd name="T35" fmla="*/ 92 h 131"/>
                  <a:gd name="T36" fmla="*/ 69 w 147"/>
                  <a:gd name="T37" fmla="*/ 97 h 131"/>
                  <a:gd name="T38" fmla="*/ 70 w 147"/>
                  <a:gd name="T39" fmla="*/ 101 h 131"/>
                  <a:gd name="T40" fmla="*/ 70 w 147"/>
                  <a:gd name="T41" fmla="*/ 109 h 131"/>
                  <a:gd name="T42" fmla="*/ 72 w 147"/>
                  <a:gd name="T43" fmla="*/ 117 h 131"/>
                  <a:gd name="T44" fmla="*/ 69 w 147"/>
                  <a:gd name="T45" fmla="*/ 122 h 131"/>
                  <a:gd name="T46" fmla="*/ 56 w 147"/>
                  <a:gd name="T47" fmla="*/ 122 h 131"/>
                  <a:gd name="T48" fmla="*/ 45 w 147"/>
                  <a:gd name="T49" fmla="*/ 122 h 131"/>
                  <a:gd name="T50" fmla="*/ 33 w 147"/>
                  <a:gd name="T51" fmla="*/ 122 h 131"/>
                  <a:gd name="T52" fmla="*/ 20 w 147"/>
                  <a:gd name="T53" fmla="*/ 122 h 131"/>
                  <a:gd name="T54" fmla="*/ 8 w 147"/>
                  <a:gd name="T55" fmla="*/ 122 h 131"/>
                  <a:gd name="T56" fmla="*/ 2 w 147"/>
                  <a:gd name="T57" fmla="*/ 125 h 131"/>
                  <a:gd name="T58" fmla="*/ 0 w 147"/>
                  <a:gd name="T59" fmla="*/ 131 h 131"/>
                  <a:gd name="T60" fmla="*/ 2 w 147"/>
                  <a:gd name="T61" fmla="*/ 120 h 131"/>
                  <a:gd name="T62" fmla="*/ 8 w 147"/>
                  <a:gd name="T63" fmla="*/ 104 h 131"/>
                  <a:gd name="T64" fmla="*/ 14 w 147"/>
                  <a:gd name="T65" fmla="*/ 93 h 131"/>
                  <a:gd name="T66" fmla="*/ 16 w 147"/>
                  <a:gd name="T67" fmla="*/ 89 h 131"/>
                  <a:gd name="T68" fmla="*/ 20 w 147"/>
                  <a:gd name="T69" fmla="*/ 79 h 131"/>
                  <a:gd name="T70" fmla="*/ 22 w 147"/>
                  <a:gd name="T71" fmla="*/ 75 h 131"/>
                  <a:gd name="T72" fmla="*/ 19 w 147"/>
                  <a:gd name="T73" fmla="*/ 78 h 131"/>
                  <a:gd name="T74" fmla="*/ 23 w 147"/>
                  <a:gd name="T75" fmla="*/ 72 h 131"/>
                  <a:gd name="T76" fmla="*/ 36 w 147"/>
                  <a:gd name="T77" fmla="*/ 61 h 131"/>
                  <a:gd name="T78" fmla="*/ 39 w 147"/>
                  <a:gd name="T79" fmla="*/ 48 h 131"/>
                  <a:gd name="T80" fmla="*/ 44 w 147"/>
                  <a:gd name="T81" fmla="*/ 37 h 131"/>
                  <a:gd name="T82" fmla="*/ 47 w 147"/>
                  <a:gd name="T83" fmla="*/ 28 h 131"/>
                  <a:gd name="T84" fmla="*/ 55 w 147"/>
                  <a:gd name="T85" fmla="*/ 23 h 131"/>
                  <a:gd name="T86" fmla="*/ 63 w 147"/>
                  <a:gd name="T87" fmla="*/ 15 h 131"/>
                  <a:gd name="T88" fmla="*/ 69 w 147"/>
                  <a:gd name="T89" fmla="*/ 0 h 131"/>
                  <a:gd name="T90" fmla="*/ 145 w 147"/>
                  <a:gd name="T91" fmla="*/ 0 h 131"/>
                  <a:gd name="T92" fmla="*/ 147 w 147"/>
                  <a:gd name="T93" fmla="*/ 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31">
                    <a:moveTo>
                      <a:pt x="147" y="7"/>
                    </a:moveTo>
                    <a:lnTo>
                      <a:pt x="147" y="11"/>
                    </a:lnTo>
                    <a:lnTo>
                      <a:pt x="147" y="15"/>
                    </a:lnTo>
                    <a:lnTo>
                      <a:pt x="147" y="18"/>
                    </a:lnTo>
                    <a:lnTo>
                      <a:pt x="147" y="23"/>
                    </a:lnTo>
                    <a:lnTo>
                      <a:pt x="147" y="28"/>
                    </a:lnTo>
                    <a:lnTo>
                      <a:pt x="147" y="31"/>
                    </a:lnTo>
                    <a:lnTo>
                      <a:pt x="147" y="32"/>
                    </a:lnTo>
                    <a:lnTo>
                      <a:pt x="144" y="32"/>
                    </a:lnTo>
                    <a:lnTo>
                      <a:pt x="141" y="32"/>
                    </a:lnTo>
                    <a:lnTo>
                      <a:pt x="138" y="32"/>
                    </a:lnTo>
                    <a:lnTo>
                      <a:pt x="134" y="32"/>
                    </a:lnTo>
                    <a:lnTo>
                      <a:pt x="131" y="32"/>
                    </a:lnTo>
                    <a:lnTo>
                      <a:pt x="128" y="32"/>
                    </a:lnTo>
                    <a:lnTo>
                      <a:pt x="125" y="32"/>
                    </a:lnTo>
                    <a:lnTo>
                      <a:pt x="120" y="32"/>
                    </a:lnTo>
                    <a:lnTo>
                      <a:pt x="117" y="32"/>
                    </a:lnTo>
                    <a:lnTo>
                      <a:pt x="114" y="32"/>
                    </a:lnTo>
                    <a:lnTo>
                      <a:pt x="111" y="32"/>
                    </a:lnTo>
                    <a:lnTo>
                      <a:pt x="108" y="32"/>
                    </a:lnTo>
                    <a:lnTo>
                      <a:pt x="105" y="32"/>
                    </a:lnTo>
                    <a:lnTo>
                      <a:pt x="102" y="32"/>
                    </a:lnTo>
                    <a:lnTo>
                      <a:pt x="98" y="32"/>
                    </a:lnTo>
                    <a:lnTo>
                      <a:pt x="95" y="32"/>
                    </a:lnTo>
                    <a:lnTo>
                      <a:pt x="92" y="32"/>
                    </a:lnTo>
                    <a:lnTo>
                      <a:pt x="89" y="32"/>
                    </a:lnTo>
                    <a:lnTo>
                      <a:pt x="89" y="36"/>
                    </a:lnTo>
                    <a:lnTo>
                      <a:pt x="89" y="37"/>
                    </a:lnTo>
                    <a:lnTo>
                      <a:pt x="89" y="40"/>
                    </a:lnTo>
                    <a:lnTo>
                      <a:pt x="89" y="43"/>
                    </a:lnTo>
                    <a:lnTo>
                      <a:pt x="89" y="45"/>
                    </a:lnTo>
                    <a:lnTo>
                      <a:pt x="89" y="48"/>
                    </a:lnTo>
                    <a:lnTo>
                      <a:pt x="89" y="51"/>
                    </a:lnTo>
                    <a:lnTo>
                      <a:pt x="89" y="53"/>
                    </a:lnTo>
                    <a:lnTo>
                      <a:pt x="89" y="56"/>
                    </a:lnTo>
                    <a:lnTo>
                      <a:pt x="89" y="59"/>
                    </a:lnTo>
                    <a:lnTo>
                      <a:pt x="89" y="61"/>
                    </a:lnTo>
                    <a:lnTo>
                      <a:pt x="89" y="64"/>
                    </a:lnTo>
                    <a:lnTo>
                      <a:pt x="89" y="67"/>
                    </a:lnTo>
                    <a:lnTo>
                      <a:pt x="89" y="68"/>
                    </a:lnTo>
                    <a:lnTo>
                      <a:pt x="89" y="72"/>
                    </a:lnTo>
                    <a:lnTo>
                      <a:pt x="89" y="75"/>
                    </a:lnTo>
                    <a:lnTo>
                      <a:pt x="89" y="76"/>
                    </a:lnTo>
                    <a:lnTo>
                      <a:pt x="89" y="79"/>
                    </a:lnTo>
                    <a:lnTo>
                      <a:pt x="89" y="81"/>
                    </a:lnTo>
                    <a:lnTo>
                      <a:pt x="88" y="83"/>
                    </a:lnTo>
                    <a:lnTo>
                      <a:pt x="86" y="83"/>
                    </a:lnTo>
                    <a:lnTo>
                      <a:pt x="83" y="84"/>
                    </a:lnTo>
                    <a:lnTo>
                      <a:pt x="80" y="84"/>
                    </a:lnTo>
                    <a:lnTo>
                      <a:pt x="78" y="86"/>
                    </a:lnTo>
                    <a:lnTo>
                      <a:pt x="77" y="87"/>
                    </a:lnTo>
                    <a:lnTo>
                      <a:pt x="73" y="89"/>
                    </a:lnTo>
                    <a:lnTo>
                      <a:pt x="72" y="90"/>
                    </a:lnTo>
                    <a:lnTo>
                      <a:pt x="70" y="92"/>
                    </a:lnTo>
                    <a:lnTo>
                      <a:pt x="69" y="93"/>
                    </a:lnTo>
                    <a:lnTo>
                      <a:pt x="69" y="95"/>
                    </a:lnTo>
                    <a:lnTo>
                      <a:pt x="69" y="97"/>
                    </a:lnTo>
                    <a:lnTo>
                      <a:pt x="70" y="98"/>
                    </a:lnTo>
                    <a:lnTo>
                      <a:pt x="70" y="100"/>
                    </a:lnTo>
                    <a:lnTo>
                      <a:pt x="70" y="101"/>
                    </a:lnTo>
                    <a:lnTo>
                      <a:pt x="70" y="104"/>
                    </a:lnTo>
                    <a:lnTo>
                      <a:pt x="70" y="106"/>
                    </a:lnTo>
                    <a:lnTo>
                      <a:pt x="70" y="109"/>
                    </a:lnTo>
                    <a:lnTo>
                      <a:pt x="70" y="112"/>
                    </a:lnTo>
                    <a:lnTo>
                      <a:pt x="70" y="114"/>
                    </a:lnTo>
                    <a:lnTo>
                      <a:pt x="72" y="117"/>
                    </a:lnTo>
                    <a:lnTo>
                      <a:pt x="72" y="118"/>
                    </a:lnTo>
                    <a:lnTo>
                      <a:pt x="72" y="122"/>
                    </a:lnTo>
                    <a:lnTo>
                      <a:pt x="69" y="122"/>
                    </a:lnTo>
                    <a:lnTo>
                      <a:pt x="64" y="122"/>
                    </a:lnTo>
                    <a:lnTo>
                      <a:pt x="61" y="122"/>
                    </a:lnTo>
                    <a:lnTo>
                      <a:pt x="56" y="122"/>
                    </a:lnTo>
                    <a:lnTo>
                      <a:pt x="53" y="122"/>
                    </a:lnTo>
                    <a:lnTo>
                      <a:pt x="48" y="122"/>
                    </a:lnTo>
                    <a:lnTo>
                      <a:pt x="45" y="122"/>
                    </a:lnTo>
                    <a:lnTo>
                      <a:pt x="41" y="122"/>
                    </a:lnTo>
                    <a:lnTo>
                      <a:pt x="36" y="122"/>
                    </a:lnTo>
                    <a:lnTo>
                      <a:pt x="33" y="122"/>
                    </a:lnTo>
                    <a:lnTo>
                      <a:pt x="28" y="122"/>
                    </a:lnTo>
                    <a:lnTo>
                      <a:pt x="25" y="122"/>
                    </a:lnTo>
                    <a:lnTo>
                      <a:pt x="20" y="122"/>
                    </a:lnTo>
                    <a:lnTo>
                      <a:pt x="17" y="122"/>
                    </a:lnTo>
                    <a:lnTo>
                      <a:pt x="12" y="122"/>
                    </a:lnTo>
                    <a:lnTo>
                      <a:pt x="8" y="122"/>
                    </a:lnTo>
                    <a:lnTo>
                      <a:pt x="5" y="122"/>
                    </a:lnTo>
                    <a:lnTo>
                      <a:pt x="2" y="122"/>
                    </a:lnTo>
                    <a:lnTo>
                      <a:pt x="2" y="125"/>
                    </a:lnTo>
                    <a:lnTo>
                      <a:pt x="0" y="128"/>
                    </a:lnTo>
                    <a:lnTo>
                      <a:pt x="0" y="129"/>
                    </a:lnTo>
                    <a:lnTo>
                      <a:pt x="0" y="131"/>
                    </a:lnTo>
                    <a:lnTo>
                      <a:pt x="0" y="131"/>
                    </a:lnTo>
                    <a:lnTo>
                      <a:pt x="2" y="122"/>
                    </a:lnTo>
                    <a:lnTo>
                      <a:pt x="2" y="120"/>
                    </a:lnTo>
                    <a:lnTo>
                      <a:pt x="3" y="111"/>
                    </a:lnTo>
                    <a:lnTo>
                      <a:pt x="5" y="106"/>
                    </a:lnTo>
                    <a:lnTo>
                      <a:pt x="8" y="104"/>
                    </a:lnTo>
                    <a:lnTo>
                      <a:pt x="9" y="103"/>
                    </a:lnTo>
                    <a:lnTo>
                      <a:pt x="12" y="98"/>
                    </a:lnTo>
                    <a:lnTo>
                      <a:pt x="14" y="93"/>
                    </a:lnTo>
                    <a:lnTo>
                      <a:pt x="16" y="92"/>
                    </a:lnTo>
                    <a:lnTo>
                      <a:pt x="16" y="90"/>
                    </a:lnTo>
                    <a:lnTo>
                      <a:pt x="16" y="89"/>
                    </a:lnTo>
                    <a:lnTo>
                      <a:pt x="17" y="86"/>
                    </a:lnTo>
                    <a:lnTo>
                      <a:pt x="19" y="83"/>
                    </a:lnTo>
                    <a:lnTo>
                      <a:pt x="20" y="79"/>
                    </a:lnTo>
                    <a:lnTo>
                      <a:pt x="22" y="76"/>
                    </a:lnTo>
                    <a:lnTo>
                      <a:pt x="23" y="75"/>
                    </a:lnTo>
                    <a:lnTo>
                      <a:pt x="22" y="75"/>
                    </a:lnTo>
                    <a:lnTo>
                      <a:pt x="22" y="75"/>
                    </a:lnTo>
                    <a:lnTo>
                      <a:pt x="20" y="76"/>
                    </a:lnTo>
                    <a:lnTo>
                      <a:pt x="19" y="78"/>
                    </a:lnTo>
                    <a:lnTo>
                      <a:pt x="20" y="76"/>
                    </a:lnTo>
                    <a:lnTo>
                      <a:pt x="20" y="75"/>
                    </a:lnTo>
                    <a:lnTo>
                      <a:pt x="23" y="72"/>
                    </a:lnTo>
                    <a:lnTo>
                      <a:pt x="27" y="70"/>
                    </a:lnTo>
                    <a:lnTo>
                      <a:pt x="33" y="62"/>
                    </a:lnTo>
                    <a:lnTo>
                      <a:pt x="36" y="61"/>
                    </a:lnTo>
                    <a:lnTo>
                      <a:pt x="38" y="57"/>
                    </a:lnTo>
                    <a:lnTo>
                      <a:pt x="39" y="54"/>
                    </a:lnTo>
                    <a:lnTo>
                      <a:pt x="39" y="48"/>
                    </a:lnTo>
                    <a:lnTo>
                      <a:pt x="41" y="45"/>
                    </a:lnTo>
                    <a:lnTo>
                      <a:pt x="42" y="42"/>
                    </a:lnTo>
                    <a:lnTo>
                      <a:pt x="44" y="37"/>
                    </a:lnTo>
                    <a:lnTo>
                      <a:pt x="45" y="34"/>
                    </a:lnTo>
                    <a:lnTo>
                      <a:pt x="45" y="29"/>
                    </a:lnTo>
                    <a:lnTo>
                      <a:pt x="47" y="28"/>
                    </a:lnTo>
                    <a:lnTo>
                      <a:pt x="48" y="26"/>
                    </a:lnTo>
                    <a:lnTo>
                      <a:pt x="52" y="25"/>
                    </a:lnTo>
                    <a:lnTo>
                      <a:pt x="55" y="23"/>
                    </a:lnTo>
                    <a:lnTo>
                      <a:pt x="59" y="20"/>
                    </a:lnTo>
                    <a:lnTo>
                      <a:pt x="61" y="18"/>
                    </a:lnTo>
                    <a:lnTo>
                      <a:pt x="63" y="15"/>
                    </a:lnTo>
                    <a:lnTo>
                      <a:pt x="64" y="11"/>
                    </a:lnTo>
                    <a:lnTo>
                      <a:pt x="67" y="4"/>
                    </a:lnTo>
                    <a:lnTo>
                      <a:pt x="69" y="0"/>
                    </a:lnTo>
                    <a:lnTo>
                      <a:pt x="145" y="0"/>
                    </a:lnTo>
                    <a:lnTo>
                      <a:pt x="145" y="0"/>
                    </a:lnTo>
                    <a:lnTo>
                      <a:pt x="145" y="0"/>
                    </a:lnTo>
                    <a:lnTo>
                      <a:pt x="147" y="0"/>
                    </a:lnTo>
                    <a:lnTo>
                      <a:pt x="147" y="3"/>
                    </a:lnTo>
                    <a:lnTo>
                      <a:pt x="147" y="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7" name="Freeform 64">
                <a:extLst>
                  <a:ext uri="{FF2B5EF4-FFF2-40B4-BE49-F238E27FC236}">
                    <a16:creationId xmlns:a16="http://schemas.microsoft.com/office/drawing/2014/main" id="{74D448DC-7C10-AB73-E27A-955A8A68A6B1}"/>
                  </a:ext>
                </a:extLst>
              </p:cNvPr>
              <p:cNvSpPr>
                <a:spLocks noEditPoints="1"/>
              </p:cNvSpPr>
              <p:nvPr/>
            </p:nvSpPr>
            <p:spPr bwMode="gray">
              <a:xfrm>
                <a:off x="3315" y="1257"/>
                <a:ext cx="117" cy="103"/>
              </a:xfrm>
              <a:custGeom>
                <a:avLst/>
                <a:gdLst>
                  <a:gd name="T0" fmla="*/ 65 w 117"/>
                  <a:gd name="T1" fmla="*/ 43 h 103"/>
                  <a:gd name="T2" fmla="*/ 62 w 117"/>
                  <a:gd name="T3" fmla="*/ 39 h 103"/>
                  <a:gd name="T4" fmla="*/ 61 w 117"/>
                  <a:gd name="T5" fmla="*/ 40 h 103"/>
                  <a:gd name="T6" fmla="*/ 64 w 117"/>
                  <a:gd name="T7" fmla="*/ 43 h 103"/>
                  <a:gd name="T8" fmla="*/ 64 w 117"/>
                  <a:gd name="T9" fmla="*/ 45 h 103"/>
                  <a:gd name="T10" fmla="*/ 68 w 117"/>
                  <a:gd name="T11" fmla="*/ 43 h 103"/>
                  <a:gd name="T12" fmla="*/ 62 w 117"/>
                  <a:gd name="T13" fmla="*/ 36 h 103"/>
                  <a:gd name="T14" fmla="*/ 64 w 117"/>
                  <a:gd name="T15" fmla="*/ 36 h 103"/>
                  <a:gd name="T16" fmla="*/ 111 w 117"/>
                  <a:gd name="T17" fmla="*/ 94 h 103"/>
                  <a:gd name="T18" fmla="*/ 103 w 117"/>
                  <a:gd name="T19" fmla="*/ 84 h 103"/>
                  <a:gd name="T20" fmla="*/ 83 w 117"/>
                  <a:gd name="T21" fmla="*/ 62 h 103"/>
                  <a:gd name="T22" fmla="*/ 70 w 117"/>
                  <a:gd name="T23" fmla="*/ 56 h 103"/>
                  <a:gd name="T24" fmla="*/ 62 w 117"/>
                  <a:gd name="T25" fmla="*/ 51 h 103"/>
                  <a:gd name="T26" fmla="*/ 59 w 117"/>
                  <a:gd name="T27" fmla="*/ 48 h 103"/>
                  <a:gd name="T28" fmla="*/ 58 w 117"/>
                  <a:gd name="T29" fmla="*/ 53 h 103"/>
                  <a:gd name="T30" fmla="*/ 53 w 117"/>
                  <a:gd name="T31" fmla="*/ 45 h 103"/>
                  <a:gd name="T32" fmla="*/ 47 w 117"/>
                  <a:gd name="T33" fmla="*/ 23 h 103"/>
                  <a:gd name="T34" fmla="*/ 37 w 117"/>
                  <a:gd name="T35" fmla="*/ 0 h 103"/>
                  <a:gd name="T36" fmla="*/ 34 w 117"/>
                  <a:gd name="T37" fmla="*/ 4 h 103"/>
                  <a:gd name="T38" fmla="*/ 31 w 117"/>
                  <a:gd name="T39" fmla="*/ 7 h 103"/>
                  <a:gd name="T40" fmla="*/ 29 w 117"/>
                  <a:gd name="T41" fmla="*/ 9 h 103"/>
                  <a:gd name="T42" fmla="*/ 26 w 117"/>
                  <a:gd name="T43" fmla="*/ 9 h 103"/>
                  <a:gd name="T44" fmla="*/ 23 w 117"/>
                  <a:gd name="T45" fmla="*/ 11 h 103"/>
                  <a:gd name="T46" fmla="*/ 20 w 117"/>
                  <a:gd name="T47" fmla="*/ 12 h 103"/>
                  <a:gd name="T48" fmla="*/ 17 w 117"/>
                  <a:gd name="T49" fmla="*/ 17 h 103"/>
                  <a:gd name="T50" fmla="*/ 12 w 117"/>
                  <a:gd name="T51" fmla="*/ 18 h 103"/>
                  <a:gd name="T52" fmla="*/ 9 w 117"/>
                  <a:gd name="T53" fmla="*/ 22 h 103"/>
                  <a:gd name="T54" fmla="*/ 7 w 117"/>
                  <a:gd name="T55" fmla="*/ 29 h 103"/>
                  <a:gd name="T56" fmla="*/ 4 w 117"/>
                  <a:gd name="T57" fmla="*/ 40 h 103"/>
                  <a:gd name="T58" fmla="*/ 0 w 117"/>
                  <a:gd name="T59" fmla="*/ 53 h 103"/>
                  <a:gd name="T60" fmla="*/ 0 w 117"/>
                  <a:gd name="T61" fmla="*/ 64 h 103"/>
                  <a:gd name="T62" fmla="*/ 6 w 117"/>
                  <a:gd name="T63" fmla="*/ 67 h 103"/>
                  <a:gd name="T64" fmla="*/ 11 w 117"/>
                  <a:gd name="T65" fmla="*/ 69 h 103"/>
                  <a:gd name="T66" fmla="*/ 12 w 117"/>
                  <a:gd name="T67" fmla="*/ 65 h 103"/>
                  <a:gd name="T68" fmla="*/ 18 w 117"/>
                  <a:gd name="T69" fmla="*/ 70 h 103"/>
                  <a:gd name="T70" fmla="*/ 22 w 117"/>
                  <a:gd name="T71" fmla="*/ 65 h 103"/>
                  <a:gd name="T72" fmla="*/ 26 w 117"/>
                  <a:gd name="T73" fmla="*/ 59 h 103"/>
                  <a:gd name="T74" fmla="*/ 31 w 117"/>
                  <a:gd name="T75" fmla="*/ 61 h 103"/>
                  <a:gd name="T76" fmla="*/ 40 w 117"/>
                  <a:gd name="T77" fmla="*/ 64 h 103"/>
                  <a:gd name="T78" fmla="*/ 47 w 117"/>
                  <a:gd name="T79" fmla="*/ 62 h 103"/>
                  <a:gd name="T80" fmla="*/ 50 w 117"/>
                  <a:gd name="T81" fmla="*/ 65 h 103"/>
                  <a:gd name="T82" fmla="*/ 56 w 117"/>
                  <a:gd name="T83" fmla="*/ 64 h 103"/>
                  <a:gd name="T84" fmla="*/ 64 w 117"/>
                  <a:gd name="T85" fmla="*/ 65 h 103"/>
                  <a:gd name="T86" fmla="*/ 72 w 117"/>
                  <a:gd name="T87" fmla="*/ 69 h 103"/>
                  <a:gd name="T88" fmla="*/ 81 w 117"/>
                  <a:gd name="T89" fmla="*/ 78 h 103"/>
                  <a:gd name="T90" fmla="*/ 95 w 117"/>
                  <a:gd name="T91" fmla="*/ 90 h 103"/>
                  <a:gd name="T92" fmla="*/ 101 w 117"/>
                  <a:gd name="T93" fmla="*/ 97 h 103"/>
                  <a:gd name="T94" fmla="*/ 104 w 117"/>
                  <a:gd name="T95" fmla="*/ 100 h 103"/>
                  <a:gd name="T96" fmla="*/ 111 w 117"/>
                  <a:gd name="T97" fmla="*/ 101 h 103"/>
                  <a:gd name="T98" fmla="*/ 115 w 117"/>
                  <a:gd name="T99" fmla="*/ 9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 h="103">
                    <a:moveTo>
                      <a:pt x="67" y="42"/>
                    </a:moveTo>
                    <a:lnTo>
                      <a:pt x="65" y="43"/>
                    </a:lnTo>
                    <a:lnTo>
                      <a:pt x="65" y="43"/>
                    </a:lnTo>
                    <a:lnTo>
                      <a:pt x="65" y="43"/>
                    </a:lnTo>
                    <a:lnTo>
                      <a:pt x="64" y="42"/>
                    </a:lnTo>
                    <a:lnTo>
                      <a:pt x="64" y="40"/>
                    </a:lnTo>
                    <a:lnTo>
                      <a:pt x="64" y="40"/>
                    </a:lnTo>
                    <a:lnTo>
                      <a:pt x="62" y="39"/>
                    </a:lnTo>
                    <a:lnTo>
                      <a:pt x="61" y="39"/>
                    </a:lnTo>
                    <a:lnTo>
                      <a:pt x="62" y="40"/>
                    </a:lnTo>
                    <a:lnTo>
                      <a:pt x="62" y="40"/>
                    </a:lnTo>
                    <a:lnTo>
                      <a:pt x="61" y="40"/>
                    </a:lnTo>
                    <a:lnTo>
                      <a:pt x="61" y="42"/>
                    </a:lnTo>
                    <a:lnTo>
                      <a:pt x="62" y="42"/>
                    </a:lnTo>
                    <a:lnTo>
                      <a:pt x="64" y="43"/>
                    </a:lnTo>
                    <a:lnTo>
                      <a:pt x="64" y="43"/>
                    </a:lnTo>
                    <a:lnTo>
                      <a:pt x="62" y="43"/>
                    </a:lnTo>
                    <a:lnTo>
                      <a:pt x="61" y="42"/>
                    </a:lnTo>
                    <a:lnTo>
                      <a:pt x="62" y="43"/>
                    </a:lnTo>
                    <a:lnTo>
                      <a:pt x="64" y="45"/>
                    </a:lnTo>
                    <a:lnTo>
                      <a:pt x="65" y="45"/>
                    </a:lnTo>
                    <a:lnTo>
                      <a:pt x="67" y="45"/>
                    </a:lnTo>
                    <a:lnTo>
                      <a:pt x="68" y="45"/>
                    </a:lnTo>
                    <a:lnTo>
                      <a:pt x="68" y="43"/>
                    </a:lnTo>
                    <a:lnTo>
                      <a:pt x="67" y="42"/>
                    </a:lnTo>
                    <a:close/>
                    <a:moveTo>
                      <a:pt x="64" y="36"/>
                    </a:moveTo>
                    <a:lnTo>
                      <a:pt x="62" y="36"/>
                    </a:lnTo>
                    <a:lnTo>
                      <a:pt x="62" y="36"/>
                    </a:lnTo>
                    <a:lnTo>
                      <a:pt x="62" y="36"/>
                    </a:lnTo>
                    <a:lnTo>
                      <a:pt x="62" y="37"/>
                    </a:lnTo>
                    <a:lnTo>
                      <a:pt x="64" y="37"/>
                    </a:lnTo>
                    <a:lnTo>
                      <a:pt x="64" y="36"/>
                    </a:lnTo>
                    <a:close/>
                    <a:moveTo>
                      <a:pt x="115" y="94"/>
                    </a:moveTo>
                    <a:lnTo>
                      <a:pt x="114" y="94"/>
                    </a:lnTo>
                    <a:lnTo>
                      <a:pt x="114" y="95"/>
                    </a:lnTo>
                    <a:lnTo>
                      <a:pt x="111" y="94"/>
                    </a:lnTo>
                    <a:lnTo>
                      <a:pt x="111" y="90"/>
                    </a:lnTo>
                    <a:lnTo>
                      <a:pt x="106" y="87"/>
                    </a:lnTo>
                    <a:lnTo>
                      <a:pt x="104" y="87"/>
                    </a:lnTo>
                    <a:lnTo>
                      <a:pt x="103" y="84"/>
                    </a:lnTo>
                    <a:lnTo>
                      <a:pt x="101" y="81"/>
                    </a:lnTo>
                    <a:lnTo>
                      <a:pt x="90" y="73"/>
                    </a:lnTo>
                    <a:lnTo>
                      <a:pt x="87" y="69"/>
                    </a:lnTo>
                    <a:lnTo>
                      <a:pt x="83" y="62"/>
                    </a:lnTo>
                    <a:lnTo>
                      <a:pt x="76" y="59"/>
                    </a:lnTo>
                    <a:lnTo>
                      <a:pt x="73" y="58"/>
                    </a:lnTo>
                    <a:lnTo>
                      <a:pt x="72" y="56"/>
                    </a:lnTo>
                    <a:lnTo>
                      <a:pt x="70" y="56"/>
                    </a:lnTo>
                    <a:lnTo>
                      <a:pt x="67" y="56"/>
                    </a:lnTo>
                    <a:lnTo>
                      <a:pt x="65" y="54"/>
                    </a:lnTo>
                    <a:lnTo>
                      <a:pt x="64" y="53"/>
                    </a:lnTo>
                    <a:lnTo>
                      <a:pt x="62" y="51"/>
                    </a:lnTo>
                    <a:lnTo>
                      <a:pt x="62" y="50"/>
                    </a:lnTo>
                    <a:lnTo>
                      <a:pt x="62" y="48"/>
                    </a:lnTo>
                    <a:lnTo>
                      <a:pt x="59" y="47"/>
                    </a:lnTo>
                    <a:lnTo>
                      <a:pt x="59" y="48"/>
                    </a:lnTo>
                    <a:lnTo>
                      <a:pt x="58" y="50"/>
                    </a:lnTo>
                    <a:lnTo>
                      <a:pt x="59" y="51"/>
                    </a:lnTo>
                    <a:lnTo>
                      <a:pt x="59" y="51"/>
                    </a:lnTo>
                    <a:lnTo>
                      <a:pt x="58" y="53"/>
                    </a:lnTo>
                    <a:lnTo>
                      <a:pt x="58" y="51"/>
                    </a:lnTo>
                    <a:lnTo>
                      <a:pt x="56" y="47"/>
                    </a:lnTo>
                    <a:lnTo>
                      <a:pt x="54" y="45"/>
                    </a:lnTo>
                    <a:lnTo>
                      <a:pt x="53" y="45"/>
                    </a:lnTo>
                    <a:lnTo>
                      <a:pt x="51" y="40"/>
                    </a:lnTo>
                    <a:lnTo>
                      <a:pt x="50" y="39"/>
                    </a:lnTo>
                    <a:lnTo>
                      <a:pt x="48" y="34"/>
                    </a:lnTo>
                    <a:lnTo>
                      <a:pt x="47" y="23"/>
                    </a:lnTo>
                    <a:lnTo>
                      <a:pt x="45" y="17"/>
                    </a:lnTo>
                    <a:lnTo>
                      <a:pt x="43" y="11"/>
                    </a:lnTo>
                    <a:lnTo>
                      <a:pt x="37" y="1"/>
                    </a:lnTo>
                    <a:lnTo>
                      <a:pt x="37" y="0"/>
                    </a:lnTo>
                    <a:lnTo>
                      <a:pt x="36" y="1"/>
                    </a:lnTo>
                    <a:lnTo>
                      <a:pt x="34" y="4"/>
                    </a:lnTo>
                    <a:lnTo>
                      <a:pt x="34" y="4"/>
                    </a:lnTo>
                    <a:lnTo>
                      <a:pt x="34" y="4"/>
                    </a:lnTo>
                    <a:lnTo>
                      <a:pt x="34" y="6"/>
                    </a:lnTo>
                    <a:lnTo>
                      <a:pt x="32" y="6"/>
                    </a:lnTo>
                    <a:lnTo>
                      <a:pt x="32" y="7"/>
                    </a:lnTo>
                    <a:lnTo>
                      <a:pt x="31" y="7"/>
                    </a:lnTo>
                    <a:lnTo>
                      <a:pt x="31" y="7"/>
                    </a:lnTo>
                    <a:lnTo>
                      <a:pt x="31" y="7"/>
                    </a:lnTo>
                    <a:lnTo>
                      <a:pt x="31" y="9"/>
                    </a:lnTo>
                    <a:lnTo>
                      <a:pt x="29" y="9"/>
                    </a:lnTo>
                    <a:lnTo>
                      <a:pt x="29" y="9"/>
                    </a:lnTo>
                    <a:lnTo>
                      <a:pt x="28" y="9"/>
                    </a:lnTo>
                    <a:lnTo>
                      <a:pt x="28" y="9"/>
                    </a:lnTo>
                    <a:lnTo>
                      <a:pt x="26" y="9"/>
                    </a:lnTo>
                    <a:lnTo>
                      <a:pt x="26" y="9"/>
                    </a:lnTo>
                    <a:lnTo>
                      <a:pt x="25" y="9"/>
                    </a:lnTo>
                    <a:lnTo>
                      <a:pt x="25" y="11"/>
                    </a:lnTo>
                    <a:lnTo>
                      <a:pt x="23" y="11"/>
                    </a:lnTo>
                    <a:lnTo>
                      <a:pt x="23" y="11"/>
                    </a:lnTo>
                    <a:lnTo>
                      <a:pt x="22" y="11"/>
                    </a:lnTo>
                    <a:lnTo>
                      <a:pt x="22" y="12"/>
                    </a:lnTo>
                    <a:lnTo>
                      <a:pt x="20" y="12"/>
                    </a:lnTo>
                    <a:lnTo>
                      <a:pt x="18" y="12"/>
                    </a:lnTo>
                    <a:lnTo>
                      <a:pt x="18" y="12"/>
                    </a:lnTo>
                    <a:lnTo>
                      <a:pt x="18" y="14"/>
                    </a:lnTo>
                    <a:lnTo>
                      <a:pt x="17" y="17"/>
                    </a:lnTo>
                    <a:lnTo>
                      <a:pt x="17" y="18"/>
                    </a:lnTo>
                    <a:lnTo>
                      <a:pt x="15" y="18"/>
                    </a:lnTo>
                    <a:lnTo>
                      <a:pt x="14" y="18"/>
                    </a:lnTo>
                    <a:lnTo>
                      <a:pt x="12" y="18"/>
                    </a:lnTo>
                    <a:lnTo>
                      <a:pt x="11" y="18"/>
                    </a:lnTo>
                    <a:lnTo>
                      <a:pt x="9" y="18"/>
                    </a:lnTo>
                    <a:lnTo>
                      <a:pt x="9" y="18"/>
                    </a:lnTo>
                    <a:lnTo>
                      <a:pt x="9" y="22"/>
                    </a:lnTo>
                    <a:lnTo>
                      <a:pt x="9" y="23"/>
                    </a:lnTo>
                    <a:lnTo>
                      <a:pt x="7" y="23"/>
                    </a:lnTo>
                    <a:lnTo>
                      <a:pt x="7" y="26"/>
                    </a:lnTo>
                    <a:lnTo>
                      <a:pt x="7" y="29"/>
                    </a:lnTo>
                    <a:lnTo>
                      <a:pt x="7" y="31"/>
                    </a:lnTo>
                    <a:lnTo>
                      <a:pt x="6" y="36"/>
                    </a:lnTo>
                    <a:lnTo>
                      <a:pt x="6" y="37"/>
                    </a:lnTo>
                    <a:lnTo>
                      <a:pt x="4" y="40"/>
                    </a:lnTo>
                    <a:lnTo>
                      <a:pt x="4" y="42"/>
                    </a:lnTo>
                    <a:lnTo>
                      <a:pt x="1" y="48"/>
                    </a:lnTo>
                    <a:lnTo>
                      <a:pt x="1" y="51"/>
                    </a:lnTo>
                    <a:lnTo>
                      <a:pt x="0" y="53"/>
                    </a:lnTo>
                    <a:lnTo>
                      <a:pt x="0" y="56"/>
                    </a:lnTo>
                    <a:lnTo>
                      <a:pt x="0" y="59"/>
                    </a:lnTo>
                    <a:lnTo>
                      <a:pt x="0" y="64"/>
                    </a:lnTo>
                    <a:lnTo>
                      <a:pt x="0" y="64"/>
                    </a:lnTo>
                    <a:lnTo>
                      <a:pt x="1" y="69"/>
                    </a:lnTo>
                    <a:lnTo>
                      <a:pt x="1" y="69"/>
                    </a:lnTo>
                    <a:lnTo>
                      <a:pt x="4" y="67"/>
                    </a:lnTo>
                    <a:lnTo>
                      <a:pt x="6" y="67"/>
                    </a:lnTo>
                    <a:lnTo>
                      <a:pt x="7" y="69"/>
                    </a:lnTo>
                    <a:lnTo>
                      <a:pt x="9" y="69"/>
                    </a:lnTo>
                    <a:lnTo>
                      <a:pt x="9" y="69"/>
                    </a:lnTo>
                    <a:lnTo>
                      <a:pt x="11" y="69"/>
                    </a:lnTo>
                    <a:lnTo>
                      <a:pt x="11" y="67"/>
                    </a:lnTo>
                    <a:lnTo>
                      <a:pt x="12" y="65"/>
                    </a:lnTo>
                    <a:lnTo>
                      <a:pt x="12" y="65"/>
                    </a:lnTo>
                    <a:lnTo>
                      <a:pt x="12" y="65"/>
                    </a:lnTo>
                    <a:lnTo>
                      <a:pt x="12" y="65"/>
                    </a:lnTo>
                    <a:lnTo>
                      <a:pt x="14" y="65"/>
                    </a:lnTo>
                    <a:lnTo>
                      <a:pt x="15" y="67"/>
                    </a:lnTo>
                    <a:lnTo>
                      <a:pt x="18" y="70"/>
                    </a:lnTo>
                    <a:lnTo>
                      <a:pt x="18" y="70"/>
                    </a:lnTo>
                    <a:lnTo>
                      <a:pt x="20" y="70"/>
                    </a:lnTo>
                    <a:lnTo>
                      <a:pt x="20" y="67"/>
                    </a:lnTo>
                    <a:lnTo>
                      <a:pt x="22" y="65"/>
                    </a:lnTo>
                    <a:lnTo>
                      <a:pt x="23" y="61"/>
                    </a:lnTo>
                    <a:lnTo>
                      <a:pt x="25" y="58"/>
                    </a:lnTo>
                    <a:lnTo>
                      <a:pt x="26" y="59"/>
                    </a:lnTo>
                    <a:lnTo>
                      <a:pt x="26" y="59"/>
                    </a:lnTo>
                    <a:lnTo>
                      <a:pt x="28" y="61"/>
                    </a:lnTo>
                    <a:lnTo>
                      <a:pt x="29" y="61"/>
                    </a:lnTo>
                    <a:lnTo>
                      <a:pt x="29" y="61"/>
                    </a:lnTo>
                    <a:lnTo>
                      <a:pt x="31" y="61"/>
                    </a:lnTo>
                    <a:lnTo>
                      <a:pt x="34" y="65"/>
                    </a:lnTo>
                    <a:lnTo>
                      <a:pt x="34" y="65"/>
                    </a:lnTo>
                    <a:lnTo>
                      <a:pt x="36" y="65"/>
                    </a:lnTo>
                    <a:lnTo>
                      <a:pt x="40" y="64"/>
                    </a:lnTo>
                    <a:lnTo>
                      <a:pt x="45" y="62"/>
                    </a:lnTo>
                    <a:lnTo>
                      <a:pt x="45" y="62"/>
                    </a:lnTo>
                    <a:lnTo>
                      <a:pt x="45" y="62"/>
                    </a:lnTo>
                    <a:lnTo>
                      <a:pt x="47" y="62"/>
                    </a:lnTo>
                    <a:lnTo>
                      <a:pt x="47" y="64"/>
                    </a:lnTo>
                    <a:lnTo>
                      <a:pt x="48" y="64"/>
                    </a:lnTo>
                    <a:lnTo>
                      <a:pt x="48" y="64"/>
                    </a:lnTo>
                    <a:lnTo>
                      <a:pt x="50" y="65"/>
                    </a:lnTo>
                    <a:lnTo>
                      <a:pt x="53" y="64"/>
                    </a:lnTo>
                    <a:lnTo>
                      <a:pt x="54" y="64"/>
                    </a:lnTo>
                    <a:lnTo>
                      <a:pt x="54" y="64"/>
                    </a:lnTo>
                    <a:lnTo>
                      <a:pt x="56" y="64"/>
                    </a:lnTo>
                    <a:lnTo>
                      <a:pt x="58" y="64"/>
                    </a:lnTo>
                    <a:lnTo>
                      <a:pt x="59" y="65"/>
                    </a:lnTo>
                    <a:lnTo>
                      <a:pt x="61" y="65"/>
                    </a:lnTo>
                    <a:lnTo>
                      <a:pt x="64" y="65"/>
                    </a:lnTo>
                    <a:lnTo>
                      <a:pt x="64" y="65"/>
                    </a:lnTo>
                    <a:lnTo>
                      <a:pt x="65" y="65"/>
                    </a:lnTo>
                    <a:lnTo>
                      <a:pt x="68" y="67"/>
                    </a:lnTo>
                    <a:lnTo>
                      <a:pt x="72" y="69"/>
                    </a:lnTo>
                    <a:lnTo>
                      <a:pt x="75" y="70"/>
                    </a:lnTo>
                    <a:lnTo>
                      <a:pt x="76" y="72"/>
                    </a:lnTo>
                    <a:lnTo>
                      <a:pt x="78" y="73"/>
                    </a:lnTo>
                    <a:lnTo>
                      <a:pt x="81" y="78"/>
                    </a:lnTo>
                    <a:lnTo>
                      <a:pt x="86" y="83"/>
                    </a:lnTo>
                    <a:lnTo>
                      <a:pt x="90" y="86"/>
                    </a:lnTo>
                    <a:lnTo>
                      <a:pt x="93" y="87"/>
                    </a:lnTo>
                    <a:lnTo>
                      <a:pt x="95" y="90"/>
                    </a:lnTo>
                    <a:lnTo>
                      <a:pt x="97" y="94"/>
                    </a:lnTo>
                    <a:lnTo>
                      <a:pt x="98" y="95"/>
                    </a:lnTo>
                    <a:lnTo>
                      <a:pt x="100" y="95"/>
                    </a:lnTo>
                    <a:lnTo>
                      <a:pt x="101" y="97"/>
                    </a:lnTo>
                    <a:lnTo>
                      <a:pt x="103" y="98"/>
                    </a:lnTo>
                    <a:lnTo>
                      <a:pt x="104" y="101"/>
                    </a:lnTo>
                    <a:lnTo>
                      <a:pt x="104" y="100"/>
                    </a:lnTo>
                    <a:lnTo>
                      <a:pt x="104" y="100"/>
                    </a:lnTo>
                    <a:lnTo>
                      <a:pt x="106" y="100"/>
                    </a:lnTo>
                    <a:lnTo>
                      <a:pt x="109" y="103"/>
                    </a:lnTo>
                    <a:lnTo>
                      <a:pt x="109" y="103"/>
                    </a:lnTo>
                    <a:lnTo>
                      <a:pt x="111" y="101"/>
                    </a:lnTo>
                    <a:lnTo>
                      <a:pt x="112" y="98"/>
                    </a:lnTo>
                    <a:lnTo>
                      <a:pt x="112" y="98"/>
                    </a:lnTo>
                    <a:lnTo>
                      <a:pt x="112" y="98"/>
                    </a:lnTo>
                    <a:lnTo>
                      <a:pt x="115" y="97"/>
                    </a:lnTo>
                    <a:lnTo>
                      <a:pt x="117" y="97"/>
                    </a:lnTo>
                    <a:lnTo>
                      <a:pt x="115" y="9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8" name="Freeform 65">
                <a:extLst>
                  <a:ext uri="{FF2B5EF4-FFF2-40B4-BE49-F238E27FC236}">
                    <a16:creationId xmlns:a16="http://schemas.microsoft.com/office/drawing/2014/main" id="{562F26C9-038C-03B8-B240-8DA62BD9F14C}"/>
                  </a:ext>
                </a:extLst>
              </p:cNvPr>
              <p:cNvSpPr>
                <a:spLocks noEditPoints="1"/>
              </p:cNvSpPr>
              <p:nvPr/>
            </p:nvSpPr>
            <p:spPr bwMode="gray">
              <a:xfrm>
                <a:off x="2420" y="725"/>
                <a:ext cx="330" cy="341"/>
              </a:xfrm>
              <a:custGeom>
                <a:avLst/>
                <a:gdLst>
                  <a:gd name="T0" fmla="*/ 0 w 330"/>
                  <a:gd name="T1" fmla="*/ 341 h 341"/>
                  <a:gd name="T2" fmla="*/ 19 w 330"/>
                  <a:gd name="T3" fmla="*/ 317 h 341"/>
                  <a:gd name="T4" fmla="*/ 18 w 330"/>
                  <a:gd name="T5" fmla="*/ 324 h 341"/>
                  <a:gd name="T6" fmla="*/ 280 w 330"/>
                  <a:gd name="T7" fmla="*/ 119 h 341"/>
                  <a:gd name="T8" fmla="*/ 277 w 330"/>
                  <a:gd name="T9" fmla="*/ 111 h 341"/>
                  <a:gd name="T10" fmla="*/ 283 w 330"/>
                  <a:gd name="T11" fmla="*/ 109 h 341"/>
                  <a:gd name="T12" fmla="*/ 310 w 330"/>
                  <a:gd name="T13" fmla="*/ 90 h 341"/>
                  <a:gd name="T14" fmla="*/ 297 w 330"/>
                  <a:gd name="T15" fmla="*/ 100 h 341"/>
                  <a:gd name="T16" fmla="*/ 308 w 330"/>
                  <a:gd name="T17" fmla="*/ 104 h 341"/>
                  <a:gd name="T18" fmla="*/ 329 w 330"/>
                  <a:gd name="T19" fmla="*/ 87 h 341"/>
                  <a:gd name="T20" fmla="*/ 330 w 330"/>
                  <a:gd name="T21" fmla="*/ 90 h 341"/>
                  <a:gd name="T22" fmla="*/ 311 w 330"/>
                  <a:gd name="T23" fmla="*/ 34 h 341"/>
                  <a:gd name="T24" fmla="*/ 302 w 330"/>
                  <a:gd name="T25" fmla="*/ 32 h 341"/>
                  <a:gd name="T26" fmla="*/ 290 w 330"/>
                  <a:gd name="T27" fmla="*/ 34 h 341"/>
                  <a:gd name="T28" fmla="*/ 280 w 330"/>
                  <a:gd name="T29" fmla="*/ 32 h 341"/>
                  <a:gd name="T30" fmla="*/ 276 w 330"/>
                  <a:gd name="T31" fmla="*/ 25 h 341"/>
                  <a:gd name="T32" fmla="*/ 266 w 330"/>
                  <a:gd name="T33" fmla="*/ 26 h 341"/>
                  <a:gd name="T34" fmla="*/ 252 w 330"/>
                  <a:gd name="T35" fmla="*/ 25 h 341"/>
                  <a:gd name="T36" fmla="*/ 241 w 330"/>
                  <a:gd name="T37" fmla="*/ 20 h 341"/>
                  <a:gd name="T38" fmla="*/ 232 w 330"/>
                  <a:gd name="T39" fmla="*/ 15 h 341"/>
                  <a:gd name="T40" fmla="*/ 230 w 330"/>
                  <a:gd name="T41" fmla="*/ 15 h 341"/>
                  <a:gd name="T42" fmla="*/ 224 w 330"/>
                  <a:gd name="T43" fmla="*/ 9 h 341"/>
                  <a:gd name="T44" fmla="*/ 204 w 330"/>
                  <a:gd name="T45" fmla="*/ 7 h 341"/>
                  <a:gd name="T46" fmla="*/ 175 w 330"/>
                  <a:gd name="T47" fmla="*/ 9 h 341"/>
                  <a:gd name="T48" fmla="*/ 133 w 330"/>
                  <a:gd name="T49" fmla="*/ 4 h 341"/>
                  <a:gd name="T50" fmla="*/ 111 w 330"/>
                  <a:gd name="T51" fmla="*/ 3 h 341"/>
                  <a:gd name="T52" fmla="*/ 99 w 330"/>
                  <a:gd name="T53" fmla="*/ 11 h 341"/>
                  <a:gd name="T54" fmla="*/ 99 w 330"/>
                  <a:gd name="T55" fmla="*/ 23 h 341"/>
                  <a:gd name="T56" fmla="*/ 100 w 330"/>
                  <a:gd name="T57" fmla="*/ 32 h 341"/>
                  <a:gd name="T58" fmla="*/ 99 w 330"/>
                  <a:gd name="T59" fmla="*/ 43 h 341"/>
                  <a:gd name="T60" fmla="*/ 111 w 330"/>
                  <a:gd name="T61" fmla="*/ 39 h 341"/>
                  <a:gd name="T62" fmla="*/ 110 w 330"/>
                  <a:gd name="T63" fmla="*/ 45 h 341"/>
                  <a:gd name="T64" fmla="*/ 119 w 330"/>
                  <a:gd name="T65" fmla="*/ 45 h 341"/>
                  <a:gd name="T66" fmla="*/ 129 w 330"/>
                  <a:gd name="T67" fmla="*/ 43 h 341"/>
                  <a:gd name="T68" fmla="*/ 138 w 330"/>
                  <a:gd name="T69" fmla="*/ 43 h 341"/>
                  <a:gd name="T70" fmla="*/ 139 w 330"/>
                  <a:gd name="T71" fmla="*/ 50 h 341"/>
                  <a:gd name="T72" fmla="*/ 146 w 330"/>
                  <a:gd name="T73" fmla="*/ 53 h 341"/>
                  <a:gd name="T74" fmla="*/ 133 w 330"/>
                  <a:gd name="T75" fmla="*/ 65 h 341"/>
                  <a:gd name="T76" fmla="*/ 135 w 330"/>
                  <a:gd name="T77" fmla="*/ 78 h 341"/>
                  <a:gd name="T78" fmla="*/ 132 w 330"/>
                  <a:gd name="T79" fmla="*/ 86 h 341"/>
                  <a:gd name="T80" fmla="*/ 124 w 330"/>
                  <a:gd name="T81" fmla="*/ 95 h 341"/>
                  <a:gd name="T82" fmla="*/ 127 w 330"/>
                  <a:gd name="T83" fmla="*/ 103 h 341"/>
                  <a:gd name="T84" fmla="*/ 130 w 330"/>
                  <a:gd name="T85" fmla="*/ 115 h 341"/>
                  <a:gd name="T86" fmla="*/ 130 w 330"/>
                  <a:gd name="T87" fmla="*/ 129 h 341"/>
                  <a:gd name="T88" fmla="*/ 125 w 330"/>
                  <a:gd name="T89" fmla="*/ 139 h 341"/>
                  <a:gd name="T90" fmla="*/ 133 w 330"/>
                  <a:gd name="T91" fmla="*/ 151 h 341"/>
                  <a:gd name="T92" fmla="*/ 146 w 330"/>
                  <a:gd name="T93" fmla="*/ 158 h 341"/>
                  <a:gd name="T94" fmla="*/ 149 w 330"/>
                  <a:gd name="T95" fmla="*/ 173 h 341"/>
                  <a:gd name="T96" fmla="*/ 161 w 330"/>
                  <a:gd name="T97" fmla="*/ 175 h 341"/>
                  <a:gd name="T98" fmla="*/ 172 w 330"/>
                  <a:gd name="T99" fmla="*/ 167 h 341"/>
                  <a:gd name="T100" fmla="*/ 204 w 330"/>
                  <a:gd name="T101" fmla="*/ 161 h 341"/>
                  <a:gd name="T102" fmla="*/ 224 w 330"/>
                  <a:gd name="T103" fmla="*/ 150 h 341"/>
                  <a:gd name="T104" fmla="*/ 241 w 330"/>
                  <a:gd name="T105" fmla="*/ 137 h 341"/>
                  <a:gd name="T106" fmla="*/ 258 w 330"/>
                  <a:gd name="T107" fmla="*/ 117 h 341"/>
                  <a:gd name="T108" fmla="*/ 258 w 330"/>
                  <a:gd name="T109" fmla="*/ 86 h 341"/>
                  <a:gd name="T110" fmla="*/ 268 w 330"/>
                  <a:gd name="T111" fmla="*/ 70 h 341"/>
                  <a:gd name="T112" fmla="*/ 310 w 330"/>
                  <a:gd name="T113" fmla="*/ 4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41">
                    <a:moveTo>
                      <a:pt x="11" y="328"/>
                    </a:moveTo>
                    <a:lnTo>
                      <a:pt x="11" y="328"/>
                    </a:lnTo>
                    <a:lnTo>
                      <a:pt x="10" y="328"/>
                    </a:lnTo>
                    <a:lnTo>
                      <a:pt x="10" y="328"/>
                    </a:lnTo>
                    <a:lnTo>
                      <a:pt x="8" y="330"/>
                    </a:lnTo>
                    <a:lnTo>
                      <a:pt x="7" y="334"/>
                    </a:lnTo>
                    <a:lnTo>
                      <a:pt x="5" y="338"/>
                    </a:lnTo>
                    <a:lnTo>
                      <a:pt x="3" y="339"/>
                    </a:lnTo>
                    <a:lnTo>
                      <a:pt x="0" y="341"/>
                    </a:lnTo>
                    <a:lnTo>
                      <a:pt x="0" y="341"/>
                    </a:lnTo>
                    <a:lnTo>
                      <a:pt x="3" y="341"/>
                    </a:lnTo>
                    <a:lnTo>
                      <a:pt x="5" y="339"/>
                    </a:lnTo>
                    <a:lnTo>
                      <a:pt x="10" y="338"/>
                    </a:lnTo>
                    <a:lnTo>
                      <a:pt x="11" y="334"/>
                    </a:lnTo>
                    <a:lnTo>
                      <a:pt x="13" y="331"/>
                    </a:lnTo>
                    <a:lnTo>
                      <a:pt x="13" y="328"/>
                    </a:lnTo>
                    <a:lnTo>
                      <a:pt x="11" y="328"/>
                    </a:lnTo>
                    <a:close/>
                    <a:moveTo>
                      <a:pt x="19" y="317"/>
                    </a:moveTo>
                    <a:lnTo>
                      <a:pt x="18" y="319"/>
                    </a:lnTo>
                    <a:lnTo>
                      <a:pt x="18" y="320"/>
                    </a:lnTo>
                    <a:lnTo>
                      <a:pt x="16" y="320"/>
                    </a:lnTo>
                    <a:lnTo>
                      <a:pt x="13" y="322"/>
                    </a:lnTo>
                    <a:lnTo>
                      <a:pt x="13" y="322"/>
                    </a:lnTo>
                    <a:lnTo>
                      <a:pt x="11" y="325"/>
                    </a:lnTo>
                    <a:lnTo>
                      <a:pt x="13" y="325"/>
                    </a:lnTo>
                    <a:lnTo>
                      <a:pt x="14" y="324"/>
                    </a:lnTo>
                    <a:lnTo>
                      <a:pt x="18" y="324"/>
                    </a:lnTo>
                    <a:lnTo>
                      <a:pt x="18" y="322"/>
                    </a:lnTo>
                    <a:lnTo>
                      <a:pt x="19" y="319"/>
                    </a:lnTo>
                    <a:lnTo>
                      <a:pt x="19" y="319"/>
                    </a:lnTo>
                    <a:lnTo>
                      <a:pt x="19" y="317"/>
                    </a:lnTo>
                    <a:close/>
                    <a:moveTo>
                      <a:pt x="282" y="117"/>
                    </a:moveTo>
                    <a:lnTo>
                      <a:pt x="280" y="117"/>
                    </a:lnTo>
                    <a:lnTo>
                      <a:pt x="280" y="117"/>
                    </a:lnTo>
                    <a:lnTo>
                      <a:pt x="280" y="117"/>
                    </a:lnTo>
                    <a:lnTo>
                      <a:pt x="280" y="119"/>
                    </a:lnTo>
                    <a:lnTo>
                      <a:pt x="282" y="119"/>
                    </a:lnTo>
                    <a:lnTo>
                      <a:pt x="282" y="119"/>
                    </a:lnTo>
                    <a:lnTo>
                      <a:pt x="283" y="119"/>
                    </a:lnTo>
                    <a:lnTo>
                      <a:pt x="283" y="119"/>
                    </a:lnTo>
                    <a:lnTo>
                      <a:pt x="282" y="117"/>
                    </a:lnTo>
                    <a:close/>
                    <a:moveTo>
                      <a:pt x="283" y="109"/>
                    </a:moveTo>
                    <a:lnTo>
                      <a:pt x="282" y="108"/>
                    </a:lnTo>
                    <a:lnTo>
                      <a:pt x="279" y="109"/>
                    </a:lnTo>
                    <a:lnTo>
                      <a:pt x="277" y="111"/>
                    </a:lnTo>
                    <a:lnTo>
                      <a:pt x="277" y="112"/>
                    </a:lnTo>
                    <a:lnTo>
                      <a:pt x="277" y="112"/>
                    </a:lnTo>
                    <a:lnTo>
                      <a:pt x="277" y="114"/>
                    </a:lnTo>
                    <a:lnTo>
                      <a:pt x="277" y="114"/>
                    </a:lnTo>
                    <a:lnTo>
                      <a:pt x="280" y="114"/>
                    </a:lnTo>
                    <a:lnTo>
                      <a:pt x="280" y="112"/>
                    </a:lnTo>
                    <a:lnTo>
                      <a:pt x="282" y="112"/>
                    </a:lnTo>
                    <a:lnTo>
                      <a:pt x="283" y="111"/>
                    </a:lnTo>
                    <a:lnTo>
                      <a:pt x="283" y="109"/>
                    </a:lnTo>
                    <a:close/>
                    <a:moveTo>
                      <a:pt x="316" y="94"/>
                    </a:moveTo>
                    <a:lnTo>
                      <a:pt x="315" y="94"/>
                    </a:lnTo>
                    <a:lnTo>
                      <a:pt x="313" y="94"/>
                    </a:lnTo>
                    <a:lnTo>
                      <a:pt x="311" y="94"/>
                    </a:lnTo>
                    <a:lnTo>
                      <a:pt x="310" y="94"/>
                    </a:lnTo>
                    <a:lnTo>
                      <a:pt x="310" y="92"/>
                    </a:lnTo>
                    <a:lnTo>
                      <a:pt x="311" y="92"/>
                    </a:lnTo>
                    <a:lnTo>
                      <a:pt x="311" y="90"/>
                    </a:lnTo>
                    <a:lnTo>
                      <a:pt x="310" y="90"/>
                    </a:lnTo>
                    <a:lnTo>
                      <a:pt x="310" y="90"/>
                    </a:lnTo>
                    <a:lnTo>
                      <a:pt x="311" y="89"/>
                    </a:lnTo>
                    <a:lnTo>
                      <a:pt x="310" y="89"/>
                    </a:lnTo>
                    <a:lnTo>
                      <a:pt x="305" y="90"/>
                    </a:lnTo>
                    <a:lnTo>
                      <a:pt x="304" y="92"/>
                    </a:lnTo>
                    <a:lnTo>
                      <a:pt x="296" y="97"/>
                    </a:lnTo>
                    <a:lnTo>
                      <a:pt x="296" y="98"/>
                    </a:lnTo>
                    <a:lnTo>
                      <a:pt x="297" y="98"/>
                    </a:lnTo>
                    <a:lnTo>
                      <a:pt x="297" y="100"/>
                    </a:lnTo>
                    <a:lnTo>
                      <a:pt x="299" y="100"/>
                    </a:lnTo>
                    <a:lnTo>
                      <a:pt x="301" y="100"/>
                    </a:lnTo>
                    <a:lnTo>
                      <a:pt x="301" y="98"/>
                    </a:lnTo>
                    <a:lnTo>
                      <a:pt x="302" y="98"/>
                    </a:lnTo>
                    <a:lnTo>
                      <a:pt x="304" y="100"/>
                    </a:lnTo>
                    <a:lnTo>
                      <a:pt x="304" y="101"/>
                    </a:lnTo>
                    <a:lnTo>
                      <a:pt x="304" y="103"/>
                    </a:lnTo>
                    <a:lnTo>
                      <a:pt x="305" y="103"/>
                    </a:lnTo>
                    <a:lnTo>
                      <a:pt x="308" y="104"/>
                    </a:lnTo>
                    <a:lnTo>
                      <a:pt x="310" y="103"/>
                    </a:lnTo>
                    <a:lnTo>
                      <a:pt x="311" y="103"/>
                    </a:lnTo>
                    <a:lnTo>
                      <a:pt x="313" y="100"/>
                    </a:lnTo>
                    <a:lnTo>
                      <a:pt x="313" y="98"/>
                    </a:lnTo>
                    <a:lnTo>
                      <a:pt x="315" y="97"/>
                    </a:lnTo>
                    <a:lnTo>
                      <a:pt x="316" y="95"/>
                    </a:lnTo>
                    <a:lnTo>
                      <a:pt x="316" y="94"/>
                    </a:lnTo>
                    <a:close/>
                    <a:moveTo>
                      <a:pt x="330" y="90"/>
                    </a:moveTo>
                    <a:lnTo>
                      <a:pt x="329" y="87"/>
                    </a:lnTo>
                    <a:lnTo>
                      <a:pt x="326" y="87"/>
                    </a:lnTo>
                    <a:lnTo>
                      <a:pt x="322" y="87"/>
                    </a:lnTo>
                    <a:lnTo>
                      <a:pt x="322" y="87"/>
                    </a:lnTo>
                    <a:lnTo>
                      <a:pt x="322" y="89"/>
                    </a:lnTo>
                    <a:lnTo>
                      <a:pt x="322" y="89"/>
                    </a:lnTo>
                    <a:lnTo>
                      <a:pt x="324" y="90"/>
                    </a:lnTo>
                    <a:lnTo>
                      <a:pt x="330" y="92"/>
                    </a:lnTo>
                    <a:lnTo>
                      <a:pt x="330" y="92"/>
                    </a:lnTo>
                    <a:lnTo>
                      <a:pt x="330" y="90"/>
                    </a:lnTo>
                    <a:lnTo>
                      <a:pt x="330" y="90"/>
                    </a:lnTo>
                    <a:close/>
                    <a:moveTo>
                      <a:pt x="311" y="39"/>
                    </a:moveTo>
                    <a:lnTo>
                      <a:pt x="310" y="39"/>
                    </a:lnTo>
                    <a:lnTo>
                      <a:pt x="310" y="39"/>
                    </a:lnTo>
                    <a:lnTo>
                      <a:pt x="310" y="36"/>
                    </a:lnTo>
                    <a:lnTo>
                      <a:pt x="311" y="36"/>
                    </a:lnTo>
                    <a:lnTo>
                      <a:pt x="313" y="36"/>
                    </a:lnTo>
                    <a:lnTo>
                      <a:pt x="313" y="34"/>
                    </a:lnTo>
                    <a:lnTo>
                      <a:pt x="311" y="34"/>
                    </a:lnTo>
                    <a:lnTo>
                      <a:pt x="311" y="32"/>
                    </a:lnTo>
                    <a:lnTo>
                      <a:pt x="310" y="32"/>
                    </a:lnTo>
                    <a:lnTo>
                      <a:pt x="308" y="31"/>
                    </a:lnTo>
                    <a:lnTo>
                      <a:pt x="308" y="31"/>
                    </a:lnTo>
                    <a:lnTo>
                      <a:pt x="307" y="31"/>
                    </a:lnTo>
                    <a:lnTo>
                      <a:pt x="305" y="31"/>
                    </a:lnTo>
                    <a:lnTo>
                      <a:pt x="304" y="32"/>
                    </a:lnTo>
                    <a:lnTo>
                      <a:pt x="304" y="32"/>
                    </a:lnTo>
                    <a:lnTo>
                      <a:pt x="302" y="32"/>
                    </a:lnTo>
                    <a:lnTo>
                      <a:pt x="302" y="32"/>
                    </a:lnTo>
                    <a:lnTo>
                      <a:pt x="302" y="34"/>
                    </a:lnTo>
                    <a:lnTo>
                      <a:pt x="302" y="34"/>
                    </a:lnTo>
                    <a:lnTo>
                      <a:pt x="301" y="34"/>
                    </a:lnTo>
                    <a:lnTo>
                      <a:pt x="296" y="32"/>
                    </a:lnTo>
                    <a:lnTo>
                      <a:pt x="294" y="32"/>
                    </a:lnTo>
                    <a:lnTo>
                      <a:pt x="291" y="32"/>
                    </a:lnTo>
                    <a:lnTo>
                      <a:pt x="291" y="34"/>
                    </a:lnTo>
                    <a:lnTo>
                      <a:pt x="290" y="34"/>
                    </a:lnTo>
                    <a:lnTo>
                      <a:pt x="290" y="32"/>
                    </a:lnTo>
                    <a:lnTo>
                      <a:pt x="288" y="32"/>
                    </a:lnTo>
                    <a:lnTo>
                      <a:pt x="288" y="31"/>
                    </a:lnTo>
                    <a:lnTo>
                      <a:pt x="285" y="31"/>
                    </a:lnTo>
                    <a:lnTo>
                      <a:pt x="285" y="31"/>
                    </a:lnTo>
                    <a:lnTo>
                      <a:pt x="283" y="31"/>
                    </a:lnTo>
                    <a:lnTo>
                      <a:pt x="282" y="31"/>
                    </a:lnTo>
                    <a:lnTo>
                      <a:pt x="280" y="32"/>
                    </a:lnTo>
                    <a:lnTo>
                      <a:pt x="280" y="32"/>
                    </a:lnTo>
                    <a:lnTo>
                      <a:pt x="280" y="31"/>
                    </a:lnTo>
                    <a:lnTo>
                      <a:pt x="280" y="31"/>
                    </a:lnTo>
                    <a:lnTo>
                      <a:pt x="280" y="29"/>
                    </a:lnTo>
                    <a:lnTo>
                      <a:pt x="280" y="29"/>
                    </a:lnTo>
                    <a:lnTo>
                      <a:pt x="280" y="28"/>
                    </a:lnTo>
                    <a:lnTo>
                      <a:pt x="280" y="28"/>
                    </a:lnTo>
                    <a:lnTo>
                      <a:pt x="279" y="26"/>
                    </a:lnTo>
                    <a:lnTo>
                      <a:pt x="277" y="25"/>
                    </a:lnTo>
                    <a:lnTo>
                      <a:pt x="276" y="25"/>
                    </a:lnTo>
                    <a:lnTo>
                      <a:pt x="274" y="25"/>
                    </a:lnTo>
                    <a:lnTo>
                      <a:pt x="272" y="23"/>
                    </a:lnTo>
                    <a:lnTo>
                      <a:pt x="268" y="22"/>
                    </a:lnTo>
                    <a:lnTo>
                      <a:pt x="268" y="22"/>
                    </a:lnTo>
                    <a:lnTo>
                      <a:pt x="266" y="22"/>
                    </a:lnTo>
                    <a:lnTo>
                      <a:pt x="266" y="22"/>
                    </a:lnTo>
                    <a:lnTo>
                      <a:pt x="266" y="23"/>
                    </a:lnTo>
                    <a:lnTo>
                      <a:pt x="266" y="26"/>
                    </a:lnTo>
                    <a:lnTo>
                      <a:pt x="266" y="26"/>
                    </a:lnTo>
                    <a:lnTo>
                      <a:pt x="265" y="26"/>
                    </a:lnTo>
                    <a:lnTo>
                      <a:pt x="261" y="26"/>
                    </a:lnTo>
                    <a:lnTo>
                      <a:pt x="260" y="26"/>
                    </a:lnTo>
                    <a:lnTo>
                      <a:pt x="260" y="26"/>
                    </a:lnTo>
                    <a:lnTo>
                      <a:pt x="258" y="25"/>
                    </a:lnTo>
                    <a:lnTo>
                      <a:pt x="254" y="26"/>
                    </a:lnTo>
                    <a:lnTo>
                      <a:pt x="254" y="25"/>
                    </a:lnTo>
                    <a:lnTo>
                      <a:pt x="252" y="25"/>
                    </a:lnTo>
                    <a:lnTo>
                      <a:pt x="252" y="25"/>
                    </a:lnTo>
                    <a:lnTo>
                      <a:pt x="250" y="23"/>
                    </a:lnTo>
                    <a:lnTo>
                      <a:pt x="250" y="23"/>
                    </a:lnTo>
                    <a:lnTo>
                      <a:pt x="249" y="23"/>
                    </a:lnTo>
                    <a:lnTo>
                      <a:pt x="249" y="23"/>
                    </a:lnTo>
                    <a:lnTo>
                      <a:pt x="247" y="23"/>
                    </a:lnTo>
                    <a:lnTo>
                      <a:pt x="246" y="23"/>
                    </a:lnTo>
                    <a:lnTo>
                      <a:pt x="246" y="23"/>
                    </a:lnTo>
                    <a:lnTo>
                      <a:pt x="244" y="23"/>
                    </a:lnTo>
                    <a:lnTo>
                      <a:pt x="241" y="20"/>
                    </a:lnTo>
                    <a:lnTo>
                      <a:pt x="241" y="20"/>
                    </a:lnTo>
                    <a:lnTo>
                      <a:pt x="240" y="20"/>
                    </a:lnTo>
                    <a:lnTo>
                      <a:pt x="238" y="20"/>
                    </a:lnTo>
                    <a:lnTo>
                      <a:pt x="235" y="18"/>
                    </a:lnTo>
                    <a:lnTo>
                      <a:pt x="232" y="17"/>
                    </a:lnTo>
                    <a:lnTo>
                      <a:pt x="232" y="17"/>
                    </a:lnTo>
                    <a:lnTo>
                      <a:pt x="232" y="15"/>
                    </a:lnTo>
                    <a:lnTo>
                      <a:pt x="232" y="15"/>
                    </a:lnTo>
                    <a:lnTo>
                      <a:pt x="232" y="15"/>
                    </a:lnTo>
                    <a:lnTo>
                      <a:pt x="232" y="17"/>
                    </a:lnTo>
                    <a:lnTo>
                      <a:pt x="230" y="17"/>
                    </a:lnTo>
                    <a:lnTo>
                      <a:pt x="230" y="17"/>
                    </a:lnTo>
                    <a:lnTo>
                      <a:pt x="230" y="17"/>
                    </a:lnTo>
                    <a:lnTo>
                      <a:pt x="229" y="17"/>
                    </a:lnTo>
                    <a:lnTo>
                      <a:pt x="229" y="17"/>
                    </a:lnTo>
                    <a:lnTo>
                      <a:pt x="229" y="15"/>
                    </a:lnTo>
                    <a:lnTo>
                      <a:pt x="229" y="15"/>
                    </a:lnTo>
                    <a:lnTo>
                      <a:pt x="230" y="15"/>
                    </a:lnTo>
                    <a:lnTo>
                      <a:pt x="230" y="14"/>
                    </a:lnTo>
                    <a:lnTo>
                      <a:pt x="230" y="12"/>
                    </a:lnTo>
                    <a:lnTo>
                      <a:pt x="230" y="12"/>
                    </a:lnTo>
                    <a:lnTo>
                      <a:pt x="229" y="12"/>
                    </a:lnTo>
                    <a:lnTo>
                      <a:pt x="227" y="12"/>
                    </a:lnTo>
                    <a:lnTo>
                      <a:pt x="227" y="12"/>
                    </a:lnTo>
                    <a:lnTo>
                      <a:pt x="225" y="11"/>
                    </a:lnTo>
                    <a:lnTo>
                      <a:pt x="224" y="11"/>
                    </a:lnTo>
                    <a:lnTo>
                      <a:pt x="224" y="9"/>
                    </a:lnTo>
                    <a:lnTo>
                      <a:pt x="224" y="9"/>
                    </a:lnTo>
                    <a:lnTo>
                      <a:pt x="224" y="9"/>
                    </a:lnTo>
                    <a:lnTo>
                      <a:pt x="222" y="9"/>
                    </a:lnTo>
                    <a:lnTo>
                      <a:pt x="219" y="11"/>
                    </a:lnTo>
                    <a:lnTo>
                      <a:pt x="216" y="11"/>
                    </a:lnTo>
                    <a:lnTo>
                      <a:pt x="215" y="11"/>
                    </a:lnTo>
                    <a:lnTo>
                      <a:pt x="210" y="9"/>
                    </a:lnTo>
                    <a:lnTo>
                      <a:pt x="205" y="7"/>
                    </a:lnTo>
                    <a:lnTo>
                      <a:pt x="204" y="7"/>
                    </a:lnTo>
                    <a:lnTo>
                      <a:pt x="202" y="9"/>
                    </a:lnTo>
                    <a:lnTo>
                      <a:pt x="194" y="7"/>
                    </a:lnTo>
                    <a:lnTo>
                      <a:pt x="193" y="6"/>
                    </a:lnTo>
                    <a:lnTo>
                      <a:pt x="191" y="6"/>
                    </a:lnTo>
                    <a:lnTo>
                      <a:pt x="188" y="7"/>
                    </a:lnTo>
                    <a:lnTo>
                      <a:pt x="186" y="6"/>
                    </a:lnTo>
                    <a:lnTo>
                      <a:pt x="185" y="7"/>
                    </a:lnTo>
                    <a:lnTo>
                      <a:pt x="179" y="9"/>
                    </a:lnTo>
                    <a:lnTo>
                      <a:pt x="175" y="9"/>
                    </a:lnTo>
                    <a:lnTo>
                      <a:pt x="166" y="6"/>
                    </a:lnTo>
                    <a:lnTo>
                      <a:pt x="161" y="4"/>
                    </a:lnTo>
                    <a:lnTo>
                      <a:pt x="155" y="4"/>
                    </a:lnTo>
                    <a:lnTo>
                      <a:pt x="152" y="3"/>
                    </a:lnTo>
                    <a:lnTo>
                      <a:pt x="149" y="4"/>
                    </a:lnTo>
                    <a:lnTo>
                      <a:pt x="146" y="4"/>
                    </a:lnTo>
                    <a:lnTo>
                      <a:pt x="141" y="4"/>
                    </a:lnTo>
                    <a:lnTo>
                      <a:pt x="139" y="4"/>
                    </a:lnTo>
                    <a:lnTo>
                      <a:pt x="133" y="4"/>
                    </a:lnTo>
                    <a:lnTo>
                      <a:pt x="132" y="4"/>
                    </a:lnTo>
                    <a:lnTo>
                      <a:pt x="127" y="4"/>
                    </a:lnTo>
                    <a:lnTo>
                      <a:pt x="125" y="1"/>
                    </a:lnTo>
                    <a:lnTo>
                      <a:pt x="124" y="1"/>
                    </a:lnTo>
                    <a:lnTo>
                      <a:pt x="122" y="1"/>
                    </a:lnTo>
                    <a:lnTo>
                      <a:pt x="119" y="0"/>
                    </a:lnTo>
                    <a:lnTo>
                      <a:pt x="118" y="1"/>
                    </a:lnTo>
                    <a:lnTo>
                      <a:pt x="114" y="1"/>
                    </a:lnTo>
                    <a:lnTo>
                      <a:pt x="111" y="3"/>
                    </a:lnTo>
                    <a:lnTo>
                      <a:pt x="110" y="4"/>
                    </a:lnTo>
                    <a:lnTo>
                      <a:pt x="110" y="6"/>
                    </a:lnTo>
                    <a:lnTo>
                      <a:pt x="110" y="6"/>
                    </a:lnTo>
                    <a:lnTo>
                      <a:pt x="110" y="7"/>
                    </a:lnTo>
                    <a:lnTo>
                      <a:pt x="108" y="9"/>
                    </a:lnTo>
                    <a:lnTo>
                      <a:pt x="107" y="9"/>
                    </a:lnTo>
                    <a:lnTo>
                      <a:pt x="105" y="11"/>
                    </a:lnTo>
                    <a:lnTo>
                      <a:pt x="104" y="11"/>
                    </a:lnTo>
                    <a:lnTo>
                      <a:pt x="99" y="11"/>
                    </a:lnTo>
                    <a:lnTo>
                      <a:pt x="97" y="12"/>
                    </a:lnTo>
                    <a:lnTo>
                      <a:pt x="96" y="14"/>
                    </a:lnTo>
                    <a:lnTo>
                      <a:pt x="94" y="14"/>
                    </a:lnTo>
                    <a:lnTo>
                      <a:pt x="93" y="17"/>
                    </a:lnTo>
                    <a:lnTo>
                      <a:pt x="93" y="18"/>
                    </a:lnTo>
                    <a:lnTo>
                      <a:pt x="94" y="20"/>
                    </a:lnTo>
                    <a:lnTo>
                      <a:pt x="94" y="22"/>
                    </a:lnTo>
                    <a:lnTo>
                      <a:pt x="96" y="23"/>
                    </a:lnTo>
                    <a:lnTo>
                      <a:pt x="99" y="23"/>
                    </a:lnTo>
                    <a:lnTo>
                      <a:pt x="97" y="25"/>
                    </a:lnTo>
                    <a:lnTo>
                      <a:pt x="96" y="26"/>
                    </a:lnTo>
                    <a:lnTo>
                      <a:pt x="96" y="28"/>
                    </a:lnTo>
                    <a:lnTo>
                      <a:pt x="97" y="28"/>
                    </a:lnTo>
                    <a:lnTo>
                      <a:pt x="100" y="26"/>
                    </a:lnTo>
                    <a:lnTo>
                      <a:pt x="100" y="28"/>
                    </a:lnTo>
                    <a:lnTo>
                      <a:pt x="100" y="29"/>
                    </a:lnTo>
                    <a:lnTo>
                      <a:pt x="100" y="31"/>
                    </a:lnTo>
                    <a:lnTo>
                      <a:pt x="100" y="32"/>
                    </a:lnTo>
                    <a:lnTo>
                      <a:pt x="102" y="32"/>
                    </a:lnTo>
                    <a:lnTo>
                      <a:pt x="100" y="34"/>
                    </a:lnTo>
                    <a:lnTo>
                      <a:pt x="100" y="34"/>
                    </a:lnTo>
                    <a:lnTo>
                      <a:pt x="100" y="36"/>
                    </a:lnTo>
                    <a:lnTo>
                      <a:pt x="102" y="36"/>
                    </a:lnTo>
                    <a:lnTo>
                      <a:pt x="102" y="36"/>
                    </a:lnTo>
                    <a:lnTo>
                      <a:pt x="100" y="37"/>
                    </a:lnTo>
                    <a:lnTo>
                      <a:pt x="99" y="40"/>
                    </a:lnTo>
                    <a:lnTo>
                      <a:pt x="99" y="43"/>
                    </a:lnTo>
                    <a:lnTo>
                      <a:pt x="99" y="43"/>
                    </a:lnTo>
                    <a:lnTo>
                      <a:pt x="100" y="43"/>
                    </a:lnTo>
                    <a:lnTo>
                      <a:pt x="100" y="43"/>
                    </a:lnTo>
                    <a:lnTo>
                      <a:pt x="102" y="42"/>
                    </a:lnTo>
                    <a:lnTo>
                      <a:pt x="104" y="40"/>
                    </a:lnTo>
                    <a:lnTo>
                      <a:pt x="105" y="40"/>
                    </a:lnTo>
                    <a:lnTo>
                      <a:pt x="108" y="39"/>
                    </a:lnTo>
                    <a:lnTo>
                      <a:pt x="110" y="39"/>
                    </a:lnTo>
                    <a:lnTo>
                      <a:pt x="111" y="39"/>
                    </a:lnTo>
                    <a:lnTo>
                      <a:pt x="111" y="39"/>
                    </a:lnTo>
                    <a:lnTo>
                      <a:pt x="111" y="39"/>
                    </a:lnTo>
                    <a:lnTo>
                      <a:pt x="111" y="40"/>
                    </a:lnTo>
                    <a:lnTo>
                      <a:pt x="111" y="42"/>
                    </a:lnTo>
                    <a:lnTo>
                      <a:pt x="113" y="42"/>
                    </a:lnTo>
                    <a:lnTo>
                      <a:pt x="113" y="42"/>
                    </a:lnTo>
                    <a:lnTo>
                      <a:pt x="111" y="43"/>
                    </a:lnTo>
                    <a:lnTo>
                      <a:pt x="110" y="45"/>
                    </a:lnTo>
                    <a:lnTo>
                      <a:pt x="110" y="45"/>
                    </a:lnTo>
                    <a:lnTo>
                      <a:pt x="111" y="47"/>
                    </a:lnTo>
                    <a:lnTo>
                      <a:pt x="111" y="47"/>
                    </a:lnTo>
                    <a:lnTo>
                      <a:pt x="111" y="47"/>
                    </a:lnTo>
                    <a:lnTo>
                      <a:pt x="111" y="47"/>
                    </a:lnTo>
                    <a:lnTo>
                      <a:pt x="113" y="47"/>
                    </a:lnTo>
                    <a:lnTo>
                      <a:pt x="114" y="45"/>
                    </a:lnTo>
                    <a:lnTo>
                      <a:pt x="116" y="45"/>
                    </a:lnTo>
                    <a:lnTo>
                      <a:pt x="116" y="45"/>
                    </a:lnTo>
                    <a:lnTo>
                      <a:pt x="119" y="45"/>
                    </a:lnTo>
                    <a:lnTo>
                      <a:pt x="121" y="45"/>
                    </a:lnTo>
                    <a:lnTo>
                      <a:pt x="121" y="45"/>
                    </a:lnTo>
                    <a:lnTo>
                      <a:pt x="121" y="45"/>
                    </a:lnTo>
                    <a:lnTo>
                      <a:pt x="122" y="47"/>
                    </a:lnTo>
                    <a:lnTo>
                      <a:pt x="125" y="47"/>
                    </a:lnTo>
                    <a:lnTo>
                      <a:pt x="127" y="45"/>
                    </a:lnTo>
                    <a:lnTo>
                      <a:pt x="129" y="45"/>
                    </a:lnTo>
                    <a:lnTo>
                      <a:pt x="129" y="45"/>
                    </a:lnTo>
                    <a:lnTo>
                      <a:pt x="129" y="43"/>
                    </a:lnTo>
                    <a:lnTo>
                      <a:pt x="129" y="43"/>
                    </a:lnTo>
                    <a:lnTo>
                      <a:pt x="129" y="43"/>
                    </a:lnTo>
                    <a:lnTo>
                      <a:pt x="130" y="42"/>
                    </a:lnTo>
                    <a:lnTo>
                      <a:pt x="130" y="43"/>
                    </a:lnTo>
                    <a:lnTo>
                      <a:pt x="132" y="43"/>
                    </a:lnTo>
                    <a:lnTo>
                      <a:pt x="135" y="43"/>
                    </a:lnTo>
                    <a:lnTo>
                      <a:pt x="135" y="43"/>
                    </a:lnTo>
                    <a:lnTo>
                      <a:pt x="136" y="43"/>
                    </a:lnTo>
                    <a:lnTo>
                      <a:pt x="138" y="43"/>
                    </a:lnTo>
                    <a:lnTo>
                      <a:pt x="139" y="43"/>
                    </a:lnTo>
                    <a:lnTo>
                      <a:pt x="139" y="43"/>
                    </a:lnTo>
                    <a:lnTo>
                      <a:pt x="139" y="45"/>
                    </a:lnTo>
                    <a:lnTo>
                      <a:pt x="139" y="45"/>
                    </a:lnTo>
                    <a:lnTo>
                      <a:pt x="139" y="47"/>
                    </a:lnTo>
                    <a:lnTo>
                      <a:pt x="139" y="50"/>
                    </a:lnTo>
                    <a:lnTo>
                      <a:pt x="139" y="50"/>
                    </a:lnTo>
                    <a:lnTo>
                      <a:pt x="139" y="50"/>
                    </a:lnTo>
                    <a:lnTo>
                      <a:pt x="139" y="50"/>
                    </a:lnTo>
                    <a:lnTo>
                      <a:pt x="141" y="50"/>
                    </a:lnTo>
                    <a:lnTo>
                      <a:pt x="143" y="50"/>
                    </a:lnTo>
                    <a:lnTo>
                      <a:pt x="144" y="50"/>
                    </a:lnTo>
                    <a:lnTo>
                      <a:pt x="146" y="51"/>
                    </a:lnTo>
                    <a:lnTo>
                      <a:pt x="146" y="53"/>
                    </a:lnTo>
                    <a:lnTo>
                      <a:pt x="146" y="53"/>
                    </a:lnTo>
                    <a:lnTo>
                      <a:pt x="146" y="53"/>
                    </a:lnTo>
                    <a:lnTo>
                      <a:pt x="146" y="53"/>
                    </a:lnTo>
                    <a:lnTo>
                      <a:pt x="146" y="53"/>
                    </a:lnTo>
                    <a:lnTo>
                      <a:pt x="146" y="53"/>
                    </a:lnTo>
                    <a:lnTo>
                      <a:pt x="144" y="54"/>
                    </a:lnTo>
                    <a:lnTo>
                      <a:pt x="143" y="58"/>
                    </a:lnTo>
                    <a:lnTo>
                      <a:pt x="139" y="59"/>
                    </a:lnTo>
                    <a:lnTo>
                      <a:pt x="138" y="61"/>
                    </a:lnTo>
                    <a:lnTo>
                      <a:pt x="136" y="62"/>
                    </a:lnTo>
                    <a:lnTo>
                      <a:pt x="136" y="62"/>
                    </a:lnTo>
                    <a:lnTo>
                      <a:pt x="135" y="64"/>
                    </a:lnTo>
                    <a:lnTo>
                      <a:pt x="133" y="65"/>
                    </a:lnTo>
                    <a:lnTo>
                      <a:pt x="133" y="65"/>
                    </a:lnTo>
                    <a:lnTo>
                      <a:pt x="135" y="68"/>
                    </a:lnTo>
                    <a:lnTo>
                      <a:pt x="135" y="70"/>
                    </a:lnTo>
                    <a:lnTo>
                      <a:pt x="135" y="73"/>
                    </a:lnTo>
                    <a:lnTo>
                      <a:pt x="135" y="73"/>
                    </a:lnTo>
                    <a:lnTo>
                      <a:pt x="135" y="75"/>
                    </a:lnTo>
                    <a:lnTo>
                      <a:pt x="135" y="78"/>
                    </a:lnTo>
                    <a:lnTo>
                      <a:pt x="135" y="78"/>
                    </a:lnTo>
                    <a:lnTo>
                      <a:pt x="135" y="78"/>
                    </a:lnTo>
                    <a:lnTo>
                      <a:pt x="135" y="79"/>
                    </a:lnTo>
                    <a:lnTo>
                      <a:pt x="135" y="79"/>
                    </a:lnTo>
                    <a:lnTo>
                      <a:pt x="135" y="81"/>
                    </a:lnTo>
                    <a:lnTo>
                      <a:pt x="135" y="81"/>
                    </a:lnTo>
                    <a:lnTo>
                      <a:pt x="135" y="81"/>
                    </a:lnTo>
                    <a:lnTo>
                      <a:pt x="133" y="83"/>
                    </a:lnTo>
                    <a:lnTo>
                      <a:pt x="132" y="84"/>
                    </a:lnTo>
                    <a:lnTo>
                      <a:pt x="132" y="84"/>
                    </a:lnTo>
                    <a:lnTo>
                      <a:pt x="132" y="86"/>
                    </a:lnTo>
                    <a:lnTo>
                      <a:pt x="133" y="87"/>
                    </a:lnTo>
                    <a:lnTo>
                      <a:pt x="133" y="87"/>
                    </a:lnTo>
                    <a:lnTo>
                      <a:pt x="133" y="90"/>
                    </a:lnTo>
                    <a:lnTo>
                      <a:pt x="133" y="94"/>
                    </a:lnTo>
                    <a:lnTo>
                      <a:pt x="132" y="95"/>
                    </a:lnTo>
                    <a:lnTo>
                      <a:pt x="132" y="95"/>
                    </a:lnTo>
                    <a:lnTo>
                      <a:pt x="132" y="95"/>
                    </a:lnTo>
                    <a:lnTo>
                      <a:pt x="130" y="95"/>
                    </a:lnTo>
                    <a:lnTo>
                      <a:pt x="124" y="95"/>
                    </a:lnTo>
                    <a:lnTo>
                      <a:pt x="122" y="97"/>
                    </a:lnTo>
                    <a:lnTo>
                      <a:pt x="122" y="97"/>
                    </a:lnTo>
                    <a:lnTo>
                      <a:pt x="122" y="97"/>
                    </a:lnTo>
                    <a:lnTo>
                      <a:pt x="124" y="98"/>
                    </a:lnTo>
                    <a:lnTo>
                      <a:pt x="125" y="100"/>
                    </a:lnTo>
                    <a:lnTo>
                      <a:pt x="125" y="100"/>
                    </a:lnTo>
                    <a:lnTo>
                      <a:pt x="125" y="101"/>
                    </a:lnTo>
                    <a:lnTo>
                      <a:pt x="127" y="101"/>
                    </a:lnTo>
                    <a:lnTo>
                      <a:pt x="127" y="103"/>
                    </a:lnTo>
                    <a:lnTo>
                      <a:pt x="129" y="108"/>
                    </a:lnTo>
                    <a:lnTo>
                      <a:pt x="129" y="108"/>
                    </a:lnTo>
                    <a:lnTo>
                      <a:pt x="132" y="109"/>
                    </a:lnTo>
                    <a:lnTo>
                      <a:pt x="132" y="109"/>
                    </a:lnTo>
                    <a:lnTo>
                      <a:pt x="132" y="109"/>
                    </a:lnTo>
                    <a:lnTo>
                      <a:pt x="132" y="111"/>
                    </a:lnTo>
                    <a:lnTo>
                      <a:pt x="132" y="114"/>
                    </a:lnTo>
                    <a:lnTo>
                      <a:pt x="130" y="115"/>
                    </a:lnTo>
                    <a:lnTo>
                      <a:pt x="130" y="115"/>
                    </a:lnTo>
                    <a:lnTo>
                      <a:pt x="129" y="117"/>
                    </a:lnTo>
                    <a:lnTo>
                      <a:pt x="127" y="117"/>
                    </a:lnTo>
                    <a:lnTo>
                      <a:pt x="127" y="117"/>
                    </a:lnTo>
                    <a:lnTo>
                      <a:pt x="127" y="119"/>
                    </a:lnTo>
                    <a:lnTo>
                      <a:pt x="127" y="120"/>
                    </a:lnTo>
                    <a:lnTo>
                      <a:pt x="125" y="122"/>
                    </a:lnTo>
                    <a:lnTo>
                      <a:pt x="125" y="123"/>
                    </a:lnTo>
                    <a:lnTo>
                      <a:pt x="130" y="129"/>
                    </a:lnTo>
                    <a:lnTo>
                      <a:pt x="130" y="129"/>
                    </a:lnTo>
                    <a:lnTo>
                      <a:pt x="133" y="129"/>
                    </a:lnTo>
                    <a:lnTo>
                      <a:pt x="133" y="129"/>
                    </a:lnTo>
                    <a:lnTo>
                      <a:pt x="132" y="131"/>
                    </a:lnTo>
                    <a:lnTo>
                      <a:pt x="132" y="133"/>
                    </a:lnTo>
                    <a:lnTo>
                      <a:pt x="130" y="133"/>
                    </a:lnTo>
                    <a:lnTo>
                      <a:pt x="129" y="133"/>
                    </a:lnTo>
                    <a:lnTo>
                      <a:pt x="127" y="136"/>
                    </a:lnTo>
                    <a:lnTo>
                      <a:pt x="127" y="136"/>
                    </a:lnTo>
                    <a:lnTo>
                      <a:pt x="125" y="139"/>
                    </a:lnTo>
                    <a:lnTo>
                      <a:pt x="124" y="139"/>
                    </a:lnTo>
                    <a:lnTo>
                      <a:pt x="124" y="142"/>
                    </a:lnTo>
                    <a:lnTo>
                      <a:pt x="124" y="144"/>
                    </a:lnTo>
                    <a:lnTo>
                      <a:pt x="124" y="145"/>
                    </a:lnTo>
                    <a:lnTo>
                      <a:pt x="124" y="147"/>
                    </a:lnTo>
                    <a:lnTo>
                      <a:pt x="125" y="151"/>
                    </a:lnTo>
                    <a:lnTo>
                      <a:pt x="125" y="151"/>
                    </a:lnTo>
                    <a:lnTo>
                      <a:pt x="129" y="151"/>
                    </a:lnTo>
                    <a:lnTo>
                      <a:pt x="133" y="151"/>
                    </a:lnTo>
                    <a:lnTo>
                      <a:pt x="133" y="151"/>
                    </a:lnTo>
                    <a:lnTo>
                      <a:pt x="135" y="150"/>
                    </a:lnTo>
                    <a:lnTo>
                      <a:pt x="135" y="150"/>
                    </a:lnTo>
                    <a:lnTo>
                      <a:pt x="135" y="151"/>
                    </a:lnTo>
                    <a:lnTo>
                      <a:pt x="141" y="156"/>
                    </a:lnTo>
                    <a:lnTo>
                      <a:pt x="143" y="159"/>
                    </a:lnTo>
                    <a:lnTo>
                      <a:pt x="144" y="158"/>
                    </a:lnTo>
                    <a:lnTo>
                      <a:pt x="146" y="158"/>
                    </a:lnTo>
                    <a:lnTo>
                      <a:pt x="146" y="158"/>
                    </a:lnTo>
                    <a:lnTo>
                      <a:pt x="144" y="159"/>
                    </a:lnTo>
                    <a:lnTo>
                      <a:pt x="143" y="161"/>
                    </a:lnTo>
                    <a:lnTo>
                      <a:pt x="143" y="164"/>
                    </a:lnTo>
                    <a:lnTo>
                      <a:pt x="144" y="164"/>
                    </a:lnTo>
                    <a:lnTo>
                      <a:pt x="146" y="165"/>
                    </a:lnTo>
                    <a:lnTo>
                      <a:pt x="144" y="165"/>
                    </a:lnTo>
                    <a:lnTo>
                      <a:pt x="146" y="169"/>
                    </a:lnTo>
                    <a:lnTo>
                      <a:pt x="147" y="170"/>
                    </a:lnTo>
                    <a:lnTo>
                      <a:pt x="149" y="173"/>
                    </a:lnTo>
                    <a:lnTo>
                      <a:pt x="150" y="173"/>
                    </a:lnTo>
                    <a:lnTo>
                      <a:pt x="154" y="175"/>
                    </a:lnTo>
                    <a:lnTo>
                      <a:pt x="157" y="176"/>
                    </a:lnTo>
                    <a:lnTo>
                      <a:pt x="158" y="176"/>
                    </a:lnTo>
                    <a:lnTo>
                      <a:pt x="160" y="176"/>
                    </a:lnTo>
                    <a:lnTo>
                      <a:pt x="160" y="173"/>
                    </a:lnTo>
                    <a:lnTo>
                      <a:pt x="160" y="173"/>
                    </a:lnTo>
                    <a:lnTo>
                      <a:pt x="160" y="175"/>
                    </a:lnTo>
                    <a:lnTo>
                      <a:pt x="161" y="175"/>
                    </a:lnTo>
                    <a:lnTo>
                      <a:pt x="161" y="175"/>
                    </a:lnTo>
                    <a:lnTo>
                      <a:pt x="161" y="173"/>
                    </a:lnTo>
                    <a:lnTo>
                      <a:pt x="161" y="173"/>
                    </a:lnTo>
                    <a:lnTo>
                      <a:pt x="161" y="173"/>
                    </a:lnTo>
                    <a:lnTo>
                      <a:pt x="161" y="172"/>
                    </a:lnTo>
                    <a:lnTo>
                      <a:pt x="163" y="169"/>
                    </a:lnTo>
                    <a:lnTo>
                      <a:pt x="165" y="169"/>
                    </a:lnTo>
                    <a:lnTo>
                      <a:pt x="168" y="167"/>
                    </a:lnTo>
                    <a:lnTo>
                      <a:pt x="172" y="167"/>
                    </a:lnTo>
                    <a:lnTo>
                      <a:pt x="175" y="164"/>
                    </a:lnTo>
                    <a:lnTo>
                      <a:pt x="177" y="162"/>
                    </a:lnTo>
                    <a:lnTo>
                      <a:pt x="179" y="162"/>
                    </a:lnTo>
                    <a:lnTo>
                      <a:pt x="188" y="161"/>
                    </a:lnTo>
                    <a:lnTo>
                      <a:pt x="193" y="161"/>
                    </a:lnTo>
                    <a:lnTo>
                      <a:pt x="194" y="162"/>
                    </a:lnTo>
                    <a:lnTo>
                      <a:pt x="197" y="161"/>
                    </a:lnTo>
                    <a:lnTo>
                      <a:pt x="199" y="161"/>
                    </a:lnTo>
                    <a:lnTo>
                      <a:pt x="204" y="161"/>
                    </a:lnTo>
                    <a:lnTo>
                      <a:pt x="207" y="162"/>
                    </a:lnTo>
                    <a:lnTo>
                      <a:pt x="208" y="161"/>
                    </a:lnTo>
                    <a:lnTo>
                      <a:pt x="210" y="159"/>
                    </a:lnTo>
                    <a:lnTo>
                      <a:pt x="211" y="159"/>
                    </a:lnTo>
                    <a:lnTo>
                      <a:pt x="215" y="159"/>
                    </a:lnTo>
                    <a:lnTo>
                      <a:pt x="216" y="161"/>
                    </a:lnTo>
                    <a:lnTo>
                      <a:pt x="218" y="161"/>
                    </a:lnTo>
                    <a:lnTo>
                      <a:pt x="221" y="156"/>
                    </a:lnTo>
                    <a:lnTo>
                      <a:pt x="224" y="150"/>
                    </a:lnTo>
                    <a:lnTo>
                      <a:pt x="225" y="147"/>
                    </a:lnTo>
                    <a:lnTo>
                      <a:pt x="232" y="144"/>
                    </a:lnTo>
                    <a:lnTo>
                      <a:pt x="238" y="144"/>
                    </a:lnTo>
                    <a:lnTo>
                      <a:pt x="241" y="142"/>
                    </a:lnTo>
                    <a:lnTo>
                      <a:pt x="241" y="142"/>
                    </a:lnTo>
                    <a:lnTo>
                      <a:pt x="243" y="142"/>
                    </a:lnTo>
                    <a:lnTo>
                      <a:pt x="241" y="140"/>
                    </a:lnTo>
                    <a:lnTo>
                      <a:pt x="241" y="139"/>
                    </a:lnTo>
                    <a:lnTo>
                      <a:pt x="241" y="137"/>
                    </a:lnTo>
                    <a:lnTo>
                      <a:pt x="241" y="136"/>
                    </a:lnTo>
                    <a:lnTo>
                      <a:pt x="243" y="134"/>
                    </a:lnTo>
                    <a:lnTo>
                      <a:pt x="244" y="129"/>
                    </a:lnTo>
                    <a:lnTo>
                      <a:pt x="246" y="129"/>
                    </a:lnTo>
                    <a:lnTo>
                      <a:pt x="246" y="126"/>
                    </a:lnTo>
                    <a:lnTo>
                      <a:pt x="249" y="123"/>
                    </a:lnTo>
                    <a:lnTo>
                      <a:pt x="254" y="120"/>
                    </a:lnTo>
                    <a:lnTo>
                      <a:pt x="257" y="119"/>
                    </a:lnTo>
                    <a:lnTo>
                      <a:pt x="258" y="117"/>
                    </a:lnTo>
                    <a:lnTo>
                      <a:pt x="258" y="115"/>
                    </a:lnTo>
                    <a:lnTo>
                      <a:pt x="254" y="114"/>
                    </a:lnTo>
                    <a:lnTo>
                      <a:pt x="252" y="112"/>
                    </a:lnTo>
                    <a:lnTo>
                      <a:pt x="252" y="109"/>
                    </a:lnTo>
                    <a:lnTo>
                      <a:pt x="249" y="101"/>
                    </a:lnTo>
                    <a:lnTo>
                      <a:pt x="249" y="100"/>
                    </a:lnTo>
                    <a:lnTo>
                      <a:pt x="254" y="92"/>
                    </a:lnTo>
                    <a:lnTo>
                      <a:pt x="255" y="89"/>
                    </a:lnTo>
                    <a:lnTo>
                      <a:pt x="258" y="86"/>
                    </a:lnTo>
                    <a:lnTo>
                      <a:pt x="261" y="81"/>
                    </a:lnTo>
                    <a:lnTo>
                      <a:pt x="265" y="75"/>
                    </a:lnTo>
                    <a:lnTo>
                      <a:pt x="266" y="75"/>
                    </a:lnTo>
                    <a:lnTo>
                      <a:pt x="266" y="75"/>
                    </a:lnTo>
                    <a:lnTo>
                      <a:pt x="268" y="75"/>
                    </a:lnTo>
                    <a:lnTo>
                      <a:pt x="269" y="73"/>
                    </a:lnTo>
                    <a:lnTo>
                      <a:pt x="271" y="72"/>
                    </a:lnTo>
                    <a:lnTo>
                      <a:pt x="269" y="70"/>
                    </a:lnTo>
                    <a:lnTo>
                      <a:pt x="268" y="70"/>
                    </a:lnTo>
                    <a:lnTo>
                      <a:pt x="269" y="68"/>
                    </a:lnTo>
                    <a:lnTo>
                      <a:pt x="272" y="64"/>
                    </a:lnTo>
                    <a:lnTo>
                      <a:pt x="276" y="64"/>
                    </a:lnTo>
                    <a:lnTo>
                      <a:pt x="282" y="61"/>
                    </a:lnTo>
                    <a:lnTo>
                      <a:pt x="291" y="59"/>
                    </a:lnTo>
                    <a:lnTo>
                      <a:pt x="293" y="58"/>
                    </a:lnTo>
                    <a:lnTo>
                      <a:pt x="296" y="54"/>
                    </a:lnTo>
                    <a:lnTo>
                      <a:pt x="308" y="48"/>
                    </a:lnTo>
                    <a:lnTo>
                      <a:pt x="310" y="45"/>
                    </a:lnTo>
                    <a:lnTo>
                      <a:pt x="311" y="43"/>
                    </a:lnTo>
                    <a:lnTo>
                      <a:pt x="311" y="40"/>
                    </a:lnTo>
                    <a:lnTo>
                      <a:pt x="311" y="3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39" name="Freeform 66">
                <a:extLst>
                  <a:ext uri="{FF2B5EF4-FFF2-40B4-BE49-F238E27FC236}">
                    <a16:creationId xmlns:a16="http://schemas.microsoft.com/office/drawing/2014/main" id="{A7F40D86-F1D5-8D02-93E4-F55C74D31896}"/>
                  </a:ext>
                </a:extLst>
              </p:cNvPr>
              <p:cNvSpPr>
                <a:spLocks/>
              </p:cNvSpPr>
              <p:nvPr/>
            </p:nvSpPr>
            <p:spPr bwMode="gray">
              <a:xfrm>
                <a:off x="3254" y="1315"/>
                <a:ext cx="262" cy="201"/>
              </a:xfrm>
              <a:custGeom>
                <a:avLst/>
                <a:gdLst>
                  <a:gd name="T0" fmla="*/ 106 w 262"/>
                  <a:gd name="T1" fmla="*/ 4 h 201"/>
                  <a:gd name="T2" fmla="*/ 111 w 262"/>
                  <a:gd name="T3" fmla="*/ 7 h 201"/>
                  <a:gd name="T4" fmla="*/ 119 w 262"/>
                  <a:gd name="T5" fmla="*/ 6 h 201"/>
                  <a:gd name="T6" fmla="*/ 129 w 262"/>
                  <a:gd name="T7" fmla="*/ 9 h 201"/>
                  <a:gd name="T8" fmla="*/ 142 w 262"/>
                  <a:gd name="T9" fmla="*/ 20 h 201"/>
                  <a:gd name="T10" fmla="*/ 158 w 262"/>
                  <a:gd name="T11" fmla="*/ 36 h 201"/>
                  <a:gd name="T12" fmla="*/ 165 w 262"/>
                  <a:gd name="T13" fmla="*/ 43 h 201"/>
                  <a:gd name="T14" fmla="*/ 154 w 262"/>
                  <a:gd name="T15" fmla="*/ 56 h 201"/>
                  <a:gd name="T16" fmla="*/ 154 w 262"/>
                  <a:gd name="T17" fmla="*/ 68 h 201"/>
                  <a:gd name="T18" fmla="*/ 164 w 262"/>
                  <a:gd name="T19" fmla="*/ 68 h 201"/>
                  <a:gd name="T20" fmla="*/ 172 w 262"/>
                  <a:gd name="T21" fmla="*/ 68 h 201"/>
                  <a:gd name="T22" fmla="*/ 172 w 262"/>
                  <a:gd name="T23" fmla="*/ 72 h 201"/>
                  <a:gd name="T24" fmla="*/ 170 w 262"/>
                  <a:gd name="T25" fmla="*/ 78 h 201"/>
                  <a:gd name="T26" fmla="*/ 176 w 262"/>
                  <a:gd name="T27" fmla="*/ 86 h 201"/>
                  <a:gd name="T28" fmla="*/ 183 w 262"/>
                  <a:gd name="T29" fmla="*/ 95 h 201"/>
                  <a:gd name="T30" fmla="*/ 194 w 262"/>
                  <a:gd name="T31" fmla="*/ 104 h 201"/>
                  <a:gd name="T32" fmla="*/ 215 w 262"/>
                  <a:gd name="T33" fmla="*/ 112 h 201"/>
                  <a:gd name="T34" fmla="*/ 245 w 262"/>
                  <a:gd name="T35" fmla="*/ 122 h 201"/>
                  <a:gd name="T36" fmla="*/ 259 w 262"/>
                  <a:gd name="T37" fmla="*/ 126 h 201"/>
                  <a:gd name="T38" fmla="*/ 236 w 262"/>
                  <a:gd name="T39" fmla="*/ 148 h 201"/>
                  <a:gd name="T40" fmla="*/ 212 w 262"/>
                  <a:gd name="T41" fmla="*/ 172 h 201"/>
                  <a:gd name="T42" fmla="*/ 194 w 262"/>
                  <a:gd name="T43" fmla="*/ 175 h 201"/>
                  <a:gd name="T44" fmla="*/ 186 w 262"/>
                  <a:gd name="T45" fmla="*/ 178 h 201"/>
                  <a:gd name="T46" fmla="*/ 173 w 262"/>
                  <a:gd name="T47" fmla="*/ 186 h 201"/>
                  <a:gd name="T48" fmla="*/ 159 w 262"/>
                  <a:gd name="T49" fmla="*/ 189 h 201"/>
                  <a:gd name="T50" fmla="*/ 147 w 262"/>
                  <a:gd name="T51" fmla="*/ 194 h 201"/>
                  <a:gd name="T52" fmla="*/ 140 w 262"/>
                  <a:gd name="T53" fmla="*/ 190 h 201"/>
                  <a:gd name="T54" fmla="*/ 123 w 262"/>
                  <a:gd name="T55" fmla="*/ 194 h 201"/>
                  <a:gd name="T56" fmla="*/ 114 w 262"/>
                  <a:gd name="T57" fmla="*/ 201 h 201"/>
                  <a:gd name="T58" fmla="*/ 98 w 262"/>
                  <a:gd name="T59" fmla="*/ 200 h 201"/>
                  <a:gd name="T60" fmla="*/ 84 w 262"/>
                  <a:gd name="T61" fmla="*/ 195 h 201"/>
                  <a:gd name="T62" fmla="*/ 67 w 262"/>
                  <a:gd name="T63" fmla="*/ 184 h 201"/>
                  <a:gd name="T64" fmla="*/ 53 w 262"/>
                  <a:gd name="T65" fmla="*/ 184 h 201"/>
                  <a:gd name="T66" fmla="*/ 48 w 262"/>
                  <a:gd name="T67" fmla="*/ 175 h 201"/>
                  <a:gd name="T68" fmla="*/ 48 w 262"/>
                  <a:gd name="T69" fmla="*/ 169 h 201"/>
                  <a:gd name="T70" fmla="*/ 40 w 262"/>
                  <a:gd name="T71" fmla="*/ 169 h 201"/>
                  <a:gd name="T72" fmla="*/ 39 w 262"/>
                  <a:gd name="T73" fmla="*/ 164 h 201"/>
                  <a:gd name="T74" fmla="*/ 34 w 262"/>
                  <a:gd name="T75" fmla="*/ 154 h 201"/>
                  <a:gd name="T76" fmla="*/ 28 w 262"/>
                  <a:gd name="T77" fmla="*/ 144 h 201"/>
                  <a:gd name="T78" fmla="*/ 18 w 262"/>
                  <a:gd name="T79" fmla="*/ 134 h 201"/>
                  <a:gd name="T80" fmla="*/ 11 w 262"/>
                  <a:gd name="T81" fmla="*/ 128 h 201"/>
                  <a:gd name="T82" fmla="*/ 0 w 262"/>
                  <a:gd name="T83" fmla="*/ 125 h 201"/>
                  <a:gd name="T84" fmla="*/ 4 w 262"/>
                  <a:gd name="T85" fmla="*/ 115 h 201"/>
                  <a:gd name="T86" fmla="*/ 14 w 262"/>
                  <a:gd name="T87" fmla="*/ 114 h 201"/>
                  <a:gd name="T88" fmla="*/ 20 w 262"/>
                  <a:gd name="T89" fmla="*/ 111 h 201"/>
                  <a:gd name="T90" fmla="*/ 18 w 262"/>
                  <a:gd name="T91" fmla="*/ 97 h 201"/>
                  <a:gd name="T92" fmla="*/ 23 w 262"/>
                  <a:gd name="T93" fmla="*/ 84 h 201"/>
                  <a:gd name="T94" fmla="*/ 25 w 262"/>
                  <a:gd name="T95" fmla="*/ 73 h 201"/>
                  <a:gd name="T96" fmla="*/ 31 w 262"/>
                  <a:gd name="T97" fmla="*/ 73 h 201"/>
                  <a:gd name="T98" fmla="*/ 34 w 262"/>
                  <a:gd name="T99" fmla="*/ 65 h 201"/>
                  <a:gd name="T100" fmla="*/ 37 w 262"/>
                  <a:gd name="T101" fmla="*/ 54 h 201"/>
                  <a:gd name="T102" fmla="*/ 47 w 262"/>
                  <a:gd name="T103" fmla="*/ 40 h 201"/>
                  <a:gd name="T104" fmla="*/ 54 w 262"/>
                  <a:gd name="T105" fmla="*/ 37 h 201"/>
                  <a:gd name="T106" fmla="*/ 58 w 262"/>
                  <a:gd name="T107" fmla="*/ 26 h 201"/>
                  <a:gd name="T108" fmla="*/ 61 w 262"/>
                  <a:gd name="T109" fmla="*/ 15 h 201"/>
                  <a:gd name="T110" fmla="*/ 68 w 262"/>
                  <a:gd name="T111" fmla="*/ 11 h 201"/>
                  <a:gd name="T112" fmla="*/ 73 w 262"/>
                  <a:gd name="T113" fmla="*/ 7 h 201"/>
                  <a:gd name="T114" fmla="*/ 81 w 262"/>
                  <a:gd name="T115" fmla="*/ 12 h 201"/>
                  <a:gd name="T116" fmla="*/ 87 w 262"/>
                  <a:gd name="T117" fmla="*/ 1 h 201"/>
                  <a:gd name="T118" fmla="*/ 92 w 262"/>
                  <a:gd name="T1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201">
                    <a:moveTo>
                      <a:pt x="95" y="7"/>
                    </a:moveTo>
                    <a:lnTo>
                      <a:pt x="97" y="7"/>
                    </a:lnTo>
                    <a:lnTo>
                      <a:pt x="103" y="6"/>
                    </a:lnTo>
                    <a:lnTo>
                      <a:pt x="106" y="4"/>
                    </a:lnTo>
                    <a:lnTo>
                      <a:pt x="106" y="4"/>
                    </a:lnTo>
                    <a:lnTo>
                      <a:pt x="106" y="4"/>
                    </a:lnTo>
                    <a:lnTo>
                      <a:pt x="108" y="4"/>
                    </a:lnTo>
                    <a:lnTo>
                      <a:pt x="108" y="6"/>
                    </a:lnTo>
                    <a:lnTo>
                      <a:pt x="109" y="6"/>
                    </a:lnTo>
                    <a:lnTo>
                      <a:pt x="111" y="7"/>
                    </a:lnTo>
                    <a:lnTo>
                      <a:pt x="114" y="6"/>
                    </a:lnTo>
                    <a:lnTo>
                      <a:pt x="115" y="6"/>
                    </a:lnTo>
                    <a:lnTo>
                      <a:pt x="115" y="6"/>
                    </a:lnTo>
                    <a:lnTo>
                      <a:pt x="117" y="6"/>
                    </a:lnTo>
                    <a:lnTo>
                      <a:pt x="119" y="6"/>
                    </a:lnTo>
                    <a:lnTo>
                      <a:pt x="122" y="7"/>
                    </a:lnTo>
                    <a:lnTo>
                      <a:pt x="125" y="7"/>
                    </a:lnTo>
                    <a:lnTo>
                      <a:pt x="125" y="7"/>
                    </a:lnTo>
                    <a:lnTo>
                      <a:pt x="126" y="7"/>
                    </a:lnTo>
                    <a:lnTo>
                      <a:pt x="129" y="9"/>
                    </a:lnTo>
                    <a:lnTo>
                      <a:pt x="133" y="11"/>
                    </a:lnTo>
                    <a:lnTo>
                      <a:pt x="136" y="12"/>
                    </a:lnTo>
                    <a:lnTo>
                      <a:pt x="137" y="14"/>
                    </a:lnTo>
                    <a:lnTo>
                      <a:pt x="139" y="15"/>
                    </a:lnTo>
                    <a:lnTo>
                      <a:pt x="142" y="20"/>
                    </a:lnTo>
                    <a:lnTo>
                      <a:pt x="147" y="25"/>
                    </a:lnTo>
                    <a:lnTo>
                      <a:pt x="151" y="28"/>
                    </a:lnTo>
                    <a:lnTo>
                      <a:pt x="154" y="29"/>
                    </a:lnTo>
                    <a:lnTo>
                      <a:pt x="156" y="32"/>
                    </a:lnTo>
                    <a:lnTo>
                      <a:pt x="158" y="36"/>
                    </a:lnTo>
                    <a:lnTo>
                      <a:pt x="159" y="36"/>
                    </a:lnTo>
                    <a:lnTo>
                      <a:pt x="161" y="37"/>
                    </a:lnTo>
                    <a:lnTo>
                      <a:pt x="162" y="39"/>
                    </a:lnTo>
                    <a:lnTo>
                      <a:pt x="164" y="40"/>
                    </a:lnTo>
                    <a:lnTo>
                      <a:pt x="165" y="43"/>
                    </a:lnTo>
                    <a:lnTo>
                      <a:pt x="162" y="45"/>
                    </a:lnTo>
                    <a:lnTo>
                      <a:pt x="161" y="48"/>
                    </a:lnTo>
                    <a:lnTo>
                      <a:pt x="158" y="53"/>
                    </a:lnTo>
                    <a:lnTo>
                      <a:pt x="158" y="53"/>
                    </a:lnTo>
                    <a:lnTo>
                      <a:pt x="154" y="56"/>
                    </a:lnTo>
                    <a:lnTo>
                      <a:pt x="154" y="56"/>
                    </a:lnTo>
                    <a:lnTo>
                      <a:pt x="154" y="59"/>
                    </a:lnTo>
                    <a:lnTo>
                      <a:pt x="154" y="62"/>
                    </a:lnTo>
                    <a:lnTo>
                      <a:pt x="154" y="65"/>
                    </a:lnTo>
                    <a:lnTo>
                      <a:pt x="154" y="68"/>
                    </a:lnTo>
                    <a:lnTo>
                      <a:pt x="156" y="70"/>
                    </a:lnTo>
                    <a:lnTo>
                      <a:pt x="158" y="70"/>
                    </a:lnTo>
                    <a:lnTo>
                      <a:pt x="159" y="70"/>
                    </a:lnTo>
                    <a:lnTo>
                      <a:pt x="161" y="68"/>
                    </a:lnTo>
                    <a:lnTo>
                      <a:pt x="164" y="68"/>
                    </a:lnTo>
                    <a:lnTo>
                      <a:pt x="167" y="68"/>
                    </a:lnTo>
                    <a:lnTo>
                      <a:pt x="169" y="67"/>
                    </a:lnTo>
                    <a:lnTo>
                      <a:pt x="170" y="67"/>
                    </a:lnTo>
                    <a:lnTo>
                      <a:pt x="172" y="68"/>
                    </a:lnTo>
                    <a:lnTo>
                      <a:pt x="172" y="68"/>
                    </a:lnTo>
                    <a:lnTo>
                      <a:pt x="173" y="68"/>
                    </a:lnTo>
                    <a:lnTo>
                      <a:pt x="175" y="68"/>
                    </a:lnTo>
                    <a:lnTo>
                      <a:pt x="173" y="70"/>
                    </a:lnTo>
                    <a:lnTo>
                      <a:pt x="173" y="70"/>
                    </a:lnTo>
                    <a:lnTo>
                      <a:pt x="172" y="72"/>
                    </a:lnTo>
                    <a:lnTo>
                      <a:pt x="172" y="73"/>
                    </a:lnTo>
                    <a:lnTo>
                      <a:pt x="170" y="76"/>
                    </a:lnTo>
                    <a:lnTo>
                      <a:pt x="170" y="76"/>
                    </a:lnTo>
                    <a:lnTo>
                      <a:pt x="170" y="76"/>
                    </a:lnTo>
                    <a:lnTo>
                      <a:pt x="170" y="78"/>
                    </a:lnTo>
                    <a:lnTo>
                      <a:pt x="172" y="79"/>
                    </a:lnTo>
                    <a:lnTo>
                      <a:pt x="172" y="82"/>
                    </a:lnTo>
                    <a:lnTo>
                      <a:pt x="173" y="82"/>
                    </a:lnTo>
                    <a:lnTo>
                      <a:pt x="175" y="84"/>
                    </a:lnTo>
                    <a:lnTo>
                      <a:pt x="176" y="86"/>
                    </a:lnTo>
                    <a:lnTo>
                      <a:pt x="176" y="87"/>
                    </a:lnTo>
                    <a:lnTo>
                      <a:pt x="179" y="89"/>
                    </a:lnTo>
                    <a:lnTo>
                      <a:pt x="179" y="90"/>
                    </a:lnTo>
                    <a:lnTo>
                      <a:pt x="181" y="93"/>
                    </a:lnTo>
                    <a:lnTo>
                      <a:pt x="183" y="95"/>
                    </a:lnTo>
                    <a:lnTo>
                      <a:pt x="184" y="98"/>
                    </a:lnTo>
                    <a:lnTo>
                      <a:pt x="186" y="98"/>
                    </a:lnTo>
                    <a:lnTo>
                      <a:pt x="186" y="98"/>
                    </a:lnTo>
                    <a:lnTo>
                      <a:pt x="190" y="101"/>
                    </a:lnTo>
                    <a:lnTo>
                      <a:pt x="194" y="104"/>
                    </a:lnTo>
                    <a:lnTo>
                      <a:pt x="194" y="104"/>
                    </a:lnTo>
                    <a:lnTo>
                      <a:pt x="198" y="106"/>
                    </a:lnTo>
                    <a:lnTo>
                      <a:pt x="205" y="108"/>
                    </a:lnTo>
                    <a:lnTo>
                      <a:pt x="209" y="109"/>
                    </a:lnTo>
                    <a:lnTo>
                      <a:pt x="215" y="112"/>
                    </a:lnTo>
                    <a:lnTo>
                      <a:pt x="220" y="114"/>
                    </a:lnTo>
                    <a:lnTo>
                      <a:pt x="226" y="115"/>
                    </a:lnTo>
                    <a:lnTo>
                      <a:pt x="234" y="118"/>
                    </a:lnTo>
                    <a:lnTo>
                      <a:pt x="239" y="120"/>
                    </a:lnTo>
                    <a:lnTo>
                      <a:pt x="245" y="122"/>
                    </a:lnTo>
                    <a:lnTo>
                      <a:pt x="245" y="122"/>
                    </a:lnTo>
                    <a:lnTo>
                      <a:pt x="251" y="122"/>
                    </a:lnTo>
                    <a:lnTo>
                      <a:pt x="258" y="122"/>
                    </a:lnTo>
                    <a:lnTo>
                      <a:pt x="262" y="122"/>
                    </a:lnTo>
                    <a:lnTo>
                      <a:pt x="259" y="126"/>
                    </a:lnTo>
                    <a:lnTo>
                      <a:pt x="255" y="131"/>
                    </a:lnTo>
                    <a:lnTo>
                      <a:pt x="248" y="136"/>
                    </a:lnTo>
                    <a:lnTo>
                      <a:pt x="245" y="139"/>
                    </a:lnTo>
                    <a:lnTo>
                      <a:pt x="240" y="144"/>
                    </a:lnTo>
                    <a:lnTo>
                      <a:pt x="236" y="148"/>
                    </a:lnTo>
                    <a:lnTo>
                      <a:pt x="231" y="153"/>
                    </a:lnTo>
                    <a:lnTo>
                      <a:pt x="226" y="158"/>
                    </a:lnTo>
                    <a:lnTo>
                      <a:pt x="222" y="162"/>
                    </a:lnTo>
                    <a:lnTo>
                      <a:pt x="219" y="167"/>
                    </a:lnTo>
                    <a:lnTo>
                      <a:pt x="212" y="172"/>
                    </a:lnTo>
                    <a:lnTo>
                      <a:pt x="209" y="176"/>
                    </a:lnTo>
                    <a:lnTo>
                      <a:pt x="209" y="176"/>
                    </a:lnTo>
                    <a:lnTo>
                      <a:pt x="205" y="176"/>
                    </a:lnTo>
                    <a:lnTo>
                      <a:pt x="200" y="176"/>
                    </a:lnTo>
                    <a:lnTo>
                      <a:pt x="194" y="175"/>
                    </a:lnTo>
                    <a:lnTo>
                      <a:pt x="194" y="175"/>
                    </a:lnTo>
                    <a:lnTo>
                      <a:pt x="192" y="176"/>
                    </a:lnTo>
                    <a:lnTo>
                      <a:pt x="190" y="176"/>
                    </a:lnTo>
                    <a:lnTo>
                      <a:pt x="186" y="176"/>
                    </a:lnTo>
                    <a:lnTo>
                      <a:pt x="186" y="178"/>
                    </a:lnTo>
                    <a:lnTo>
                      <a:pt x="181" y="180"/>
                    </a:lnTo>
                    <a:lnTo>
                      <a:pt x="178" y="181"/>
                    </a:lnTo>
                    <a:lnTo>
                      <a:pt x="176" y="183"/>
                    </a:lnTo>
                    <a:lnTo>
                      <a:pt x="175" y="184"/>
                    </a:lnTo>
                    <a:lnTo>
                      <a:pt x="173" y="186"/>
                    </a:lnTo>
                    <a:lnTo>
                      <a:pt x="173" y="186"/>
                    </a:lnTo>
                    <a:lnTo>
                      <a:pt x="172" y="187"/>
                    </a:lnTo>
                    <a:lnTo>
                      <a:pt x="164" y="189"/>
                    </a:lnTo>
                    <a:lnTo>
                      <a:pt x="162" y="189"/>
                    </a:lnTo>
                    <a:lnTo>
                      <a:pt x="159" y="189"/>
                    </a:lnTo>
                    <a:lnTo>
                      <a:pt x="156" y="192"/>
                    </a:lnTo>
                    <a:lnTo>
                      <a:pt x="156" y="192"/>
                    </a:lnTo>
                    <a:lnTo>
                      <a:pt x="153" y="192"/>
                    </a:lnTo>
                    <a:lnTo>
                      <a:pt x="148" y="192"/>
                    </a:lnTo>
                    <a:lnTo>
                      <a:pt x="147" y="194"/>
                    </a:lnTo>
                    <a:lnTo>
                      <a:pt x="147" y="194"/>
                    </a:lnTo>
                    <a:lnTo>
                      <a:pt x="145" y="194"/>
                    </a:lnTo>
                    <a:lnTo>
                      <a:pt x="144" y="192"/>
                    </a:lnTo>
                    <a:lnTo>
                      <a:pt x="142" y="192"/>
                    </a:lnTo>
                    <a:lnTo>
                      <a:pt x="140" y="190"/>
                    </a:lnTo>
                    <a:lnTo>
                      <a:pt x="139" y="189"/>
                    </a:lnTo>
                    <a:lnTo>
                      <a:pt x="136" y="187"/>
                    </a:lnTo>
                    <a:lnTo>
                      <a:pt x="133" y="189"/>
                    </a:lnTo>
                    <a:lnTo>
                      <a:pt x="128" y="190"/>
                    </a:lnTo>
                    <a:lnTo>
                      <a:pt x="123" y="194"/>
                    </a:lnTo>
                    <a:lnTo>
                      <a:pt x="120" y="195"/>
                    </a:lnTo>
                    <a:lnTo>
                      <a:pt x="119" y="197"/>
                    </a:lnTo>
                    <a:lnTo>
                      <a:pt x="117" y="200"/>
                    </a:lnTo>
                    <a:lnTo>
                      <a:pt x="115" y="201"/>
                    </a:lnTo>
                    <a:lnTo>
                      <a:pt x="114" y="201"/>
                    </a:lnTo>
                    <a:lnTo>
                      <a:pt x="109" y="201"/>
                    </a:lnTo>
                    <a:lnTo>
                      <a:pt x="108" y="201"/>
                    </a:lnTo>
                    <a:lnTo>
                      <a:pt x="104" y="200"/>
                    </a:lnTo>
                    <a:lnTo>
                      <a:pt x="101" y="200"/>
                    </a:lnTo>
                    <a:lnTo>
                      <a:pt x="98" y="200"/>
                    </a:lnTo>
                    <a:lnTo>
                      <a:pt x="95" y="198"/>
                    </a:lnTo>
                    <a:lnTo>
                      <a:pt x="92" y="198"/>
                    </a:lnTo>
                    <a:lnTo>
                      <a:pt x="89" y="198"/>
                    </a:lnTo>
                    <a:lnTo>
                      <a:pt x="87" y="197"/>
                    </a:lnTo>
                    <a:lnTo>
                      <a:pt x="84" y="195"/>
                    </a:lnTo>
                    <a:lnTo>
                      <a:pt x="81" y="192"/>
                    </a:lnTo>
                    <a:lnTo>
                      <a:pt x="76" y="190"/>
                    </a:lnTo>
                    <a:lnTo>
                      <a:pt x="73" y="187"/>
                    </a:lnTo>
                    <a:lnTo>
                      <a:pt x="68" y="184"/>
                    </a:lnTo>
                    <a:lnTo>
                      <a:pt x="67" y="184"/>
                    </a:lnTo>
                    <a:lnTo>
                      <a:pt x="67" y="184"/>
                    </a:lnTo>
                    <a:lnTo>
                      <a:pt x="62" y="184"/>
                    </a:lnTo>
                    <a:lnTo>
                      <a:pt x="58" y="184"/>
                    </a:lnTo>
                    <a:lnTo>
                      <a:pt x="54" y="184"/>
                    </a:lnTo>
                    <a:lnTo>
                      <a:pt x="53" y="184"/>
                    </a:lnTo>
                    <a:lnTo>
                      <a:pt x="53" y="183"/>
                    </a:lnTo>
                    <a:lnTo>
                      <a:pt x="51" y="181"/>
                    </a:lnTo>
                    <a:lnTo>
                      <a:pt x="50" y="180"/>
                    </a:lnTo>
                    <a:lnTo>
                      <a:pt x="48" y="178"/>
                    </a:lnTo>
                    <a:lnTo>
                      <a:pt x="48" y="175"/>
                    </a:lnTo>
                    <a:lnTo>
                      <a:pt x="48" y="173"/>
                    </a:lnTo>
                    <a:lnTo>
                      <a:pt x="50" y="172"/>
                    </a:lnTo>
                    <a:lnTo>
                      <a:pt x="50" y="172"/>
                    </a:lnTo>
                    <a:lnTo>
                      <a:pt x="50" y="170"/>
                    </a:lnTo>
                    <a:lnTo>
                      <a:pt x="48" y="169"/>
                    </a:lnTo>
                    <a:lnTo>
                      <a:pt x="43" y="167"/>
                    </a:lnTo>
                    <a:lnTo>
                      <a:pt x="42" y="167"/>
                    </a:lnTo>
                    <a:lnTo>
                      <a:pt x="42" y="169"/>
                    </a:lnTo>
                    <a:lnTo>
                      <a:pt x="40" y="169"/>
                    </a:lnTo>
                    <a:lnTo>
                      <a:pt x="40" y="169"/>
                    </a:lnTo>
                    <a:lnTo>
                      <a:pt x="40" y="167"/>
                    </a:lnTo>
                    <a:lnTo>
                      <a:pt x="40" y="167"/>
                    </a:lnTo>
                    <a:lnTo>
                      <a:pt x="40" y="165"/>
                    </a:lnTo>
                    <a:lnTo>
                      <a:pt x="40" y="165"/>
                    </a:lnTo>
                    <a:lnTo>
                      <a:pt x="39" y="164"/>
                    </a:lnTo>
                    <a:lnTo>
                      <a:pt x="37" y="162"/>
                    </a:lnTo>
                    <a:lnTo>
                      <a:pt x="36" y="161"/>
                    </a:lnTo>
                    <a:lnTo>
                      <a:pt x="36" y="159"/>
                    </a:lnTo>
                    <a:lnTo>
                      <a:pt x="34" y="156"/>
                    </a:lnTo>
                    <a:lnTo>
                      <a:pt x="34" y="154"/>
                    </a:lnTo>
                    <a:lnTo>
                      <a:pt x="33" y="151"/>
                    </a:lnTo>
                    <a:lnTo>
                      <a:pt x="31" y="147"/>
                    </a:lnTo>
                    <a:lnTo>
                      <a:pt x="29" y="145"/>
                    </a:lnTo>
                    <a:lnTo>
                      <a:pt x="29" y="145"/>
                    </a:lnTo>
                    <a:lnTo>
                      <a:pt x="28" y="144"/>
                    </a:lnTo>
                    <a:lnTo>
                      <a:pt x="26" y="142"/>
                    </a:lnTo>
                    <a:lnTo>
                      <a:pt x="23" y="139"/>
                    </a:lnTo>
                    <a:lnTo>
                      <a:pt x="22" y="137"/>
                    </a:lnTo>
                    <a:lnTo>
                      <a:pt x="18" y="136"/>
                    </a:lnTo>
                    <a:lnTo>
                      <a:pt x="18" y="134"/>
                    </a:lnTo>
                    <a:lnTo>
                      <a:pt x="18" y="133"/>
                    </a:lnTo>
                    <a:lnTo>
                      <a:pt x="17" y="133"/>
                    </a:lnTo>
                    <a:lnTo>
                      <a:pt x="15" y="131"/>
                    </a:lnTo>
                    <a:lnTo>
                      <a:pt x="12" y="128"/>
                    </a:lnTo>
                    <a:lnTo>
                      <a:pt x="11" y="128"/>
                    </a:lnTo>
                    <a:lnTo>
                      <a:pt x="9" y="126"/>
                    </a:lnTo>
                    <a:lnTo>
                      <a:pt x="8" y="126"/>
                    </a:lnTo>
                    <a:lnTo>
                      <a:pt x="4" y="126"/>
                    </a:lnTo>
                    <a:lnTo>
                      <a:pt x="1" y="125"/>
                    </a:lnTo>
                    <a:lnTo>
                      <a:pt x="0" y="125"/>
                    </a:lnTo>
                    <a:lnTo>
                      <a:pt x="0" y="123"/>
                    </a:lnTo>
                    <a:lnTo>
                      <a:pt x="0" y="123"/>
                    </a:lnTo>
                    <a:lnTo>
                      <a:pt x="1" y="122"/>
                    </a:lnTo>
                    <a:lnTo>
                      <a:pt x="3" y="117"/>
                    </a:lnTo>
                    <a:lnTo>
                      <a:pt x="4" y="115"/>
                    </a:lnTo>
                    <a:lnTo>
                      <a:pt x="4" y="114"/>
                    </a:lnTo>
                    <a:lnTo>
                      <a:pt x="8" y="114"/>
                    </a:lnTo>
                    <a:lnTo>
                      <a:pt x="9" y="114"/>
                    </a:lnTo>
                    <a:lnTo>
                      <a:pt x="11" y="114"/>
                    </a:lnTo>
                    <a:lnTo>
                      <a:pt x="14" y="114"/>
                    </a:lnTo>
                    <a:lnTo>
                      <a:pt x="17" y="114"/>
                    </a:lnTo>
                    <a:lnTo>
                      <a:pt x="18" y="114"/>
                    </a:lnTo>
                    <a:lnTo>
                      <a:pt x="18" y="112"/>
                    </a:lnTo>
                    <a:lnTo>
                      <a:pt x="20" y="112"/>
                    </a:lnTo>
                    <a:lnTo>
                      <a:pt x="20" y="111"/>
                    </a:lnTo>
                    <a:lnTo>
                      <a:pt x="20" y="109"/>
                    </a:lnTo>
                    <a:lnTo>
                      <a:pt x="20" y="103"/>
                    </a:lnTo>
                    <a:lnTo>
                      <a:pt x="18" y="100"/>
                    </a:lnTo>
                    <a:lnTo>
                      <a:pt x="18" y="97"/>
                    </a:lnTo>
                    <a:lnTo>
                      <a:pt x="18" y="97"/>
                    </a:lnTo>
                    <a:lnTo>
                      <a:pt x="18" y="95"/>
                    </a:lnTo>
                    <a:lnTo>
                      <a:pt x="20" y="92"/>
                    </a:lnTo>
                    <a:lnTo>
                      <a:pt x="20" y="89"/>
                    </a:lnTo>
                    <a:lnTo>
                      <a:pt x="22" y="89"/>
                    </a:lnTo>
                    <a:lnTo>
                      <a:pt x="23" y="84"/>
                    </a:lnTo>
                    <a:lnTo>
                      <a:pt x="23" y="82"/>
                    </a:lnTo>
                    <a:lnTo>
                      <a:pt x="23" y="82"/>
                    </a:lnTo>
                    <a:lnTo>
                      <a:pt x="23" y="78"/>
                    </a:lnTo>
                    <a:lnTo>
                      <a:pt x="23" y="75"/>
                    </a:lnTo>
                    <a:lnTo>
                      <a:pt x="25" y="73"/>
                    </a:lnTo>
                    <a:lnTo>
                      <a:pt x="26" y="72"/>
                    </a:lnTo>
                    <a:lnTo>
                      <a:pt x="28" y="72"/>
                    </a:lnTo>
                    <a:lnTo>
                      <a:pt x="28" y="72"/>
                    </a:lnTo>
                    <a:lnTo>
                      <a:pt x="29" y="72"/>
                    </a:lnTo>
                    <a:lnTo>
                      <a:pt x="31" y="73"/>
                    </a:lnTo>
                    <a:lnTo>
                      <a:pt x="33" y="73"/>
                    </a:lnTo>
                    <a:lnTo>
                      <a:pt x="33" y="72"/>
                    </a:lnTo>
                    <a:lnTo>
                      <a:pt x="34" y="72"/>
                    </a:lnTo>
                    <a:lnTo>
                      <a:pt x="34" y="70"/>
                    </a:lnTo>
                    <a:lnTo>
                      <a:pt x="34" y="65"/>
                    </a:lnTo>
                    <a:lnTo>
                      <a:pt x="34" y="64"/>
                    </a:lnTo>
                    <a:lnTo>
                      <a:pt x="36" y="61"/>
                    </a:lnTo>
                    <a:lnTo>
                      <a:pt x="36" y="57"/>
                    </a:lnTo>
                    <a:lnTo>
                      <a:pt x="37" y="56"/>
                    </a:lnTo>
                    <a:lnTo>
                      <a:pt x="37" y="54"/>
                    </a:lnTo>
                    <a:lnTo>
                      <a:pt x="40" y="51"/>
                    </a:lnTo>
                    <a:lnTo>
                      <a:pt x="42" y="48"/>
                    </a:lnTo>
                    <a:lnTo>
                      <a:pt x="43" y="45"/>
                    </a:lnTo>
                    <a:lnTo>
                      <a:pt x="45" y="42"/>
                    </a:lnTo>
                    <a:lnTo>
                      <a:pt x="47" y="40"/>
                    </a:lnTo>
                    <a:lnTo>
                      <a:pt x="48" y="39"/>
                    </a:lnTo>
                    <a:lnTo>
                      <a:pt x="50" y="39"/>
                    </a:lnTo>
                    <a:lnTo>
                      <a:pt x="53" y="39"/>
                    </a:lnTo>
                    <a:lnTo>
                      <a:pt x="54" y="39"/>
                    </a:lnTo>
                    <a:lnTo>
                      <a:pt x="54" y="37"/>
                    </a:lnTo>
                    <a:lnTo>
                      <a:pt x="54" y="37"/>
                    </a:lnTo>
                    <a:lnTo>
                      <a:pt x="54" y="34"/>
                    </a:lnTo>
                    <a:lnTo>
                      <a:pt x="56" y="31"/>
                    </a:lnTo>
                    <a:lnTo>
                      <a:pt x="56" y="28"/>
                    </a:lnTo>
                    <a:lnTo>
                      <a:pt x="58" y="26"/>
                    </a:lnTo>
                    <a:lnTo>
                      <a:pt x="58" y="25"/>
                    </a:lnTo>
                    <a:lnTo>
                      <a:pt x="59" y="23"/>
                    </a:lnTo>
                    <a:lnTo>
                      <a:pt x="59" y="21"/>
                    </a:lnTo>
                    <a:lnTo>
                      <a:pt x="61" y="18"/>
                    </a:lnTo>
                    <a:lnTo>
                      <a:pt x="61" y="15"/>
                    </a:lnTo>
                    <a:lnTo>
                      <a:pt x="62" y="11"/>
                    </a:lnTo>
                    <a:lnTo>
                      <a:pt x="62" y="11"/>
                    </a:lnTo>
                    <a:lnTo>
                      <a:pt x="65" y="9"/>
                    </a:lnTo>
                    <a:lnTo>
                      <a:pt x="67" y="9"/>
                    </a:lnTo>
                    <a:lnTo>
                      <a:pt x="68" y="11"/>
                    </a:lnTo>
                    <a:lnTo>
                      <a:pt x="70" y="11"/>
                    </a:lnTo>
                    <a:lnTo>
                      <a:pt x="72" y="11"/>
                    </a:lnTo>
                    <a:lnTo>
                      <a:pt x="72" y="9"/>
                    </a:lnTo>
                    <a:lnTo>
                      <a:pt x="73" y="7"/>
                    </a:lnTo>
                    <a:lnTo>
                      <a:pt x="73" y="7"/>
                    </a:lnTo>
                    <a:lnTo>
                      <a:pt x="75" y="7"/>
                    </a:lnTo>
                    <a:lnTo>
                      <a:pt x="76" y="9"/>
                    </a:lnTo>
                    <a:lnTo>
                      <a:pt x="79" y="12"/>
                    </a:lnTo>
                    <a:lnTo>
                      <a:pt x="79" y="12"/>
                    </a:lnTo>
                    <a:lnTo>
                      <a:pt x="81" y="12"/>
                    </a:lnTo>
                    <a:lnTo>
                      <a:pt x="81" y="9"/>
                    </a:lnTo>
                    <a:lnTo>
                      <a:pt x="83" y="7"/>
                    </a:lnTo>
                    <a:lnTo>
                      <a:pt x="84" y="3"/>
                    </a:lnTo>
                    <a:lnTo>
                      <a:pt x="86" y="0"/>
                    </a:lnTo>
                    <a:lnTo>
                      <a:pt x="87" y="1"/>
                    </a:lnTo>
                    <a:lnTo>
                      <a:pt x="87" y="1"/>
                    </a:lnTo>
                    <a:lnTo>
                      <a:pt x="89" y="3"/>
                    </a:lnTo>
                    <a:lnTo>
                      <a:pt x="90" y="3"/>
                    </a:lnTo>
                    <a:lnTo>
                      <a:pt x="90" y="3"/>
                    </a:lnTo>
                    <a:lnTo>
                      <a:pt x="92" y="3"/>
                    </a:lnTo>
                    <a:lnTo>
                      <a:pt x="95" y="7"/>
                    </a:lnTo>
                    <a:lnTo>
                      <a:pt x="95" y="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0" name="Freeform 67">
                <a:extLst>
                  <a:ext uri="{FF2B5EF4-FFF2-40B4-BE49-F238E27FC236}">
                    <a16:creationId xmlns:a16="http://schemas.microsoft.com/office/drawing/2014/main" id="{BD6C7A91-03BC-0C2E-BB17-3C004A85C7C4}"/>
                  </a:ext>
                </a:extLst>
              </p:cNvPr>
              <p:cNvSpPr>
                <a:spLocks noEditPoints="1"/>
              </p:cNvSpPr>
              <p:nvPr/>
            </p:nvSpPr>
            <p:spPr bwMode="gray">
              <a:xfrm>
                <a:off x="3044" y="33"/>
                <a:ext cx="185" cy="230"/>
              </a:xfrm>
              <a:custGeom>
                <a:avLst/>
                <a:gdLst>
                  <a:gd name="T0" fmla="*/ 11 w 185"/>
                  <a:gd name="T1" fmla="*/ 221 h 230"/>
                  <a:gd name="T2" fmla="*/ 13 w 185"/>
                  <a:gd name="T3" fmla="*/ 221 h 230"/>
                  <a:gd name="T4" fmla="*/ 24 w 185"/>
                  <a:gd name="T5" fmla="*/ 214 h 230"/>
                  <a:gd name="T6" fmla="*/ 19 w 185"/>
                  <a:gd name="T7" fmla="*/ 214 h 230"/>
                  <a:gd name="T8" fmla="*/ 24 w 185"/>
                  <a:gd name="T9" fmla="*/ 217 h 230"/>
                  <a:gd name="T10" fmla="*/ 14 w 185"/>
                  <a:gd name="T11" fmla="*/ 208 h 230"/>
                  <a:gd name="T12" fmla="*/ 17 w 185"/>
                  <a:gd name="T13" fmla="*/ 213 h 230"/>
                  <a:gd name="T14" fmla="*/ 3 w 185"/>
                  <a:gd name="T15" fmla="*/ 205 h 230"/>
                  <a:gd name="T16" fmla="*/ 6 w 185"/>
                  <a:gd name="T17" fmla="*/ 103 h 230"/>
                  <a:gd name="T18" fmla="*/ 0 w 185"/>
                  <a:gd name="T19" fmla="*/ 103 h 230"/>
                  <a:gd name="T20" fmla="*/ 6 w 185"/>
                  <a:gd name="T21" fmla="*/ 106 h 230"/>
                  <a:gd name="T22" fmla="*/ 64 w 185"/>
                  <a:gd name="T23" fmla="*/ 31 h 230"/>
                  <a:gd name="T24" fmla="*/ 69 w 185"/>
                  <a:gd name="T25" fmla="*/ 33 h 230"/>
                  <a:gd name="T26" fmla="*/ 182 w 185"/>
                  <a:gd name="T27" fmla="*/ 111 h 230"/>
                  <a:gd name="T28" fmla="*/ 164 w 185"/>
                  <a:gd name="T29" fmla="*/ 94 h 230"/>
                  <a:gd name="T30" fmla="*/ 164 w 185"/>
                  <a:gd name="T31" fmla="*/ 77 h 230"/>
                  <a:gd name="T32" fmla="*/ 166 w 185"/>
                  <a:gd name="T33" fmla="*/ 66 h 230"/>
                  <a:gd name="T34" fmla="*/ 157 w 185"/>
                  <a:gd name="T35" fmla="*/ 53 h 230"/>
                  <a:gd name="T36" fmla="*/ 158 w 185"/>
                  <a:gd name="T37" fmla="*/ 44 h 230"/>
                  <a:gd name="T38" fmla="*/ 150 w 185"/>
                  <a:gd name="T39" fmla="*/ 34 h 230"/>
                  <a:gd name="T40" fmla="*/ 155 w 185"/>
                  <a:gd name="T41" fmla="*/ 27 h 230"/>
                  <a:gd name="T42" fmla="*/ 150 w 185"/>
                  <a:gd name="T43" fmla="*/ 23 h 230"/>
                  <a:gd name="T44" fmla="*/ 152 w 185"/>
                  <a:gd name="T45" fmla="*/ 8 h 230"/>
                  <a:gd name="T46" fmla="*/ 158 w 185"/>
                  <a:gd name="T47" fmla="*/ 0 h 230"/>
                  <a:gd name="T48" fmla="*/ 74 w 185"/>
                  <a:gd name="T49" fmla="*/ 11 h 230"/>
                  <a:gd name="T50" fmla="*/ 77 w 185"/>
                  <a:gd name="T51" fmla="*/ 31 h 230"/>
                  <a:gd name="T52" fmla="*/ 74 w 185"/>
                  <a:gd name="T53" fmla="*/ 41 h 230"/>
                  <a:gd name="T54" fmla="*/ 61 w 185"/>
                  <a:gd name="T55" fmla="*/ 45 h 230"/>
                  <a:gd name="T56" fmla="*/ 46 w 185"/>
                  <a:gd name="T57" fmla="*/ 69 h 230"/>
                  <a:gd name="T58" fmla="*/ 30 w 185"/>
                  <a:gd name="T59" fmla="*/ 88 h 230"/>
                  <a:gd name="T60" fmla="*/ 24 w 185"/>
                  <a:gd name="T61" fmla="*/ 97 h 230"/>
                  <a:gd name="T62" fmla="*/ 19 w 185"/>
                  <a:gd name="T63" fmla="*/ 105 h 230"/>
                  <a:gd name="T64" fmla="*/ 11 w 185"/>
                  <a:gd name="T65" fmla="*/ 113 h 230"/>
                  <a:gd name="T66" fmla="*/ 2 w 185"/>
                  <a:gd name="T67" fmla="*/ 128 h 230"/>
                  <a:gd name="T68" fmla="*/ 5 w 185"/>
                  <a:gd name="T69" fmla="*/ 147 h 230"/>
                  <a:gd name="T70" fmla="*/ 10 w 185"/>
                  <a:gd name="T71" fmla="*/ 167 h 230"/>
                  <a:gd name="T72" fmla="*/ 10 w 185"/>
                  <a:gd name="T73" fmla="*/ 171 h 230"/>
                  <a:gd name="T74" fmla="*/ 8 w 185"/>
                  <a:gd name="T75" fmla="*/ 183 h 230"/>
                  <a:gd name="T76" fmla="*/ 6 w 185"/>
                  <a:gd name="T77" fmla="*/ 200 h 230"/>
                  <a:gd name="T78" fmla="*/ 14 w 185"/>
                  <a:gd name="T79" fmla="*/ 203 h 230"/>
                  <a:gd name="T80" fmla="*/ 27 w 185"/>
                  <a:gd name="T81" fmla="*/ 211 h 230"/>
                  <a:gd name="T82" fmla="*/ 27 w 185"/>
                  <a:gd name="T83" fmla="*/ 217 h 230"/>
                  <a:gd name="T84" fmla="*/ 25 w 185"/>
                  <a:gd name="T85" fmla="*/ 222 h 230"/>
                  <a:gd name="T86" fmla="*/ 31 w 185"/>
                  <a:gd name="T87" fmla="*/ 221 h 230"/>
                  <a:gd name="T88" fmla="*/ 38 w 185"/>
                  <a:gd name="T89" fmla="*/ 222 h 230"/>
                  <a:gd name="T90" fmla="*/ 35 w 185"/>
                  <a:gd name="T91" fmla="*/ 230 h 230"/>
                  <a:gd name="T92" fmla="*/ 52 w 185"/>
                  <a:gd name="T93" fmla="*/ 224 h 230"/>
                  <a:gd name="T94" fmla="*/ 69 w 185"/>
                  <a:gd name="T95" fmla="*/ 219 h 230"/>
                  <a:gd name="T96" fmla="*/ 81 w 185"/>
                  <a:gd name="T97" fmla="*/ 214 h 230"/>
                  <a:gd name="T98" fmla="*/ 88 w 185"/>
                  <a:gd name="T99" fmla="*/ 210 h 230"/>
                  <a:gd name="T100" fmla="*/ 96 w 185"/>
                  <a:gd name="T101" fmla="*/ 205 h 230"/>
                  <a:gd name="T102" fmla="*/ 97 w 185"/>
                  <a:gd name="T103" fmla="*/ 210 h 230"/>
                  <a:gd name="T104" fmla="*/ 110 w 185"/>
                  <a:gd name="T105" fmla="*/ 205 h 230"/>
                  <a:gd name="T106" fmla="*/ 125 w 185"/>
                  <a:gd name="T107" fmla="*/ 197 h 230"/>
                  <a:gd name="T108" fmla="*/ 135 w 185"/>
                  <a:gd name="T109" fmla="*/ 186 h 230"/>
                  <a:gd name="T110" fmla="*/ 152 w 185"/>
                  <a:gd name="T111" fmla="*/ 169 h 230"/>
                  <a:gd name="T112" fmla="*/ 174 w 185"/>
                  <a:gd name="T113" fmla="*/ 139 h 230"/>
                  <a:gd name="T114" fmla="*/ 185 w 185"/>
                  <a:gd name="T115" fmla="*/ 11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 h="230">
                    <a:moveTo>
                      <a:pt x="11" y="219"/>
                    </a:moveTo>
                    <a:lnTo>
                      <a:pt x="10" y="217"/>
                    </a:lnTo>
                    <a:lnTo>
                      <a:pt x="8" y="219"/>
                    </a:lnTo>
                    <a:lnTo>
                      <a:pt x="8" y="219"/>
                    </a:lnTo>
                    <a:lnTo>
                      <a:pt x="10" y="221"/>
                    </a:lnTo>
                    <a:lnTo>
                      <a:pt x="11" y="221"/>
                    </a:lnTo>
                    <a:lnTo>
                      <a:pt x="11" y="219"/>
                    </a:lnTo>
                    <a:lnTo>
                      <a:pt x="11" y="219"/>
                    </a:lnTo>
                    <a:close/>
                    <a:moveTo>
                      <a:pt x="13" y="217"/>
                    </a:moveTo>
                    <a:lnTo>
                      <a:pt x="11" y="217"/>
                    </a:lnTo>
                    <a:lnTo>
                      <a:pt x="11" y="221"/>
                    </a:lnTo>
                    <a:lnTo>
                      <a:pt x="13" y="221"/>
                    </a:lnTo>
                    <a:lnTo>
                      <a:pt x="14" y="219"/>
                    </a:lnTo>
                    <a:lnTo>
                      <a:pt x="14" y="217"/>
                    </a:lnTo>
                    <a:lnTo>
                      <a:pt x="13" y="217"/>
                    </a:lnTo>
                    <a:close/>
                    <a:moveTo>
                      <a:pt x="22" y="216"/>
                    </a:moveTo>
                    <a:lnTo>
                      <a:pt x="22" y="214"/>
                    </a:lnTo>
                    <a:lnTo>
                      <a:pt x="24" y="214"/>
                    </a:lnTo>
                    <a:lnTo>
                      <a:pt x="24" y="211"/>
                    </a:lnTo>
                    <a:lnTo>
                      <a:pt x="22" y="213"/>
                    </a:lnTo>
                    <a:lnTo>
                      <a:pt x="21" y="211"/>
                    </a:lnTo>
                    <a:lnTo>
                      <a:pt x="19" y="211"/>
                    </a:lnTo>
                    <a:lnTo>
                      <a:pt x="19" y="213"/>
                    </a:lnTo>
                    <a:lnTo>
                      <a:pt x="19" y="214"/>
                    </a:lnTo>
                    <a:lnTo>
                      <a:pt x="19" y="214"/>
                    </a:lnTo>
                    <a:lnTo>
                      <a:pt x="21" y="216"/>
                    </a:lnTo>
                    <a:lnTo>
                      <a:pt x="21" y="217"/>
                    </a:lnTo>
                    <a:lnTo>
                      <a:pt x="22" y="219"/>
                    </a:lnTo>
                    <a:lnTo>
                      <a:pt x="24" y="219"/>
                    </a:lnTo>
                    <a:lnTo>
                      <a:pt x="24" y="217"/>
                    </a:lnTo>
                    <a:lnTo>
                      <a:pt x="22" y="216"/>
                    </a:lnTo>
                    <a:close/>
                    <a:moveTo>
                      <a:pt x="17" y="211"/>
                    </a:moveTo>
                    <a:lnTo>
                      <a:pt x="16" y="210"/>
                    </a:lnTo>
                    <a:lnTo>
                      <a:pt x="16" y="210"/>
                    </a:lnTo>
                    <a:lnTo>
                      <a:pt x="16" y="208"/>
                    </a:lnTo>
                    <a:lnTo>
                      <a:pt x="14" y="208"/>
                    </a:lnTo>
                    <a:lnTo>
                      <a:pt x="14" y="208"/>
                    </a:lnTo>
                    <a:lnTo>
                      <a:pt x="14" y="210"/>
                    </a:lnTo>
                    <a:lnTo>
                      <a:pt x="14" y="210"/>
                    </a:lnTo>
                    <a:lnTo>
                      <a:pt x="14" y="211"/>
                    </a:lnTo>
                    <a:lnTo>
                      <a:pt x="16" y="213"/>
                    </a:lnTo>
                    <a:lnTo>
                      <a:pt x="17" y="213"/>
                    </a:lnTo>
                    <a:lnTo>
                      <a:pt x="17" y="211"/>
                    </a:lnTo>
                    <a:close/>
                    <a:moveTo>
                      <a:pt x="5" y="203"/>
                    </a:moveTo>
                    <a:lnTo>
                      <a:pt x="5" y="202"/>
                    </a:lnTo>
                    <a:lnTo>
                      <a:pt x="3" y="202"/>
                    </a:lnTo>
                    <a:lnTo>
                      <a:pt x="3" y="203"/>
                    </a:lnTo>
                    <a:lnTo>
                      <a:pt x="3" y="205"/>
                    </a:lnTo>
                    <a:lnTo>
                      <a:pt x="5" y="208"/>
                    </a:lnTo>
                    <a:lnTo>
                      <a:pt x="6" y="207"/>
                    </a:lnTo>
                    <a:lnTo>
                      <a:pt x="6" y="207"/>
                    </a:lnTo>
                    <a:lnTo>
                      <a:pt x="8" y="205"/>
                    </a:lnTo>
                    <a:lnTo>
                      <a:pt x="5" y="203"/>
                    </a:lnTo>
                    <a:close/>
                    <a:moveTo>
                      <a:pt x="6" y="103"/>
                    </a:moveTo>
                    <a:lnTo>
                      <a:pt x="5" y="105"/>
                    </a:lnTo>
                    <a:lnTo>
                      <a:pt x="3" y="105"/>
                    </a:lnTo>
                    <a:lnTo>
                      <a:pt x="3" y="105"/>
                    </a:lnTo>
                    <a:lnTo>
                      <a:pt x="3" y="103"/>
                    </a:lnTo>
                    <a:lnTo>
                      <a:pt x="3" y="103"/>
                    </a:lnTo>
                    <a:lnTo>
                      <a:pt x="0" y="103"/>
                    </a:lnTo>
                    <a:lnTo>
                      <a:pt x="2" y="106"/>
                    </a:lnTo>
                    <a:lnTo>
                      <a:pt x="3" y="108"/>
                    </a:lnTo>
                    <a:lnTo>
                      <a:pt x="5" y="108"/>
                    </a:lnTo>
                    <a:lnTo>
                      <a:pt x="5" y="106"/>
                    </a:lnTo>
                    <a:lnTo>
                      <a:pt x="6" y="106"/>
                    </a:lnTo>
                    <a:lnTo>
                      <a:pt x="6" y="106"/>
                    </a:lnTo>
                    <a:lnTo>
                      <a:pt x="6" y="106"/>
                    </a:lnTo>
                    <a:lnTo>
                      <a:pt x="6" y="105"/>
                    </a:lnTo>
                    <a:lnTo>
                      <a:pt x="6" y="103"/>
                    </a:lnTo>
                    <a:close/>
                    <a:moveTo>
                      <a:pt x="69" y="31"/>
                    </a:moveTo>
                    <a:lnTo>
                      <a:pt x="66" y="30"/>
                    </a:lnTo>
                    <a:lnTo>
                      <a:pt x="64" y="31"/>
                    </a:lnTo>
                    <a:lnTo>
                      <a:pt x="63" y="33"/>
                    </a:lnTo>
                    <a:lnTo>
                      <a:pt x="63" y="34"/>
                    </a:lnTo>
                    <a:lnTo>
                      <a:pt x="64" y="36"/>
                    </a:lnTo>
                    <a:lnTo>
                      <a:pt x="67" y="34"/>
                    </a:lnTo>
                    <a:lnTo>
                      <a:pt x="67" y="33"/>
                    </a:lnTo>
                    <a:lnTo>
                      <a:pt x="69" y="33"/>
                    </a:lnTo>
                    <a:lnTo>
                      <a:pt x="69" y="31"/>
                    </a:lnTo>
                    <a:close/>
                    <a:moveTo>
                      <a:pt x="185" y="116"/>
                    </a:moveTo>
                    <a:lnTo>
                      <a:pt x="185" y="116"/>
                    </a:lnTo>
                    <a:lnTo>
                      <a:pt x="183" y="114"/>
                    </a:lnTo>
                    <a:lnTo>
                      <a:pt x="183" y="114"/>
                    </a:lnTo>
                    <a:lnTo>
                      <a:pt x="182" y="111"/>
                    </a:lnTo>
                    <a:lnTo>
                      <a:pt x="180" y="108"/>
                    </a:lnTo>
                    <a:lnTo>
                      <a:pt x="178" y="106"/>
                    </a:lnTo>
                    <a:lnTo>
                      <a:pt x="175" y="102"/>
                    </a:lnTo>
                    <a:lnTo>
                      <a:pt x="175" y="102"/>
                    </a:lnTo>
                    <a:lnTo>
                      <a:pt x="169" y="97"/>
                    </a:lnTo>
                    <a:lnTo>
                      <a:pt x="164" y="94"/>
                    </a:lnTo>
                    <a:lnTo>
                      <a:pt x="158" y="88"/>
                    </a:lnTo>
                    <a:lnTo>
                      <a:pt x="158" y="86"/>
                    </a:lnTo>
                    <a:lnTo>
                      <a:pt x="157" y="84"/>
                    </a:lnTo>
                    <a:lnTo>
                      <a:pt x="158" y="84"/>
                    </a:lnTo>
                    <a:lnTo>
                      <a:pt x="161" y="83"/>
                    </a:lnTo>
                    <a:lnTo>
                      <a:pt x="164" y="77"/>
                    </a:lnTo>
                    <a:lnTo>
                      <a:pt x="166" y="74"/>
                    </a:lnTo>
                    <a:lnTo>
                      <a:pt x="166" y="74"/>
                    </a:lnTo>
                    <a:lnTo>
                      <a:pt x="166" y="72"/>
                    </a:lnTo>
                    <a:lnTo>
                      <a:pt x="166" y="69"/>
                    </a:lnTo>
                    <a:lnTo>
                      <a:pt x="166" y="67"/>
                    </a:lnTo>
                    <a:lnTo>
                      <a:pt x="166" y="66"/>
                    </a:lnTo>
                    <a:lnTo>
                      <a:pt x="164" y="63"/>
                    </a:lnTo>
                    <a:lnTo>
                      <a:pt x="160" y="59"/>
                    </a:lnTo>
                    <a:lnTo>
                      <a:pt x="158" y="56"/>
                    </a:lnTo>
                    <a:lnTo>
                      <a:pt x="158" y="55"/>
                    </a:lnTo>
                    <a:lnTo>
                      <a:pt x="157" y="53"/>
                    </a:lnTo>
                    <a:lnTo>
                      <a:pt x="157" y="53"/>
                    </a:lnTo>
                    <a:lnTo>
                      <a:pt x="157" y="52"/>
                    </a:lnTo>
                    <a:lnTo>
                      <a:pt x="160" y="48"/>
                    </a:lnTo>
                    <a:lnTo>
                      <a:pt x="160" y="47"/>
                    </a:lnTo>
                    <a:lnTo>
                      <a:pt x="160" y="45"/>
                    </a:lnTo>
                    <a:lnTo>
                      <a:pt x="160" y="44"/>
                    </a:lnTo>
                    <a:lnTo>
                      <a:pt x="158" y="44"/>
                    </a:lnTo>
                    <a:lnTo>
                      <a:pt x="158" y="44"/>
                    </a:lnTo>
                    <a:lnTo>
                      <a:pt x="153" y="42"/>
                    </a:lnTo>
                    <a:lnTo>
                      <a:pt x="152" y="41"/>
                    </a:lnTo>
                    <a:lnTo>
                      <a:pt x="152" y="38"/>
                    </a:lnTo>
                    <a:lnTo>
                      <a:pt x="150" y="34"/>
                    </a:lnTo>
                    <a:lnTo>
                      <a:pt x="150" y="34"/>
                    </a:lnTo>
                    <a:lnTo>
                      <a:pt x="150" y="33"/>
                    </a:lnTo>
                    <a:lnTo>
                      <a:pt x="150" y="33"/>
                    </a:lnTo>
                    <a:lnTo>
                      <a:pt x="152" y="31"/>
                    </a:lnTo>
                    <a:lnTo>
                      <a:pt x="153" y="30"/>
                    </a:lnTo>
                    <a:lnTo>
                      <a:pt x="155" y="28"/>
                    </a:lnTo>
                    <a:lnTo>
                      <a:pt x="155" y="27"/>
                    </a:lnTo>
                    <a:lnTo>
                      <a:pt x="153" y="25"/>
                    </a:lnTo>
                    <a:lnTo>
                      <a:pt x="150" y="25"/>
                    </a:lnTo>
                    <a:lnTo>
                      <a:pt x="150" y="25"/>
                    </a:lnTo>
                    <a:lnTo>
                      <a:pt x="150" y="23"/>
                    </a:lnTo>
                    <a:lnTo>
                      <a:pt x="150" y="23"/>
                    </a:lnTo>
                    <a:lnTo>
                      <a:pt x="150" y="23"/>
                    </a:lnTo>
                    <a:lnTo>
                      <a:pt x="152" y="20"/>
                    </a:lnTo>
                    <a:lnTo>
                      <a:pt x="153" y="14"/>
                    </a:lnTo>
                    <a:lnTo>
                      <a:pt x="155" y="9"/>
                    </a:lnTo>
                    <a:lnTo>
                      <a:pt x="152" y="8"/>
                    </a:lnTo>
                    <a:lnTo>
                      <a:pt x="152" y="8"/>
                    </a:lnTo>
                    <a:lnTo>
                      <a:pt x="152" y="8"/>
                    </a:lnTo>
                    <a:lnTo>
                      <a:pt x="155" y="6"/>
                    </a:lnTo>
                    <a:lnTo>
                      <a:pt x="158" y="6"/>
                    </a:lnTo>
                    <a:lnTo>
                      <a:pt x="160" y="5"/>
                    </a:lnTo>
                    <a:lnTo>
                      <a:pt x="160" y="3"/>
                    </a:lnTo>
                    <a:lnTo>
                      <a:pt x="160" y="0"/>
                    </a:lnTo>
                    <a:lnTo>
                      <a:pt x="158" y="0"/>
                    </a:lnTo>
                    <a:lnTo>
                      <a:pt x="63" y="0"/>
                    </a:lnTo>
                    <a:lnTo>
                      <a:pt x="63" y="2"/>
                    </a:lnTo>
                    <a:lnTo>
                      <a:pt x="64" y="6"/>
                    </a:lnTo>
                    <a:lnTo>
                      <a:pt x="66" y="6"/>
                    </a:lnTo>
                    <a:lnTo>
                      <a:pt x="67" y="6"/>
                    </a:lnTo>
                    <a:lnTo>
                      <a:pt x="74" y="11"/>
                    </a:lnTo>
                    <a:lnTo>
                      <a:pt x="75" y="14"/>
                    </a:lnTo>
                    <a:lnTo>
                      <a:pt x="75" y="19"/>
                    </a:lnTo>
                    <a:lnTo>
                      <a:pt x="75" y="23"/>
                    </a:lnTo>
                    <a:lnTo>
                      <a:pt x="74" y="28"/>
                    </a:lnTo>
                    <a:lnTo>
                      <a:pt x="75" y="30"/>
                    </a:lnTo>
                    <a:lnTo>
                      <a:pt x="77" y="31"/>
                    </a:lnTo>
                    <a:lnTo>
                      <a:pt x="77" y="33"/>
                    </a:lnTo>
                    <a:lnTo>
                      <a:pt x="74" y="34"/>
                    </a:lnTo>
                    <a:lnTo>
                      <a:pt x="74" y="36"/>
                    </a:lnTo>
                    <a:lnTo>
                      <a:pt x="75" y="38"/>
                    </a:lnTo>
                    <a:lnTo>
                      <a:pt x="75" y="39"/>
                    </a:lnTo>
                    <a:lnTo>
                      <a:pt x="74" y="41"/>
                    </a:lnTo>
                    <a:lnTo>
                      <a:pt x="72" y="39"/>
                    </a:lnTo>
                    <a:lnTo>
                      <a:pt x="69" y="39"/>
                    </a:lnTo>
                    <a:lnTo>
                      <a:pt x="66" y="41"/>
                    </a:lnTo>
                    <a:lnTo>
                      <a:pt x="64" y="42"/>
                    </a:lnTo>
                    <a:lnTo>
                      <a:pt x="61" y="42"/>
                    </a:lnTo>
                    <a:lnTo>
                      <a:pt x="61" y="45"/>
                    </a:lnTo>
                    <a:lnTo>
                      <a:pt x="60" y="47"/>
                    </a:lnTo>
                    <a:lnTo>
                      <a:pt x="56" y="53"/>
                    </a:lnTo>
                    <a:lnTo>
                      <a:pt x="52" y="59"/>
                    </a:lnTo>
                    <a:lnTo>
                      <a:pt x="50" y="64"/>
                    </a:lnTo>
                    <a:lnTo>
                      <a:pt x="50" y="64"/>
                    </a:lnTo>
                    <a:lnTo>
                      <a:pt x="46" y="69"/>
                    </a:lnTo>
                    <a:lnTo>
                      <a:pt x="46" y="74"/>
                    </a:lnTo>
                    <a:lnTo>
                      <a:pt x="44" y="74"/>
                    </a:lnTo>
                    <a:lnTo>
                      <a:pt x="39" y="78"/>
                    </a:lnTo>
                    <a:lnTo>
                      <a:pt x="36" y="80"/>
                    </a:lnTo>
                    <a:lnTo>
                      <a:pt x="35" y="81"/>
                    </a:lnTo>
                    <a:lnTo>
                      <a:pt x="30" y="88"/>
                    </a:lnTo>
                    <a:lnTo>
                      <a:pt x="27" y="89"/>
                    </a:lnTo>
                    <a:lnTo>
                      <a:pt x="27" y="91"/>
                    </a:lnTo>
                    <a:lnTo>
                      <a:pt x="24" y="95"/>
                    </a:lnTo>
                    <a:lnTo>
                      <a:pt x="22" y="94"/>
                    </a:lnTo>
                    <a:lnTo>
                      <a:pt x="22" y="95"/>
                    </a:lnTo>
                    <a:lnTo>
                      <a:pt x="24" y="97"/>
                    </a:lnTo>
                    <a:lnTo>
                      <a:pt x="22" y="97"/>
                    </a:lnTo>
                    <a:lnTo>
                      <a:pt x="22" y="97"/>
                    </a:lnTo>
                    <a:lnTo>
                      <a:pt x="22" y="99"/>
                    </a:lnTo>
                    <a:lnTo>
                      <a:pt x="22" y="100"/>
                    </a:lnTo>
                    <a:lnTo>
                      <a:pt x="22" y="102"/>
                    </a:lnTo>
                    <a:lnTo>
                      <a:pt x="19" y="105"/>
                    </a:lnTo>
                    <a:lnTo>
                      <a:pt x="16" y="106"/>
                    </a:lnTo>
                    <a:lnTo>
                      <a:pt x="14" y="105"/>
                    </a:lnTo>
                    <a:lnTo>
                      <a:pt x="10" y="106"/>
                    </a:lnTo>
                    <a:lnTo>
                      <a:pt x="10" y="108"/>
                    </a:lnTo>
                    <a:lnTo>
                      <a:pt x="10" y="110"/>
                    </a:lnTo>
                    <a:lnTo>
                      <a:pt x="11" y="113"/>
                    </a:lnTo>
                    <a:lnTo>
                      <a:pt x="8" y="113"/>
                    </a:lnTo>
                    <a:lnTo>
                      <a:pt x="8" y="116"/>
                    </a:lnTo>
                    <a:lnTo>
                      <a:pt x="3" y="122"/>
                    </a:lnTo>
                    <a:lnTo>
                      <a:pt x="2" y="124"/>
                    </a:lnTo>
                    <a:lnTo>
                      <a:pt x="2" y="125"/>
                    </a:lnTo>
                    <a:lnTo>
                      <a:pt x="2" y="128"/>
                    </a:lnTo>
                    <a:lnTo>
                      <a:pt x="2" y="133"/>
                    </a:lnTo>
                    <a:lnTo>
                      <a:pt x="2" y="136"/>
                    </a:lnTo>
                    <a:lnTo>
                      <a:pt x="5" y="139"/>
                    </a:lnTo>
                    <a:lnTo>
                      <a:pt x="5" y="141"/>
                    </a:lnTo>
                    <a:lnTo>
                      <a:pt x="6" y="144"/>
                    </a:lnTo>
                    <a:lnTo>
                      <a:pt x="5" y="147"/>
                    </a:lnTo>
                    <a:lnTo>
                      <a:pt x="3" y="152"/>
                    </a:lnTo>
                    <a:lnTo>
                      <a:pt x="6" y="155"/>
                    </a:lnTo>
                    <a:lnTo>
                      <a:pt x="8" y="160"/>
                    </a:lnTo>
                    <a:lnTo>
                      <a:pt x="10" y="163"/>
                    </a:lnTo>
                    <a:lnTo>
                      <a:pt x="10" y="164"/>
                    </a:lnTo>
                    <a:lnTo>
                      <a:pt x="10" y="167"/>
                    </a:lnTo>
                    <a:lnTo>
                      <a:pt x="10" y="167"/>
                    </a:lnTo>
                    <a:lnTo>
                      <a:pt x="10" y="167"/>
                    </a:lnTo>
                    <a:lnTo>
                      <a:pt x="8" y="167"/>
                    </a:lnTo>
                    <a:lnTo>
                      <a:pt x="8" y="169"/>
                    </a:lnTo>
                    <a:lnTo>
                      <a:pt x="8" y="169"/>
                    </a:lnTo>
                    <a:lnTo>
                      <a:pt x="10" y="171"/>
                    </a:lnTo>
                    <a:lnTo>
                      <a:pt x="10" y="171"/>
                    </a:lnTo>
                    <a:lnTo>
                      <a:pt x="8" y="171"/>
                    </a:lnTo>
                    <a:lnTo>
                      <a:pt x="8" y="172"/>
                    </a:lnTo>
                    <a:lnTo>
                      <a:pt x="8" y="174"/>
                    </a:lnTo>
                    <a:lnTo>
                      <a:pt x="8" y="178"/>
                    </a:lnTo>
                    <a:lnTo>
                      <a:pt x="8" y="183"/>
                    </a:lnTo>
                    <a:lnTo>
                      <a:pt x="8" y="185"/>
                    </a:lnTo>
                    <a:lnTo>
                      <a:pt x="6" y="186"/>
                    </a:lnTo>
                    <a:lnTo>
                      <a:pt x="6" y="189"/>
                    </a:lnTo>
                    <a:lnTo>
                      <a:pt x="6" y="194"/>
                    </a:lnTo>
                    <a:lnTo>
                      <a:pt x="6" y="197"/>
                    </a:lnTo>
                    <a:lnTo>
                      <a:pt x="6" y="200"/>
                    </a:lnTo>
                    <a:lnTo>
                      <a:pt x="6" y="202"/>
                    </a:lnTo>
                    <a:lnTo>
                      <a:pt x="6" y="203"/>
                    </a:lnTo>
                    <a:lnTo>
                      <a:pt x="8" y="203"/>
                    </a:lnTo>
                    <a:lnTo>
                      <a:pt x="10" y="205"/>
                    </a:lnTo>
                    <a:lnTo>
                      <a:pt x="13" y="203"/>
                    </a:lnTo>
                    <a:lnTo>
                      <a:pt x="14" y="203"/>
                    </a:lnTo>
                    <a:lnTo>
                      <a:pt x="14" y="207"/>
                    </a:lnTo>
                    <a:lnTo>
                      <a:pt x="16" y="207"/>
                    </a:lnTo>
                    <a:lnTo>
                      <a:pt x="22" y="210"/>
                    </a:lnTo>
                    <a:lnTo>
                      <a:pt x="27" y="211"/>
                    </a:lnTo>
                    <a:lnTo>
                      <a:pt x="27" y="211"/>
                    </a:lnTo>
                    <a:lnTo>
                      <a:pt x="27" y="211"/>
                    </a:lnTo>
                    <a:lnTo>
                      <a:pt x="27" y="211"/>
                    </a:lnTo>
                    <a:lnTo>
                      <a:pt x="27" y="214"/>
                    </a:lnTo>
                    <a:lnTo>
                      <a:pt x="27" y="214"/>
                    </a:lnTo>
                    <a:lnTo>
                      <a:pt x="27" y="216"/>
                    </a:lnTo>
                    <a:lnTo>
                      <a:pt x="27" y="216"/>
                    </a:lnTo>
                    <a:lnTo>
                      <a:pt x="27" y="217"/>
                    </a:lnTo>
                    <a:lnTo>
                      <a:pt x="27" y="217"/>
                    </a:lnTo>
                    <a:lnTo>
                      <a:pt x="25" y="217"/>
                    </a:lnTo>
                    <a:lnTo>
                      <a:pt x="25" y="219"/>
                    </a:lnTo>
                    <a:lnTo>
                      <a:pt x="25" y="219"/>
                    </a:lnTo>
                    <a:lnTo>
                      <a:pt x="25" y="221"/>
                    </a:lnTo>
                    <a:lnTo>
                      <a:pt x="25" y="222"/>
                    </a:lnTo>
                    <a:lnTo>
                      <a:pt x="25" y="224"/>
                    </a:lnTo>
                    <a:lnTo>
                      <a:pt x="28" y="224"/>
                    </a:lnTo>
                    <a:lnTo>
                      <a:pt x="30" y="224"/>
                    </a:lnTo>
                    <a:lnTo>
                      <a:pt x="30" y="222"/>
                    </a:lnTo>
                    <a:lnTo>
                      <a:pt x="31" y="222"/>
                    </a:lnTo>
                    <a:lnTo>
                      <a:pt x="31" y="221"/>
                    </a:lnTo>
                    <a:lnTo>
                      <a:pt x="31" y="217"/>
                    </a:lnTo>
                    <a:lnTo>
                      <a:pt x="31" y="217"/>
                    </a:lnTo>
                    <a:lnTo>
                      <a:pt x="33" y="217"/>
                    </a:lnTo>
                    <a:lnTo>
                      <a:pt x="35" y="221"/>
                    </a:lnTo>
                    <a:lnTo>
                      <a:pt x="36" y="222"/>
                    </a:lnTo>
                    <a:lnTo>
                      <a:pt x="38" y="222"/>
                    </a:lnTo>
                    <a:lnTo>
                      <a:pt x="38" y="224"/>
                    </a:lnTo>
                    <a:lnTo>
                      <a:pt x="38" y="225"/>
                    </a:lnTo>
                    <a:lnTo>
                      <a:pt x="36" y="227"/>
                    </a:lnTo>
                    <a:lnTo>
                      <a:pt x="35" y="228"/>
                    </a:lnTo>
                    <a:lnTo>
                      <a:pt x="35" y="230"/>
                    </a:lnTo>
                    <a:lnTo>
                      <a:pt x="35" y="230"/>
                    </a:lnTo>
                    <a:lnTo>
                      <a:pt x="38" y="230"/>
                    </a:lnTo>
                    <a:lnTo>
                      <a:pt x="41" y="227"/>
                    </a:lnTo>
                    <a:lnTo>
                      <a:pt x="42" y="225"/>
                    </a:lnTo>
                    <a:lnTo>
                      <a:pt x="46" y="225"/>
                    </a:lnTo>
                    <a:lnTo>
                      <a:pt x="47" y="225"/>
                    </a:lnTo>
                    <a:lnTo>
                      <a:pt x="52" y="224"/>
                    </a:lnTo>
                    <a:lnTo>
                      <a:pt x="58" y="222"/>
                    </a:lnTo>
                    <a:lnTo>
                      <a:pt x="60" y="224"/>
                    </a:lnTo>
                    <a:lnTo>
                      <a:pt x="61" y="222"/>
                    </a:lnTo>
                    <a:lnTo>
                      <a:pt x="63" y="221"/>
                    </a:lnTo>
                    <a:lnTo>
                      <a:pt x="67" y="219"/>
                    </a:lnTo>
                    <a:lnTo>
                      <a:pt x="69" y="219"/>
                    </a:lnTo>
                    <a:lnTo>
                      <a:pt x="72" y="217"/>
                    </a:lnTo>
                    <a:lnTo>
                      <a:pt x="74" y="216"/>
                    </a:lnTo>
                    <a:lnTo>
                      <a:pt x="78" y="214"/>
                    </a:lnTo>
                    <a:lnTo>
                      <a:pt x="80" y="214"/>
                    </a:lnTo>
                    <a:lnTo>
                      <a:pt x="81" y="213"/>
                    </a:lnTo>
                    <a:lnTo>
                      <a:pt x="81" y="214"/>
                    </a:lnTo>
                    <a:lnTo>
                      <a:pt x="83" y="214"/>
                    </a:lnTo>
                    <a:lnTo>
                      <a:pt x="85" y="213"/>
                    </a:lnTo>
                    <a:lnTo>
                      <a:pt x="86" y="213"/>
                    </a:lnTo>
                    <a:lnTo>
                      <a:pt x="88" y="213"/>
                    </a:lnTo>
                    <a:lnTo>
                      <a:pt x="88" y="211"/>
                    </a:lnTo>
                    <a:lnTo>
                      <a:pt x="88" y="210"/>
                    </a:lnTo>
                    <a:lnTo>
                      <a:pt x="86" y="208"/>
                    </a:lnTo>
                    <a:lnTo>
                      <a:pt x="88" y="208"/>
                    </a:lnTo>
                    <a:lnTo>
                      <a:pt x="91" y="210"/>
                    </a:lnTo>
                    <a:lnTo>
                      <a:pt x="94" y="210"/>
                    </a:lnTo>
                    <a:lnTo>
                      <a:pt x="96" y="208"/>
                    </a:lnTo>
                    <a:lnTo>
                      <a:pt x="96" y="205"/>
                    </a:lnTo>
                    <a:lnTo>
                      <a:pt x="97" y="202"/>
                    </a:lnTo>
                    <a:lnTo>
                      <a:pt x="97" y="202"/>
                    </a:lnTo>
                    <a:lnTo>
                      <a:pt x="97" y="203"/>
                    </a:lnTo>
                    <a:lnTo>
                      <a:pt x="97" y="205"/>
                    </a:lnTo>
                    <a:lnTo>
                      <a:pt x="97" y="208"/>
                    </a:lnTo>
                    <a:lnTo>
                      <a:pt x="97" y="210"/>
                    </a:lnTo>
                    <a:lnTo>
                      <a:pt x="97" y="208"/>
                    </a:lnTo>
                    <a:lnTo>
                      <a:pt x="100" y="208"/>
                    </a:lnTo>
                    <a:lnTo>
                      <a:pt x="103" y="208"/>
                    </a:lnTo>
                    <a:lnTo>
                      <a:pt x="106" y="205"/>
                    </a:lnTo>
                    <a:lnTo>
                      <a:pt x="108" y="205"/>
                    </a:lnTo>
                    <a:lnTo>
                      <a:pt x="110" y="205"/>
                    </a:lnTo>
                    <a:lnTo>
                      <a:pt x="113" y="208"/>
                    </a:lnTo>
                    <a:lnTo>
                      <a:pt x="114" y="207"/>
                    </a:lnTo>
                    <a:lnTo>
                      <a:pt x="116" y="207"/>
                    </a:lnTo>
                    <a:lnTo>
                      <a:pt x="117" y="205"/>
                    </a:lnTo>
                    <a:lnTo>
                      <a:pt x="119" y="205"/>
                    </a:lnTo>
                    <a:lnTo>
                      <a:pt x="125" y="197"/>
                    </a:lnTo>
                    <a:lnTo>
                      <a:pt x="125" y="197"/>
                    </a:lnTo>
                    <a:lnTo>
                      <a:pt x="130" y="192"/>
                    </a:lnTo>
                    <a:lnTo>
                      <a:pt x="130" y="191"/>
                    </a:lnTo>
                    <a:lnTo>
                      <a:pt x="132" y="191"/>
                    </a:lnTo>
                    <a:lnTo>
                      <a:pt x="135" y="189"/>
                    </a:lnTo>
                    <a:lnTo>
                      <a:pt x="135" y="186"/>
                    </a:lnTo>
                    <a:lnTo>
                      <a:pt x="139" y="183"/>
                    </a:lnTo>
                    <a:lnTo>
                      <a:pt x="144" y="178"/>
                    </a:lnTo>
                    <a:lnTo>
                      <a:pt x="149" y="172"/>
                    </a:lnTo>
                    <a:lnTo>
                      <a:pt x="149" y="172"/>
                    </a:lnTo>
                    <a:lnTo>
                      <a:pt x="150" y="171"/>
                    </a:lnTo>
                    <a:lnTo>
                      <a:pt x="152" y="169"/>
                    </a:lnTo>
                    <a:lnTo>
                      <a:pt x="157" y="163"/>
                    </a:lnTo>
                    <a:lnTo>
                      <a:pt x="158" y="161"/>
                    </a:lnTo>
                    <a:lnTo>
                      <a:pt x="163" y="153"/>
                    </a:lnTo>
                    <a:lnTo>
                      <a:pt x="166" y="149"/>
                    </a:lnTo>
                    <a:lnTo>
                      <a:pt x="167" y="147"/>
                    </a:lnTo>
                    <a:lnTo>
                      <a:pt x="174" y="139"/>
                    </a:lnTo>
                    <a:lnTo>
                      <a:pt x="178" y="135"/>
                    </a:lnTo>
                    <a:lnTo>
                      <a:pt x="180" y="130"/>
                    </a:lnTo>
                    <a:lnTo>
                      <a:pt x="182" y="125"/>
                    </a:lnTo>
                    <a:lnTo>
                      <a:pt x="183" y="122"/>
                    </a:lnTo>
                    <a:lnTo>
                      <a:pt x="185" y="119"/>
                    </a:lnTo>
                    <a:lnTo>
                      <a:pt x="185" y="117"/>
                    </a:lnTo>
                    <a:lnTo>
                      <a:pt x="185" y="116"/>
                    </a:lnTo>
                    <a:close/>
                    <a:moveTo>
                      <a:pt x="58" y="0"/>
                    </a:moveTo>
                    <a:lnTo>
                      <a:pt x="60" y="2"/>
                    </a:lnTo>
                    <a:lnTo>
                      <a:pt x="60" y="0"/>
                    </a:lnTo>
                    <a:lnTo>
                      <a:pt x="5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1" name="Freeform 68">
                <a:extLst>
                  <a:ext uri="{FF2B5EF4-FFF2-40B4-BE49-F238E27FC236}">
                    <a16:creationId xmlns:a16="http://schemas.microsoft.com/office/drawing/2014/main" id="{374885CE-0067-DC06-2912-766EDE48B92F}"/>
                  </a:ext>
                </a:extLst>
              </p:cNvPr>
              <p:cNvSpPr>
                <a:spLocks noEditPoints="1"/>
              </p:cNvSpPr>
              <p:nvPr/>
            </p:nvSpPr>
            <p:spPr bwMode="gray">
              <a:xfrm>
                <a:off x="1601" y="2624"/>
                <a:ext cx="59" cy="30"/>
              </a:xfrm>
              <a:custGeom>
                <a:avLst/>
                <a:gdLst>
                  <a:gd name="T0" fmla="*/ 25 w 59"/>
                  <a:gd name="T1" fmla="*/ 25 h 30"/>
                  <a:gd name="T2" fmla="*/ 25 w 59"/>
                  <a:gd name="T3" fmla="*/ 28 h 30"/>
                  <a:gd name="T4" fmla="*/ 25 w 59"/>
                  <a:gd name="T5" fmla="*/ 25 h 30"/>
                  <a:gd name="T6" fmla="*/ 47 w 59"/>
                  <a:gd name="T7" fmla="*/ 21 h 30"/>
                  <a:gd name="T8" fmla="*/ 49 w 59"/>
                  <a:gd name="T9" fmla="*/ 24 h 30"/>
                  <a:gd name="T10" fmla="*/ 3 w 59"/>
                  <a:gd name="T11" fmla="*/ 14 h 30"/>
                  <a:gd name="T12" fmla="*/ 2 w 59"/>
                  <a:gd name="T13" fmla="*/ 18 h 30"/>
                  <a:gd name="T14" fmla="*/ 5 w 59"/>
                  <a:gd name="T15" fmla="*/ 18 h 30"/>
                  <a:gd name="T16" fmla="*/ 33 w 59"/>
                  <a:gd name="T17" fmla="*/ 3 h 30"/>
                  <a:gd name="T18" fmla="*/ 30 w 59"/>
                  <a:gd name="T19" fmla="*/ 3 h 30"/>
                  <a:gd name="T20" fmla="*/ 24 w 59"/>
                  <a:gd name="T21" fmla="*/ 3 h 30"/>
                  <a:gd name="T22" fmla="*/ 19 w 59"/>
                  <a:gd name="T23" fmla="*/ 7 h 30"/>
                  <a:gd name="T24" fmla="*/ 11 w 59"/>
                  <a:gd name="T25" fmla="*/ 2 h 30"/>
                  <a:gd name="T26" fmla="*/ 11 w 59"/>
                  <a:gd name="T27" fmla="*/ 5 h 30"/>
                  <a:gd name="T28" fmla="*/ 16 w 59"/>
                  <a:gd name="T29" fmla="*/ 8 h 30"/>
                  <a:gd name="T30" fmla="*/ 13 w 59"/>
                  <a:gd name="T31" fmla="*/ 13 h 30"/>
                  <a:gd name="T32" fmla="*/ 13 w 59"/>
                  <a:gd name="T33" fmla="*/ 14 h 30"/>
                  <a:gd name="T34" fmla="*/ 16 w 59"/>
                  <a:gd name="T35" fmla="*/ 13 h 30"/>
                  <a:gd name="T36" fmla="*/ 16 w 59"/>
                  <a:gd name="T37" fmla="*/ 14 h 30"/>
                  <a:gd name="T38" fmla="*/ 11 w 59"/>
                  <a:gd name="T39" fmla="*/ 19 h 30"/>
                  <a:gd name="T40" fmla="*/ 6 w 59"/>
                  <a:gd name="T41" fmla="*/ 25 h 30"/>
                  <a:gd name="T42" fmla="*/ 13 w 59"/>
                  <a:gd name="T43" fmla="*/ 25 h 30"/>
                  <a:gd name="T44" fmla="*/ 14 w 59"/>
                  <a:gd name="T45" fmla="*/ 25 h 30"/>
                  <a:gd name="T46" fmla="*/ 17 w 59"/>
                  <a:gd name="T47" fmla="*/ 21 h 30"/>
                  <a:gd name="T48" fmla="*/ 22 w 59"/>
                  <a:gd name="T49" fmla="*/ 19 h 30"/>
                  <a:gd name="T50" fmla="*/ 30 w 59"/>
                  <a:gd name="T51" fmla="*/ 10 h 30"/>
                  <a:gd name="T52" fmla="*/ 31 w 59"/>
                  <a:gd name="T53" fmla="*/ 7 h 30"/>
                  <a:gd name="T54" fmla="*/ 33 w 59"/>
                  <a:gd name="T55" fmla="*/ 3 h 30"/>
                  <a:gd name="T56" fmla="*/ 16 w 59"/>
                  <a:gd name="T57" fmla="*/ 3 h 30"/>
                  <a:gd name="T58" fmla="*/ 19 w 59"/>
                  <a:gd name="T59" fmla="*/ 2 h 30"/>
                  <a:gd name="T60" fmla="*/ 58 w 59"/>
                  <a:gd name="T61" fmla="*/ 10 h 30"/>
                  <a:gd name="T62" fmla="*/ 59 w 59"/>
                  <a:gd name="T63" fmla="*/ 7 h 30"/>
                  <a:gd name="T64" fmla="*/ 52 w 59"/>
                  <a:gd name="T65" fmla="*/ 3 h 30"/>
                  <a:gd name="T66" fmla="*/ 52 w 59"/>
                  <a:gd name="T67" fmla="*/ 7 h 30"/>
                  <a:gd name="T68" fmla="*/ 52 w 59"/>
                  <a:gd name="T69" fmla="*/ 8 h 30"/>
                  <a:gd name="T70" fmla="*/ 47 w 59"/>
                  <a:gd name="T71" fmla="*/ 5 h 30"/>
                  <a:gd name="T72" fmla="*/ 49 w 59"/>
                  <a:gd name="T73" fmla="*/ 3 h 30"/>
                  <a:gd name="T74" fmla="*/ 44 w 59"/>
                  <a:gd name="T75" fmla="*/ 2 h 30"/>
                  <a:gd name="T76" fmla="*/ 41 w 59"/>
                  <a:gd name="T77" fmla="*/ 2 h 30"/>
                  <a:gd name="T78" fmla="*/ 38 w 59"/>
                  <a:gd name="T79" fmla="*/ 11 h 30"/>
                  <a:gd name="T80" fmla="*/ 34 w 59"/>
                  <a:gd name="T81" fmla="*/ 13 h 30"/>
                  <a:gd name="T82" fmla="*/ 28 w 59"/>
                  <a:gd name="T83" fmla="*/ 19 h 30"/>
                  <a:gd name="T84" fmla="*/ 27 w 59"/>
                  <a:gd name="T85" fmla="*/ 24 h 30"/>
                  <a:gd name="T86" fmla="*/ 33 w 59"/>
                  <a:gd name="T87" fmla="*/ 27 h 30"/>
                  <a:gd name="T88" fmla="*/ 38 w 59"/>
                  <a:gd name="T89" fmla="*/ 25 h 30"/>
                  <a:gd name="T90" fmla="*/ 44 w 59"/>
                  <a:gd name="T91" fmla="*/ 24 h 30"/>
                  <a:gd name="T92" fmla="*/ 44 w 59"/>
                  <a:gd name="T93" fmla="*/ 19 h 30"/>
                  <a:gd name="T94" fmla="*/ 53 w 59"/>
                  <a:gd name="T95" fmla="*/ 14 h 30"/>
                  <a:gd name="T96" fmla="*/ 59 w 59"/>
                  <a:gd name="T97"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30">
                    <a:moveTo>
                      <a:pt x="25" y="25"/>
                    </a:moveTo>
                    <a:lnTo>
                      <a:pt x="25" y="24"/>
                    </a:lnTo>
                    <a:lnTo>
                      <a:pt x="25" y="25"/>
                    </a:lnTo>
                    <a:lnTo>
                      <a:pt x="25" y="27"/>
                    </a:lnTo>
                    <a:lnTo>
                      <a:pt x="25" y="27"/>
                    </a:lnTo>
                    <a:lnTo>
                      <a:pt x="25" y="28"/>
                    </a:lnTo>
                    <a:lnTo>
                      <a:pt x="27" y="27"/>
                    </a:lnTo>
                    <a:lnTo>
                      <a:pt x="27" y="25"/>
                    </a:lnTo>
                    <a:lnTo>
                      <a:pt x="25" y="25"/>
                    </a:lnTo>
                    <a:close/>
                    <a:moveTo>
                      <a:pt x="49" y="21"/>
                    </a:moveTo>
                    <a:lnTo>
                      <a:pt x="49" y="21"/>
                    </a:lnTo>
                    <a:lnTo>
                      <a:pt x="47" y="21"/>
                    </a:lnTo>
                    <a:lnTo>
                      <a:pt x="47" y="22"/>
                    </a:lnTo>
                    <a:lnTo>
                      <a:pt x="47" y="22"/>
                    </a:lnTo>
                    <a:lnTo>
                      <a:pt x="49" y="24"/>
                    </a:lnTo>
                    <a:lnTo>
                      <a:pt x="49" y="21"/>
                    </a:lnTo>
                    <a:close/>
                    <a:moveTo>
                      <a:pt x="5" y="14"/>
                    </a:moveTo>
                    <a:lnTo>
                      <a:pt x="3" y="14"/>
                    </a:lnTo>
                    <a:lnTo>
                      <a:pt x="2" y="16"/>
                    </a:lnTo>
                    <a:lnTo>
                      <a:pt x="0" y="16"/>
                    </a:lnTo>
                    <a:lnTo>
                      <a:pt x="2" y="18"/>
                    </a:lnTo>
                    <a:lnTo>
                      <a:pt x="3" y="19"/>
                    </a:lnTo>
                    <a:lnTo>
                      <a:pt x="5" y="19"/>
                    </a:lnTo>
                    <a:lnTo>
                      <a:pt x="5" y="18"/>
                    </a:lnTo>
                    <a:lnTo>
                      <a:pt x="5" y="14"/>
                    </a:lnTo>
                    <a:lnTo>
                      <a:pt x="5" y="14"/>
                    </a:lnTo>
                    <a:close/>
                    <a:moveTo>
                      <a:pt x="33" y="3"/>
                    </a:moveTo>
                    <a:lnTo>
                      <a:pt x="31" y="2"/>
                    </a:lnTo>
                    <a:lnTo>
                      <a:pt x="30" y="3"/>
                    </a:lnTo>
                    <a:lnTo>
                      <a:pt x="30" y="3"/>
                    </a:lnTo>
                    <a:lnTo>
                      <a:pt x="25" y="5"/>
                    </a:lnTo>
                    <a:lnTo>
                      <a:pt x="25" y="5"/>
                    </a:lnTo>
                    <a:lnTo>
                      <a:pt x="24" y="3"/>
                    </a:lnTo>
                    <a:lnTo>
                      <a:pt x="22" y="3"/>
                    </a:lnTo>
                    <a:lnTo>
                      <a:pt x="20" y="3"/>
                    </a:lnTo>
                    <a:lnTo>
                      <a:pt x="19" y="7"/>
                    </a:lnTo>
                    <a:lnTo>
                      <a:pt x="16" y="5"/>
                    </a:lnTo>
                    <a:lnTo>
                      <a:pt x="13" y="3"/>
                    </a:lnTo>
                    <a:lnTo>
                      <a:pt x="11" y="2"/>
                    </a:lnTo>
                    <a:lnTo>
                      <a:pt x="11" y="2"/>
                    </a:lnTo>
                    <a:lnTo>
                      <a:pt x="11" y="5"/>
                    </a:lnTo>
                    <a:lnTo>
                      <a:pt x="11" y="5"/>
                    </a:lnTo>
                    <a:lnTo>
                      <a:pt x="13" y="7"/>
                    </a:lnTo>
                    <a:lnTo>
                      <a:pt x="14" y="8"/>
                    </a:lnTo>
                    <a:lnTo>
                      <a:pt x="16" y="8"/>
                    </a:lnTo>
                    <a:lnTo>
                      <a:pt x="16" y="10"/>
                    </a:lnTo>
                    <a:lnTo>
                      <a:pt x="16" y="11"/>
                    </a:lnTo>
                    <a:lnTo>
                      <a:pt x="13" y="13"/>
                    </a:lnTo>
                    <a:lnTo>
                      <a:pt x="11" y="13"/>
                    </a:lnTo>
                    <a:lnTo>
                      <a:pt x="11" y="13"/>
                    </a:lnTo>
                    <a:lnTo>
                      <a:pt x="13" y="14"/>
                    </a:lnTo>
                    <a:lnTo>
                      <a:pt x="14" y="13"/>
                    </a:lnTo>
                    <a:lnTo>
                      <a:pt x="16" y="13"/>
                    </a:lnTo>
                    <a:lnTo>
                      <a:pt x="16" y="13"/>
                    </a:lnTo>
                    <a:lnTo>
                      <a:pt x="17" y="13"/>
                    </a:lnTo>
                    <a:lnTo>
                      <a:pt x="17" y="14"/>
                    </a:lnTo>
                    <a:lnTo>
                      <a:pt x="16" y="14"/>
                    </a:lnTo>
                    <a:lnTo>
                      <a:pt x="14" y="16"/>
                    </a:lnTo>
                    <a:lnTo>
                      <a:pt x="13" y="18"/>
                    </a:lnTo>
                    <a:lnTo>
                      <a:pt x="11" y="19"/>
                    </a:lnTo>
                    <a:lnTo>
                      <a:pt x="8" y="19"/>
                    </a:lnTo>
                    <a:lnTo>
                      <a:pt x="3" y="22"/>
                    </a:lnTo>
                    <a:lnTo>
                      <a:pt x="6" y="25"/>
                    </a:lnTo>
                    <a:lnTo>
                      <a:pt x="9" y="25"/>
                    </a:lnTo>
                    <a:lnTo>
                      <a:pt x="13" y="27"/>
                    </a:lnTo>
                    <a:lnTo>
                      <a:pt x="13" y="25"/>
                    </a:lnTo>
                    <a:lnTo>
                      <a:pt x="13" y="25"/>
                    </a:lnTo>
                    <a:lnTo>
                      <a:pt x="14" y="25"/>
                    </a:lnTo>
                    <a:lnTo>
                      <a:pt x="14" y="25"/>
                    </a:lnTo>
                    <a:lnTo>
                      <a:pt x="16" y="22"/>
                    </a:lnTo>
                    <a:lnTo>
                      <a:pt x="16" y="21"/>
                    </a:lnTo>
                    <a:lnTo>
                      <a:pt x="17" y="21"/>
                    </a:lnTo>
                    <a:lnTo>
                      <a:pt x="19" y="21"/>
                    </a:lnTo>
                    <a:lnTo>
                      <a:pt x="20" y="21"/>
                    </a:lnTo>
                    <a:lnTo>
                      <a:pt x="22" y="19"/>
                    </a:lnTo>
                    <a:lnTo>
                      <a:pt x="25" y="16"/>
                    </a:lnTo>
                    <a:lnTo>
                      <a:pt x="28" y="11"/>
                    </a:lnTo>
                    <a:lnTo>
                      <a:pt x="30" y="10"/>
                    </a:lnTo>
                    <a:lnTo>
                      <a:pt x="31" y="10"/>
                    </a:lnTo>
                    <a:lnTo>
                      <a:pt x="31" y="8"/>
                    </a:lnTo>
                    <a:lnTo>
                      <a:pt x="31" y="7"/>
                    </a:lnTo>
                    <a:lnTo>
                      <a:pt x="33" y="7"/>
                    </a:lnTo>
                    <a:lnTo>
                      <a:pt x="33" y="5"/>
                    </a:lnTo>
                    <a:lnTo>
                      <a:pt x="33" y="3"/>
                    </a:lnTo>
                    <a:close/>
                    <a:moveTo>
                      <a:pt x="17" y="0"/>
                    </a:moveTo>
                    <a:lnTo>
                      <a:pt x="16" y="0"/>
                    </a:lnTo>
                    <a:lnTo>
                      <a:pt x="16" y="3"/>
                    </a:lnTo>
                    <a:lnTo>
                      <a:pt x="16" y="3"/>
                    </a:lnTo>
                    <a:lnTo>
                      <a:pt x="19" y="3"/>
                    </a:lnTo>
                    <a:lnTo>
                      <a:pt x="19" y="2"/>
                    </a:lnTo>
                    <a:lnTo>
                      <a:pt x="19" y="2"/>
                    </a:lnTo>
                    <a:lnTo>
                      <a:pt x="17" y="0"/>
                    </a:lnTo>
                    <a:close/>
                    <a:moveTo>
                      <a:pt x="58" y="10"/>
                    </a:moveTo>
                    <a:lnTo>
                      <a:pt x="56" y="8"/>
                    </a:lnTo>
                    <a:lnTo>
                      <a:pt x="58" y="8"/>
                    </a:lnTo>
                    <a:lnTo>
                      <a:pt x="59" y="7"/>
                    </a:lnTo>
                    <a:lnTo>
                      <a:pt x="58" y="3"/>
                    </a:lnTo>
                    <a:lnTo>
                      <a:pt x="56" y="3"/>
                    </a:lnTo>
                    <a:lnTo>
                      <a:pt x="52" y="3"/>
                    </a:lnTo>
                    <a:lnTo>
                      <a:pt x="52" y="5"/>
                    </a:lnTo>
                    <a:lnTo>
                      <a:pt x="50" y="5"/>
                    </a:lnTo>
                    <a:lnTo>
                      <a:pt x="52" y="7"/>
                    </a:lnTo>
                    <a:lnTo>
                      <a:pt x="52" y="8"/>
                    </a:lnTo>
                    <a:lnTo>
                      <a:pt x="52" y="8"/>
                    </a:lnTo>
                    <a:lnTo>
                      <a:pt x="52" y="8"/>
                    </a:lnTo>
                    <a:lnTo>
                      <a:pt x="47" y="7"/>
                    </a:lnTo>
                    <a:lnTo>
                      <a:pt x="47" y="7"/>
                    </a:lnTo>
                    <a:lnTo>
                      <a:pt x="47" y="5"/>
                    </a:lnTo>
                    <a:lnTo>
                      <a:pt x="47" y="3"/>
                    </a:lnTo>
                    <a:lnTo>
                      <a:pt x="49" y="5"/>
                    </a:lnTo>
                    <a:lnTo>
                      <a:pt x="49" y="3"/>
                    </a:lnTo>
                    <a:lnTo>
                      <a:pt x="49" y="2"/>
                    </a:lnTo>
                    <a:lnTo>
                      <a:pt x="47" y="2"/>
                    </a:lnTo>
                    <a:lnTo>
                      <a:pt x="44" y="2"/>
                    </a:lnTo>
                    <a:lnTo>
                      <a:pt x="41" y="0"/>
                    </a:lnTo>
                    <a:lnTo>
                      <a:pt x="39" y="0"/>
                    </a:lnTo>
                    <a:lnTo>
                      <a:pt x="41" y="2"/>
                    </a:lnTo>
                    <a:lnTo>
                      <a:pt x="36" y="7"/>
                    </a:lnTo>
                    <a:lnTo>
                      <a:pt x="36" y="10"/>
                    </a:lnTo>
                    <a:lnTo>
                      <a:pt x="38" y="11"/>
                    </a:lnTo>
                    <a:lnTo>
                      <a:pt x="38" y="11"/>
                    </a:lnTo>
                    <a:lnTo>
                      <a:pt x="36" y="13"/>
                    </a:lnTo>
                    <a:lnTo>
                      <a:pt x="34" y="13"/>
                    </a:lnTo>
                    <a:lnTo>
                      <a:pt x="34" y="13"/>
                    </a:lnTo>
                    <a:lnTo>
                      <a:pt x="33" y="14"/>
                    </a:lnTo>
                    <a:lnTo>
                      <a:pt x="28" y="19"/>
                    </a:lnTo>
                    <a:lnTo>
                      <a:pt x="28" y="21"/>
                    </a:lnTo>
                    <a:lnTo>
                      <a:pt x="27" y="22"/>
                    </a:lnTo>
                    <a:lnTo>
                      <a:pt x="27" y="24"/>
                    </a:lnTo>
                    <a:lnTo>
                      <a:pt x="28" y="27"/>
                    </a:lnTo>
                    <a:lnTo>
                      <a:pt x="31" y="30"/>
                    </a:lnTo>
                    <a:lnTo>
                      <a:pt x="33" y="27"/>
                    </a:lnTo>
                    <a:lnTo>
                      <a:pt x="34" y="25"/>
                    </a:lnTo>
                    <a:lnTo>
                      <a:pt x="36" y="27"/>
                    </a:lnTo>
                    <a:lnTo>
                      <a:pt x="38" y="25"/>
                    </a:lnTo>
                    <a:lnTo>
                      <a:pt x="34" y="21"/>
                    </a:lnTo>
                    <a:lnTo>
                      <a:pt x="36" y="21"/>
                    </a:lnTo>
                    <a:lnTo>
                      <a:pt x="44" y="24"/>
                    </a:lnTo>
                    <a:lnTo>
                      <a:pt x="45" y="21"/>
                    </a:lnTo>
                    <a:lnTo>
                      <a:pt x="44" y="21"/>
                    </a:lnTo>
                    <a:lnTo>
                      <a:pt x="44" y="19"/>
                    </a:lnTo>
                    <a:lnTo>
                      <a:pt x="50" y="18"/>
                    </a:lnTo>
                    <a:lnTo>
                      <a:pt x="52" y="16"/>
                    </a:lnTo>
                    <a:lnTo>
                      <a:pt x="53" y="14"/>
                    </a:lnTo>
                    <a:lnTo>
                      <a:pt x="56" y="13"/>
                    </a:lnTo>
                    <a:lnTo>
                      <a:pt x="59" y="13"/>
                    </a:lnTo>
                    <a:lnTo>
                      <a:pt x="59" y="11"/>
                    </a:lnTo>
                    <a:lnTo>
                      <a:pt x="59" y="10"/>
                    </a:lnTo>
                    <a:lnTo>
                      <a:pt x="58" y="1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2" name="Freeform 69">
                <a:extLst>
                  <a:ext uri="{FF2B5EF4-FFF2-40B4-BE49-F238E27FC236}">
                    <a16:creationId xmlns:a16="http://schemas.microsoft.com/office/drawing/2014/main" id="{32213451-6E5E-D3FB-6C3F-8EEDFA8D4D62}"/>
                  </a:ext>
                </a:extLst>
              </p:cNvPr>
              <p:cNvSpPr>
                <a:spLocks noEditPoints="1"/>
              </p:cNvSpPr>
              <p:nvPr/>
            </p:nvSpPr>
            <p:spPr bwMode="gray">
              <a:xfrm>
                <a:off x="2544" y="172"/>
                <a:ext cx="19" cy="35"/>
              </a:xfrm>
              <a:custGeom>
                <a:avLst/>
                <a:gdLst>
                  <a:gd name="T0" fmla="*/ 14 w 19"/>
                  <a:gd name="T1" fmla="*/ 33 h 35"/>
                  <a:gd name="T2" fmla="*/ 14 w 19"/>
                  <a:gd name="T3" fmla="*/ 32 h 35"/>
                  <a:gd name="T4" fmla="*/ 12 w 19"/>
                  <a:gd name="T5" fmla="*/ 30 h 35"/>
                  <a:gd name="T6" fmla="*/ 12 w 19"/>
                  <a:gd name="T7" fmla="*/ 28 h 35"/>
                  <a:gd name="T8" fmla="*/ 12 w 19"/>
                  <a:gd name="T9" fmla="*/ 28 h 35"/>
                  <a:gd name="T10" fmla="*/ 11 w 19"/>
                  <a:gd name="T11" fmla="*/ 28 h 35"/>
                  <a:gd name="T12" fmla="*/ 9 w 19"/>
                  <a:gd name="T13" fmla="*/ 27 h 35"/>
                  <a:gd name="T14" fmla="*/ 9 w 19"/>
                  <a:gd name="T15" fmla="*/ 27 h 35"/>
                  <a:gd name="T16" fmla="*/ 9 w 19"/>
                  <a:gd name="T17" fmla="*/ 28 h 35"/>
                  <a:gd name="T18" fmla="*/ 9 w 19"/>
                  <a:gd name="T19" fmla="*/ 30 h 35"/>
                  <a:gd name="T20" fmla="*/ 12 w 19"/>
                  <a:gd name="T21" fmla="*/ 33 h 35"/>
                  <a:gd name="T22" fmla="*/ 14 w 19"/>
                  <a:gd name="T23" fmla="*/ 35 h 35"/>
                  <a:gd name="T24" fmla="*/ 14 w 19"/>
                  <a:gd name="T25" fmla="*/ 35 h 35"/>
                  <a:gd name="T26" fmla="*/ 14 w 19"/>
                  <a:gd name="T27" fmla="*/ 33 h 35"/>
                  <a:gd name="T28" fmla="*/ 14 w 19"/>
                  <a:gd name="T29" fmla="*/ 17 h 35"/>
                  <a:gd name="T30" fmla="*/ 12 w 19"/>
                  <a:gd name="T31" fmla="*/ 17 h 35"/>
                  <a:gd name="T32" fmla="*/ 11 w 19"/>
                  <a:gd name="T33" fmla="*/ 16 h 35"/>
                  <a:gd name="T34" fmla="*/ 11 w 19"/>
                  <a:gd name="T35" fmla="*/ 17 h 35"/>
                  <a:gd name="T36" fmla="*/ 11 w 19"/>
                  <a:gd name="T37" fmla="*/ 17 h 35"/>
                  <a:gd name="T38" fmla="*/ 11 w 19"/>
                  <a:gd name="T39" fmla="*/ 19 h 35"/>
                  <a:gd name="T40" fmla="*/ 12 w 19"/>
                  <a:gd name="T41" fmla="*/ 19 h 35"/>
                  <a:gd name="T42" fmla="*/ 14 w 19"/>
                  <a:gd name="T43" fmla="*/ 22 h 35"/>
                  <a:gd name="T44" fmla="*/ 14 w 19"/>
                  <a:gd name="T45" fmla="*/ 22 h 35"/>
                  <a:gd name="T46" fmla="*/ 14 w 19"/>
                  <a:gd name="T47" fmla="*/ 21 h 35"/>
                  <a:gd name="T48" fmla="*/ 14 w 19"/>
                  <a:gd name="T49" fmla="*/ 19 h 35"/>
                  <a:gd name="T50" fmla="*/ 14 w 19"/>
                  <a:gd name="T51" fmla="*/ 17 h 35"/>
                  <a:gd name="T52" fmla="*/ 6 w 19"/>
                  <a:gd name="T53" fmla="*/ 10 h 35"/>
                  <a:gd name="T54" fmla="*/ 5 w 19"/>
                  <a:gd name="T55" fmla="*/ 8 h 35"/>
                  <a:gd name="T56" fmla="*/ 5 w 19"/>
                  <a:gd name="T57" fmla="*/ 6 h 35"/>
                  <a:gd name="T58" fmla="*/ 1 w 19"/>
                  <a:gd name="T59" fmla="*/ 8 h 35"/>
                  <a:gd name="T60" fmla="*/ 0 w 19"/>
                  <a:gd name="T61" fmla="*/ 8 h 35"/>
                  <a:gd name="T62" fmla="*/ 1 w 19"/>
                  <a:gd name="T63" fmla="*/ 10 h 35"/>
                  <a:gd name="T64" fmla="*/ 3 w 19"/>
                  <a:gd name="T65" fmla="*/ 11 h 35"/>
                  <a:gd name="T66" fmla="*/ 5 w 19"/>
                  <a:gd name="T67" fmla="*/ 11 h 35"/>
                  <a:gd name="T68" fmla="*/ 6 w 19"/>
                  <a:gd name="T69" fmla="*/ 11 h 35"/>
                  <a:gd name="T70" fmla="*/ 6 w 19"/>
                  <a:gd name="T71" fmla="*/ 10 h 35"/>
                  <a:gd name="T72" fmla="*/ 6 w 19"/>
                  <a:gd name="T73" fmla="*/ 10 h 35"/>
                  <a:gd name="T74" fmla="*/ 11 w 19"/>
                  <a:gd name="T75" fmla="*/ 3 h 35"/>
                  <a:gd name="T76" fmla="*/ 9 w 19"/>
                  <a:gd name="T77" fmla="*/ 2 h 35"/>
                  <a:gd name="T78" fmla="*/ 5 w 19"/>
                  <a:gd name="T79" fmla="*/ 2 h 35"/>
                  <a:gd name="T80" fmla="*/ 8 w 19"/>
                  <a:gd name="T81" fmla="*/ 10 h 35"/>
                  <a:gd name="T82" fmla="*/ 11 w 19"/>
                  <a:gd name="T83" fmla="*/ 14 h 35"/>
                  <a:gd name="T84" fmla="*/ 12 w 19"/>
                  <a:gd name="T85" fmla="*/ 14 h 35"/>
                  <a:gd name="T86" fmla="*/ 12 w 19"/>
                  <a:gd name="T87" fmla="*/ 14 h 35"/>
                  <a:gd name="T88" fmla="*/ 12 w 19"/>
                  <a:gd name="T89" fmla="*/ 13 h 35"/>
                  <a:gd name="T90" fmla="*/ 11 w 19"/>
                  <a:gd name="T91" fmla="*/ 10 h 35"/>
                  <a:gd name="T92" fmla="*/ 11 w 19"/>
                  <a:gd name="T93" fmla="*/ 10 h 35"/>
                  <a:gd name="T94" fmla="*/ 11 w 19"/>
                  <a:gd name="T95" fmla="*/ 8 h 35"/>
                  <a:gd name="T96" fmla="*/ 11 w 19"/>
                  <a:gd name="T97" fmla="*/ 8 h 35"/>
                  <a:gd name="T98" fmla="*/ 12 w 19"/>
                  <a:gd name="T99" fmla="*/ 8 h 35"/>
                  <a:gd name="T100" fmla="*/ 14 w 19"/>
                  <a:gd name="T101" fmla="*/ 10 h 35"/>
                  <a:gd name="T102" fmla="*/ 14 w 19"/>
                  <a:gd name="T103" fmla="*/ 10 h 35"/>
                  <a:gd name="T104" fmla="*/ 14 w 19"/>
                  <a:gd name="T105" fmla="*/ 5 h 35"/>
                  <a:gd name="T106" fmla="*/ 11 w 19"/>
                  <a:gd name="T107" fmla="*/ 3 h 35"/>
                  <a:gd name="T108" fmla="*/ 17 w 19"/>
                  <a:gd name="T109" fmla="*/ 2 h 35"/>
                  <a:gd name="T110" fmla="*/ 15 w 19"/>
                  <a:gd name="T111" fmla="*/ 0 h 35"/>
                  <a:gd name="T112" fmla="*/ 15 w 19"/>
                  <a:gd name="T113" fmla="*/ 2 h 35"/>
                  <a:gd name="T114" fmla="*/ 15 w 19"/>
                  <a:gd name="T115" fmla="*/ 5 h 35"/>
                  <a:gd name="T116" fmla="*/ 15 w 19"/>
                  <a:gd name="T117" fmla="*/ 5 h 35"/>
                  <a:gd name="T118" fmla="*/ 17 w 19"/>
                  <a:gd name="T119" fmla="*/ 5 h 35"/>
                  <a:gd name="T120" fmla="*/ 17 w 19"/>
                  <a:gd name="T121" fmla="*/ 6 h 35"/>
                  <a:gd name="T122" fmla="*/ 19 w 19"/>
                  <a:gd name="T123" fmla="*/ 3 h 35"/>
                  <a:gd name="T124" fmla="*/ 17 w 19"/>
                  <a:gd name="T125"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 h="35">
                    <a:moveTo>
                      <a:pt x="14" y="33"/>
                    </a:moveTo>
                    <a:lnTo>
                      <a:pt x="14" y="32"/>
                    </a:lnTo>
                    <a:lnTo>
                      <a:pt x="12" y="30"/>
                    </a:lnTo>
                    <a:lnTo>
                      <a:pt x="12" y="28"/>
                    </a:lnTo>
                    <a:lnTo>
                      <a:pt x="12" y="28"/>
                    </a:lnTo>
                    <a:lnTo>
                      <a:pt x="11" y="28"/>
                    </a:lnTo>
                    <a:lnTo>
                      <a:pt x="9" y="27"/>
                    </a:lnTo>
                    <a:lnTo>
                      <a:pt x="9" y="27"/>
                    </a:lnTo>
                    <a:lnTo>
                      <a:pt x="9" y="28"/>
                    </a:lnTo>
                    <a:lnTo>
                      <a:pt x="9" y="30"/>
                    </a:lnTo>
                    <a:lnTo>
                      <a:pt x="12" y="33"/>
                    </a:lnTo>
                    <a:lnTo>
                      <a:pt x="14" y="35"/>
                    </a:lnTo>
                    <a:lnTo>
                      <a:pt x="14" y="35"/>
                    </a:lnTo>
                    <a:lnTo>
                      <a:pt x="14" y="33"/>
                    </a:lnTo>
                    <a:close/>
                    <a:moveTo>
                      <a:pt x="14" y="17"/>
                    </a:moveTo>
                    <a:lnTo>
                      <a:pt x="12" y="17"/>
                    </a:lnTo>
                    <a:lnTo>
                      <a:pt x="11" y="16"/>
                    </a:lnTo>
                    <a:lnTo>
                      <a:pt x="11" y="17"/>
                    </a:lnTo>
                    <a:lnTo>
                      <a:pt x="11" y="17"/>
                    </a:lnTo>
                    <a:lnTo>
                      <a:pt x="11" y="19"/>
                    </a:lnTo>
                    <a:lnTo>
                      <a:pt x="12" y="19"/>
                    </a:lnTo>
                    <a:lnTo>
                      <a:pt x="14" y="22"/>
                    </a:lnTo>
                    <a:lnTo>
                      <a:pt x="14" y="22"/>
                    </a:lnTo>
                    <a:lnTo>
                      <a:pt x="14" y="21"/>
                    </a:lnTo>
                    <a:lnTo>
                      <a:pt x="14" y="19"/>
                    </a:lnTo>
                    <a:lnTo>
                      <a:pt x="14" y="17"/>
                    </a:lnTo>
                    <a:close/>
                    <a:moveTo>
                      <a:pt x="6" y="10"/>
                    </a:moveTo>
                    <a:lnTo>
                      <a:pt x="5" y="8"/>
                    </a:lnTo>
                    <a:lnTo>
                      <a:pt x="5" y="6"/>
                    </a:lnTo>
                    <a:lnTo>
                      <a:pt x="1" y="8"/>
                    </a:lnTo>
                    <a:lnTo>
                      <a:pt x="0" y="8"/>
                    </a:lnTo>
                    <a:lnTo>
                      <a:pt x="1" y="10"/>
                    </a:lnTo>
                    <a:lnTo>
                      <a:pt x="3" y="11"/>
                    </a:lnTo>
                    <a:lnTo>
                      <a:pt x="5" y="11"/>
                    </a:lnTo>
                    <a:lnTo>
                      <a:pt x="6" y="11"/>
                    </a:lnTo>
                    <a:lnTo>
                      <a:pt x="6" y="10"/>
                    </a:lnTo>
                    <a:lnTo>
                      <a:pt x="6" y="10"/>
                    </a:lnTo>
                    <a:close/>
                    <a:moveTo>
                      <a:pt x="11" y="3"/>
                    </a:moveTo>
                    <a:lnTo>
                      <a:pt x="9" y="2"/>
                    </a:lnTo>
                    <a:lnTo>
                      <a:pt x="5" y="2"/>
                    </a:lnTo>
                    <a:lnTo>
                      <a:pt x="8" y="10"/>
                    </a:lnTo>
                    <a:lnTo>
                      <a:pt x="11" y="14"/>
                    </a:lnTo>
                    <a:lnTo>
                      <a:pt x="12" y="14"/>
                    </a:lnTo>
                    <a:lnTo>
                      <a:pt x="12" y="14"/>
                    </a:lnTo>
                    <a:lnTo>
                      <a:pt x="12" y="13"/>
                    </a:lnTo>
                    <a:lnTo>
                      <a:pt x="11" y="10"/>
                    </a:lnTo>
                    <a:lnTo>
                      <a:pt x="11" y="10"/>
                    </a:lnTo>
                    <a:lnTo>
                      <a:pt x="11" y="8"/>
                    </a:lnTo>
                    <a:lnTo>
                      <a:pt x="11" y="8"/>
                    </a:lnTo>
                    <a:lnTo>
                      <a:pt x="12" y="8"/>
                    </a:lnTo>
                    <a:lnTo>
                      <a:pt x="14" y="10"/>
                    </a:lnTo>
                    <a:lnTo>
                      <a:pt x="14" y="10"/>
                    </a:lnTo>
                    <a:lnTo>
                      <a:pt x="14" y="5"/>
                    </a:lnTo>
                    <a:lnTo>
                      <a:pt x="11" y="3"/>
                    </a:lnTo>
                    <a:close/>
                    <a:moveTo>
                      <a:pt x="17" y="2"/>
                    </a:moveTo>
                    <a:lnTo>
                      <a:pt x="15" y="0"/>
                    </a:lnTo>
                    <a:lnTo>
                      <a:pt x="15" y="2"/>
                    </a:lnTo>
                    <a:lnTo>
                      <a:pt x="15" y="5"/>
                    </a:lnTo>
                    <a:lnTo>
                      <a:pt x="15" y="5"/>
                    </a:lnTo>
                    <a:lnTo>
                      <a:pt x="17" y="5"/>
                    </a:lnTo>
                    <a:lnTo>
                      <a:pt x="17" y="6"/>
                    </a:lnTo>
                    <a:lnTo>
                      <a:pt x="19" y="3"/>
                    </a:lnTo>
                    <a:lnTo>
                      <a:pt x="17"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3" name="Freeform 70">
                <a:extLst>
                  <a:ext uri="{FF2B5EF4-FFF2-40B4-BE49-F238E27FC236}">
                    <a16:creationId xmlns:a16="http://schemas.microsoft.com/office/drawing/2014/main" id="{76A45725-5FD6-1DCE-E4F6-AD12D6413D83}"/>
                  </a:ext>
                </a:extLst>
              </p:cNvPr>
              <p:cNvSpPr>
                <a:spLocks noEditPoints="1"/>
              </p:cNvSpPr>
              <p:nvPr/>
            </p:nvSpPr>
            <p:spPr bwMode="gray">
              <a:xfrm>
                <a:off x="2591" y="535"/>
                <a:ext cx="251" cy="246"/>
              </a:xfrm>
              <a:custGeom>
                <a:avLst/>
                <a:gdLst>
                  <a:gd name="T0" fmla="*/ 248 w 251"/>
                  <a:gd name="T1" fmla="*/ 210 h 246"/>
                  <a:gd name="T2" fmla="*/ 239 w 251"/>
                  <a:gd name="T3" fmla="*/ 218 h 246"/>
                  <a:gd name="T4" fmla="*/ 236 w 251"/>
                  <a:gd name="T5" fmla="*/ 229 h 246"/>
                  <a:gd name="T6" fmla="*/ 237 w 251"/>
                  <a:gd name="T7" fmla="*/ 238 h 246"/>
                  <a:gd name="T8" fmla="*/ 248 w 251"/>
                  <a:gd name="T9" fmla="*/ 240 h 246"/>
                  <a:gd name="T10" fmla="*/ 61 w 251"/>
                  <a:gd name="T11" fmla="*/ 138 h 246"/>
                  <a:gd name="T12" fmla="*/ 214 w 251"/>
                  <a:gd name="T13" fmla="*/ 53 h 246"/>
                  <a:gd name="T14" fmla="*/ 206 w 251"/>
                  <a:gd name="T15" fmla="*/ 52 h 246"/>
                  <a:gd name="T16" fmla="*/ 200 w 251"/>
                  <a:gd name="T17" fmla="*/ 47 h 246"/>
                  <a:gd name="T18" fmla="*/ 189 w 251"/>
                  <a:gd name="T19" fmla="*/ 46 h 246"/>
                  <a:gd name="T20" fmla="*/ 180 w 251"/>
                  <a:gd name="T21" fmla="*/ 43 h 246"/>
                  <a:gd name="T22" fmla="*/ 169 w 251"/>
                  <a:gd name="T23" fmla="*/ 32 h 246"/>
                  <a:gd name="T24" fmla="*/ 161 w 251"/>
                  <a:gd name="T25" fmla="*/ 32 h 246"/>
                  <a:gd name="T26" fmla="*/ 158 w 251"/>
                  <a:gd name="T27" fmla="*/ 24 h 246"/>
                  <a:gd name="T28" fmla="*/ 147 w 251"/>
                  <a:gd name="T29" fmla="*/ 17 h 246"/>
                  <a:gd name="T30" fmla="*/ 134 w 251"/>
                  <a:gd name="T31" fmla="*/ 10 h 246"/>
                  <a:gd name="T32" fmla="*/ 126 w 251"/>
                  <a:gd name="T33" fmla="*/ 0 h 246"/>
                  <a:gd name="T34" fmla="*/ 106 w 251"/>
                  <a:gd name="T35" fmla="*/ 30 h 246"/>
                  <a:gd name="T36" fmla="*/ 84 w 251"/>
                  <a:gd name="T37" fmla="*/ 49 h 246"/>
                  <a:gd name="T38" fmla="*/ 56 w 251"/>
                  <a:gd name="T39" fmla="*/ 39 h 246"/>
                  <a:gd name="T40" fmla="*/ 59 w 251"/>
                  <a:gd name="T41" fmla="*/ 66 h 246"/>
                  <a:gd name="T42" fmla="*/ 28 w 251"/>
                  <a:gd name="T43" fmla="*/ 61 h 246"/>
                  <a:gd name="T44" fmla="*/ 3 w 251"/>
                  <a:gd name="T45" fmla="*/ 74 h 246"/>
                  <a:gd name="T46" fmla="*/ 4 w 251"/>
                  <a:gd name="T47" fmla="*/ 77 h 246"/>
                  <a:gd name="T48" fmla="*/ 12 w 251"/>
                  <a:gd name="T49" fmla="*/ 88 h 246"/>
                  <a:gd name="T50" fmla="*/ 34 w 251"/>
                  <a:gd name="T51" fmla="*/ 93 h 246"/>
                  <a:gd name="T52" fmla="*/ 40 w 251"/>
                  <a:gd name="T53" fmla="*/ 102 h 246"/>
                  <a:gd name="T54" fmla="*/ 47 w 251"/>
                  <a:gd name="T55" fmla="*/ 107 h 246"/>
                  <a:gd name="T56" fmla="*/ 64 w 251"/>
                  <a:gd name="T57" fmla="*/ 127 h 246"/>
                  <a:gd name="T58" fmla="*/ 69 w 251"/>
                  <a:gd name="T59" fmla="*/ 146 h 246"/>
                  <a:gd name="T60" fmla="*/ 65 w 251"/>
                  <a:gd name="T61" fmla="*/ 146 h 246"/>
                  <a:gd name="T62" fmla="*/ 58 w 251"/>
                  <a:gd name="T63" fmla="*/ 194 h 246"/>
                  <a:gd name="T64" fmla="*/ 59 w 251"/>
                  <a:gd name="T65" fmla="*/ 204 h 246"/>
                  <a:gd name="T66" fmla="*/ 61 w 251"/>
                  <a:gd name="T67" fmla="*/ 205 h 246"/>
                  <a:gd name="T68" fmla="*/ 76 w 251"/>
                  <a:gd name="T69" fmla="*/ 213 h 246"/>
                  <a:gd name="T70" fmla="*/ 89 w 251"/>
                  <a:gd name="T71" fmla="*/ 216 h 246"/>
                  <a:gd name="T72" fmla="*/ 105 w 251"/>
                  <a:gd name="T73" fmla="*/ 215 h 246"/>
                  <a:gd name="T74" fmla="*/ 114 w 251"/>
                  <a:gd name="T75" fmla="*/ 221 h 246"/>
                  <a:gd name="T76" fmla="*/ 131 w 251"/>
                  <a:gd name="T77" fmla="*/ 224 h 246"/>
                  <a:gd name="T78" fmla="*/ 140 w 251"/>
                  <a:gd name="T79" fmla="*/ 221 h 246"/>
                  <a:gd name="T80" fmla="*/ 156 w 251"/>
                  <a:gd name="T81" fmla="*/ 194 h 246"/>
                  <a:gd name="T82" fmla="*/ 170 w 251"/>
                  <a:gd name="T83" fmla="*/ 199 h 246"/>
                  <a:gd name="T84" fmla="*/ 186 w 251"/>
                  <a:gd name="T85" fmla="*/ 205 h 246"/>
                  <a:gd name="T86" fmla="*/ 211 w 251"/>
                  <a:gd name="T87" fmla="*/ 191 h 246"/>
                  <a:gd name="T88" fmla="*/ 216 w 251"/>
                  <a:gd name="T89" fmla="*/ 188 h 246"/>
                  <a:gd name="T90" fmla="*/ 209 w 251"/>
                  <a:gd name="T91" fmla="*/ 179 h 246"/>
                  <a:gd name="T92" fmla="*/ 206 w 251"/>
                  <a:gd name="T93" fmla="*/ 168 h 246"/>
                  <a:gd name="T94" fmla="*/ 201 w 251"/>
                  <a:gd name="T95" fmla="*/ 158 h 246"/>
                  <a:gd name="T96" fmla="*/ 209 w 251"/>
                  <a:gd name="T97" fmla="*/ 150 h 246"/>
                  <a:gd name="T98" fmla="*/ 203 w 251"/>
                  <a:gd name="T99" fmla="*/ 140 h 246"/>
                  <a:gd name="T100" fmla="*/ 203 w 251"/>
                  <a:gd name="T101" fmla="*/ 132 h 246"/>
                  <a:gd name="T102" fmla="*/ 197 w 251"/>
                  <a:gd name="T103" fmla="*/ 124 h 246"/>
                  <a:gd name="T104" fmla="*/ 189 w 251"/>
                  <a:gd name="T105" fmla="*/ 129 h 246"/>
                  <a:gd name="T106" fmla="*/ 192 w 251"/>
                  <a:gd name="T107" fmla="*/ 121 h 246"/>
                  <a:gd name="T108" fmla="*/ 206 w 251"/>
                  <a:gd name="T109" fmla="*/ 102 h 246"/>
                  <a:gd name="T110" fmla="*/ 209 w 251"/>
                  <a:gd name="T111" fmla="*/ 97 h 246"/>
                  <a:gd name="T112" fmla="*/ 216 w 251"/>
                  <a:gd name="T113" fmla="*/ 91 h 246"/>
                  <a:gd name="T114" fmla="*/ 220 w 251"/>
                  <a:gd name="T115" fmla="*/ 6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46">
                    <a:moveTo>
                      <a:pt x="251" y="219"/>
                    </a:moveTo>
                    <a:lnTo>
                      <a:pt x="251" y="218"/>
                    </a:lnTo>
                    <a:lnTo>
                      <a:pt x="250" y="218"/>
                    </a:lnTo>
                    <a:lnTo>
                      <a:pt x="250" y="216"/>
                    </a:lnTo>
                    <a:lnTo>
                      <a:pt x="250" y="213"/>
                    </a:lnTo>
                    <a:lnTo>
                      <a:pt x="250" y="212"/>
                    </a:lnTo>
                    <a:lnTo>
                      <a:pt x="250" y="210"/>
                    </a:lnTo>
                    <a:lnTo>
                      <a:pt x="250" y="208"/>
                    </a:lnTo>
                    <a:lnTo>
                      <a:pt x="248" y="208"/>
                    </a:lnTo>
                    <a:lnTo>
                      <a:pt x="248" y="208"/>
                    </a:lnTo>
                    <a:lnTo>
                      <a:pt x="248" y="210"/>
                    </a:lnTo>
                    <a:lnTo>
                      <a:pt x="247" y="213"/>
                    </a:lnTo>
                    <a:lnTo>
                      <a:pt x="248" y="213"/>
                    </a:lnTo>
                    <a:lnTo>
                      <a:pt x="247" y="215"/>
                    </a:lnTo>
                    <a:lnTo>
                      <a:pt x="247" y="216"/>
                    </a:lnTo>
                    <a:lnTo>
                      <a:pt x="247" y="215"/>
                    </a:lnTo>
                    <a:lnTo>
                      <a:pt x="245" y="215"/>
                    </a:lnTo>
                    <a:lnTo>
                      <a:pt x="244" y="215"/>
                    </a:lnTo>
                    <a:lnTo>
                      <a:pt x="244" y="215"/>
                    </a:lnTo>
                    <a:lnTo>
                      <a:pt x="242" y="216"/>
                    </a:lnTo>
                    <a:lnTo>
                      <a:pt x="242" y="216"/>
                    </a:lnTo>
                    <a:lnTo>
                      <a:pt x="239" y="218"/>
                    </a:lnTo>
                    <a:lnTo>
                      <a:pt x="237" y="219"/>
                    </a:lnTo>
                    <a:lnTo>
                      <a:pt x="236" y="222"/>
                    </a:lnTo>
                    <a:lnTo>
                      <a:pt x="234" y="222"/>
                    </a:lnTo>
                    <a:lnTo>
                      <a:pt x="234" y="224"/>
                    </a:lnTo>
                    <a:lnTo>
                      <a:pt x="234" y="224"/>
                    </a:lnTo>
                    <a:lnTo>
                      <a:pt x="236" y="224"/>
                    </a:lnTo>
                    <a:lnTo>
                      <a:pt x="236" y="226"/>
                    </a:lnTo>
                    <a:lnTo>
                      <a:pt x="234" y="226"/>
                    </a:lnTo>
                    <a:lnTo>
                      <a:pt x="234" y="227"/>
                    </a:lnTo>
                    <a:lnTo>
                      <a:pt x="234" y="229"/>
                    </a:lnTo>
                    <a:lnTo>
                      <a:pt x="236" y="229"/>
                    </a:lnTo>
                    <a:lnTo>
                      <a:pt x="236" y="230"/>
                    </a:lnTo>
                    <a:lnTo>
                      <a:pt x="236" y="230"/>
                    </a:lnTo>
                    <a:lnTo>
                      <a:pt x="236" y="232"/>
                    </a:lnTo>
                    <a:lnTo>
                      <a:pt x="236" y="233"/>
                    </a:lnTo>
                    <a:lnTo>
                      <a:pt x="236" y="233"/>
                    </a:lnTo>
                    <a:lnTo>
                      <a:pt x="236" y="233"/>
                    </a:lnTo>
                    <a:lnTo>
                      <a:pt x="237" y="233"/>
                    </a:lnTo>
                    <a:lnTo>
                      <a:pt x="237" y="235"/>
                    </a:lnTo>
                    <a:lnTo>
                      <a:pt x="237" y="237"/>
                    </a:lnTo>
                    <a:lnTo>
                      <a:pt x="237" y="238"/>
                    </a:lnTo>
                    <a:lnTo>
                      <a:pt x="237" y="238"/>
                    </a:lnTo>
                    <a:lnTo>
                      <a:pt x="241" y="240"/>
                    </a:lnTo>
                    <a:lnTo>
                      <a:pt x="239" y="240"/>
                    </a:lnTo>
                    <a:lnTo>
                      <a:pt x="239" y="241"/>
                    </a:lnTo>
                    <a:lnTo>
                      <a:pt x="239" y="241"/>
                    </a:lnTo>
                    <a:lnTo>
                      <a:pt x="239" y="243"/>
                    </a:lnTo>
                    <a:lnTo>
                      <a:pt x="241" y="243"/>
                    </a:lnTo>
                    <a:lnTo>
                      <a:pt x="242" y="244"/>
                    </a:lnTo>
                    <a:lnTo>
                      <a:pt x="245" y="246"/>
                    </a:lnTo>
                    <a:lnTo>
                      <a:pt x="247" y="244"/>
                    </a:lnTo>
                    <a:lnTo>
                      <a:pt x="248" y="241"/>
                    </a:lnTo>
                    <a:lnTo>
                      <a:pt x="248" y="240"/>
                    </a:lnTo>
                    <a:lnTo>
                      <a:pt x="248" y="238"/>
                    </a:lnTo>
                    <a:lnTo>
                      <a:pt x="248" y="233"/>
                    </a:lnTo>
                    <a:lnTo>
                      <a:pt x="250" y="233"/>
                    </a:lnTo>
                    <a:lnTo>
                      <a:pt x="251" y="229"/>
                    </a:lnTo>
                    <a:lnTo>
                      <a:pt x="251" y="229"/>
                    </a:lnTo>
                    <a:lnTo>
                      <a:pt x="251" y="219"/>
                    </a:lnTo>
                    <a:close/>
                    <a:moveTo>
                      <a:pt x="61" y="135"/>
                    </a:moveTo>
                    <a:lnTo>
                      <a:pt x="59" y="133"/>
                    </a:lnTo>
                    <a:lnTo>
                      <a:pt x="59" y="133"/>
                    </a:lnTo>
                    <a:lnTo>
                      <a:pt x="59" y="135"/>
                    </a:lnTo>
                    <a:lnTo>
                      <a:pt x="61" y="138"/>
                    </a:lnTo>
                    <a:lnTo>
                      <a:pt x="62" y="140"/>
                    </a:lnTo>
                    <a:lnTo>
                      <a:pt x="64" y="136"/>
                    </a:lnTo>
                    <a:lnTo>
                      <a:pt x="61" y="135"/>
                    </a:lnTo>
                    <a:close/>
                    <a:moveTo>
                      <a:pt x="226" y="58"/>
                    </a:moveTo>
                    <a:lnTo>
                      <a:pt x="226" y="57"/>
                    </a:lnTo>
                    <a:lnTo>
                      <a:pt x="225" y="57"/>
                    </a:lnTo>
                    <a:lnTo>
                      <a:pt x="220" y="55"/>
                    </a:lnTo>
                    <a:lnTo>
                      <a:pt x="217" y="55"/>
                    </a:lnTo>
                    <a:lnTo>
                      <a:pt x="216" y="55"/>
                    </a:lnTo>
                    <a:lnTo>
                      <a:pt x="216" y="55"/>
                    </a:lnTo>
                    <a:lnTo>
                      <a:pt x="214" y="53"/>
                    </a:lnTo>
                    <a:lnTo>
                      <a:pt x="214" y="53"/>
                    </a:lnTo>
                    <a:lnTo>
                      <a:pt x="214" y="53"/>
                    </a:lnTo>
                    <a:lnTo>
                      <a:pt x="212" y="53"/>
                    </a:lnTo>
                    <a:lnTo>
                      <a:pt x="211" y="53"/>
                    </a:lnTo>
                    <a:lnTo>
                      <a:pt x="209" y="53"/>
                    </a:lnTo>
                    <a:lnTo>
                      <a:pt x="208" y="53"/>
                    </a:lnTo>
                    <a:lnTo>
                      <a:pt x="208" y="53"/>
                    </a:lnTo>
                    <a:lnTo>
                      <a:pt x="208" y="53"/>
                    </a:lnTo>
                    <a:lnTo>
                      <a:pt x="208" y="53"/>
                    </a:lnTo>
                    <a:lnTo>
                      <a:pt x="206" y="52"/>
                    </a:lnTo>
                    <a:lnTo>
                      <a:pt x="206" y="52"/>
                    </a:lnTo>
                    <a:lnTo>
                      <a:pt x="205" y="52"/>
                    </a:lnTo>
                    <a:lnTo>
                      <a:pt x="205" y="52"/>
                    </a:lnTo>
                    <a:lnTo>
                      <a:pt x="205" y="52"/>
                    </a:lnTo>
                    <a:lnTo>
                      <a:pt x="205" y="52"/>
                    </a:lnTo>
                    <a:lnTo>
                      <a:pt x="203" y="52"/>
                    </a:lnTo>
                    <a:lnTo>
                      <a:pt x="203" y="53"/>
                    </a:lnTo>
                    <a:lnTo>
                      <a:pt x="201" y="52"/>
                    </a:lnTo>
                    <a:lnTo>
                      <a:pt x="201" y="52"/>
                    </a:lnTo>
                    <a:lnTo>
                      <a:pt x="200" y="49"/>
                    </a:lnTo>
                    <a:lnTo>
                      <a:pt x="200" y="49"/>
                    </a:lnTo>
                    <a:lnTo>
                      <a:pt x="200" y="47"/>
                    </a:lnTo>
                    <a:lnTo>
                      <a:pt x="198" y="46"/>
                    </a:lnTo>
                    <a:lnTo>
                      <a:pt x="197" y="46"/>
                    </a:lnTo>
                    <a:lnTo>
                      <a:pt x="195" y="44"/>
                    </a:lnTo>
                    <a:lnTo>
                      <a:pt x="195" y="44"/>
                    </a:lnTo>
                    <a:lnTo>
                      <a:pt x="195" y="44"/>
                    </a:lnTo>
                    <a:lnTo>
                      <a:pt x="194" y="44"/>
                    </a:lnTo>
                    <a:lnTo>
                      <a:pt x="194" y="44"/>
                    </a:lnTo>
                    <a:lnTo>
                      <a:pt x="192" y="44"/>
                    </a:lnTo>
                    <a:lnTo>
                      <a:pt x="192" y="44"/>
                    </a:lnTo>
                    <a:lnTo>
                      <a:pt x="191" y="44"/>
                    </a:lnTo>
                    <a:lnTo>
                      <a:pt x="189" y="46"/>
                    </a:lnTo>
                    <a:lnTo>
                      <a:pt x="189" y="44"/>
                    </a:lnTo>
                    <a:lnTo>
                      <a:pt x="187" y="44"/>
                    </a:lnTo>
                    <a:lnTo>
                      <a:pt x="187" y="44"/>
                    </a:lnTo>
                    <a:lnTo>
                      <a:pt x="186" y="43"/>
                    </a:lnTo>
                    <a:lnTo>
                      <a:pt x="186" y="43"/>
                    </a:lnTo>
                    <a:lnTo>
                      <a:pt x="184" y="43"/>
                    </a:lnTo>
                    <a:lnTo>
                      <a:pt x="183" y="43"/>
                    </a:lnTo>
                    <a:lnTo>
                      <a:pt x="183" y="43"/>
                    </a:lnTo>
                    <a:lnTo>
                      <a:pt x="181" y="43"/>
                    </a:lnTo>
                    <a:lnTo>
                      <a:pt x="181" y="43"/>
                    </a:lnTo>
                    <a:lnTo>
                      <a:pt x="180" y="43"/>
                    </a:lnTo>
                    <a:lnTo>
                      <a:pt x="178" y="39"/>
                    </a:lnTo>
                    <a:lnTo>
                      <a:pt x="176" y="39"/>
                    </a:lnTo>
                    <a:lnTo>
                      <a:pt x="176" y="38"/>
                    </a:lnTo>
                    <a:lnTo>
                      <a:pt x="175" y="38"/>
                    </a:lnTo>
                    <a:lnTo>
                      <a:pt x="173" y="38"/>
                    </a:lnTo>
                    <a:lnTo>
                      <a:pt x="173" y="36"/>
                    </a:lnTo>
                    <a:lnTo>
                      <a:pt x="172" y="36"/>
                    </a:lnTo>
                    <a:lnTo>
                      <a:pt x="170" y="36"/>
                    </a:lnTo>
                    <a:lnTo>
                      <a:pt x="169" y="36"/>
                    </a:lnTo>
                    <a:lnTo>
                      <a:pt x="169" y="35"/>
                    </a:lnTo>
                    <a:lnTo>
                      <a:pt x="169" y="32"/>
                    </a:lnTo>
                    <a:lnTo>
                      <a:pt x="169" y="32"/>
                    </a:lnTo>
                    <a:lnTo>
                      <a:pt x="169" y="27"/>
                    </a:lnTo>
                    <a:lnTo>
                      <a:pt x="169" y="27"/>
                    </a:lnTo>
                    <a:lnTo>
                      <a:pt x="169" y="25"/>
                    </a:lnTo>
                    <a:lnTo>
                      <a:pt x="167" y="25"/>
                    </a:lnTo>
                    <a:lnTo>
                      <a:pt x="167" y="27"/>
                    </a:lnTo>
                    <a:lnTo>
                      <a:pt x="167" y="27"/>
                    </a:lnTo>
                    <a:lnTo>
                      <a:pt x="165" y="28"/>
                    </a:lnTo>
                    <a:lnTo>
                      <a:pt x="165" y="30"/>
                    </a:lnTo>
                    <a:lnTo>
                      <a:pt x="164" y="32"/>
                    </a:lnTo>
                    <a:lnTo>
                      <a:pt x="161" y="32"/>
                    </a:lnTo>
                    <a:lnTo>
                      <a:pt x="158" y="32"/>
                    </a:lnTo>
                    <a:lnTo>
                      <a:pt x="156" y="30"/>
                    </a:lnTo>
                    <a:lnTo>
                      <a:pt x="156" y="30"/>
                    </a:lnTo>
                    <a:lnTo>
                      <a:pt x="156" y="30"/>
                    </a:lnTo>
                    <a:lnTo>
                      <a:pt x="156" y="28"/>
                    </a:lnTo>
                    <a:lnTo>
                      <a:pt x="158" y="28"/>
                    </a:lnTo>
                    <a:lnTo>
                      <a:pt x="158" y="27"/>
                    </a:lnTo>
                    <a:lnTo>
                      <a:pt x="156" y="27"/>
                    </a:lnTo>
                    <a:lnTo>
                      <a:pt x="156" y="25"/>
                    </a:lnTo>
                    <a:lnTo>
                      <a:pt x="156" y="25"/>
                    </a:lnTo>
                    <a:lnTo>
                      <a:pt x="158" y="24"/>
                    </a:lnTo>
                    <a:lnTo>
                      <a:pt x="158" y="24"/>
                    </a:lnTo>
                    <a:lnTo>
                      <a:pt x="155" y="21"/>
                    </a:lnTo>
                    <a:lnTo>
                      <a:pt x="153" y="21"/>
                    </a:lnTo>
                    <a:lnTo>
                      <a:pt x="151" y="21"/>
                    </a:lnTo>
                    <a:lnTo>
                      <a:pt x="150" y="21"/>
                    </a:lnTo>
                    <a:lnTo>
                      <a:pt x="150" y="21"/>
                    </a:lnTo>
                    <a:lnTo>
                      <a:pt x="150" y="21"/>
                    </a:lnTo>
                    <a:lnTo>
                      <a:pt x="148" y="22"/>
                    </a:lnTo>
                    <a:lnTo>
                      <a:pt x="148" y="21"/>
                    </a:lnTo>
                    <a:lnTo>
                      <a:pt x="148" y="17"/>
                    </a:lnTo>
                    <a:lnTo>
                      <a:pt x="147" y="17"/>
                    </a:lnTo>
                    <a:lnTo>
                      <a:pt x="145" y="16"/>
                    </a:lnTo>
                    <a:lnTo>
                      <a:pt x="142" y="16"/>
                    </a:lnTo>
                    <a:lnTo>
                      <a:pt x="142" y="16"/>
                    </a:lnTo>
                    <a:lnTo>
                      <a:pt x="140" y="14"/>
                    </a:lnTo>
                    <a:lnTo>
                      <a:pt x="140" y="11"/>
                    </a:lnTo>
                    <a:lnTo>
                      <a:pt x="140" y="10"/>
                    </a:lnTo>
                    <a:lnTo>
                      <a:pt x="139" y="8"/>
                    </a:lnTo>
                    <a:lnTo>
                      <a:pt x="137" y="8"/>
                    </a:lnTo>
                    <a:lnTo>
                      <a:pt x="136" y="10"/>
                    </a:lnTo>
                    <a:lnTo>
                      <a:pt x="134" y="10"/>
                    </a:lnTo>
                    <a:lnTo>
                      <a:pt x="134" y="10"/>
                    </a:lnTo>
                    <a:lnTo>
                      <a:pt x="133" y="10"/>
                    </a:lnTo>
                    <a:lnTo>
                      <a:pt x="133" y="10"/>
                    </a:lnTo>
                    <a:lnTo>
                      <a:pt x="131" y="8"/>
                    </a:lnTo>
                    <a:lnTo>
                      <a:pt x="130" y="7"/>
                    </a:lnTo>
                    <a:lnTo>
                      <a:pt x="130" y="5"/>
                    </a:lnTo>
                    <a:lnTo>
                      <a:pt x="130" y="5"/>
                    </a:lnTo>
                    <a:lnTo>
                      <a:pt x="130" y="3"/>
                    </a:lnTo>
                    <a:lnTo>
                      <a:pt x="130" y="3"/>
                    </a:lnTo>
                    <a:lnTo>
                      <a:pt x="128" y="0"/>
                    </a:lnTo>
                    <a:lnTo>
                      <a:pt x="128" y="0"/>
                    </a:lnTo>
                    <a:lnTo>
                      <a:pt x="126" y="0"/>
                    </a:lnTo>
                    <a:lnTo>
                      <a:pt x="117" y="3"/>
                    </a:lnTo>
                    <a:lnTo>
                      <a:pt x="115" y="3"/>
                    </a:lnTo>
                    <a:lnTo>
                      <a:pt x="114" y="5"/>
                    </a:lnTo>
                    <a:lnTo>
                      <a:pt x="112" y="8"/>
                    </a:lnTo>
                    <a:lnTo>
                      <a:pt x="112" y="10"/>
                    </a:lnTo>
                    <a:lnTo>
                      <a:pt x="111" y="22"/>
                    </a:lnTo>
                    <a:lnTo>
                      <a:pt x="112" y="24"/>
                    </a:lnTo>
                    <a:lnTo>
                      <a:pt x="111" y="24"/>
                    </a:lnTo>
                    <a:lnTo>
                      <a:pt x="111" y="24"/>
                    </a:lnTo>
                    <a:lnTo>
                      <a:pt x="109" y="27"/>
                    </a:lnTo>
                    <a:lnTo>
                      <a:pt x="106" y="30"/>
                    </a:lnTo>
                    <a:lnTo>
                      <a:pt x="100" y="33"/>
                    </a:lnTo>
                    <a:lnTo>
                      <a:pt x="95" y="33"/>
                    </a:lnTo>
                    <a:lnTo>
                      <a:pt x="87" y="38"/>
                    </a:lnTo>
                    <a:lnTo>
                      <a:pt x="86" y="41"/>
                    </a:lnTo>
                    <a:lnTo>
                      <a:pt x="86" y="43"/>
                    </a:lnTo>
                    <a:lnTo>
                      <a:pt x="86" y="43"/>
                    </a:lnTo>
                    <a:lnTo>
                      <a:pt x="89" y="44"/>
                    </a:lnTo>
                    <a:lnTo>
                      <a:pt x="92" y="44"/>
                    </a:lnTo>
                    <a:lnTo>
                      <a:pt x="90" y="44"/>
                    </a:lnTo>
                    <a:lnTo>
                      <a:pt x="86" y="46"/>
                    </a:lnTo>
                    <a:lnTo>
                      <a:pt x="84" y="49"/>
                    </a:lnTo>
                    <a:lnTo>
                      <a:pt x="81" y="49"/>
                    </a:lnTo>
                    <a:lnTo>
                      <a:pt x="75" y="47"/>
                    </a:lnTo>
                    <a:lnTo>
                      <a:pt x="70" y="47"/>
                    </a:lnTo>
                    <a:lnTo>
                      <a:pt x="67" y="46"/>
                    </a:lnTo>
                    <a:lnTo>
                      <a:pt x="64" y="47"/>
                    </a:lnTo>
                    <a:lnTo>
                      <a:pt x="62" y="46"/>
                    </a:lnTo>
                    <a:lnTo>
                      <a:pt x="62" y="44"/>
                    </a:lnTo>
                    <a:lnTo>
                      <a:pt x="62" y="41"/>
                    </a:lnTo>
                    <a:lnTo>
                      <a:pt x="62" y="38"/>
                    </a:lnTo>
                    <a:lnTo>
                      <a:pt x="59" y="38"/>
                    </a:lnTo>
                    <a:lnTo>
                      <a:pt x="56" y="39"/>
                    </a:lnTo>
                    <a:lnTo>
                      <a:pt x="54" y="38"/>
                    </a:lnTo>
                    <a:lnTo>
                      <a:pt x="51" y="38"/>
                    </a:lnTo>
                    <a:lnTo>
                      <a:pt x="51" y="39"/>
                    </a:lnTo>
                    <a:lnTo>
                      <a:pt x="51" y="41"/>
                    </a:lnTo>
                    <a:lnTo>
                      <a:pt x="51" y="44"/>
                    </a:lnTo>
                    <a:lnTo>
                      <a:pt x="54" y="49"/>
                    </a:lnTo>
                    <a:lnTo>
                      <a:pt x="56" y="52"/>
                    </a:lnTo>
                    <a:lnTo>
                      <a:pt x="56" y="61"/>
                    </a:lnTo>
                    <a:lnTo>
                      <a:pt x="58" y="64"/>
                    </a:lnTo>
                    <a:lnTo>
                      <a:pt x="59" y="66"/>
                    </a:lnTo>
                    <a:lnTo>
                      <a:pt x="59" y="66"/>
                    </a:lnTo>
                    <a:lnTo>
                      <a:pt x="51" y="66"/>
                    </a:lnTo>
                    <a:lnTo>
                      <a:pt x="51" y="66"/>
                    </a:lnTo>
                    <a:lnTo>
                      <a:pt x="50" y="64"/>
                    </a:lnTo>
                    <a:lnTo>
                      <a:pt x="50" y="66"/>
                    </a:lnTo>
                    <a:lnTo>
                      <a:pt x="48" y="68"/>
                    </a:lnTo>
                    <a:lnTo>
                      <a:pt x="47" y="66"/>
                    </a:lnTo>
                    <a:lnTo>
                      <a:pt x="40" y="66"/>
                    </a:lnTo>
                    <a:lnTo>
                      <a:pt x="37" y="69"/>
                    </a:lnTo>
                    <a:lnTo>
                      <a:pt x="34" y="68"/>
                    </a:lnTo>
                    <a:lnTo>
                      <a:pt x="31" y="63"/>
                    </a:lnTo>
                    <a:lnTo>
                      <a:pt x="28" y="61"/>
                    </a:lnTo>
                    <a:lnTo>
                      <a:pt x="23" y="61"/>
                    </a:lnTo>
                    <a:lnTo>
                      <a:pt x="22" y="63"/>
                    </a:lnTo>
                    <a:lnTo>
                      <a:pt x="19" y="64"/>
                    </a:lnTo>
                    <a:lnTo>
                      <a:pt x="17" y="64"/>
                    </a:lnTo>
                    <a:lnTo>
                      <a:pt x="12" y="64"/>
                    </a:lnTo>
                    <a:lnTo>
                      <a:pt x="4" y="68"/>
                    </a:lnTo>
                    <a:lnTo>
                      <a:pt x="1" y="69"/>
                    </a:lnTo>
                    <a:lnTo>
                      <a:pt x="0" y="72"/>
                    </a:lnTo>
                    <a:lnTo>
                      <a:pt x="0" y="72"/>
                    </a:lnTo>
                    <a:lnTo>
                      <a:pt x="1" y="74"/>
                    </a:lnTo>
                    <a:lnTo>
                      <a:pt x="3" y="74"/>
                    </a:lnTo>
                    <a:lnTo>
                      <a:pt x="4" y="74"/>
                    </a:lnTo>
                    <a:lnTo>
                      <a:pt x="6" y="74"/>
                    </a:lnTo>
                    <a:lnTo>
                      <a:pt x="8" y="74"/>
                    </a:lnTo>
                    <a:lnTo>
                      <a:pt x="9" y="74"/>
                    </a:lnTo>
                    <a:lnTo>
                      <a:pt x="9" y="75"/>
                    </a:lnTo>
                    <a:lnTo>
                      <a:pt x="6" y="75"/>
                    </a:lnTo>
                    <a:lnTo>
                      <a:pt x="4" y="75"/>
                    </a:lnTo>
                    <a:lnTo>
                      <a:pt x="4" y="75"/>
                    </a:lnTo>
                    <a:lnTo>
                      <a:pt x="3" y="75"/>
                    </a:lnTo>
                    <a:lnTo>
                      <a:pt x="4" y="77"/>
                    </a:lnTo>
                    <a:lnTo>
                      <a:pt x="4" y="77"/>
                    </a:lnTo>
                    <a:lnTo>
                      <a:pt x="6" y="77"/>
                    </a:lnTo>
                    <a:lnTo>
                      <a:pt x="8" y="79"/>
                    </a:lnTo>
                    <a:lnTo>
                      <a:pt x="8" y="80"/>
                    </a:lnTo>
                    <a:lnTo>
                      <a:pt x="4" y="80"/>
                    </a:lnTo>
                    <a:lnTo>
                      <a:pt x="3" y="82"/>
                    </a:lnTo>
                    <a:lnTo>
                      <a:pt x="1" y="82"/>
                    </a:lnTo>
                    <a:lnTo>
                      <a:pt x="6" y="85"/>
                    </a:lnTo>
                    <a:lnTo>
                      <a:pt x="8" y="86"/>
                    </a:lnTo>
                    <a:lnTo>
                      <a:pt x="8" y="88"/>
                    </a:lnTo>
                    <a:lnTo>
                      <a:pt x="9" y="88"/>
                    </a:lnTo>
                    <a:lnTo>
                      <a:pt x="12" y="88"/>
                    </a:lnTo>
                    <a:lnTo>
                      <a:pt x="15" y="88"/>
                    </a:lnTo>
                    <a:lnTo>
                      <a:pt x="22" y="89"/>
                    </a:lnTo>
                    <a:lnTo>
                      <a:pt x="23" y="91"/>
                    </a:lnTo>
                    <a:lnTo>
                      <a:pt x="25" y="91"/>
                    </a:lnTo>
                    <a:lnTo>
                      <a:pt x="25" y="91"/>
                    </a:lnTo>
                    <a:lnTo>
                      <a:pt x="26" y="91"/>
                    </a:lnTo>
                    <a:lnTo>
                      <a:pt x="28" y="91"/>
                    </a:lnTo>
                    <a:lnTo>
                      <a:pt x="28" y="91"/>
                    </a:lnTo>
                    <a:lnTo>
                      <a:pt x="29" y="93"/>
                    </a:lnTo>
                    <a:lnTo>
                      <a:pt x="33" y="94"/>
                    </a:lnTo>
                    <a:lnTo>
                      <a:pt x="34" y="93"/>
                    </a:lnTo>
                    <a:lnTo>
                      <a:pt x="36" y="93"/>
                    </a:lnTo>
                    <a:lnTo>
                      <a:pt x="36" y="94"/>
                    </a:lnTo>
                    <a:lnTo>
                      <a:pt x="34" y="96"/>
                    </a:lnTo>
                    <a:lnTo>
                      <a:pt x="36" y="96"/>
                    </a:lnTo>
                    <a:lnTo>
                      <a:pt x="37" y="96"/>
                    </a:lnTo>
                    <a:lnTo>
                      <a:pt x="39" y="96"/>
                    </a:lnTo>
                    <a:lnTo>
                      <a:pt x="40" y="96"/>
                    </a:lnTo>
                    <a:lnTo>
                      <a:pt x="42" y="97"/>
                    </a:lnTo>
                    <a:lnTo>
                      <a:pt x="40" y="99"/>
                    </a:lnTo>
                    <a:lnTo>
                      <a:pt x="39" y="99"/>
                    </a:lnTo>
                    <a:lnTo>
                      <a:pt x="40" y="102"/>
                    </a:lnTo>
                    <a:lnTo>
                      <a:pt x="40" y="102"/>
                    </a:lnTo>
                    <a:lnTo>
                      <a:pt x="42" y="102"/>
                    </a:lnTo>
                    <a:lnTo>
                      <a:pt x="50" y="102"/>
                    </a:lnTo>
                    <a:lnTo>
                      <a:pt x="53" y="104"/>
                    </a:lnTo>
                    <a:lnTo>
                      <a:pt x="51" y="104"/>
                    </a:lnTo>
                    <a:lnTo>
                      <a:pt x="50" y="102"/>
                    </a:lnTo>
                    <a:lnTo>
                      <a:pt x="48" y="102"/>
                    </a:lnTo>
                    <a:lnTo>
                      <a:pt x="47" y="102"/>
                    </a:lnTo>
                    <a:lnTo>
                      <a:pt x="47" y="104"/>
                    </a:lnTo>
                    <a:lnTo>
                      <a:pt x="45" y="105"/>
                    </a:lnTo>
                    <a:lnTo>
                      <a:pt x="47" y="107"/>
                    </a:lnTo>
                    <a:lnTo>
                      <a:pt x="47" y="107"/>
                    </a:lnTo>
                    <a:lnTo>
                      <a:pt x="48" y="108"/>
                    </a:lnTo>
                    <a:lnTo>
                      <a:pt x="47" y="111"/>
                    </a:lnTo>
                    <a:lnTo>
                      <a:pt x="47" y="113"/>
                    </a:lnTo>
                    <a:lnTo>
                      <a:pt x="48" y="115"/>
                    </a:lnTo>
                    <a:lnTo>
                      <a:pt x="50" y="118"/>
                    </a:lnTo>
                    <a:lnTo>
                      <a:pt x="53" y="122"/>
                    </a:lnTo>
                    <a:lnTo>
                      <a:pt x="59" y="125"/>
                    </a:lnTo>
                    <a:lnTo>
                      <a:pt x="61" y="127"/>
                    </a:lnTo>
                    <a:lnTo>
                      <a:pt x="62" y="127"/>
                    </a:lnTo>
                    <a:lnTo>
                      <a:pt x="64" y="127"/>
                    </a:lnTo>
                    <a:lnTo>
                      <a:pt x="64" y="129"/>
                    </a:lnTo>
                    <a:lnTo>
                      <a:pt x="64" y="130"/>
                    </a:lnTo>
                    <a:lnTo>
                      <a:pt x="64" y="136"/>
                    </a:lnTo>
                    <a:lnTo>
                      <a:pt x="65" y="140"/>
                    </a:lnTo>
                    <a:lnTo>
                      <a:pt x="65" y="141"/>
                    </a:lnTo>
                    <a:lnTo>
                      <a:pt x="65" y="141"/>
                    </a:lnTo>
                    <a:lnTo>
                      <a:pt x="64" y="141"/>
                    </a:lnTo>
                    <a:lnTo>
                      <a:pt x="62" y="141"/>
                    </a:lnTo>
                    <a:lnTo>
                      <a:pt x="62" y="141"/>
                    </a:lnTo>
                    <a:lnTo>
                      <a:pt x="64" y="143"/>
                    </a:lnTo>
                    <a:lnTo>
                      <a:pt x="69" y="146"/>
                    </a:lnTo>
                    <a:lnTo>
                      <a:pt x="70" y="147"/>
                    </a:lnTo>
                    <a:lnTo>
                      <a:pt x="72" y="150"/>
                    </a:lnTo>
                    <a:lnTo>
                      <a:pt x="73" y="157"/>
                    </a:lnTo>
                    <a:lnTo>
                      <a:pt x="73" y="158"/>
                    </a:lnTo>
                    <a:lnTo>
                      <a:pt x="75" y="160"/>
                    </a:lnTo>
                    <a:lnTo>
                      <a:pt x="73" y="158"/>
                    </a:lnTo>
                    <a:lnTo>
                      <a:pt x="72" y="157"/>
                    </a:lnTo>
                    <a:lnTo>
                      <a:pt x="70" y="152"/>
                    </a:lnTo>
                    <a:lnTo>
                      <a:pt x="70" y="150"/>
                    </a:lnTo>
                    <a:lnTo>
                      <a:pt x="67" y="149"/>
                    </a:lnTo>
                    <a:lnTo>
                      <a:pt x="65" y="146"/>
                    </a:lnTo>
                    <a:lnTo>
                      <a:pt x="64" y="150"/>
                    </a:lnTo>
                    <a:lnTo>
                      <a:pt x="62" y="155"/>
                    </a:lnTo>
                    <a:lnTo>
                      <a:pt x="62" y="168"/>
                    </a:lnTo>
                    <a:lnTo>
                      <a:pt x="62" y="168"/>
                    </a:lnTo>
                    <a:lnTo>
                      <a:pt x="62" y="166"/>
                    </a:lnTo>
                    <a:lnTo>
                      <a:pt x="64" y="166"/>
                    </a:lnTo>
                    <a:lnTo>
                      <a:pt x="65" y="168"/>
                    </a:lnTo>
                    <a:lnTo>
                      <a:pt x="64" y="168"/>
                    </a:lnTo>
                    <a:lnTo>
                      <a:pt x="62" y="171"/>
                    </a:lnTo>
                    <a:lnTo>
                      <a:pt x="61" y="183"/>
                    </a:lnTo>
                    <a:lnTo>
                      <a:pt x="58" y="194"/>
                    </a:lnTo>
                    <a:lnTo>
                      <a:pt x="54" y="197"/>
                    </a:lnTo>
                    <a:lnTo>
                      <a:pt x="53" y="199"/>
                    </a:lnTo>
                    <a:lnTo>
                      <a:pt x="53" y="199"/>
                    </a:lnTo>
                    <a:lnTo>
                      <a:pt x="53" y="199"/>
                    </a:lnTo>
                    <a:lnTo>
                      <a:pt x="53" y="201"/>
                    </a:lnTo>
                    <a:lnTo>
                      <a:pt x="54" y="201"/>
                    </a:lnTo>
                    <a:lnTo>
                      <a:pt x="56" y="202"/>
                    </a:lnTo>
                    <a:lnTo>
                      <a:pt x="56" y="202"/>
                    </a:lnTo>
                    <a:lnTo>
                      <a:pt x="58" y="202"/>
                    </a:lnTo>
                    <a:lnTo>
                      <a:pt x="59" y="202"/>
                    </a:lnTo>
                    <a:lnTo>
                      <a:pt x="59" y="204"/>
                    </a:lnTo>
                    <a:lnTo>
                      <a:pt x="59" y="205"/>
                    </a:lnTo>
                    <a:lnTo>
                      <a:pt x="58" y="205"/>
                    </a:lnTo>
                    <a:lnTo>
                      <a:pt x="58" y="205"/>
                    </a:lnTo>
                    <a:lnTo>
                      <a:pt x="58" y="207"/>
                    </a:lnTo>
                    <a:lnTo>
                      <a:pt x="58" y="207"/>
                    </a:lnTo>
                    <a:lnTo>
                      <a:pt x="59" y="207"/>
                    </a:lnTo>
                    <a:lnTo>
                      <a:pt x="59" y="207"/>
                    </a:lnTo>
                    <a:lnTo>
                      <a:pt x="59" y="207"/>
                    </a:lnTo>
                    <a:lnTo>
                      <a:pt x="61" y="207"/>
                    </a:lnTo>
                    <a:lnTo>
                      <a:pt x="61" y="205"/>
                    </a:lnTo>
                    <a:lnTo>
                      <a:pt x="61" y="205"/>
                    </a:lnTo>
                    <a:lnTo>
                      <a:pt x="61" y="207"/>
                    </a:lnTo>
                    <a:lnTo>
                      <a:pt x="61" y="207"/>
                    </a:lnTo>
                    <a:lnTo>
                      <a:pt x="64" y="208"/>
                    </a:lnTo>
                    <a:lnTo>
                      <a:pt x="67" y="210"/>
                    </a:lnTo>
                    <a:lnTo>
                      <a:pt x="69" y="210"/>
                    </a:lnTo>
                    <a:lnTo>
                      <a:pt x="70" y="210"/>
                    </a:lnTo>
                    <a:lnTo>
                      <a:pt x="70" y="210"/>
                    </a:lnTo>
                    <a:lnTo>
                      <a:pt x="73" y="213"/>
                    </a:lnTo>
                    <a:lnTo>
                      <a:pt x="75" y="213"/>
                    </a:lnTo>
                    <a:lnTo>
                      <a:pt x="75" y="213"/>
                    </a:lnTo>
                    <a:lnTo>
                      <a:pt x="76" y="213"/>
                    </a:lnTo>
                    <a:lnTo>
                      <a:pt x="78" y="213"/>
                    </a:lnTo>
                    <a:lnTo>
                      <a:pt x="78" y="213"/>
                    </a:lnTo>
                    <a:lnTo>
                      <a:pt x="79" y="213"/>
                    </a:lnTo>
                    <a:lnTo>
                      <a:pt x="79" y="213"/>
                    </a:lnTo>
                    <a:lnTo>
                      <a:pt x="81" y="215"/>
                    </a:lnTo>
                    <a:lnTo>
                      <a:pt x="83" y="215"/>
                    </a:lnTo>
                    <a:lnTo>
                      <a:pt x="83" y="215"/>
                    </a:lnTo>
                    <a:lnTo>
                      <a:pt x="83" y="216"/>
                    </a:lnTo>
                    <a:lnTo>
                      <a:pt x="87" y="215"/>
                    </a:lnTo>
                    <a:lnTo>
                      <a:pt x="89" y="216"/>
                    </a:lnTo>
                    <a:lnTo>
                      <a:pt x="89" y="216"/>
                    </a:lnTo>
                    <a:lnTo>
                      <a:pt x="90" y="216"/>
                    </a:lnTo>
                    <a:lnTo>
                      <a:pt x="94" y="216"/>
                    </a:lnTo>
                    <a:lnTo>
                      <a:pt x="95" y="216"/>
                    </a:lnTo>
                    <a:lnTo>
                      <a:pt x="95" y="216"/>
                    </a:lnTo>
                    <a:lnTo>
                      <a:pt x="95" y="213"/>
                    </a:lnTo>
                    <a:lnTo>
                      <a:pt x="95" y="212"/>
                    </a:lnTo>
                    <a:lnTo>
                      <a:pt x="97" y="212"/>
                    </a:lnTo>
                    <a:lnTo>
                      <a:pt x="97" y="212"/>
                    </a:lnTo>
                    <a:lnTo>
                      <a:pt x="101" y="213"/>
                    </a:lnTo>
                    <a:lnTo>
                      <a:pt x="103" y="215"/>
                    </a:lnTo>
                    <a:lnTo>
                      <a:pt x="105" y="215"/>
                    </a:lnTo>
                    <a:lnTo>
                      <a:pt x="106" y="215"/>
                    </a:lnTo>
                    <a:lnTo>
                      <a:pt x="108" y="216"/>
                    </a:lnTo>
                    <a:lnTo>
                      <a:pt x="109" y="218"/>
                    </a:lnTo>
                    <a:lnTo>
                      <a:pt x="109" y="218"/>
                    </a:lnTo>
                    <a:lnTo>
                      <a:pt x="111" y="216"/>
                    </a:lnTo>
                    <a:lnTo>
                      <a:pt x="111" y="218"/>
                    </a:lnTo>
                    <a:lnTo>
                      <a:pt x="114" y="218"/>
                    </a:lnTo>
                    <a:lnTo>
                      <a:pt x="114" y="218"/>
                    </a:lnTo>
                    <a:lnTo>
                      <a:pt x="114" y="219"/>
                    </a:lnTo>
                    <a:lnTo>
                      <a:pt x="114" y="219"/>
                    </a:lnTo>
                    <a:lnTo>
                      <a:pt x="114" y="221"/>
                    </a:lnTo>
                    <a:lnTo>
                      <a:pt x="117" y="221"/>
                    </a:lnTo>
                    <a:lnTo>
                      <a:pt x="117" y="222"/>
                    </a:lnTo>
                    <a:lnTo>
                      <a:pt x="119" y="222"/>
                    </a:lnTo>
                    <a:lnTo>
                      <a:pt x="119" y="224"/>
                    </a:lnTo>
                    <a:lnTo>
                      <a:pt x="120" y="224"/>
                    </a:lnTo>
                    <a:lnTo>
                      <a:pt x="120" y="222"/>
                    </a:lnTo>
                    <a:lnTo>
                      <a:pt x="123" y="222"/>
                    </a:lnTo>
                    <a:lnTo>
                      <a:pt x="125" y="222"/>
                    </a:lnTo>
                    <a:lnTo>
                      <a:pt x="130" y="224"/>
                    </a:lnTo>
                    <a:lnTo>
                      <a:pt x="131" y="224"/>
                    </a:lnTo>
                    <a:lnTo>
                      <a:pt x="131" y="224"/>
                    </a:lnTo>
                    <a:lnTo>
                      <a:pt x="131" y="222"/>
                    </a:lnTo>
                    <a:lnTo>
                      <a:pt x="131" y="222"/>
                    </a:lnTo>
                    <a:lnTo>
                      <a:pt x="133" y="222"/>
                    </a:lnTo>
                    <a:lnTo>
                      <a:pt x="133" y="222"/>
                    </a:lnTo>
                    <a:lnTo>
                      <a:pt x="134" y="221"/>
                    </a:lnTo>
                    <a:lnTo>
                      <a:pt x="136" y="221"/>
                    </a:lnTo>
                    <a:lnTo>
                      <a:pt x="137" y="221"/>
                    </a:lnTo>
                    <a:lnTo>
                      <a:pt x="137" y="221"/>
                    </a:lnTo>
                    <a:lnTo>
                      <a:pt x="139" y="222"/>
                    </a:lnTo>
                    <a:lnTo>
                      <a:pt x="140" y="222"/>
                    </a:lnTo>
                    <a:lnTo>
                      <a:pt x="140" y="221"/>
                    </a:lnTo>
                    <a:lnTo>
                      <a:pt x="137" y="218"/>
                    </a:lnTo>
                    <a:lnTo>
                      <a:pt x="137" y="212"/>
                    </a:lnTo>
                    <a:lnTo>
                      <a:pt x="137" y="210"/>
                    </a:lnTo>
                    <a:lnTo>
                      <a:pt x="139" y="207"/>
                    </a:lnTo>
                    <a:lnTo>
                      <a:pt x="140" y="204"/>
                    </a:lnTo>
                    <a:lnTo>
                      <a:pt x="150" y="197"/>
                    </a:lnTo>
                    <a:lnTo>
                      <a:pt x="151" y="196"/>
                    </a:lnTo>
                    <a:lnTo>
                      <a:pt x="153" y="194"/>
                    </a:lnTo>
                    <a:lnTo>
                      <a:pt x="155" y="194"/>
                    </a:lnTo>
                    <a:lnTo>
                      <a:pt x="156" y="194"/>
                    </a:lnTo>
                    <a:lnTo>
                      <a:pt x="156" y="194"/>
                    </a:lnTo>
                    <a:lnTo>
                      <a:pt x="158" y="196"/>
                    </a:lnTo>
                    <a:lnTo>
                      <a:pt x="158" y="197"/>
                    </a:lnTo>
                    <a:lnTo>
                      <a:pt x="161" y="197"/>
                    </a:lnTo>
                    <a:lnTo>
                      <a:pt x="161" y="197"/>
                    </a:lnTo>
                    <a:lnTo>
                      <a:pt x="165" y="199"/>
                    </a:lnTo>
                    <a:lnTo>
                      <a:pt x="167" y="199"/>
                    </a:lnTo>
                    <a:lnTo>
                      <a:pt x="169" y="199"/>
                    </a:lnTo>
                    <a:lnTo>
                      <a:pt x="169" y="199"/>
                    </a:lnTo>
                    <a:lnTo>
                      <a:pt x="169" y="199"/>
                    </a:lnTo>
                    <a:lnTo>
                      <a:pt x="169" y="199"/>
                    </a:lnTo>
                    <a:lnTo>
                      <a:pt x="170" y="199"/>
                    </a:lnTo>
                    <a:lnTo>
                      <a:pt x="170" y="197"/>
                    </a:lnTo>
                    <a:lnTo>
                      <a:pt x="172" y="197"/>
                    </a:lnTo>
                    <a:lnTo>
                      <a:pt x="173" y="197"/>
                    </a:lnTo>
                    <a:lnTo>
                      <a:pt x="173" y="199"/>
                    </a:lnTo>
                    <a:lnTo>
                      <a:pt x="173" y="199"/>
                    </a:lnTo>
                    <a:lnTo>
                      <a:pt x="173" y="201"/>
                    </a:lnTo>
                    <a:lnTo>
                      <a:pt x="175" y="201"/>
                    </a:lnTo>
                    <a:lnTo>
                      <a:pt x="178" y="201"/>
                    </a:lnTo>
                    <a:lnTo>
                      <a:pt x="178" y="202"/>
                    </a:lnTo>
                    <a:lnTo>
                      <a:pt x="183" y="204"/>
                    </a:lnTo>
                    <a:lnTo>
                      <a:pt x="186" y="205"/>
                    </a:lnTo>
                    <a:lnTo>
                      <a:pt x="189" y="205"/>
                    </a:lnTo>
                    <a:lnTo>
                      <a:pt x="191" y="207"/>
                    </a:lnTo>
                    <a:lnTo>
                      <a:pt x="195" y="205"/>
                    </a:lnTo>
                    <a:lnTo>
                      <a:pt x="198" y="204"/>
                    </a:lnTo>
                    <a:lnTo>
                      <a:pt x="200" y="204"/>
                    </a:lnTo>
                    <a:lnTo>
                      <a:pt x="201" y="202"/>
                    </a:lnTo>
                    <a:lnTo>
                      <a:pt x="201" y="201"/>
                    </a:lnTo>
                    <a:lnTo>
                      <a:pt x="201" y="199"/>
                    </a:lnTo>
                    <a:lnTo>
                      <a:pt x="205" y="197"/>
                    </a:lnTo>
                    <a:lnTo>
                      <a:pt x="209" y="193"/>
                    </a:lnTo>
                    <a:lnTo>
                      <a:pt x="211" y="191"/>
                    </a:lnTo>
                    <a:lnTo>
                      <a:pt x="214" y="191"/>
                    </a:lnTo>
                    <a:lnTo>
                      <a:pt x="214" y="191"/>
                    </a:lnTo>
                    <a:lnTo>
                      <a:pt x="214" y="190"/>
                    </a:lnTo>
                    <a:lnTo>
                      <a:pt x="214" y="190"/>
                    </a:lnTo>
                    <a:lnTo>
                      <a:pt x="214" y="190"/>
                    </a:lnTo>
                    <a:lnTo>
                      <a:pt x="214" y="190"/>
                    </a:lnTo>
                    <a:lnTo>
                      <a:pt x="214" y="190"/>
                    </a:lnTo>
                    <a:lnTo>
                      <a:pt x="216" y="190"/>
                    </a:lnTo>
                    <a:lnTo>
                      <a:pt x="216" y="188"/>
                    </a:lnTo>
                    <a:lnTo>
                      <a:pt x="216" y="188"/>
                    </a:lnTo>
                    <a:lnTo>
                      <a:pt x="216" y="188"/>
                    </a:lnTo>
                    <a:lnTo>
                      <a:pt x="216" y="186"/>
                    </a:lnTo>
                    <a:lnTo>
                      <a:pt x="217" y="185"/>
                    </a:lnTo>
                    <a:lnTo>
                      <a:pt x="219" y="183"/>
                    </a:lnTo>
                    <a:lnTo>
                      <a:pt x="219" y="182"/>
                    </a:lnTo>
                    <a:lnTo>
                      <a:pt x="219" y="182"/>
                    </a:lnTo>
                    <a:lnTo>
                      <a:pt x="219" y="180"/>
                    </a:lnTo>
                    <a:lnTo>
                      <a:pt x="219" y="180"/>
                    </a:lnTo>
                    <a:lnTo>
                      <a:pt x="217" y="180"/>
                    </a:lnTo>
                    <a:lnTo>
                      <a:pt x="214" y="182"/>
                    </a:lnTo>
                    <a:lnTo>
                      <a:pt x="212" y="180"/>
                    </a:lnTo>
                    <a:lnTo>
                      <a:pt x="209" y="179"/>
                    </a:lnTo>
                    <a:lnTo>
                      <a:pt x="206" y="177"/>
                    </a:lnTo>
                    <a:lnTo>
                      <a:pt x="205" y="176"/>
                    </a:lnTo>
                    <a:lnTo>
                      <a:pt x="205" y="174"/>
                    </a:lnTo>
                    <a:lnTo>
                      <a:pt x="205" y="174"/>
                    </a:lnTo>
                    <a:lnTo>
                      <a:pt x="205" y="172"/>
                    </a:lnTo>
                    <a:lnTo>
                      <a:pt x="205" y="172"/>
                    </a:lnTo>
                    <a:lnTo>
                      <a:pt x="205" y="171"/>
                    </a:lnTo>
                    <a:lnTo>
                      <a:pt x="206" y="169"/>
                    </a:lnTo>
                    <a:lnTo>
                      <a:pt x="206" y="168"/>
                    </a:lnTo>
                    <a:lnTo>
                      <a:pt x="206" y="168"/>
                    </a:lnTo>
                    <a:lnTo>
                      <a:pt x="206" y="168"/>
                    </a:lnTo>
                    <a:lnTo>
                      <a:pt x="208" y="166"/>
                    </a:lnTo>
                    <a:lnTo>
                      <a:pt x="206" y="165"/>
                    </a:lnTo>
                    <a:lnTo>
                      <a:pt x="206" y="163"/>
                    </a:lnTo>
                    <a:lnTo>
                      <a:pt x="206" y="163"/>
                    </a:lnTo>
                    <a:lnTo>
                      <a:pt x="206" y="163"/>
                    </a:lnTo>
                    <a:lnTo>
                      <a:pt x="205" y="163"/>
                    </a:lnTo>
                    <a:lnTo>
                      <a:pt x="203" y="163"/>
                    </a:lnTo>
                    <a:lnTo>
                      <a:pt x="201" y="161"/>
                    </a:lnTo>
                    <a:lnTo>
                      <a:pt x="201" y="160"/>
                    </a:lnTo>
                    <a:lnTo>
                      <a:pt x="201" y="158"/>
                    </a:lnTo>
                    <a:lnTo>
                      <a:pt x="201" y="158"/>
                    </a:lnTo>
                    <a:lnTo>
                      <a:pt x="200" y="158"/>
                    </a:lnTo>
                    <a:lnTo>
                      <a:pt x="200" y="157"/>
                    </a:lnTo>
                    <a:lnTo>
                      <a:pt x="200" y="157"/>
                    </a:lnTo>
                    <a:lnTo>
                      <a:pt x="201" y="157"/>
                    </a:lnTo>
                    <a:lnTo>
                      <a:pt x="203" y="157"/>
                    </a:lnTo>
                    <a:lnTo>
                      <a:pt x="205" y="157"/>
                    </a:lnTo>
                    <a:lnTo>
                      <a:pt x="206" y="154"/>
                    </a:lnTo>
                    <a:lnTo>
                      <a:pt x="208" y="154"/>
                    </a:lnTo>
                    <a:lnTo>
                      <a:pt x="208" y="154"/>
                    </a:lnTo>
                    <a:lnTo>
                      <a:pt x="209" y="150"/>
                    </a:lnTo>
                    <a:lnTo>
                      <a:pt x="209" y="150"/>
                    </a:lnTo>
                    <a:lnTo>
                      <a:pt x="209" y="150"/>
                    </a:lnTo>
                    <a:lnTo>
                      <a:pt x="209" y="149"/>
                    </a:lnTo>
                    <a:lnTo>
                      <a:pt x="209" y="149"/>
                    </a:lnTo>
                    <a:lnTo>
                      <a:pt x="208" y="147"/>
                    </a:lnTo>
                    <a:lnTo>
                      <a:pt x="206" y="146"/>
                    </a:lnTo>
                    <a:lnTo>
                      <a:pt x="205" y="143"/>
                    </a:lnTo>
                    <a:lnTo>
                      <a:pt x="205" y="143"/>
                    </a:lnTo>
                    <a:lnTo>
                      <a:pt x="203" y="143"/>
                    </a:lnTo>
                    <a:lnTo>
                      <a:pt x="203" y="141"/>
                    </a:lnTo>
                    <a:lnTo>
                      <a:pt x="203" y="140"/>
                    </a:lnTo>
                    <a:lnTo>
                      <a:pt x="203" y="140"/>
                    </a:lnTo>
                    <a:lnTo>
                      <a:pt x="203" y="140"/>
                    </a:lnTo>
                    <a:lnTo>
                      <a:pt x="206" y="138"/>
                    </a:lnTo>
                    <a:lnTo>
                      <a:pt x="208" y="136"/>
                    </a:lnTo>
                    <a:lnTo>
                      <a:pt x="208" y="136"/>
                    </a:lnTo>
                    <a:lnTo>
                      <a:pt x="208" y="136"/>
                    </a:lnTo>
                    <a:lnTo>
                      <a:pt x="206" y="136"/>
                    </a:lnTo>
                    <a:lnTo>
                      <a:pt x="206" y="135"/>
                    </a:lnTo>
                    <a:lnTo>
                      <a:pt x="206" y="135"/>
                    </a:lnTo>
                    <a:lnTo>
                      <a:pt x="205" y="133"/>
                    </a:lnTo>
                    <a:lnTo>
                      <a:pt x="205" y="132"/>
                    </a:lnTo>
                    <a:lnTo>
                      <a:pt x="203" y="132"/>
                    </a:lnTo>
                    <a:lnTo>
                      <a:pt x="203" y="130"/>
                    </a:lnTo>
                    <a:lnTo>
                      <a:pt x="203" y="129"/>
                    </a:lnTo>
                    <a:lnTo>
                      <a:pt x="203" y="129"/>
                    </a:lnTo>
                    <a:lnTo>
                      <a:pt x="203" y="127"/>
                    </a:lnTo>
                    <a:lnTo>
                      <a:pt x="203" y="127"/>
                    </a:lnTo>
                    <a:lnTo>
                      <a:pt x="203" y="125"/>
                    </a:lnTo>
                    <a:lnTo>
                      <a:pt x="203" y="124"/>
                    </a:lnTo>
                    <a:lnTo>
                      <a:pt x="203" y="124"/>
                    </a:lnTo>
                    <a:lnTo>
                      <a:pt x="200" y="124"/>
                    </a:lnTo>
                    <a:lnTo>
                      <a:pt x="200" y="124"/>
                    </a:lnTo>
                    <a:lnTo>
                      <a:pt x="197" y="124"/>
                    </a:lnTo>
                    <a:lnTo>
                      <a:pt x="197" y="124"/>
                    </a:lnTo>
                    <a:lnTo>
                      <a:pt x="195" y="124"/>
                    </a:lnTo>
                    <a:lnTo>
                      <a:pt x="194" y="125"/>
                    </a:lnTo>
                    <a:lnTo>
                      <a:pt x="194" y="127"/>
                    </a:lnTo>
                    <a:lnTo>
                      <a:pt x="194" y="127"/>
                    </a:lnTo>
                    <a:lnTo>
                      <a:pt x="194" y="129"/>
                    </a:lnTo>
                    <a:lnTo>
                      <a:pt x="192" y="130"/>
                    </a:lnTo>
                    <a:lnTo>
                      <a:pt x="191" y="130"/>
                    </a:lnTo>
                    <a:lnTo>
                      <a:pt x="189" y="132"/>
                    </a:lnTo>
                    <a:lnTo>
                      <a:pt x="189" y="130"/>
                    </a:lnTo>
                    <a:lnTo>
                      <a:pt x="189" y="129"/>
                    </a:lnTo>
                    <a:lnTo>
                      <a:pt x="189" y="129"/>
                    </a:lnTo>
                    <a:lnTo>
                      <a:pt x="189" y="129"/>
                    </a:lnTo>
                    <a:lnTo>
                      <a:pt x="191" y="129"/>
                    </a:lnTo>
                    <a:lnTo>
                      <a:pt x="191" y="127"/>
                    </a:lnTo>
                    <a:lnTo>
                      <a:pt x="191" y="125"/>
                    </a:lnTo>
                    <a:lnTo>
                      <a:pt x="192" y="125"/>
                    </a:lnTo>
                    <a:lnTo>
                      <a:pt x="191" y="124"/>
                    </a:lnTo>
                    <a:lnTo>
                      <a:pt x="191" y="124"/>
                    </a:lnTo>
                    <a:lnTo>
                      <a:pt x="191" y="122"/>
                    </a:lnTo>
                    <a:lnTo>
                      <a:pt x="191" y="122"/>
                    </a:lnTo>
                    <a:lnTo>
                      <a:pt x="192" y="121"/>
                    </a:lnTo>
                    <a:lnTo>
                      <a:pt x="192" y="119"/>
                    </a:lnTo>
                    <a:lnTo>
                      <a:pt x="194" y="118"/>
                    </a:lnTo>
                    <a:lnTo>
                      <a:pt x="197" y="116"/>
                    </a:lnTo>
                    <a:lnTo>
                      <a:pt x="197" y="113"/>
                    </a:lnTo>
                    <a:lnTo>
                      <a:pt x="197" y="111"/>
                    </a:lnTo>
                    <a:lnTo>
                      <a:pt x="197" y="110"/>
                    </a:lnTo>
                    <a:lnTo>
                      <a:pt x="200" y="110"/>
                    </a:lnTo>
                    <a:lnTo>
                      <a:pt x="201" y="108"/>
                    </a:lnTo>
                    <a:lnTo>
                      <a:pt x="201" y="108"/>
                    </a:lnTo>
                    <a:lnTo>
                      <a:pt x="203" y="105"/>
                    </a:lnTo>
                    <a:lnTo>
                      <a:pt x="206" y="102"/>
                    </a:lnTo>
                    <a:lnTo>
                      <a:pt x="206" y="102"/>
                    </a:lnTo>
                    <a:lnTo>
                      <a:pt x="206" y="100"/>
                    </a:lnTo>
                    <a:lnTo>
                      <a:pt x="206" y="100"/>
                    </a:lnTo>
                    <a:lnTo>
                      <a:pt x="206" y="100"/>
                    </a:lnTo>
                    <a:lnTo>
                      <a:pt x="206" y="100"/>
                    </a:lnTo>
                    <a:lnTo>
                      <a:pt x="205" y="99"/>
                    </a:lnTo>
                    <a:lnTo>
                      <a:pt x="206" y="97"/>
                    </a:lnTo>
                    <a:lnTo>
                      <a:pt x="208" y="97"/>
                    </a:lnTo>
                    <a:lnTo>
                      <a:pt x="209" y="97"/>
                    </a:lnTo>
                    <a:lnTo>
                      <a:pt x="209" y="97"/>
                    </a:lnTo>
                    <a:lnTo>
                      <a:pt x="209" y="97"/>
                    </a:lnTo>
                    <a:lnTo>
                      <a:pt x="211" y="97"/>
                    </a:lnTo>
                    <a:lnTo>
                      <a:pt x="211" y="99"/>
                    </a:lnTo>
                    <a:lnTo>
                      <a:pt x="212" y="97"/>
                    </a:lnTo>
                    <a:lnTo>
                      <a:pt x="214" y="97"/>
                    </a:lnTo>
                    <a:lnTo>
                      <a:pt x="214" y="97"/>
                    </a:lnTo>
                    <a:lnTo>
                      <a:pt x="216" y="96"/>
                    </a:lnTo>
                    <a:lnTo>
                      <a:pt x="216" y="96"/>
                    </a:lnTo>
                    <a:lnTo>
                      <a:pt x="217" y="94"/>
                    </a:lnTo>
                    <a:lnTo>
                      <a:pt x="217" y="94"/>
                    </a:lnTo>
                    <a:lnTo>
                      <a:pt x="217" y="94"/>
                    </a:lnTo>
                    <a:lnTo>
                      <a:pt x="216" y="91"/>
                    </a:lnTo>
                    <a:lnTo>
                      <a:pt x="216" y="89"/>
                    </a:lnTo>
                    <a:lnTo>
                      <a:pt x="216" y="89"/>
                    </a:lnTo>
                    <a:lnTo>
                      <a:pt x="217" y="88"/>
                    </a:lnTo>
                    <a:lnTo>
                      <a:pt x="217" y="86"/>
                    </a:lnTo>
                    <a:lnTo>
                      <a:pt x="217" y="83"/>
                    </a:lnTo>
                    <a:lnTo>
                      <a:pt x="217" y="82"/>
                    </a:lnTo>
                    <a:lnTo>
                      <a:pt x="217" y="79"/>
                    </a:lnTo>
                    <a:lnTo>
                      <a:pt x="219" y="75"/>
                    </a:lnTo>
                    <a:lnTo>
                      <a:pt x="219" y="75"/>
                    </a:lnTo>
                    <a:lnTo>
                      <a:pt x="220" y="72"/>
                    </a:lnTo>
                    <a:lnTo>
                      <a:pt x="220" y="69"/>
                    </a:lnTo>
                    <a:lnTo>
                      <a:pt x="222" y="66"/>
                    </a:lnTo>
                    <a:lnTo>
                      <a:pt x="223" y="64"/>
                    </a:lnTo>
                    <a:lnTo>
                      <a:pt x="226" y="60"/>
                    </a:lnTo>
                    <a:lnTo>
                      <a:pt x="226" y="60"/>
                    </a:lnTo>
                    <a:lnTo>
                      <a:pt x="226" y="5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4" name="Freeform 71">
                <a:extLst>
                  <a:ext uri="{FF2B5EF4-FFF2-40B4-BE49-F238E27FC236}">
                    <a16:creationId xmlns:a16="http://schemas.microsoft.com/office/drawing/2014/main" id="{9BBC1683-E08B-D6D2-A058-B00D5D240D62}"/>
                  </a:ext>
                </a:extLst>
              </p:cNvPr>
              <p:cNvSpPr>
                <a:spLocks/>
              </p:cNvSpPr>
              <p:nvPr/>
            </p:nvSpPr>
            <p:spPr bwMode="gray">
              <a:xfrm>
                <a:off x="2828" y="1537"/>
                <a:ext cx="100" cy="108"/>
              </a:xfrm>
              <a:custGeom>
                <a:avLst/>
                <a:gdLst>
                  <a:gd name="T0" fmla="*/ 79 w 100"/>
                  <a:gd name="T1" fmla="*/ 11 h 108"/>
                  <a:gd name="T2" fmla="*/ 79 w 100"/>
                  <a:gd name="T3" fmla="*/ 17 h 108"/>
                  <a:gd name="T4" fmla="*/ 88 w 100"/>
                  <a:gd name="T5" fmla="*/ 15 h 108"/>
                  <a:gd name="T6" fmla="*/ 97 w 100"/>
                  <a:gd name="T7" fmla="*/ 20 h 108"/>
                  <a:gd name="T8" fmla="*/ 100 w 100"/>
                  <a:gd name="T9" fmla="*/ 26 h 108"/>
                  <a:gd name="T10" fmla="*/ 97 w 100"/>
                  <a:gd name="T11" fmla="*/ 31 h 108"/>
                  <a:gd name="T12" fmla="*/ 91 w 100"/>
                  <a:gd name="T13" fmla="*/ 36 h 108"/>
                  <a:gd name="T14" fmla="*/ 91 w 100"/>
                  <a:gd name="T15" fmla="*/ 44 h 108"/>
                  <a:gd name="T16" fmla="*/ 99 w 100"/>
                  <a:gd name="T17" fmla="*/ 48 h 108"/>
                  <a:gd name="T18" fmla="*/ 100 w 100"/>
                  <a:gd name="T19" fmla="*/ 58 h 108"/>
                  <a:gd name="T20" fmla="*/ 99 w 100"/>
                  <a:gd name="T21" fmla="*/ 67 h 108"/>
                  <a:gd name="T22" fmla="*/ 97 w 100"/>
                  <a:gd name="T23" fmla="*/ 73 h 108"/>
                  <a:gd name="T24" fmla="*/ 96 w 100"/>
                  <a:gd name="T25" fmla="*/ 80 h 108"/>
                  <a:gd name="T26" fmla="*/ 93 w 100"/>
                  <a:gd name="T27" fmla="*/ 83 h 108"/>
                  <a:gd name="T28" fmla="*/ 90 w 100"/>
                  <a:gd name="T29" fmla="*/ 80 h 108"/>
                  <a:gd name="T30" fmla="*/ 83 w 100"/>
                  <a:gd name="T31" fmla="*/ 81 h 108"/>
                  <a:gd name="T32" fmla="*/ 72 w 100"/>
                  <a:gd name="T33" fmla="*/ 76 h 108"/>
                  <a:gd name="T34" fmla="*/ 66 w 100"/>
                  <a:gd name="T35" fmla="*/ 73 h 108"/>
                  <a:gd name="T36" fmla="*/ 66 w 100"/>
                  <a:gd name="T37" fmla="*/ 76 h 108"/>
                  <a:gd name="T38" fmla="*/ 57 w 100"/>
                  <a:gd name="T39" fmla="*/ 81 h 108"/>
                  <a:gd name="T40" fmla="*/ 50 w 100"/>
                  <a:gd name="T41" fmla="*/ 81 h 108"/>
                  <a:gd name="T42" fmla="*/ 50 w 100"/>
                  <a:gd name="T43" fmla="*/ 89 h 108"/>
                  <a:gd name="T44" fmla="*/ 54 w 100"/>
                  <a:gd name="T45" fmla="*/ 92 h 108"/>
                  <a:gd name="T46" fmla="*/ 54 w 100"/>
                  <a:gd name="T47" fmla="*/ 97 h 108"/>
                  <a:gd name="T48" fmla="*/ 55 w 100"/>
                  <a:gd name="T49" fmla="*/ 100 h 108"/>
                  <a:gd name="T50" fmla="*/ 55 w 100"/>
                  <a:gd name="T51" fmla="*/ 105 h 108"/>
                  <a:gd name="T52" fmla="*/ 49 w 100"/>
                  <a:gd name="T53" fmla="*/ 101 h 108"/>
                  <a:gd name="T54" fmla="*/ 41 w 100"/>
                  <a:gd name="T55" fmla="*/ 106 h 108"/>
                  <a:gd name="T56" fmla="*/ 29 w 100"/>
                  <a:gd name="T57" fmla="*/ 92 h 108"/>
                  <a:gd name="T58" fmla="*/ 22 w 100"/>
                  <a:gd name="T59" fmla="*/ 86 h 108"/>
                  <a:gd name="T60" fmla="*/ 18 w 100"/>
                  <a:gd name="T61" fmla="*/ 83 h 108"/>
                  <a:gd name="T62" fmla="*/ 14 w 100"/>
                  <a:gd name="T63" fmla="*/ 78 h 108"/>
                  <a:gd name="T64" fmla="*/ 13 w 100"/>
                  <a:gd name="T65" fmla="*/ 75 h 108"/>
                  <a:gd name="T66" fmla="*/ 10 w 100"/>
                  <a:gd name="T67" fmla="*/ 72 h 108"/>
                  <a:gd name="T68" fmla="*/ 10 w 100"/>
                  <a:gd name="T69" fmla="*/ 69 h 108"/>
                  <a:gd name="T70" fmla="*/ 13 w 100"/>
                  <a:gd name="T71" fmla="*/ 67 h 108"/>
                  <a:gd name="T72" fmla="*/ 11 w 100"/>
                  <a:gd name="T73" fmla="*/ 62 h 108"/>
                  <a:gd name="T74" fmla="*/ 7 w 100"/>
                  <a:gd name="T75" fmla="*/ 62 h 108"/>
                  <a:gd name="T76" fmla="*/ 0 w 100"/>
                  <a:gd name="T77" fmla="*/ 50 h 108"/>
                  <a:gd name="T78" fmla="*/ 5 w 100"/>
                  <a:gd name="T79" fmla="*/ 51 h 108"/>
                  <a:gd name="T80" fmla="*/ 10 w 100"/>
                  <a:gd name="T81" fmla="*/ 37 h 108"/>
                  <a:gd name="T82" fmla="*/ 11 w 100"/>
                  <a:gd name="T83" fmla="*/ 36 h 108"/>
                  <a:gd name="T84" fmla="*/ 19 w 100"/>
                  <a:gd name="T85" fmla="*/ 37 h 108"/>
                  <a:gd name="T86" fmla="*/ 13 w 100"/>
                  <a:gd name="T87" fmla="*/ 34 h 108"/>
                  <a:gd name="T88" fmla="*/ 14 w 100"/>
                  <a:gd name="T89" fmla="*/ 28 h 108"/>
                  <a:gd name="T90" fmla="*/ 16 w 100"/>
                  <a:gd name="T91" fmla="*/ 26 h 108"/>
                  <a:gd name="T92" fmla="*/ 18 w 100"/>
                  <a:gd name="T93" fmla="*/ 22 h 108"/>
                  <a:gd name="T94" fmla="*/ 21 w 100"/>
                  <a:gd name="T95" fmla="*/ 23 h 108"/>
                  <a:gd name="T96" fmla="*/ 29 w 100"/>
                  <a:gd name="T97" fmla="*/ 22 h 108"/>
                  <a:gd name="T98" fmla="*/ 46 w 100"/>
                  <a:gd name="T99" fmla="*/ 20 h 108"/>
                  <a:gd name="T100" fmla="*/ 46 w 100"/>
                  <a:gd name="T101" fmla="*/ 3 h 108"/>
                  <a:gd name="T102" fmla="*/ 57 w 100"/>
                  <a:gd name="T103" fmla="*/ 0 h 108"/>
                  <a:gd name="T104" fmla="*/ 68 w 100"/>
                  <a:gd name="T105" fmla="*/ 0 h 108"/>
                  <a:gd name="T106" fmla="*/ 80 w 100"/>
                  <a:gd name="T107" fmla="*/ 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108">
                    <a:moveTo>
                      <a:pt x="80" y="3"/>
                    </a:moveTo>
                    <a:lnTo>
                      <a:pt x="80" y="3"/>
                    </a:lnTo>
                    <a:lnTo>
                      <a:pt x="79" y="6"/>
                    </a:lnTo>
                    <a:lnTo>
                      <a:pt x="79" y="9"/>
                    </a:lnTo>
                    <a:lnTo>
                      <a:pt x="79" y="11"/>
                    </a:lnTo>
                    <a:lnTo>
                      <a:pt x="79" y="14"/>
                    </a:lnTo>
                    <a:lnTo>
                      <a:pt x="79" y="14"/>
                    </a:lnTo>
                    <a:lnTo>
                      <a:pt x="80" y="15"/>
                    </a:lnTo>
                    <a:lnTo>
                      <a:pt x="79" y="17"/>
                    </a:lnTo>
                    <a:lnTo>
                      <a:pt x="79" y="17"/>
                    </a:lnTo>
                    <a:lnTo>
                      <a:pt x="79" y="19"/>
                    </a:lnTo>
                    <a:lnTo>
                      <a:pt x="80" y="19"/>
                    </a:lnTo>
                    <a:lnTo>
                      <a:pt x="82" y="19"/>
                    </a:lnTo>
                    <a:lnTo>
                      <a:pt x="85" y="17"/>
                    </a:lnTo>
                    <a:lnTo>
                      <a:pt x="88" y="15"/>
                    </a:lnTo>
                    <a:lnTo>
                      <a:pt x="90" y="15"/>
                    </a:lnTo>
                    <a:lnTo>
                      <a:pt x="94" y="15"/>
                    </a:lnTo>
                    <a:lnTo>
                      <a:pt x="96" y="15"/>
                    </a:lnTo>
                    <a:lnTo>
                      <a:pt x="97" y="17"/>
                    </a:lnTo>
                    <a:lnTo>
                      <a:pt x="97" y="20"/>
                    </a:lnTo>
                    <a:lnTo>
                      <a:pt x="99" y="22"/>
                    </a:lnTo>
                    <a:lnTo>
                      <a:pt x="99" y="22"/>
                    </a:lnTo>
                    <a:lnTo>
                      <a:pt x="100" y="25"/>
                    </a:lnTo>
                    <a:lnTo>
                      <a:pt x="100" y="25"/>
                    </a:lnTo>
                    <a:lnTo>
                      <a:pt x="100" y="26"/>
                    </a:lnTo>
                    <a:lnTo>
                      <a:pt x="99" y="26"/>
                    </a:lnTo>
                    <a:lnTo>
                      <a:pt x="99" y="28"/>
                    </a:lnTo>
                    <a:lnTo>
                      <a:pt x="99" y="29"/>
                    </a:lnTo>
                    <a:lnTo>
                      <a:pt x="97" y="29"/>
                    </a:lnTo>
                    <a:lnTo>
                      <a:pt x="97" y="31"/>
                    </a:lnTo>
                    <a:lnTo>
                      <a:pt x="94" y="31"/>
                    </a:lnTo>
                    <a:lnTo>
                      <a:pt x="94" y="31"/>
                    </a:lnTo>
                    <a:lnTo>
                      <a:pt x="93" y="33"/>
                    </a:lnTo>
                    <a:lnTo>
                      <a:pt x="91" y="34"/>
                    </a:lnTo>
                    <a:lnTo>
                      <a:pt x="91" y="36"/>
                    </a:lnTo>
                    <a:lnTo>
                      <a:pt x="91" y="37"/>
                    </a:lnTo>
                    <a:lnTo>
                      <a:pt x="91" y="39"/>
                    </a:lnTo>
                    <a:lnTo>
                      <a:pt x="91" y="42"/>
                    </a:lnTo>
                    <a:lnTo>
                      <a:pt x="90" y="44"/>
                    </a:lnTo>
                    <a:lnTo>
                      <a:pt x="91" y="44"/>
                    </a:lnTo>
                    <a:lnTo>
                      <a:pt x="94" y="45"/>
                    </a:lnTo>
                    <a:lnTo>
                      <a:pt x="94" y="45"/>
                    </a:lnTo>
                    <a:lnTo>
                      <a:pt x="96" y="47"/>
                    </a:lnTo>
                    <a:lnTo>
                      <a:pt x="96" y="47"/>
                    </a:lnTo>
                    <a:lnTo>
                      <a:pt x="99" y="48"/>
                    </a:lnTo>
                    <a:lnTo>
                      <a:pt x="100" y="48"/>
                    </a:lnTo>
                    <a:lnTo>
                      <a:pt x="100" y="50"/>
                    </a:lnTo>
                    <a:lnTo>
                      <a:pt x="100" y="51"/>
                    </a:lnTo>
                    <a:lnTo>
                      <a:pt x="100" y="55"/>
                    </a:lnTo>
                    <a:lnTo>
                      <a:pt x="100" y="58"/>
                    </a:lnTo>
                    <a:lnTo>
                      <a:pt x="100" y="59"/>
                    </a:lnTo>
                    <a:lnTo>
                      <a:pt x="100" y="61"/>
                    </a:lnTo>
                    <a:lnTo>
                      <a:pt x="100" y="64"/>
                    </a:lnTo>
                    <a:lnTo>
                      <a:pt x="100" y="67"/>
                    </a:lnTo>
                    <a:lnTo>
                      <a:pt x="99" y="67"/>
                    </a:lnTo>
                    <a:lnTo>
                      <a:pt x="99" y="69"/>
                    </a:lnTo>
                    <a:lnTo>
                      <a:pt x="100" y="70"/>
                    </a:lnTo>
                    <a:lnTo>
                      <a:pt x="99" y="73"/>
                    </a:lnTo>
                    <a:lnTo>
                      <a:pt x="99" y="73"/>
                    </a:lnTo>
                    <a:lnTo>
                      <a:pt x="97" y="73"/>
                    </a:lnTo>
                    <a:lnTo>
                      <a:pt x="97" y="75"/>
                    </a:lnTo>
                    <a:lnTo>
                      <a:pt x="97" y="76"/>
                    </a:lnTo>
                    <a:lnTo>
                      <a:pt x="96" y="78"/>
                    </a:lnTo>
                    <a:lnTo>
                      <a:pt x="96" y="78"/>
                    </a:lnTo>
                    <a:lnTo>
                      <a:pt x="96" y="80"/>
                    </a:lnTo>
                    <a:lnTo>
                      <a:pt x="96" y="80"/>
                    </a:lnTo>
                    <a:lnTo>
                      <a:pt x="96" y="81"/>
                    </a:lnTo>
                    <a:lnTo>
                      <a:pt x="94" y="83"/>
                    </a:lnTo>
                    <a:lnTo>
                      <a:pt x="94" y="83"/>
                    </a:lnTo>
                    <a:lnTo>
                      <a:pt x="93" y="83"/>
                    </a:lnTo>
                    <a:lnTo>
                      <a:pt x="91" y="83"/>
                    </a:lnTo>
                    <a:lnTo>
                      <a:pt x="90" y="83"/>
                    </a:lnTo>
                    <a:lnTo>
                      <a:pt x="91" y="81"/>
                    </a:lnTo>
                    <a:lnTo>
                      <a:pt x="91" y="81"/>
                    </a:lnTo>
                    <a:lnTo>
                      <a:pt x="90" y="80"/>
                    </a:lnTo>
                    <a:lnTo>
                      <a:pt x="90" y="78"/>
                    </a:lnTo>
                    <a:lnTo>
                      <a:pt x="88" y="78"/>
                    </a:lnTo>
                    <a:lnTo>
                      <a:pt x="88" y="78"/>
                    </a:lnTo>
                    <a:lnTo>
                      <a:pt x="86" y="80"/>
                    </a:lnTo>
                    <a:lnTo>
                      <a:pt x="83" y="81"/>
                    </a:lnTo>
                    <a:lnTo>
                      <a:pt x="82" y="83"/>
                    </a:lnTo>
                    <a:lnTo>
                      <a:pt x="79" y="81"/>
                    </a:lnTo>
                    <a:lnTo>
                      <a:pt x="75" y="80"/>
                    </a:lnTo>
                    <a:lnTo>
                      <a:pt x="74" y="78"/>
                    </a:lnTo>
                    <a:lnTo>
                      <a:pt x="72" y="76"/>
                    </a:lnTo>
                    <a:lnTo>
                      <a:pt x="71" y="73"/>
                    </a:lnTo>
                    <a:lnTo>
                      <a:pt x="71" y="73"/>
                    </a:lnTo>
                    <a:lnTo>
                      <a:pt x="69" y="72"/>
                    </a:lnTo>
                    <a:lnTo>
                      <a:pt x="68" y="72"/>
                    </a:lnTo>
                    <a:lnTo>
                      <a:pt x="66" y="73"/>
                    </a:lnTo>
                    <a:lnTo>
                      <a:pt x="65" y="73"/>
                    </a:lnTo>
                    <a:lnTo>
                      <a:pt x="65" y="75"/>
                    </a:lnTo>
                    <a:lnTo>
                      <a:pt x="65" y="76"/>
                    </a:lnTo>
                    <a:lnTo>
                      <a:pt x="66" y="76"/>
                    </a:lnTo>
                    <a:lnTo>
                      <a:pt x="66" y="76"/>
                    </a:lnTo>
                    <a:lnTo>
                      <a:pt x="66" y="78"/>
                    </a:lnTo>
                    <a:lnTo>
                      <a:pt x="66" y="80"/>
                    </a:lnTo>
                    <a:lnTo>
                      <a:pt x="66" y="81"/>
                    </a:lnTo>
                    <a:lnTo>
                      <a:pt x="58" y="83"/>
                    </a:lnTo>
                    <a:lnTo>
                      <a:pt x="57" y="81"/>
                    </a:lnTo>
                    <a:lnTo>
                      <a:pt x="57" y="81"/>
                    </a:lnTo>
                    <a:lnTo>
                      <a:pt x="55" y="81"/>
                    </a:lnTo>
                    <a:lnTo>
                      <a:pt x="52" y="81"/>
                    </a:lnTo>
                    <a:lnTo>
                      <a:pt x="52" y="81"/>
                    </a:lnTo>
                    <a:lnTo>
                      <a:pt x="50" y="81"/>
                    </a:lnTo>
                    <a:lnTo>
                      <a:pt x="50" y="81"/>
                    </a:lnTo>
                    <a:lnTo>
                      <a:pt x="50" y="81"/>
                    </a:lnTo>
                    <a:lnTo>
                      <a:pt x="50" y="86"/>
                    </a:lnTo>
                    <a:lnTo>
                      <a:pt x="50" y="86"/>
                    </a:lnTo>
                    <a:lnTo>
                      <a:pt x="50" y="89"/>
                    </a:lnTo>
                    <a:lnTo>
                      <a:pt x="49" y="89"/>
                    </a:lnTo>
                    <a:lnTo>
                      <a:pt x="50" y="91"/>
                    </a:lnTo>
                    <a:lnTo>
                      <a:pt x="52" y="91"/>
                    </a:lnTo>
                    <a:lnTo>
                      <a:pt x="52" y="91"/>
                    </a:lnTo>
                    <a:lnTo>
                      <a:pt x="54" y="92"/>
                    </a:lnTo>
                    <a:lnTo>
                      <a:pt x="54" y="92"/>
                    </a:lnTo>
                    <a:lnTo>
                      <a:pt x="52" y="94"/>
                    </a:lnTo>
                    <a:lnTo>
                      <a:pt x="52" y="95"/>
                    </a:lnTo>
                    <a:lnTo>
                      <a:pt x="52" y="95"/>
                    </a:lnTo>
                    <a:lnTo>
                      <a:pt x="54" y="97"/>
                    </a:lnTo>
                    <a:lnTo>
                      <a:pt x="55" y="97"/>
                    </a:lnTo>
                    <a:lnTo>
                      <a:pt x="57" y="98"/>
                    </a:lnTo>
                    <a:lnTo>
                      <a:pt x="57" y="98"/>
                    </a:lnTo>
                    <a:lnTo>
                      <a:pt x="55" y="100"/>
                    </a:lnTo>
                    <a:lnTo>
                      <a:pt x="55" y="100"/>
                    </a:lnTo>
                    <a:lnTo>
                      <a:pt x="55" y="101"/>
                    </a:lnTo>
                    <a:lnTo>
                      <a:pt x="55" y="103"/>
                    </a:lnTo>
                    <a:lnTo>
                      <a:pt x="55" y="103"/>
                    </a:lnTo>
                    <a:lnTo>
                      <a:pt x="55" y="105"/>
                    </a:lnTo>
                    <a:lnTo>
                      <a:pt x="55" y="105"/>
                    </a:lnTo>
                    <a:lnTo>
                      <a:pt x="54" y="105"/>
                    </a:lnTo>
                    <a:lnTo>
                      <a:pt x="54" y="105"/>
                    </a:lnTo>
                    <a:lnTo>
                      <a:pt x="52" y="105"/>
                    </a:lnTo>
                    <a:lnTo>
                      <a:pt x="49" y="101"/>
                    </a:lnTo>
                    <a:lnTo>
                      <a:pt x="49" y="101"/>
                    </a:lnTo>
                    <a:lnTo>
                      <a:pt x="46" y="103"/>
                    </a:lnTo>
                    <a:lnTo>
                      <a:pt x="44" y="105"/>
                    </a:lnTo>
                    <a:lnTo>
                      <a:pt x="43" y="106"/>
                    </a:lnTo>
                    <a:lnTo>
                      <a:pt x="43" y="108"/>
                    </a:lnTo>
                    <a:lnTo>
                      <a:pt x="41" y="106"/>
                    </a:lnTo>
                    <a:lnTo>
                      <a:pt x="39" y="105"/>
                    </a:lnTo>
                    <a:lnTo>
                      <a:pt x="38" y="101"/>
                    </a:lnTo>
                    <a:lnTo>
                      <a:pt x="33" y="100"/>
                    </a:lnTo>
                    <a:lnTo>
                      <a:pt x="33" y="97"/>
                    </a:lnTo>
                    <a:lnTo>
                      <a:pt x="29" y="92"/>
                    </a:lnTo>
                    <a:lnTo>
                      <a:pt x="22" y="87"/>
                    </a:lnTo>
                    <a:lnTo>
                      <a:pt x="18" y="84"/>
                    </a:lnTo>
                    <a:lnTo>
                      <a:pt x="18" y="83"/>
                    </a:lnTo>
                    <a:lnTo>
                      <a:pt x="18" y="83"/>
                    </a:lnTo>
                    <a:lnTo>
                      <a:pt x="22" y="86"/>
                    </a:lnTo>
                    <a:lnTo>
                      <a:pt x="22" y="84"/>
                    </a:lnTo>
                    <a:lnTo>
                      <a:pt x="24" y="84"/>
                    </a:lnTo>
                    <a:lnTo>
                      <a:pt x="22" y="83"/>
                    </a:lnTo>
                    <a:lnTo>
                      <a:pt x="19" y="83"/>
                    </a:lnTo>
                    <a:lnTo>
                      <a:pt x="18" y="83"/>
                    </a:lnTo>
                    <a:lnTo>
                      <a:pt x="16" y="83"/>
                    </a:lnTo>
                    <a:lnTo>
                      <a:pt x="16" y="81"/>
                    </a:lnTo>
                    <a:lnTo>
                      <a:pt x="14" y="80"/>
                    </a:lnTo>
                    <a:lnTo>
                      <a:pt x="14" y="80"/>
                    </a:lnTo>
                    <a:lnTo>
                      <a:pt x="14" y="78"/>
                    </a:lnTo>
                    <a:lnTo>
                      <a:pt x="11" y="75"/>
                    </a:lnTo>
                    <a:lnTo>
                      <a:pt x="11" y="75"/>
                    </a:lnTo>
                    <a:lnTo>
                      <a:pt x="10" y="73"/>
                    </a:lnTo>
                    <a:lnTo>
                      <a:pt x="11" y="73"/>
                    </a:lnTo>
                    <a:lnTo>
                      <a:pt x="13" y="75"/>
                    </a:lnTo>
                    <a:lnTo>
                      <a:pt x="13" y="73"/>
                    </a:lnTo>
                    <a:lnTo>
                      <a:pt x="13" y="73"/>
                    </a:lnTo>
                    <a:lnTo>
                      <a:pt x="11" y="72"/>
                    </a:lnTo>
                    <a:lnTo>
                      <a:pt x="10" y="72"/>
                    </a:lnTo>
                    <a:lnTo>
                      <a:pt x="10" y="72"/>
                    </a:lnTo>
                    <a:lnTo>
                      <a:pt x="10" y="70"/>
                    </a:lnTo>
                    <a:lnTo>
                      <a:pt x="8" y="67"/>
                    </a:lnTo>
                    <a:lnTo>
                      <a:pt x="5" y="64"/>
                    </a:lnTo>
                    <a:lnTo>
                      <a:pt x="5" y="62"/>
                    </a:lnTo>
                    <a:lnTo>
                      <a:pt x="10" y="69"/>
                    </a:lnTo>
                    <a:lnTo>
                      <a:pt x="11" y="69"/>
                    </a:lnTo>
                    <a:lnTo>
                      <a:pt x="11" y="69"/>
                    </a:lnTo>
                    <a:lnTo>
                      <a:pt x="14" y="69"/>
                    </a:lnTo>
                    <a:lnTo>
                      <a:pt x="13" y="67"/>
                    </a:lnTo>
                    <a:lnTo>
                      <a:pt x="13" y="67"/>
                    </a:lnTo>
                    <a:lnTo>
                      <a:pt x="11" y="67"/>
                    </a:lnTo>
                    <a:lnTo>
                      <a:pt x="11" y="67"/>
                    </a:lnTo>
                    <a:lnTo>
                      <a:pt x="10" y="67"/>
                    </a:lnTo>
                    <a:lnTo>
                      <a:pt x="10" y="65"/>
                    </a:lnTo>
                    <a:lnTo>
                      <a:pt x="11" y="62"/>
                    </a:lnTo>
                    <a:lnTo>
                      <a:pt x="10" y="64"/>
                    </a:lnTo>
                    <a:lnTo>
                      <a:pt x="10" y="64"/>
                    </a:lnTo>
                    <a:lnTo>
                      <a:pt x="10" y="64"/>
                    </a:lnTo>
                    <a:lnTo>
                      <a:pt x="8" y="64"/>
                    </a:lnTo>
                    <a:lnTo>
                      <a:pt x="7" y="62"/>
                    </a:lnTo>
                    <a:lnTo>
                      <a:pt x="4" y="59"/>
                    </a:lnTo>
                    <a:lnTo>
                      <a:pt x="4" y="58"/>
                    </a:lnTo>
                    <a:lnTo>
                      <a:pt x="2" y="56"/>
                    </a:lnTo>
                    <a:lnTo>
                      <a:pt x="2" y="56"/>
                    </a:lnTo>
                    <a:lnTo>
                      <a:pt x="0" y="50"/>
                    </a:lnTo>
                    <a:lnTo>
                      <a:pt x="0" y="51"/>
                    </a:lnTo>
                    <a:lnTo>
                      <a:pt x="2" y="53"/>
                    </a:lnTo>
                    <a:lnTo>
                      <a:pt x="4" y="51"/>
                    </a:lnTo>
                    <a:lnTo>
                      <a:pt x="5" y="51"/>
                    </a:lnTo>
                    <a:lnTo>
                      <a:pt x="5" y="51"/>
                    </a:lnTo>
                    <a:lnTo>
                      <a:pt x="7" y="51"/>
                    </a:lnTo>
                    <a:lnTo>
                      <a:pt x="7" y="50"/>
                    </a:lnTo>
                    <a:lnTo>
                      <a:pt x="10" y="47"/>
                    </a:lnTo>
                    <a:lnTo>
                      <a:pt x="11" y="40"/>
                    </a:lnTo>
                    <a:lnTo>
                      <a:pt x="10" y="37"/>
                    </a:lnTo>
                    <a:lnTo>
                      <a:pt x="10" y="34"/>
                    </a:lnTo>
                    <a:lnTo>
                      <a:pt x="11" y="34"/>
                    </a:lnTo>
                    <a:lnTo>
                      <a:pt x="11" y="34"/>
                    </a:lnTo>
                    <a:lnTo>
                      <a:pt x="11" y="36"/>
                    </a:lnTo>
                    <a:lnTo>
                      <a:pt x="11" y="36"/>
                    </a:lnTo>
                    <a:lnTo>
                      <a:pt x="13" y="37"/>
                    </a:lnTo>
                    <a:lnTo>
                      <a:pt x="14" y="37"/>
                    </a:lnTo>
                    <a:lnTo>
                      <a:pt x="18" y="39"/>
                    </a:lnTo>
                    <a:lnTo>
                      <a:pt x="19" y="39"/>
                    </a:lnTo>
                    <a:lnTo>
                      <a:pt x="19" y="37"/>
                    </a:lnTo>
                    <a:lnTo>
                      <a:pt x="22" y="37"/>
                    </a:lnTo>
                    <a:lnTo>
                      <a:pt x="21" y="36"/>
                    </a:lnTo>
                    <a:lnTo>
                      <a:pt x="19" y="37"/>
                    </a:lnTo>
                    <a:lnTo>
                      <a:pt x="14" y="34"/>
                    </a:lnTo>
                    <a:lnTo>
                      <a:pt x="13" y="34"/>
                    </a:lnTo>
                    <a:lnTo>
                      <a:pt x="11" y="31"/>
                    </a:lnTo>
                    <a:lnTo>
                      <a:pt x="10" y="31"/>
                    </a:lnTo>
                    <a:lnTo>
                      <a:pt x="11" y="29"/>
                    </a:lnTo>
                    <a:lnTo>
                      <a:pt x="13" y="28"/>
                    </a:lnTo>
                    <a:lnTo>
                      <a:pt x="14" y="28"/>
                    </a:lnTo>
                    <a:lnTo>
                      <a:pt x="14" y="29"/>
                    </a:lnTo>
                    <a:lnTo>
                      <a:pt x="16" y="29"/>
                    </a:lnTo>
                    <a:lnTo>
                      <a:pt x="16" y="29"/>
                    </a:lnTo>
                    <a:lnTo>
                      <a:pt x="16" y="29"/>
                    </a:lnTo>
                    <a:lnTo>
                      <a:pt x="16" y="26"/>
                    </a:lnTo>
                    <a:lnTo>
                      <a:pt x="14" y="23"/>
                    </a:lnTo>
                    <a:lnTo>
                      <a:pt x="14" y="22"/>
                    </a:lnTo>
                    <a:lnTo>
                      <a:pt x="16" y="22"/>
                    </a:lnTo>
                    <a:lnTo>
                      <a:pt x="16" y="22"/>
                    </a:lnTo>
                    <a:lnTo>
                      <a:pt x="18" y="22"/>
                    </a:lnTo>
                    <a:lnTo>
                      <a:pt x="18" y="22"/>
                    </a:lnTo>
                    <a:lnTo>
                      <a:pt x="19" y="22"/>
                    </a:lnTo>
                    <a:lnTo>
                      <a:pt x="19" y="23"/>
                    </a:lnTo>
                    <a:lnTo>
                      <a:pt x="19" y="23"/>
                    </a:lnTo>
                    <a:lnTo>
                      <a:pt x="21" y="23"/>
                    </a:lnTo>
                    <a:lnTo>
                      <a:pt x="21" y="23"/>
                    </a:lnTo>
                    <a:lnTo>
                      <a:pt x="22" y="23"/>
                    </a:lnTo>
                    <a:lnTo>
                      <a:pt x="22" y="22"/>
                    </a:lnTo>
                    <a:lnTo>
                      <a:pt x="25" y="22"/>
                    </a:lnTo>
                    <a:lnTo>
                      <a:pt x="29" y="22"/>
                    </a:lnTo>
                    <a:lnTo>
                      <a:pt x="33" y="23"/>
                    </a:lnTo>
                    <a:lnTo>
                      <a:pt x="38" y="23"/>
                    </a:lnTo>
                    <a:lnTo>
                      <a:pt x="43" y="23"/>
                    </a:lnTo>
                    <a:lnTo>
                      <a:pt x="46" y="23"/>
                    </a:lnTo>
                    <a:lnTo>
                      <a:pt x="46" y="20"/>
                    </a:lnTo>
                    <a:lnTo>
                      <a:pt x="46" y="17"/>
                    </a:lnTo>
                    <a:lnTo>
                      <a:pt x="46" y="14"/>
                    </a:lnTo>
                    <a:lnTo>
                      <a:pt x="46" y="9"/>
                    </a:lnTo>
                    <a:lnTo>
                      <a:pt x="46" y="6"/>
                    </a:lnTo>
                    <a:lnTo>
                      <a:pt x="46" y="3"/>
                    </a:lnTo>
                    <a:lnTo>
                      <a:pt x="46" y="1"/>
                    </a:lnTo>
                    <a:lnTo>
                      <a:pt x="46" y="0"/>
                    </a:lnTo>
                    <a:lnTo>
                      <a:pt x="46" y="0"/>
                    </a:lnTo>
                    <a:lnTo>
                      <a:pt x="50" y="0"/>
                    </a:lnTo>
                    <a:lnTo>
                      <a:pt x="57" y="0"/>
                    </a:lnTo>
                    <a:lnTo>
                      <a:pt x="60" y="0"/>
                    </a:lnTo>
                    <a:lnTo>
                      <a:pt x="60" y="0"/>
                    </a:lnTo>
                    <a:lnTo>
                      <a:pt x="65" y="0"/>
                    </a:lnTo>
                    <a:lnTo>
                      <a:pt x="66" y="0"/>
                    </a:lnTo>
                    <a:lnTo>
                      <a:pt x="68" y="0"/>
                    </a:lnTo>
                    <a:lnTo>
                      <a:pt x="69" y="1"/>
                    </a:lnTo>
                    <a:lnTo>
                      <a:pt x="72" y="1"/>
                    </a:lnTo>
                    <a:lnTo>
                      <a:pt x="77" y="0"/>
                    </a:lnTo>
                    <a:lnTo>
                      <a:pt x="79" y="1"/>
                    </a:lnTo>
                    <a:lnTo>
                      <a:pt x="80" y="1"/>
                    </a:lnTo>
                    <a:lnTo>
                      <a:pt x="80"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5" name="Freeform 72">
                <a:extLst>
                  <a:ext uri="{FF2B5EF4-FFF2-40B4-BE49-F238E27FC236}">
                    <a16:creationId xmlns:a16="http://schemas.microsoft.com/office/drawing/2014/main" id="{94DF9781-2B5A-E8A5-22CC-BF857E50308C}"/>
                  </a:ext>
                </a:extLst>
              </p:cNvPr>
              <p:cNvSpPr>
                <a:spLocks noEditPoints="1"/>
              </p:cNvSpPr>
              <p:nvPr/>
            </p:nvSpPr>
            <p:spPr bwMode="gray">
              <a:xfrm>
                <a:off x="2531" y="227"/>
                <a:ext cx="174" cy="338"/>
              </a:xfrm>
              <a:custGeom>
                <a:avLst/>
                <a:gdLst>
                  <a:gd name="T0" fmla="*/ 127 w 174"/>
                  <a:gd name="T1" fmla="*/ 6 h 338"/>
                  <a:gd name="T2" fmla="*/ 121 w 174"/>
                  <a:gd name="T3" fmla="*/ 9 h 338"/>
                  <a:gd name="T4" fmla="*/ 118 w 174"/>
                  <a:gd name="T5" fmla="*/ 22 h 338"/>
                  <a:gd name="T6" fmla="*/ 124 w 174"/>
                  <a:gd name="T7" fmla="*/ 23 h 338"/>
                  <a:gd name="T8" fmla="*/ 96 w 174"/>
                  <a:gd name="T9" fmla="*/ 58 h 338"/>
                  <a:gd name="T10" fmla="*/ 91 w 174"/>
                  <a:gd name="T11" fmla="*/ 61 h 338"/>
                  <a:gd name="T12" fmla="*/ 94 w 174"/>
                  <a:gd name="T13" fmla="*/ 69 h 338"/>
                  <a:gd name="T14" fmla="*/ 88 w 174"/>
                  <a:gd name="T15" fmla="*/ 72 h 338"/>
                  <a:gd name="T16" fmla="*/ 160 w 174"/>
                  <a:gd name="T17" fmla="*/ 255 h 338"/>
                  <a:gd name="T18" fmla="*/ 139 w 174"/>
                  <a:gd name="T19" fmla="*/ 233 h 338"/>
                  <a:gd name="T20" fmla="*/ 141 w 174"/>
                  <a:gd name="T21" fmla="*/ 222 h 338"/>
                  <a:gd name="T22" fmla="*/ 108 w 174"/>
                  <a:gd name="T23" fmla="*/ 169 h 338"/>
                  <a:gd name="T24" fmla="*/ 97 w 174"/>
                  <a:gd name="T25" fmla="*/ 155 h 338"/>
                  <a:gd name="T26" fmla="*/ 108 w 174"/>
                  <a:gd name="T27" fmla="*/ 127 h 338"/>
                  <a:gd name="T28" fmla="*/ 85 w 174"/>
                  <a:gd name="T29" fmla="*/ 108 h 338"/>
                  <a:gd name="T30" fmla="*/ 89 w 174"/>
                  <a:gd name="T31" fmla="*/ 85 h 338"/>
                  <a:gd name="T32" fmla="*/ 60 w 174"/>
                  <a:gd name="T33" fmla="*/ 80 h 338"/>
                  <a:gd name="T34" fmla="*/ 50 w 174"/>
                  <a:gd name="T35" fmla="*/ 92 h 338"/>
                  <a:gd name="T36" fmla="*/ 46 w 174"/>
                  <a:gd name="T37" fmla="*/ 113 h 338"/>
                  <a:gd name="T38" fmla="*/ 36 w 174"/>
                  <a:gd name="T39" fmla="*/ 141 h 338"/>
                  <a:gd name="T40" fmla="*/ 47 w 174"/>
                  <a:gd name="T41" fmla="*/ 152 h 338"/>
                  <a:gd name="T42" fmla="*/ 44 w 174"/>
                  <a:gd name="T43" fmla="*/ 183 h 338"/>
                  <a:gd name="T44" fmla="*/ 52 w 174"/>
                  <a:gd name="T45" fmla="*/ 164 h 338"/>
                  <a:gd name="T46" fmla="*/ 60 w 174"/>
                  <a:gd name="T47" fmla="*/ 164 h 338"/>
                  <a:gd name="T48" fmla="*/ 55 w 174"/>
                  <a:gd name="T49" fmla="*/ 200 h 338"/>
                  <a:gd name="T50" fmla="*/ 77 w 174"/>
                  <a:gd name="T51" fmla="*/ 199 h 338"/>
                  <a:gd name="T52" fmla="*/ 89 w 174"/>
                  <a:gd name="T53" fmla="*/ 219 h 338"/>
                  <a:gd name="T54" fmla="*/ 94 w 174"/>
                  <a:gd name="T55" fmla="*/ 244 h 338"/>
                  <a:gd name="T56" fmla="*/ 68 w 174"/>
                  <a:gd name="T57" fmla="*/ 250 h 338"/>
                  <a:gd name="T58" fmla="*/ 72 w 174"/>
                  <a:gd name="T59" fmla="*/ 263 h 338"/>
                  <a:gd name="T60" fmla="*/ 54 w 174"/>
                  <a:gd name="T61" fmla="*/ 289 h 338"/>
                  <a:gd name="T62" fmla="*/ 79 w 174"/>
                  <a:gd name="T63" fmla="*/ 296 h 338"/>
                  <a:gd name="T64" fmla="*/ 86 w 174"/>
                  <a:gd name="T65" fmla="*/ 305 h 338"/>
                  <a:gd name="T66" fmla="*/ 54 w 174"/>
                  <a:gd name="T67" fmla="*/ 327 h 338"/>
                  <a:gd name="T68" fmla="*/ 68 w 174"/>
                  <a:gd name="T69" fmla="*/ 329 h 338"/>
                  <a:gd name="T70" fmla="*/ 97 w 174"/>
                  <a:gd name="T71" fmla="*/ 319 h 338"/>
                  <a:gd name="T72" fmla="*/ 121 w 174"/>
                  <a:gd name="T73" fmla="*/ 315 h 338"/>
                  <a:gd name="T74" fmla="*/ 168 w 174"/>
                  <a:gd name="T75" fmla="*/ 307 h 338"/>
                  <a:gd name="T76" fmla="*/ 158 w 174"/>
                  <a:gd name="T77" fmla="*/ 296 h 338"/>
                  <a:gd name="T78" fmla="*/ 172 w 174"/>
                  <a:gd name="T79" fmla="*/ 279 h 338"/>
                  <a:gd name="T80" fmla="*/ 22 w 174"/>
                  <a:gd name="T81" fmla="*/ 92 h 338"/>
                  <a:gd name="T82" fmla="*/ 24 w 174"/>
                  <a:gd name="T83" fmla="*/ 100 h 338"/>
                  <a:gd name="T84" fmla="*/ 28 w 174"/>
                  <a:gd name="T85" fmla="*/ 95 h 338"/>
                  <a:gd name="T86" fmla="*/ 16 w 174"/>
                  <a:gd name="T87" fmla="*/ 114 h 338"/>
                  <a:gd name="T88" fmla="*/ 33 w 174"/>
                  <a:gd name="T89" fmla="*/ 110 h 338"/>
                  <a:gd name="T90" fmla="*/ 33 w 174"/>
                  <a:gd name="T91" fmla="*/ 125 h 338"/>
                  <a:gd name="T92" fmla="*/ 13 w 174"/>
                  <a:gd name="T93" fmla="*/ 124 h 338"/>
                  <a:gd name="T94" fmla="*/ 35 w 174"/>
                  <a:gd name="T95" fmla="*/ 131 h 338"/>
                  <a:gd name="T96" fmla="*/ 28 w 174"/>
                  <a:gd name="T97" fmla="*/ 142 h 338"/>
                  <a:gd name="T98" fmla="*/ 33 w 174"/>
                  <a:gd name="T99" fmla="*/ 153 h 338"/>
                  <a:gd name="T100" fmla="*/ 38 w 174"/>
                  <a:gd name="T101" fmla="*/ 169 h 338"/>
                  <a:gd name="T102" fmla="*/ 30 w 174"/>
                  <a:gd name="T103" fmla="*/ 171 h 338"/>
                  <a:gd name="T104" fmla="*/ 54 w 174"/>
                  <a:gd name="T105" fmla="*/ 174 h 338"/>
                  <a:gd name="T106" fmla="*/ 43 w 174"/>
                  <a:gd name="T107" fmla="*/ 203 h 338"/>
                  <a:gd name="T108" fmla="*/ 22 w 174"/>
                  <a:gd name="T109" fmla="*/ 188 h 338"/>
                  <a:gd name="T110" fmla="*/ 8 w 174"/>
                  <a:gd name="T111" fmla="*/ 202 h 338"/>
                  <a:gd name="T112" fmla="*/ 5 w 174"/>
                  <a:gd name="T113" fmla="*/ 216 h 338"/>
                  <a:gd name="T114" fmla="*/ 21 w 174"/>
                  <a:gd name="T115" fmla="*/ 211 h 338"/>
                  <a:gd name="T116" fmla="*/ 35 w 174"/>
                  <a:gd name="T117" fmla="*/ 221 h 338"/>
                  <a:gd name="T118" fmla="*/ 47 w 174"/>
                  <a:gd name="T119" fmla="*/ 210 h 338"/>
                  <a:gd name="T120" fmla="*/ 72 w 174"/>
                  <a:gd name="T121" fmla="*/ 24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338">
                    <a:moveTo>
                      <a:pt x="130" y="0"/>
                    </a:moveTo>
                    <a:lnTo>
                      <a:pt x="130" y="0"/>
                    </a:lnTo>
                    <a:lnTo>
                      <a:pt x="129" y="2"/>
                    </a:lnTo>
                    <a:lnTo>
                      <a:pt x="129" y="2"/>
                    </a:lnTo>
                    <a:lnTo>
                      <a:pt x="129" y="2"/>
                    </a:lnTo>
                    <a:lnTo>
                      <a:pt x="127" y="2"/>
                    </a:lnTo>
                    <a:lnTo>
                      <a:pt x="127" y="3"/>
                    </a:lnTo>
                    <a:lnTo>
                      <a:pt x="127" y="6"/>
                    </a:lnTo>
                    <a:lnTo>
                      <a:pt x="129" y="6"/>
                    </a:lnTo>
                    <a:lnTo>
                      <a:pt x="130" y="6"/>
                    </a:lnTo>
                    <a:lnTo>
                      <a:pt x="130" y="5"/>
                    </a:lnTo>
                    <a:lnTo>
                      <a:pt x="130" y="2"/>
                    </a:lnTo>
                    <a:lnTo>
                      <a:pt x="130" y="2"/>
                    </a:lnTo>
                    <a:lnTo>
                      <a:pt x="130" y="0"/>
                    </a:lnTo>
                    <a:close/>
                    <a:moveTo>
                      <a:pt x="127" y="6"/>
                    </a:moveTo>
                    <a:lnTo>
                      <a:pt x="127" y="6"/>
                    </a:lnTo>
                    <a:lnTo>
                      <a:pt x="127" y="5"/>
                    </a:lnTo>
                    <a:lnTo>
                      <a:pt x="125" y="5"/>
                    </a:lnTo>
                    <a:lnTo>
                      <a:pt x="124" y="9"/>
                    </a:lnTo>
                    <a:lnTo>
                      <a:pt x="125" y="13"/>
                    </a:lnTo>
                    <a:lnTo>
                      <a:pt x="125" y="13"/>
                    </a:lnTo>
                    <a:lnTo>
                      <a:pt x="125" y="11"/>
                    </a:lnTo>
                    <a:lnTo>
                      <a:pt x="125" y="9"/>
                    </a:lnTo>
                    <a:lnTo>
                      <a:pt x="125" y="8"/>
                    </a:lnTo>
                    <a:lnTo>
                      <a:pt x="125" y="8"/>
                    </a:lnTo>
                    <a:lnTo>
                      <a:pt x="127" y="6"/>
                    </a:lnTo>
                    <a:close/>
                    <a:moveTo>
                      <a:pt x="124" y="16"/>
                    </a:moveTo>
                    <a:lnTo>
                      <a:pt x="124" y="16"/>
                    </a:lnTo>
                    <a:lnTo>
                      <a:pt x="122" y="13"/>
                    </a:lnTo>
                    <a:lnTo>
                      <a:pt x="121" y="14"/>
                    </a:lnTo>
                    <a:lnTo>
                      <a:pt x="121" y="11"/>
                    </a:lnTo>
                    <a:lnTo>
                      <a:pt x="121" y="9"/>
                    </a:lnTo>
                    <a:lnTo>
                      <a:pt x="119" y="9"/>
                    </a:lnTo>
                    <a:lnTo>
                      <a:pt x="119" y="9"/>
                    </a:lnTo>
                    <a:lnTo>
                      <a:pt x="118" y="11"/>
                    </a:lnTo>
                    <a:lnTo>
                      <a:pt x="116" y="13"/>
                    </a:lnTo>
                    <a:lnTo>
                      <a:pt x="116" y="13"/>
                    </a:lnTo>
                    <a:lnTo>
                      <a:pt x="116" y="13"/>
                    </a:lnTo>
                    <a:lnTo>
                      <a:pt x="119" y="14"/>
                    </a:lnTo>
                    <a:lnTo>
                      <a:pt x="119" y="19"/>
                    </a:lnTo>
                    <a:lnTo>
                      <a:pt x="118" y="20"/>
                    </a:lnTo>
                    <a:lnTo>
                      <a:pt x="116" y="20"/>
                    </a:lnTo>
                    <a:lnTo>
                      <a:pt x="114" y="20"/>
                    </a:lnTo>
                    <a:lnTo>
                      <a:pt x="114" y="20"/>
                    </a:lnTo>
                    <a:lnTo>
                      <a:pt x="114" y="22"/>
                    </a:lnTo>
                    <a:lnTo>
                      <a:pt x="116" y="22"/>
                    </a:lnTo>
                    <a:lnTo>
                      <a:pt x="118" y="22"/>
                    </a:lnTo>
                    <a:lnTo>
                      <a:pt x="118" y="22"/>
                    </a:lnTo>
                    <a:lnTo>
                      <a:pt x="118" y="23"/>
                    </a:lnTo>
                    <a:lnTo>
                      <a:pt x="118" y="23"/>
                    </a:lnTo>
                    <a:lnTo>
                      <a:pt x="119" y="23"/>
                    </a:lnTo>
                    <a:lnTo>
                      <a:pt x="121" y="23"/>
                    </a:lnTo>
                    <a:lnTo>
                      <a:pt x="121" y="25"/>
                    </a:lnTo>
                    <a:lnTo>
                      <a:pt x="121" y="27"/>
                    </a:lnTo>
                    <a:lnTo>
                      <a:pt x="121" y="28"/>
                    </a:lnTo>
                    <a:lnTo>
                      <a:pt x="121" y="33"/>
                    </a:lnTo>
                    <a:lnTo>
                      <a:pt x="121" y="34"/>
                    </a:lnTo>
                    <a:lnTo>
                      <a:pt x="121" y="34"/>
                    </a:lnTo>
                    <a:lnTo>
                      <a:pt x="122" y="31"/>
                    </a:lnTo>
                    <a:lnTo>
                      <a:pt x="122" y="30"/>
                    </a:lnTo>
                    <a:lnTo>
                      <a:pt x="124" y="27"/>
                    </a:lnTo>
                    <a:lnTo>
                      <a:pt x="124" y="27"/>
                    </a:lnTo>
                    <a:lnTo>
                      <a:pt x="124" y="23"/>
                    </a:lnTo>
                    <a:lnTo>
                      <a:pt x="124" y="23"/>
                    </a:lnTo>
                    <a:lnTo>
                      <a:pt x="125" y="17"/>
                    </a:lnTo>
                    <a:lnTo>
                      <a:pt x="125" y="14"/>
                    </a:lnTo>
                    <a:lnTo>
                      <a:pt x="124" y="16"/>
                    </a:lnTo>
                    <a:close/>
                    <a:moveTo>
                      <a:pt x="96" y="56"/>
                    </a:moveTo>
                    <a:lnTo>
                      <a:pt x="94" y="56"/>
                    </a:lnTo>
                    <a:lnTo>
                      <a:pt x="94" y="55"/>
                    </a:lnTo>
                    <a:lnTo>
                      <a:pt x="91" y="53"/>
                    </a:lnTo>
                    <a:lnTo>
                      <a:pt x="91" y="53"/>
                    </a:lnTo>
                    <a:lnTo>
                      <a:pt x="91" y="53"/>
                    </a:lnTo>
                    <a:lnTo>
                      <a:pt x="91" y="55"/>
                    </a:lnTo>
                    <a:lnTo>
                      <a:pt x="93" y="55"/>
                    </a:lnTo>
                    <a:lnTo>
                      <a:pt x="94" y="56"/>
                    </a:lnTo>
                    <a:lnTo>
                      <a:pt x="94" y="58"/>
                    </a:lnTo>
                    <a:lnTo>
                      <a:pt x="94" y="59"/>
                    </a:lnTo>
                    <a:lnTo>
                      <a:pt x="96" y="58"/>
                    </a:lnTo>
                    <a:lnTo>
                      <a:pt x="96" y="58"/>
                    </a:lnTo>
                    <a:lnTo>
                      <a:pt x="96" y="56"/>
                    </a:lnTo>
                    <a:close/>
                    <a:moveTo>
                      <a:pt x="99" y="55"/>
                    </a:moveTo>
                    <a:lnTo>
                      <a:pt x="99" y="55"/>
                    </a:lnTo>
                    <a:lnTo>
                      <a:pt x="97" y="56"/>
                    </a:lnTo>
                    <a:lnTo>
                      <a:pt x="99" y="56"/>
                    </a:lnTo>
                    <a:lnTo>
                      <a:pt x="102" y="56"/>
                    </a:lnTo>
                    <a:lnTo>
                      <a:pt x="102" y="55"/>
                    </a:lnTo>
                    <a:lnTo>
                      <a:pt x="99" y="55"/>
                    </a:lnTo>
                    <a:close/>
                    <a:moveTo>
                      <a:pt x="94" y="66"/>
                    </a:moveTo>
                    <a:lnTo>
                      <a:pt x="93" y="66"/>
                    </a:lnTo>
                    <a:lnTo>
                      <a:pt x="91" y="64"/>
                    </a:lnTo>
                    <a:lnTo>
                      <a:pt x="89" y="64"/>
                    </a:lnTo>
                    <a:lnTo>
                      <a:pt x="89" y="64"/>
                    </a:lnTo>
                    <a:lnTo>
                      <a:pt x="91" y="63"/>
                    </a:lnTo>
                    <a:lnTo>
                      <a:pt x="91" y="63"/>
                    </a:lnTo>
                    <a:lnTo>
                      <a:pt x="91" y="61"/>
                    </a:lnTo>
                    <a:lnTo>
                      <a:pt x="88" y="59"/>
                    </a:lnTo>
                    <a:lnTo>
                      <a:pt x="86" y="59"/>
                    </a:lnTo>
                    <a:lnTo>
                      <a:pt x="86" y="61"/>
                    </a:lnTo>
                    <a:lnTo>
                      <a:pt x="85" y="63"/>
                    </a:lnTo>
                    <a:lnTo>
                      <a:pt x="85" y="64"/>
                    </a:lnTo>
                    <a:lnTo>
                      <a:pt x="85" y="66"/>
                    </a:lnTo>
                    <a:lnTo>
                      <a:pt x="85" y="66"/>
                    </a:lnTo>
                    <a:lnTo>
                      <a:pt x="86" y="66"/>
                    </a:lnTo>
                    <a:lnTo>
                      <a:pt x="86" y="64"/>
                    </a:lnTo>
                    <a:lnTo>
                      <a:pt x="88" y="66"/>
                    </a:lnTo>
                    <a:lnTo>
                      <a:pt x="88" y="66"/>
                    </a:lnTo>
                    <a:lnTo>
                      <a:pt x="88" y="67"/>
                    </a:lnTo>
                    <a:lnTo>
                      <a:pt x="88" y="67"/>
                    </a:lnTo>
                    <a:lnTo>
                      <a:pt x="88" y="67"/>
                    </a:lnTo>
                    <a:lnTo>
                      <a:pt x="91" y="67"/>
                    </a:lnTo>
                    <a:lnTo>
                      <a:pt x="94" y="69"/>
                    </a:lnTo>
                    <a:lnTo>
                      <a:pt x="94" y="69"/>
                    </a:lnTo>
                    <a:lnTo>
                      <a:pt x="94" y="67"/>
                    </a:lnTo>
                    <a:lnTo>
                      <a:pt x="96" y="66"/>
                    </a:lnTo>
                    <a:lnTo>
                      <a:pt x="94" y="66"/>
                    </a:lnTo>
                    <a:close/>
                    <a:moveTo>
                      <a:pt x="88" y="70"/>
                    </a:moveTo>
                    <a:lnTo>
                      <a:pt x="88" y="70"/>
                    </a:lnTo>
                    <a:lnTo>
                      <a:pt x="88" y="70"/>
                    </a:lnTo>
                    <a:lnTo>
                      <a:pt x="86" y="67"/>
                    </a:lnTo>
                    <a:lnTo>
                      <a:pt x="85" y="67"/>
                    </a:lnTo>
                    <a:lnTo>
                      <a:pt x="85" y="67"/>
                    </a:lnTo>
                    <a:lnTo>
                      <a:pt x="85" y="69"/>
                    </a:lnTo>
                    <a:lnTo>
                      <a:pt x="85" y="70"/>
                    </a:lnTo>
                    <a:lnTo>
                      <a:pt x="86" y="72"/>
                    </a:lnTo>
                    <a:lnTo>
                      <a:pt x="88" y="72"/>
                    </a:lnTo>
                    <a:lnTo>
                      <a:pt x="88" y="72"/>
                    </a:lnTo>
                    <a:lnTo>
                      <a:pt x="88" y="72"/>
                    </a:lnTo>
                    <a:lnTo>
                      <a:pt x="88" y="70"/>
                    </a:lnTo>
                    <a:close/>
                    <a:moveTo>
                      <a:pt x="93" y="70"/>
                    </a:moveTo>
                    <a:lnTo>
                      <a:pt x="91" y="70"/>
                    </a:lnTo>
                    <a:lnTo>
                      <a:pt x="91" y="74"/>
                    </a:lnTo>
                    <a:lnTo>
                      <a:pt x="93" y="74"/>
                    </a:lnTo>
                    <a:lnTo>
                      <a:pt x="93" y="74"/>
                    </a:lnTo>
                    <a:lnTo>
                      <a:pt x="93" y="72"/>
                    </a:lnTo>
                    <a:lnTo>
                      <a:pt x="93" y="70"/>
                    </a:lnTo>
                    <a:lnTo>
                      <a:pt x="93" y="70"/>
                    </a:lnTo>
                    <a:close/>
                    <a:moveTo>
                      <a:pt x="174" y="266"/>
                    </a:moveTo>
                    <a:lnTo>
                      <a:pt x="174" y="263"/>
                    </a:lnTo>
                    <a:lnTo>
                      <a:pt x="172" y="261"/>
                    </a:lnTo>
                    <a:lnTo>
                      <a:pt x="168" y="257"/>
                    </a:lnTo>
                    <a:lnTo>
                      <a:pt x="166" y="255"/>
                    </a:lnTo>
                    <a:lnTo>
                      <a:pt x="163" y="255"/>
                    </a:lnTo>
                    <a:lnTo>
                      <a:pt x="160" y="255"/>
                    </a:lnTo>
                    <a:lnTo>
                      <a:pt x="158" y="254"/>
                    </a:lnTo>
                    <a:lnTo>
                      <a:pt x="157" y="254"/>
                    </a:lnTo>
                    <a:lnTo>
                      <a:pt x="154" y="255"/>
                    </a:lnTo>
                    <a:lnTo>
                      <a:pt x="154" y="255"/>
                    </a:lnTo>
                    <a:lnTo>
                      <a:pt x="152" y="258"/>
                    </a:lnTo>
                    <a:lnTo>
                      <a:pt x="150" y="258"/>
                    </a:lnTo>
                    <a:lnTo>
                      <a:pt x="150" y="258"/>
                    </a:lnTo>
                    <a:lnTo>
                      <a:pt x="149" y="258"/>
                    </a:lnTo>
                    <a:lnTo>
                      <a:pt x="144" y="257"/>
                    </a:lnTo>
                    <a:lnTo>
                      <a:pt x="146" y="254"/>
                    </a:lnTo>
                    <a:lnTo>
                      <a:pt x="147" y="252"/>
                    </a:lnTo>
                    <a:lnTo>
                      <a:pt x="149" y="250"/>
                    </a:lnTo>
                    <a:lnTo>
                      <a:pt x="150" y="249"/>
                    </a:lnTo>
                    <a:lnTo>
                      <a:pt x="149" y="244"/>
                    </a:lnTo>
                    <a:lnTo>
                      <a:pt x="146" y="239"/>
                    </a:lnTo>
                    <a:lnTo>
                      <a:pt x="139" y="233"/>
                    </a:lnTo>
                    <a:lnTo>
                      <a:pt x="135" y="233"/>
                    </a:lnTo>
                    <a:lnTo>
                      <a:pt x="132" y="232"/>
                    </a:lnTo>
                    <a:lnTo>
                      <a:pt x="133" y="232"/>
                    </a:lnTo>
                    <a:lnTo>
                      <a:pt x="136" y="232"/>
                    </a:lnTo>
                    <a:lnTo>
                      <a:pt x="139" y="232"/>
                    </a:lnTo>
                    <a:lnTo>
                      <a:pt x="141" y="233"/>
                    </a:lnTo>
                    <a:lnTo>
                      <a:pt x="143" y="235"/>
                    </a:lnTo>
                    <a:lnTo>
                      <a:pt x="144" y="235"/>
                    </a:lnTo>
                    <a:lnTo>
                      <a:pt x="144" y="235"/>
                    </a:lnTo>
                    <a:lnTo>
                      <a:pt x="146" y="235"/>
                    </a:lnTo>
                    <a:lnTo>
                      <a:pt x="146" y="236"/>
                    </a:lnTo>
                    <a:lnTo>
                      <a:pt x="144" y="232"/>
                    </a:lnTo>
                    <a:lnTo>
                      <a:pt x="143" y="228"/>
                    </a:lnTo>
                    <a:lnTo>
                      <a:pt x="141" y="225"/>
                    </a:lnTo>
                    <a:lnTo>
                      <a:pt x="139" y="224"/>
                    </a:lnTo>
                    <a:lnTo>
                      <a:pt x="141" y="222"/>
                    </a:lnTo>
                    <a:lnTo>
                      <a:pt x="143" y="221"/>
                    </a:lnTo>
                    <a:lnTo>
                      <a:pt x="139" y="218"/>
                    </a:lnTo>
                    <a:lnTo>
                      <a:pt x="138" y="216"/>
                    </a:lnTo>
                    <a:lnTo>
                      <a:pt x="135" y="213"/>
                    </a:lnTo>
                    <a:lnTo>
                      <a:pt x="132" y="208"/>
                    </a:lnTo>
                    <a:lnTo>
                      <a:pt x="130" y="208"/>
                    </a:lnTo>
                    <a:lnTo>
                      <a:pt x="124" y="205"/>
                    </a:lnTo>
                    <a:lnTo>
                      <a:pt x="122" y="203"/>
                    </a:lnTo>
                    <a:lnTo>
                      <a:pt x="121" y="200"/>
                    </a:lnTo>
                    <a:lnTo>
                      <a:pt x="119" y="192"/>
                    </a:lnTo>
                    <a:lnTo>
                      <a:pt x="118" y="186"/>
                    </a:lnTo>
                    <a:lnTo>
                      <a:pt x="116" y="178"/>
                    </a:lnTo>
                    <a:lnTo>
                      <a:pt x="114" y="177"/>
                    </a:lnTo>
                    <a:lnTo>
                      <a:pt x="113" y="175"/>
                    </a:lnTo>
                    <a:lnTo>
                      <a:pt x="111" y="174"/>
                    </a:lnTo>
                    <a:lnTo>
                      <a:pt x="108" y="169"/>
                    </a:lnTo>
                    <a:lnTo>
                      <a:pt x="107" y="166"/>
                    </a:lnTo>
                    <a:lnTo>
                      <a:pt x="99" y="161"/>
                    </a:lnTo>
                    <a:lnTo>
                      <a:pt x="94" y="163"/>
                    </a:lnTo>
                    <a:lnTo>
                      <a:pt x="91" y="164"/>
                    </a:lnTo>
                    <a:lnTo>
                      <a:pt x="91" y="164"/>
                    </a:lnTo>
                    <a:lnTo>
                      <a:pt x="80" y="163"/>
                    </a:lnTo>
                    <a:lnTo>
                      <a:pt x="79" y="161"/>
                    </a:lnTo>
                    <a:lnTo>
                      <a:pt x="77" y="160"/>
                    </a:lnTo>
                    <a:lnTo>
                      <a:pt x="79" y="161"/>
                    </a:lnTo>
                    <a:lnTo>
                      <a:pt x="83" y="161"/>
                    </a:lnTo>
                    <a:lnTo>
                      <a:pt x="85" y="161"/>
                    </a:lnTo>
                    <a:lnTo>
                      <a:pt x="86" y="161"/>
                    </a:lnTo>
                    <a:lnTo>
                      <a:pt x="88" y="160"/>
                    </a:lnTo>
                    <a:lnTo>
                      <a:pt x="91" y="156"/>
                    </a:lnTo>
                    <a:lnTo>
                      <a:pt x="96" y="156"/>
                    </a:lnTo>
                    <a:lnTo>
                      <a:pt x="97" y="155"/>
                    </a:lnTo>
                    <a:lnTo>
                      <a:pt x="97" y="153"/>
                    </a:lnTo>
                    <a:lnTo>
                      <a:pt x="93" y="150"/>
                    </a:lnTo>
                    <a:lnTo>
                      <a:pt x="89" y="150"/>
                    </a:lnTo>
                    <a:lnTo>
                      <a:pt x="88" y="152"/>
                    </a:lnTo>
                    <a:lnTo>
                      <a:pt x="86" y="152"/>
                    </a:lnTo>
                    <a:lnTo>
                      <a:pt x="88" y="150"/>
                    </a:lnTo>
                    <a:lnTo>
                      <a:pt x="89" y="149"/>
                    </a:lnTo>
                    <a:lnTo>
                      <a:pt x="91" y="149"/>
                    </a:lnTo>
                    <a:lnTo>
                      <a:pt x="96" y="147"/>
                    </a:lnTo>
                    <a:lnTo>
                      <a:pt x="97" y="147"/>
                    </a:lnTo>
                    <a:lnTo>
                      <a:pt x="99" y="146"/>
                    </a:lnTo>
                    <a:lnTo>
                      <a:pt x="100" y="142"/>
                    </a:lnTo>
                    <a:lnTo>
                      <a:pt x="102" y="139"/>
                    </a:lnTo>
                    <a:lnTo>
                      <a:pt x="104" y="136"/>
                    </a:lnTo>
                    <a:lnTo>
                      <a:pt x="107" y="128"/>
                    </a:lnTo>
                    <a:lnTo>
                      <a:pt x="108" y="127"/>
                    </a:lnTo>
                    <a:lnTo>
                      <a:pt x="108" y="124"/>
                    </a:lnTo>
                    <a:lnTo>
                      <a:pt x="108" y="122"/>
                    </a:lnTo>
                    <a:lnTo>
                      <a:pt x="110" y="119"/>
                    </a:lnTo>
                    <a:lnTo>
                      <a:pt x="111" y="117"/>
                    </a:lnTo>
                    <a:lnTo>
                      <a:pt x="113" y="116"/>
                    </a:lnTo>
                    <a:lnTo>
                      <a:pt x="113" y="116"/>
                    </a:lnTo>
                    <a:lnTo>
                      <a:pt x="111" y="111"/>
                    </a:lnTo>
                    <a:lnTo>
                      <a:pt x="110" y="110"/>
                    </a:lnTo>
                    <a:lnTo>
                      <a:pt x="108" y="108"/>
                    </a:lnTo>
                    <a:lnTo>
                      <a:pt x="105" y="110"/>
                    </a:lnTo>
                    <a:lnTo>
                      <a:pt x="94" y="108"/>
                    </a:lnTo>
                    <a:lnTo>
                      <a:pt x="93" y="108"/>
                    </a:lnTo>
                    <a:lnTo>
                      <a:pt x="91" y="110"/>
                    </a:lnTo>
                    <a:lnTo>
                      <a:pt x="89" y="110"/>
                    </a:lnTo>
                    <a:lnTo>
                      <a:pt x="86" y="108"/>
                    </a:lnTo>
                    <a:lnTo>
                      <a:pt x="85" y="108"/>
                    </a:lnTo>
                    <a:lnTo>
                      <a:pt x="80" y="110"/>
                    </a:lnTo>
                    <a:lnTo>
                      <a:pt x="75" y="111"/>
                    </a:lnTo>
                    <a:lnTo>
                      <a:pt x="74" y="113"/>
                    </a:lnTo>
                    <a:lnTo>
                      <a:pt x="71" y="113"/>
                    </a:lnTo>
                    <a:lnTo>
                      <a:pt x="72" y="110"/>
                    </a:lnTo>
                    <a:lnTo>
                      <a:pt x="75" y="105"/>
                    </a:lnTo>
                    <a:lnTo>
                      <a:pt x="75" y="105"/>
                    </a:lnTo>
                    <a:lnTo>
                      <a:pt x="75" y="103"/>
                    </a:lnTo>
                    <a:lnTo>
                      <a:pt x="72" y="103"/>
                    </a:lnTo>
                    <a:lnTo>
                      <a:pt x="74" y="102"/>
                    </a:lnTo>
                    <a:lnTo>
                      <a:pt x="74" y="100"/>
                    </a:lnTo>
                    <a:lnTo>
                      <a:pt x="77" y="97"/>
                    </a:lnTo>
                    <a:lnTo>
                      <a:pt x="85" y="91"/>
                    </a:lnTo>
                    <a:lnTo>
                      <a:pt x="88" y="88"/>
                    </a:lnTo>
                    <a:lnTo>
                      <a:pt x="89" y="86"/>
                    </a:lnTo>
                    <a:lnTo>
                      <a:pt x="89" y="85"/>
                    </a:lnTo>
                    <a:lnTo>
                      <a:pt x="89" y="85"/>
                    </a:lnTo>
                    <a:lnTo>
                      <a:pt x="89" y="81"/>
                    </a:lnTo>
                    <a:lnTo>
                      <a:pt x="89" y="78"/>
                    </a:lnTo>
                    <a:lnTo>
                      <a:pt x="91" y="78"/>
                    </a:lnTo>
                    <a:lnTo>
                      <a:pt x="89" y="77"/>
                    </a:lnTo>
                    <a:lnTo>
                      <a:pt x="86" y="77"/>
                    </a:lnTo>
                    <a:lnTo>
                      <a:pt x="83" y="78"/>
                    </a:lnTo>
                    <a:lnTo>
                      <a:pt x="80" y="78"/>
                    </a:lnTo>
                    <a:lnTo>
                      <a:pt x="75" y="80"/>
                    </a:lnTo>
                    <a:lnTo>
                      <a:pt x="71" y="80"/>
                    </a:lnTo>
                    <a:lnTo>
                      <a:pt x="66" y="81"/>
                    </a:lnTo>
                    <a:lnTo>
                      <a:pt x="64" y="80"/>
                    </a:lnTo>
                    <a:lnTo>
                      <a:pt x="64" y="80"/>
                    </a:lnTo>
                    <a:lnTo>
                      <a:pt x="61" y="81"/>
                    </a:lnTo>
                    <a:lnTo>
                      <a:pt x="61" y="81"/>
                    </a:lnTo>
                    <a:lnTo>
                      <a:pt x="60" y="80"/>
                    </a:lnTo>
                    <a:lnTo>
                      <a:pt x="60" y="80"/>
                    </a:lnTo>
                    <a:lnTo>
                      <a:pt x="57" y="78"/>
                    </a:lnTo>
                    <a:lnTo>
                      <a:pt x="57" y="80"/>
                    </a:lnTo>
                    <a:lnTo>
                      <a:pt x="55" y="80"/>
                    </a:lnTo>
                    <a:lnTo>
                      <a:pt x="55" y="81"/>
                    </a:lnTo>
                    <a:lnTo>
                      <a:pt x="55" y="81"/>
                    </a:lnTo>
                    <a:lnTo>
                      <a:pt x="55" y="85"/>
                    </a:lnTo>
                    <a:lnTo>
                      <a:pt x="55" y="86"/>
                    </a:lnTo>
                    <a:lnTo>
                      <a:pt x="55" y="88"/>
                    </a:lnTo>
                    <a:lnTo>
                      <a:pt x="55" y="89"/>
                    </a:lnTo>
                    <a:lnTo>
                      <a:pt x="57" y="89"/>
                    </a:lnTo>
                    <a:lnTo>
                      <a:pt x="55" y="91"/>
                    </a:lnTo>
                    <a:lnTo>
                      <a:pt x="52" y="91"/>
                    </a:lnTo>
                    <a:lnTo>
                      <a:pt x="50" y="91"/>
                    </a:lnTo>
                    <a:lnTo>
                      <a:pt x="50" y="91"/>
                    </a:lnTo>
                    <a:lnTo>
                      <a:pt x="50" y="92"/>
                    </a:lnTo>
                    <a:lnTo>
                      <a:pt x="50" y="94"/>
                    </a:lnTo>
                    <a:lnTo>
                      <a:pt x="49" y="95"/>
                    </a:lnTo>
                    <a:lnTo>
                      <a:pt x="49" y="97"/>
                    </a:lnTo>
                    <a:lnTo>
                      <a:pt x="54" y="102"/>
                    </a:lnTo>
                    <a:lnTo>
                      <a:pt x="54" y="102"/>
                    </a:lnTo>
                    <a:lnTo>
                      <a:pt x="50" y="102"/>
                    </a:lnTo>
                    <a:lnTo>
                      <a:pt x="50" y="102"/>
                    </a:lnTo>
                    <a:lnTo>
                      <a:pt x="50" y="102"/>
                    </a:lnTo>
                    <a:lnTo>
                      <a:pt x="46" y="102"/>
                    </a:lnTo>
                    <a:lnTo>
                      <a:pt x="44" y="105"/>
                    </a:lnTo>
                    <a:lnTo>
                      <a:pt x="44" y="106"/>
                    </a:lnTo>
                    <a:lnTo>
                      <a:pt x="43" y="110"/>
                    </a:lnTo>
                    <a:lnTo>
                      <a:pt x="43" y="110"/>
                    </a:lnTo>
                    <a:lnTo>
                      <a:pt x="44" y="111"/>
                    </a:lnTo>
                    <a:lnTo>
                      <a:pt x="44" y="113"/>
                    </a:lnTo>
                    <a:lnTo>
                      <a:pt x="46" y="113"/>
                    </a:lnTo>
                    <a:lnTo>
                      <a:pt x="44" y="114"/>
                    </a:lnTo>
                    <a:lnTo>
                      <a:pt x="43" y="114"/>
                    </a:lnTo>
                    <a:lnTo>
                      <a:pt x="43" y="116"/>
                    </a:lnTo>
                    <a:lnTo>
                      <a:pt x="41" y="117"/>
                    </a:lnTo>
                    <a:lnTo>
                      <a:pt x="43" y="119"/>
                    </a:lnTo>
                    <a:lnTo>
                      <a:pt x="44" y="120"/>
                    </a:lnTo>
                    <a:lnTo>
                      <a:pt x="46" y="122"/>
                    </a:lnTo>
                    <a:lnTo>
                      <a:pt x="46" y="124"/>
                    </a:lnTo>
                    <a:lnTo>
                      <a:pt x="46" y="128"/>
                    </a:lnTo>
                    <a:lnTo>
                      <a:pt x="43" y="133"/>
                    </a:lnTo>
                    <a:lnTo>
                      <a:pt x="41" y="133"/>
                    </a:lnTo>
                    <a:lnTo>
                      <a:pt x="41" y="135"/>
                    </a:lnTo>
                    <a:lnTo>
                      <a:pt x="43" y="136"/>
                    </a:lnTo>
                    <a:lnTo>
                      <a:pt x="41" y="138"/>
                    </a:lnTo>
                    <a:lnTo>
                      <a:pt x="38" y="139"/>
                    </a:lnTo>
                    <a:lnTo>
                      <a:pt x="36" y="141"/>
                    </a:lnTo>
                    <a:lnTo>
                      <a:pt x="36" y="141"/>
                    </a:lnTo>
                    <a:lnTo>
                      <a:pt x="38" y="141"/>
                    </a:lnTo>
                    <a:lnTo>
                      <a:pt x="39" y="141"/>
                    </a:lnTo>
                    <a:lnTo>
                      <a:pt x="39" y="144"/>
                    </a:lnTo>
                    <a:lnTo>
                      <a:pt x="41" y="146"/>
                    </a:lnTo>
                    <a:lnTo>
                      <a:pt x="43" y="146"/>
                    </a:lnTo>
                    <a:lnTo>
                      <a:pt x="44" y="146"/>
                    </a:lnTo>
                    <a:lnTo>
                      <a:pt x="46" y="146"/>
                    </a:lnTo>
                    <a:lnTo>
                      <a:pt x="52" y="139"/>
                    </a:lnTo>
                    <a:lnTo>
                      <a:pt x="54" y="139"/>
                    </a:lnTo>
                    <a:lnTo>
                      <a:pt x="52" y="141"/>
                    </a:lnTo>
                    <a:lnTo>
                      <a:pt x="50" y="144"/>
                    </a:lnTo>
                    <a:lnTo>
                      <a:pt x="50" y="146"/>
                    </a:lnTo>
                    <a:lnTo>
                      <a:pt x="49" y="147"/>
                    </a:lnTo>
                    <a:lnTo>
                      <a:pt x="49" y="150"/>
                    </a:lnTo>
                    <a:lnTo>
                      <a:pt x="47" y="152"/>
                    </a:lnTo>
                    <a:lnTo>
                      <a:pt x="47" y="155"/>
                    </a:lnTo>
                    <a:lnTo>
                      <a:pt x="46" y="158"/>
                    </a:lnTo>
                    <a:lnTo>
                      <a:pt x="46" y="161"/>
                    </a:lnTo>
                    <a:lnTo>
                      <a:pt x="46" y="169"/>
                    </a:lnTo>
                    <a:lnTo>
                      <a:pt x="46" y="169"/>
                    </a:lnTo>
                    <a:lnTo>
                      <a:pt x="46" y="169"/>
                    </a:lnTo>
                    <a:lnTo>
                      <a:pt x="47" y="169"/>
                    </a:lnTo>
                    <a:lnTo>
                      <a:pt x="47" y="169"/>
                    </a:lnTo>
                    <a:lnTo>
                      <a:pt x="46" y="172"/>
                    </a:lnTo>
                    <a:lnTo>
                      <a:pt x="44" y="174"/>
                    </a:lnTo>
                    <a:lnTo>
                      <a:pt x="44" y="175"/>
                    </a:lnTo>
                    <a:lnTo>
                      <a:pt x="43" y="180"/>
                    </a:lnTo>
                    <a:lnTo>
                      <a:pt x="43" y="182"/>
                    </a:lnTo>
                    <a:lnTo>
                      <a:pt x="43" y="183"/>
                    </a:lnTo>
                    <a:lnTo>
                      <a:pt x="43" y="183"/>
                    </a:lnTo>
                    <a:lnTo>
                      <a:pt x="44" y="183"/>
                    </a:lnTo>
                    <a:lnTo>
                      <a:pt x="46" y="183"/>
                    </a:lnTo>
                    <a:lnTo>
                      <a:pt x="46" y="183"/>
                    </a:lnTo>
                    <a:lnTo>
                      <a:pt x="46" y="182"/>
                    </a:lnTo>
                    <a:lnTo>
                      <a:pt x="49" y="171"/>
                    </a:lnTo>
                    <a:lnTo>
                      <a:pt x="49" y="167"/>
                    </a:lnTo>
                    <a:lnTo>
                      <a:pt x="49" y="164"/>
                    </a:lnTo>
                    <a:lnTo>
                      <a:pt x="49" y="164"/>
                    </a:lnTo>
                    <a:lnTo>
                      <a:pt x="49" y="163"/>
                    </a:lnTo>
                    <a:lnTo>
                      <a:pt x="49" y="163"/>
                    </a:lnTo>
                    <a:lnTo>
                      <a:pt x="50" y="160"/>
                    </a:lnTo>
                    <a:lnTo>
                      <a:pt x="55" y="156"/>
                    </a:lnTo>
                    <a:lnTo>
                      <a:pt x="57" y="155"/>
                    </a:lnTo>
                    <a:lnTo>
                      <a:pt x="54" y="160"/>
                    </a:lnTo>
                    <a:lnTo>
                      <a:pt x="52" y="161"/>
                    </a:lnTo>
                    <a:lnTo>
                      <a:pt x="52" y="163"/>
                    </a:lnTo>
                    <a:lnTo>
                      <a:pt x="52" y="164"/>
                    </a:lnTo>
                    <a:lnTo>
                      <a:pt x="52" y="166"/>
                    </a:lnTo>
                    <a:lnTo>
                      <a:pt x="52" y="166"/>
                    </a:lnTo>
                    <a:lnTo>
                      <a:pt x="52" y="164"/>
                    </a:lnTo>
                    <a:lnTo>
                      <a:pt x="54" y="164"/>
                    </a:lnTo>
                    <a:lnTo>
                      <a:pt x="54" y="164"/>
                    </a:lnTo>
                    <a:lnTo>
                      <a:pt x="55" y="163"/>
                    </a:lnTo>
                    <a:lnTo>
                      <a:pt x="57" y="163"/>
                    </a:lnTo>
                    <a:lnTo>
                      <a:pt x="57" y="161"/>
                    </a:lnTo>
                    <a:lnTo>
                      <a:pt x="58" y="160"/>
                    </a:lnTo>
                    <a:lnTo>
                      <a:pt x="60" y="158"/>
                    </a:lnTo>
                    <a:lnTo>
                      <a:pt x="60" y="158"/>
                    </a:lnTo>
                    <a:lnTo>
                      <a:pt x="58" y="160"/>
                    </a:lnTo>
                    <a:lnTo>
                      <a:pt x="58" y="161"/>
                    </a:lnTo>
                    <a:lnTo>
                      <a:pt x="61" y="164"/>
                    </a:lnTo>
                    <a:lnTo>
                      <a:pt x="63" y="164"/>
                    </a:lnTo>
                    <a:lnTo>
                      <a:pt x="60" y="164"/>
                    </a:lnTo>
                    <a:lnTo>
                      <a:pt x="60" y="164"/>
                    </a:lnTo>
                    <a:lnTo>
                      <a:pt x="58" y="167"/>
                    </a:lnTo>
                    <a:lnTo>
                      <a:pt x="58" y="169"/>
                    </a:lnTo>
                    <a:lnTo>
                      <a:pt x="58" y="172"/>
                    </a:lnTo>
                    <a:lnTo>
                      <a:pt x="61" y="175"/>
                    </a:lnTo>
                    <a:lnTo>
                      <a:pt x="61" y="177"/>
                    </a:lnTo>
                    <a:lnTo>
                      <a:pt x="61" y="178"/>
                    </a:lnTo>
                    <a:lnTo>
                      <a:pt x="61" y="182"/>
                    </a:lnTo>
                    <a:lnTo>
                      <a:pt x="60" y="183"/>
                    </a:lnTo>
                    <a:lnTo>
                      <a:pt x="57" y="189"/>
                    </a:lnTo>
                    <a:lnTo>
                      <a:pt x="55" y="194"/>
                    </a:lnTo>
                    <a:lnTo>
                      <a:pt x="54" y="194"/>
                    </a:lnTo>
                    <a:lnTo>
                      <a:pt x="54" y="194"/>
                    </a:lnTo>
                    <a:lnTo>
                      <a:pt x="54" y="196"/>
                    </a:lnTo>
                    <a:lnTo>
                      <a:pt x="54" y="199"/>
                    </a:lnTo>
                    <a:lnTo>
                      <a:pt x="55" y="200"/>
                    </a:lnTo>
                    <a:lnTo>
                      <a:pt x="58" y="203"/>
                    </a:lnTo>
                    <a:lnTo>
                      <a:pt x="58" y="200"/>
                    </a:lnTo>
                    <a:lnTo>
                      <a:pt x="58" y="199"/>
                    </a:lnTo>
                    <a:lnTo>
                      <a:pt x="60" y="199"/>
                    </a:lnTo>
                    <a:lnTo>
                      <a:pt x="63" y="200"/>
                    </a:lnTo>
                    <a:lnTo>
                      <a:pt x="64" y="202"/>
                    </a:lnTo>
                    <a:lnTo>
                      <a:pt x="66" y="200"/>
                    </a:lnTo>
                    <a:lnTo>
                      <a:pt x="68" y="199"/>
                    </a:lnTo>
                    <a:lnTo>
                      <a:pt x="69" y="199"/>
                    </a:lnTo>
                    <a:lnTo>
                      <a:pt x="71" y="199"/>
                    </a:lnTo>
                    <a:lnTo>
                      <a:pt x="71" y="200"/>
                    </a:lnTo>
                    <a:lnTo>
                      <a:pt x="71" y="200"/>
                    </a:lnTo>
                    <a:lnTo>
                      <a:pt x="72" y="200"/>
                    </a:lnTo>
                    <a:lnTo>
                      <a:pt x="74" y="200"/>
                    </a:lnTo>
                    <a:lnTo>
                      <a:pt x="75" y="200"/>
                    </a:lnTo>
                    <a:lnTo>
                      <a:pt x="77" y="199"/>
                    </a:lnTo>
                    <a:lnTo>
                      <a:pt x="77" y="197"/>
                    </a:lnTo>
                    <a:lnTo>
                      <a:pt x="79" y="197"/>
                    </a:lnTo>
                    <a:lnTo>
                      <a:pt x="80" y="197"/>
                    </a:lnTo>
                    <a:lnTo>
                      <a:pt x="82" y="196"/>
                    </a:lnTo>
                    <a:lnTo>
                      <a:pt x="83" y="196"/>
                    </a:lnTo>
                    <a:lnTo>
                      <a:pt x="89" y="196"/>
                    </a:lnTo>
                    <a:lnTo>
                      <a:pt x="91" y="196"/>
                    </a:lnTo>
                    <a:lnTo>
                      <a:pt x="86" y="197"/>
                    </a:lnTo>
                    <a:lnTo>
                      <a:pt x="83" y="200"/>
                    </a:lnTo>
                    <a:lnTo>
                      <a:pt x="80" y="207"/>
                    </a:lnTo>
                    <a:lnTo>
                      <a:pt x="82" y="210"/>
                    </a:lnTo>
                    <a:lnTo>
                      <a:pt x="85" y="214"/>
                    </a:lnTo>
                    <a:lnTo>
                      <a:pt x="86" y="218"/>
                    </a:lnTo>
                    <a:lnTo>
                      <a:pt x="88" y="221"/>
                    </a:lnTo>
                    <a:lnTo>
                      <a:pt x="89" y="221"/>
                    </a:lnTo>
                    <a:lnTo>
                      <a:pt x="89" y="219"/>
                    </a:lnTo>
                    <a:lnTo>
                      <a:pt x="91" y="219"/>
                    </a:lnTo>
                    <a:lnTo>
                      <a:pt x="94" y="219"/>
                    </a:lnTo>
                    <a:lnTo>
                      <a:pt x="94" y="221"/>
                    </a:lnTo>
                    <a:lnTo>
                      <a:pt x="94" y="222"/>
                    </a:lnTo>
                    <a:lnTo>
                      <a:pt x="93" y="225"/>
                    </a:lnTo>
                    <a:lnTo>
                      <a:pt x="91" y="227"/>
                    </a:lnTo>
                    <a:lnTo>
                      <a:pt x="91" y="228"/>
                    </a:lnTo>
                    <a:lnTo>
                      <a:pt x="91" y="230"/>
                    </a:lnTo>
                    <a:lnTo>
                      <a:pt x="91" y="232"/>
                    </a:lnTo>
                    <a:lnTo>
                      <a:pt x="93" y="232"/>
                    </a:lnTo>
                    <a:lnTo>
                      <a:pt x="91" y="235"/>
                    </a:lnTo>
                    <a:lnTo>
                      <a:pt x="89" y="236"/>
                    </a:lnTo>
                    <a:lnTo>
                      <a:pt x="89" y="238"/>
                    </a:lnTo>
                    <a:lnTo>
                      <a:pt x="91" y="243"/>
                    </a:lnTo>
                    <a:lnTo>
                      <a:pt x="93" y="243"/>
                    </a:lnTo>
                    <a:lnTo>
                      <a:pt x="94" y="244"/>
                    </a:lnTo>
                    <a:lnTo>
                      <a:pt x="94" y="244"/>
                    </a:lnTo>
                    <a:lnTo>
                      <a:pt x="96" y="244"/>
                    </a:lnTo>
                    <a:lnTo>
                      <a:pt x="94" y="244"/>
                    </a:lnTo>
                    <a:lnTo>
                      <a:pt x="93" y="244"/>
                    </a:lnTo>
                    <a:lnTo>
                      <a:pt x="89" y="241"/>
                    </a:lnTo>
                    <a:lnTo>
                      <a:pt x="88" y="243"/>
                    </a:lnTo>
                    <a:lnTo>
                      <a:pt x="89" y="246"/>
                    </a:lnTo>
                    <a:lnTo>
                      <a:pt x="85" y="243"/>
                    </a:lnTo>
                    <a:lnTo>
                      <a:pt x="83" y="244"/>
                    </a:lnTo>
                    <a:lnTo>
                      <a:pt x="82" y="244"/>
                    </a:lnTo>
                    <a:lnTo>
                      <a:pt x="80" y="244"/>
                    </a:lnTo>
                    <a:lnTo>
                      <a:pt x="79" y="244"/>
                    </a:lnTo>
                    <a:lnTo>
                      <a:pt x="77" y="244"/>
                    </a:lnTo>
                    <a:lnTo>
                      <a:pt x="72" y="247"/>
                    </a:lnTo>
                    <a:lnTo>
                      <a:pt x="69" y="249"/>
                    </a:lnTo>
                    <a:lnTo>
                      <a:pt x="68" y="250"/>
                    </a:lnTo>
                    <a:lnTo>
                      <a:pt x="68" y="252"/>
                    </a:lnTo>
                    <a:lnTo>
                      <a:pt x="66" y="254"/>
                    </a:lnTo>
                    <a:lnTo>
                      <a:pt x="64" y="255"/>
                    </a:lnTo>
                    <a:lnTo>
                      <a:pt x="63" y="257"/>
                    </a:lnTo>
                    <a:lnTo>
                      <a:pt x="61" y="258"/>
                    </a:lnTo>
                    <a:lnTo>
                      <a:pt x="61" y="260"/>
                    </a:lnTo>
                    <a:lnTo>
                      <a:pt x="63" y="258"/>
                    </a:lnTo>
                    <a:lnTo>
                      <a:pt x="66" y="257"/>
                    </a:lnTo>
                    <a:lnTo>
                      <a:pt x="68" y="257"/>
                    </a:lnTo>
                    <a:lnTo>
                      <a:pt x="69" y="257"/>
                    </a:lnTo>
                    <a:lnTo>
                      <a:pt x="72" y="257"/>
                    </a:lnTo>
                    <a:lnTo>
                      <a:pt x="72" y="257"/>
                    </a:lnTo>
                    <a:lnTo>
                      <a:pt x="72" y="258"/>
                    </a:lnTo>
                    <a:lnTo>
                      <a:pt x="72" y="260"/>
                    </a:lnTo>
                    <a:lnTo>
                      <a:pt x="72" y="261"/>
                    </a:lnTo>
                    <a:lnTo>
                      <a:pt x="72" y="263"/>
                    </a:lnTo>
                    <a:lnTo>
                      <a:pt x="72" y="264"/>
                    </a:lnTo>
                    <a:lnTo>
                      <a:pt x="72" y="266"/>
                    </a:lnTo>
                    <a:lnTo>
                      <a:pt x="74" y="266"/>
                    </a:lnTo>
                    <a:lnTo>
                      <a:pt x="72" y="269"/>
                    </a:lnTo>
                    <a:lnTo>
                      <a:pt x="72" y="271"/>
                    </a:lnTo>
                    <a:lnTo>
                      <a:pt x="71" y="272"/>
                    </a:lnTo>
                    <a:lnTo>
                      <a:pt x="69" y="274"/>
                    </a:lnTo>
                    <a:lnTo>
                      <a:pt x="68" y="277"/>
                    </a:lnTo>
                    <a:lnTo>
                      <a:pt x="64" y="279"/>
                    </a:lnTo>
                    <a:lnTo>
                      <a:pt x="58" y="282"/>
                    </a:lnTo>
                    <a:lnTo>
                      <a:pt x="55" y="282"/>
                    </a:lnTo>
                    <a:lnTo>
                      <a:pt x="54" y="283"/>
                    </a:lnTo>
                    <a:lnTo>
                      <a:pt x="52" y="286"/>
                    </a:lnTo>
                    <a:lnTo>
                      <a:pt x="52" y="286"/>
                    </a:lnTo>
                    <a:lnTo>
                      <a:pt x="54" y="288"/>
                    </a:lnTo>
                    <a:lnTo>
                      <a:pt x="54" y="289"/>
                    </a:lnTo>
                    <a:lnTo>
                      <a:pt x="54" y="291"/>
                    </a:lnTo>
                    <a:lnTo>
                      <a:pt x="58" y="293"/>
                    </a:lnTo>
                    <a:lnTo>
                      <a:pt x="61" y="291"/>
                    </a:lnTo>
                    <a:lnTo>
                      <a:pt x="63" y="289"/>
                    </a:lnTo>
                    <a:lnTo>
                      <a:pt x="64" y="289"/>
                    </a:lnTo>
                    <a:lnTo>
                      <a:pt x="68" y="289"/>
                    </a:lnTo>
                    <a:lnTo>
                      <a:pt x="68" y="291"/>
                    </a:lnTo>
                    <a:lnTo>
                      <a:pt x="69" y="291"/>
                    </a:lnTo>
                    <a:lnTo>
                      <a:pt x="72" y="291"/>
                    </a:lnTo>
                    <a:lnTo>
                      <a:pt x="71" y="293"/>
                    </a:lnTo>
                    <a:lnTo>
                      <a:pt x="69" y="294"/>
                    </a:lnTo>
                    <a:lnTo>
                      <a:pt x="72" y="294"/>
                    </a:lnTo>
                    <a:lnTo>
                      <a:pt x="74" y="294"/>
                    </a:lnTo>
                    <a:lnTo>
                      <a:pt x="75" y="294"/>
                    </a:lnTo>
                    <a:lnTo>
                      <a:pt x="75" y="294"/>
                    </a:lnTo>
                    <a:lnTo>
                      <a:pt x="79" y="296"/>
                    </a:lnTo>
                    <a:lnTo>
                      <a:pt x="82" y="299"/>
                    </a:lnTo>
                    <a:lnTo>
                      <a:pt x="86" y="299"/>
                    </a:lnTo>
                    <a:lnTo>
                      <a:pt x="86" y="299"/>
                    </a:lnTo>
                    <a:lnTo>
                      <a:pt x="89" y="296"/>
                    </a:lnTo>
                    <a:lnTo>
                      <a:pt x="91" y="296"/>
                    </a:lnTo>
                    <a:lnTo>
                      <a:pt x="96" y="294"/>
                    </a:lnTo>
                    <a:lnTo>
                      <a:pt x="97" y="293"/>
                    </a:lnTo>
                    <a:lnTo>
                      <a:pt x="99" y="291"/>
                    </a:lnTo>
                    <a:lnTo>
                      <a:pt x="100" y="289"/>
                    </a:lnTo>
                    <a:lnTo>
                      <a:pt x="99" y="293"/>
                    </a:lnTo>
                    <a:lnTo>
                      <a:pt x="97" y="296"/>
                    </a:lnTo>
                    <a:lnTo>
                      <a:pt x="94" y="297"/>
                    </a:lnTo>
                    <a:lnTo>
                      <a:pt x="93" y="299"/>
                    </a:lnTo>
                    <a:lnTo>
                      <a:pt x="91" y="304"/>
                    </a:lnTo>
                    <a:lnTo>
                      <a:pt x="89" y="305"/>
                    </a:lnTo>
                    <a:lnTo>
                      <a:pt x="86" y="305"/>
                    </a:lnTo>
                    <a:lnTo>
                      <a:pt x="85" y="305"/>
                    </a:lnTo>
                    <a:lnTo>
                      <a:pt x="80" y="304"/>
                    </a:lnTo>
                    <a:lnTo>
                      <a:pt x="77" y="304"/>
                    </a:lnTo>
                    <a:lnTo>
                      <a:pt x="71" y="305"/>
                    </a:lnTo>
                    <a:lnTo>
                      <a:pt x="71" y="305"/>
                    </a:lnTo>
                    <a:lnTo>
                      <a:pt x="69" y="310"/>
                    </a:lnTo>
                    <a:lnTo>
                      <a:pt x="64" y="311"/>
                    </a:lnTo>
                    <a:lnTo>
                      <a:pt x="64" y="313"/>
                    </a:lnTo>
                    <a:lnTo>
                      <a:pt x="64" y="316"/>
                    </a:lnTo>
                    <a:lnTo>
                      <a:pt x="63" y="316"/>
                    </a:lnTo>
                    <a:lnTo>
                      <a:pt x="58" y="322"/>
                    </a:lnTo>
                    <a:lnTo>
                      <a:pt x="58" y="324"/>
                    </a:lnTo>
                    <a:lnTo>
                      <a:pt x="57" y="324"/>
                    </a:lnTo>
                    <a:lnTo>
                      <a:pt x="57" y="324"/>
                    </a:lnTo>
                    <a:lnTo>
                      <a:pt x="55" y="325"/>
                    </a:lnTo>
                    <a:lnTo>
                      <a:pt x="54" y="327"/>
                    </a:lnTo>
                    <a:lnTo>
                      <a:pt x="50" y="332"/>
                    </a:lnTo>
                    <a:lnTo>
                      <a:pt x="46" y="332"/>
                    </a:lnTo>
                    <a:lnTo>
                      <a:pt x="44" y="335"/>
                    </a:lnTo>
                    <a:lnTo>
                      <a:pt x="44" y="336"/>
                    </a:lnTo>
                    <a:lnTo>
                      <a:pt x="46" y="336"/>
                    </a:lnTo>
                    <a:lnTo>
                      <a:pt x="46" y="335"/>
                    </a:lnTo>
                    <a:lnTo>
                      <a:pt x="49" y="335"/>
                    </a:lnTo>
                    <a:lnTo>
                      <a:pt x="50" y="335"/>
                    </a:lnTo>
                    <a:lnTo>
                      <a:pt x="52" y="338"/>
                    </a:lnTo>
                    <a:lnTo>
                      <a:pt x="54" y="336"/>
                    </a:lnTo>
                    <a:lnTo>
                      <a:pt x="55" y="335"/>
                    </a:lnTo>
                    <a:lnTo>
                      <a:pt x="57" y="333"/>
                    </a:lnTo>
                    <a:lnTo>
                      <a:pt x="60" y="330"/>
                    </a:lnTo>
                    <a:lnTo>
                      <a:pt x="61" y="330"/>
                    </a:lnTo>
                    <a:lnTo>
                      <a:pt x="64" y="329"/>
                    </a:lnTo>
                    <a:lnTo>
                      <a:pt x="68" y="329"/>
                    </a:lnTo>
                    <a:lnTo>
                      <a:pt x="69" y="329"/>
                    </a:lnTo>
                    <a:lnTo>
                      <a:pt x="69" y="327"/>
                    </a:lnTo>
                    <a:lnTo>
                      <a:pt x="71" y="327"/>
                    </a:lnTo>
                    <a:lnTo>
                      <a:pt x="71" y="327"/>
                    </a:lnTo>
                    <a:lnTo>
                      <a:pt x="72" y="329"/>
                    </a:lnTo>
                    <a:lnTo>
                      <a:pt x="75" y="330"/>
                    </a:lnTo>
                    <a:lnTo>
                      <a:pt x="77" y="332"/>
                    </a:lnTo>
                    <a:lnTo>
                      <a:pt x="79" y="332"/>
                    </a:lnTo>
                    <a:lnTo>
                      <a:pt x="82" y="329"/>
                    </a:lnTo>
                    <a:lnTo>
                      <a:pt x="82" y="325"/>
                    </a:lnTo>
                    <a:lnTo>
                      <a:pt x="83" y="322"/>
                    </a:lnTo>
                    <a:lnTo>
                      <a:pt x="85" y="321"/>
                    </a:lnTo>
                    <a:lnTo>
                      <a:pt x="91" y="318"/>
                    </a:lnTo>
                    <a:lnTo>
                      <a:pt x="93" y="318"/>
                    </a:lnTo>
                    <a:lnTo>
                      <a:pt x="96" y="319"/>
                    </a:lnTo>
                    <a:lnTo>
                      <a:pt x="97" y="319"/>
                    </a:lnTo>
                    <a:lnTo>
                      <a:pt x="99" y="321"/>
                    </a:lnTo>
                    <a:lnTo>
                      <a:pt x="100" y="321"/>
                    </a:lnTo>
                    <a:lnTo>
                      <a:pt x="102" y="321"/>
                    </a:lnTo>
                    <a:lnTo>
                      <a:pt x="102" y="321"/>
                    </a:lnTo>
                    <a:lnTo>
                      <a:pt x="108" y="321"/>
                    </a:lnTo>
                    <a:lnTo>
                      <a:pt x="108" y="321"/>
                    </a:lnTo>
                    <a:lnTo>
                      <a:pt x="110" y="321"/>
                    </a:lnTo>
                    <a:lnTo>
                      <a:pt x="108" y="319"/>
                    </a:lnTo>
                    <a:lnTo>
                      <a:pt x="108" y="318"/>
                    </a:lnTo>
                    <a:lnTo>
                      <a:pt x="111" y="318"/>
                    </a:lnTo>
                    <a:lnTo>
                      <a:pt x="114" y="318"/>
                    </a:lnTo>
                    <a:lnTo>
                      <a:pt x="116" y="318"/>
                    </a:lnTo>
                    <a:lnTo>
                      <a:pt x="118" y="318"/>
                    </a:lnTo>
                    <a:lnTo>
                      <a:pt x="121" y="316"/>
                    </a:lnTo>
                    <a:lnTo>
                      <a:pt x="119" y="313"/>
                    </a:lnTo>
                    <a:lnTo>
                      <a:pt x="121" y="315"/>
                    </a:lnTo>
                    <a:lnTo>
                      <a:pt x="124" y="315"/>
                    </a:lnTo>
                    <a:lnTo>
                      <a:pt x="127" y="316"/>
                    </a:lnTo>
                    <a:lnTo>
                      <a:pt x="129" y="316"/>
                    </a:lnTo>
                    <a:lnTo>
                      <a:pt x="130" y="316"/>
                    </a:lnTo>
                    <a:lnTo>
                      <a:pt x="136" y="316"/>
                    </a:lnTo>
                    <a:lnTo>
                      <a:pt x="141" y="316"/>
                    </a:lnTo>
                    <a:lnTo>
                      <a:pt x="147" y="318"/>
                    </a:lnTo>
                    <a:lnTo>
                      <a:pt x="149" y="316"/>
                    </a:lnTo>
                    <a:lnTo>
                      <a:pt x="150" y="316"/>
                    </a:lnTo>
                    <a:lnTo>
                      <a:pt x="154" y="315"/>
                    </a:lnTo>
                    <a:lnTo>
                      <a:pt x="155" y="313"/>
                    </a:lnTo>
                    <a:lnTo>
                      <a:pt x="157" y="311"/>
                    </a:lnTo>
                    <a:lnTo>
                      <a:pt x="161" y="313"/>
                    </a:lnTo>
                    <a:lnTo>
                      <a:pt x="161" y="311"/>
                    </a:lnTo>
                    <a:lnTo>
                      <a:pt x="163" y="308"/>
                    </a:lnTo>
                    <a:lnTo>
                      <a:pt x="168" y="307"/>
                    </a:lnTo>
                    <a:lnTo>
                      <a:pt x="168" y="305"/>
                    </a:lnTo>
                    <a:lnTo>
                      <a:pt x="169" y="302"/>
                    </a:lnTo>
                    <a:lnTo>
                      <a:pt x="169" y="300"/>
                    </a:lnTo>
                    <a:lnTo>
                      <a:pt x="168" y="300"/>
                    </a:lnTo>
                    <a:lnTo>
                      <a:pt x="166" y="300"/>
                    </a:lnTo>
                    <a:lnTo>
                      <a:pt x="161" y="300"/>
                    </a:lnTo>
                    <a:lnTo>
                      <a:pt x="160" y="300"/>
                    </a:lnTo>
                    <a:lnTo>
                      <a:pt x="157" y="299"/>
                    </a:lnTo>
                    <a:lnTo>
                      <a:pt x="155" y="299"/>
                    </a:lnTo>
                    <a:lnTo>
                      <a:pt x="155" y="297"/>
                    </a:lnTo>
                    <a:lnTo>
                      <a:pt x="154" y="297"/>
                    </a:lnTo>
                    <a:lnTo>
                      <a:pt x="152" y="297"/>
                    </a:lnTo>
                    <a:lnTo>
                      <a:pt x="152" y="296"/>
                    </a:lnTo>
                    <a:lnTo>
                      <a:pt x="154" y="296"/>
                    </a:lnTo>
                    <a:lnTo>
                      <a:pt x="157" y="296"/>
                    </a:lnTo>
                    <a:lnTo>
                      <a:pt x="158" y="296"/>
                    </a:lnTo>
                    <a:lnTo>
                      <a:pt x="160" y="294"/>
                    </a:lnTo>
                    <a:lnTo>
                      <a:pt x="160" y="293"/>
                    </a:lnTo>
                    <a:lnTo>
                      <a:pt x="160" y="291"/>
                    </a:lnTo>
                    <a:lnTo>
                      <a:pt x="157" y="289"/>
                    </a:lnTo>
                    <a:lnTo>
                      <a:pt x="161" y="288"/>
                    </a:lnTo>
                    <a:lnTo>
                      <a:pt x="163" y="288"/>
                    </a:lnTo>
                    <a:lnTo>
                      <a:pt x="165" y="288"/>
                    </a:lnTo>
                    <a:lnTo>
                      <a:pt x="166" y="286"/>
                    </a:lnTo>
                    <a:lnTo>
                      <a:pt x="166" y="285"/>
                    </a:lnTo>
                    <a:lnTo>
                      <a:pt x="166" y="283"/>
                    </a:lnTo>
                    <a:lnTo>
                      <a:pt x="166" y="283"/>
                    </a:lnTo>
                    <a:lnTo>
                      <a:pt x="166" y="283"/>
                    </a:lnTo>
                    <a:lnTo>
                      <a:pt x="168" y="283"/>
                    </a:lnTo>
                    <a:lnTo>
                      <a:pt x="169" y="282"/>
                    </a:lnTo>
                    <a:lnTo>
                      <a:pt x="171" y="280"/>
                    </a:lnTo>
                    <a:lnTo>
                      <a:pt x="172" y="279"/>
                    </a:lnTo>
                    <a:lnTo>
                      <a:pt x="172" y="277"/>
                    </a:lnTo>
                    <a:lnTo>
                      <a:pt x="172" y="274"/>
                    </a:lnTo>
                    <a:lnTo>
                      <a:pt x="174" y="272"/>
                    </a:lnTo>
                    <a:lnTo>
                      <a:pt x="174" y="269"/>
                    </a:lnTo>
                    <a:lnTo>
                      <a:pt x="174" y="266"/>
                    </a:lnTo>
                    <a:close/>
                    <a:moveTo>
                      <a:pt x="35" y="81"/>
                    </a:moveTo>
                    <a:lnTo>
                      <a:pt x="35" y="81"/>
                    </a:lnTo>
                    <a:lnTo>
                      <a:pt x="33" y="83"/>
                    </a:lnTo>
                    <a:lnTo>
                      <a:pt x="28" y="86"/>
                    </a:lnTo>
                    <a:lnTo>
                      <a:pt x="25" y="88"/>
                    </a:lnTo>
                    <a:lnTo>
                      <a:pt x="25" y="88"/>
                    </a:lnTo>
                    <a:lnTo>
                      <a:pt x="25" y="89"/>
                    </a:lnTo>
                    <a:lnTo>
                      <a:pt x="25" y="92"/>
                    </a:lnTo>
                    <a:lnTo>
                      <a:pt x="25" y="92"/>
                    </a:lnTo>
                    <a:lnTo>
                      <a:pt x="24" y="92"/>
                    </a:lnTo>
                    <a:lnTo>
                      <a:pt x="22" y="92"/>
                    </a:lnTo>
                    <a:lnTo>
                      <a:pt x="22" y="91"/>
                    </a:lnTo>
                    <a:lnTo>
                      <a:pt x="21" y="91"/>
                    </a:lnTo>
                    <a:lnTo>
                      <a:pt x="21" y="91"/>
                    </a:lnTo>
                    <a:lnTo>
                      <a:pt x="21" y="92"/>
                    </a:lnTo>
                    <a:lnTo>
                      <a:pt x="19" y="92"/>
                    </a:lnTo>
                    <a:lnTo>
                      <a:pt x="19" y="94"/>
                    </a:lnTo>
                    <a:lnTo>
                      <a:pt x="19" y="95"/>
                    </a:lnTo>
                    <a:lnTo>
                      <a:pt x="19" y="95"/>
                    </a:lnTo>
                    <a:lnTo>
                      <a:pt x="21" y="95"/>
                    </a:lnTo>
                    <a:lnTo>
                      <a:pt x="21" y="97"/>
                    </a:lnTo>
                    <a:lnTo>
                      <a:pt x="21" y="97"/>
                    </a:lnTo>
                    <a:lnTo>
                      <a:pt x="21" y="99"/>
                    </a:lnTo>
                    <a:lnTo>
                      <a:pt x="21" y="99"/>
                    </a:lnTo>
                    <a:lnTo>
                      <a:pt x="21" y="99"/>
                    </a:lnTo>
                    <a:lnTo>
                      <a:pt x="24" y="100"/>
                    </a:lnTo>
                    <a:lnTo>
                      <a:pt x="24" y="100"/>
                    </a:lnTo>
                    <a:lnTo>
                      <a:pt x="22" y="102"/>
                    </a:lnTo>
                    <a:lnTo>
                      <a:pt x="22" y="103"/>
                    </a:lnTo>
                    <a:lnTo>
                      <a:pt x="19" y="105"/>
                    </a:lnTo>
                    <a:lnTo>
                      <a:pt x="21" y="106"/>
                    </a:lnTo>
                    <a:lnTo>
                      <a:pt x="21" y="106"/>
                    </a:lnTo>
                    <a:lnTo>
                      <a:pt x="22" y="106"/>
                    </a:lnTo>
                    <a:lnTo>
                      <a:pt x="22" y="106"/>
                    </a:lnTo>
                    <a:lnTo>
                      <a:pt x="24" y="105"/>
                    </a:lnTo>
                    <a:lnTo>
                      <a:pt x="25" y="105"/>
                    </a:lnTo>
                    <a:lnTo>
                      <a:pt x="27" y="102"/>
                    </a:lnTo>
                    <a:lnTo>
                      <a:pt x="28" y="100"/>
                    </a:lnTo>
                    <a:lnTo>
                      <a:pt x="32" y="97"/>
                    </a:lnTo>
                    <a:lnTo>
                      <a:pt x="32" y="97"/>
                    </a:lnTo>
                    <a:lnTo>
                      <a:pt x="32" y="95"/>
                    </a:lnTo>
                    <a:lnTo>
                      <a:pt x="32" y="95"/>
                    </a:lnTo>
                    <a:lnTo>
                      <a:pt x="28" y="95"/>
                    </a:lnTo>
                    <a:lnTo>
                      <a:pt x="32" y="94"/>
                    </a:lnTo>
                    <a:lnTo>
                      <a:pt x="32" y="92"/>
                    </a:lnTo>
                    <a:lnTo>
                      <a:pt x="33" y="92"/>
                    </a:lnTo>
                    <a:lnTo>
                      <a:pt x="35" y="86"/>
                    </a:lnTo>
                    <a:lnTo>
                      <a:pt x="35" y="85"/>
                    </a:lnTo>
                    <a:lnTo>
                      <a:pt x="35" y="81"/>
                    </a:lnTo>
                    <a:close/>
                    <a:moveTo>
                      <a:pt x="18" y="110"/>
                    </a:moveTo>
                    <a:lnTo>
                      <a:pt x="16" y="110"/>
                    </a:lnTo>
                    <a:lnTo>
                      <a:pt x="16" y="110"/>
                    </a:lnTo>
                    <a:lnTo>
                      <a:pt x="14" y="110"/>
                    </a:lnTo>
                    <a:lnTo>
                      <a:pt x="13" y="110"/>
                    </a:lnTo>
                    <a:lnTo>
                      <a:pt x="13" y="110"/>
                    </a:lnTo>
                    <a:lnTo>
                      <a:pt x="13" y="111"/>
                    </a:lnTo>
                    <a:lnTo>
                      <a:pt x="11" y="111"/>
                    </a:lnTo>
                    <a:lnTo>
                      <a:pt x="11" y="111"/>
                    </a:lnTo>
                    <a:lnTo>
                      <a:pt x="16" y="114"/>
                    </a:lnTo>
                    <a:lnTo>
                      <a:pt x="18" y="114"/>
                    </a:lnTo>
                    <a:lnTo>
                      <a:pt x="19" y="111"/>
                    </a:lnTo>
                    <a:lnTo>
                      <a:pt x="18" y="110"/>
                    </a:lnTo>
                    <a:close/>
                    <a:moveTo>
                      <a:pt x="44" y="124"/>
                    </a:moveTo>
                    <a:lnTo>
                      <a:pt x="44" y="122"/>
                    </a:lnTo>
                    <a:lnTo>
                      <a:pt x="41" y="122"/>
                    </a:lnTo>
                    <a:lnTo>
                      <a:pt x="38" y="122"/>
                    </a:lnTo>
                    <a:lnTo>
                      <a:pt x="36" y="122"/>
                    </a:lnTo>
                    <a:lnTo>
                      <a:pt x="36" y="120"/>
                    </a:lnTo>
                    <a:lnTo>
                      <a:pt x="36" y="119"/>
                    </a:lnTo>
                    <a:lnTo>
                      <a:pt x="36" y="117"/>
                    </a:lnTo>
                    <a:lnTo>
                      <a:pt x="36" y="116"/>
                    </a:lnTo>
                    <a:lnTo>
                      <a:pt x="36" y="114"/>
                    </a:lnTo>
                    <a:lnTo>
                      <a:pt x="36" y="113"/>
                    </a:lnTo>
                    <a:lnTo>
                      <a:pt x="35" y="110"/>
                    </a:lnTo>
                    <a:lnTo>
                      <a:pt x="33" y="110"/>
                    </a:lnTo>
                    <a:lnTo>
                      <a:pt x="32" y="110"/>
                    </a:lnTo>
                    <a:lnTo>
                      <a:pt x="32" y="111"/>
                    </a:lnTo>
                    <a:lnTo>
                      <a:pt x="28" y="113"/>
                    </a:lnTo>
                    <a:lnTo>
                      <a:pt x="28" y="113"/>
                    </a:lnTo>
                    <a:lnTo>
                      <a:pt x="28" y="114"/>
                    </a:lnTo>
                    <a:lnTo>
                      <a:pt x="28" y="114"/>
                    </a:lnTo>
                    <a:lnTo>
                      <a:pt x="28" y="116"/>
                    </a:lnTo>
                    <a:lnTo>
                      <a:pt x="27" y="116"/>
                    </a:lnTo>
                    <a:lnTo>
                      <a:pt x="27" y="114"/>
                    </a:lnTo>
                    <a:lnTo>
                      <a:pt x="25" y="116"/>
                    </a:lnTo>
                    <a:lnTo>
                      <a:pt x="25" y="117"/>
                    </a:lnTo>
                    <a:lnTo>
                      <a:pt x="25" y="117"/>
                    </a:lnTo>
                    <a:lnTo>
                      <a:pt x="27" y="119"/>
                    </a:lnTo>
                    <a:lnTo>
                      <a:pt x="30" y="120"/>
                    </a:lnTo>
                    <a:lnTo>
                      <a:pt x="32" y="124"/>
                    </a:lnTo>
                    <a:lnTo>
                      <a:pt x="33" y="125"/>
                    </a:lnTo>
                    <a:lnTo>
                      <a:pt x="33" y="125"/>
                    </a:lnTo>
                    <a:lnTo>
                      <a:pt x="36" y="125"/>
                    </a:lnTo>
                    <a:lnTo>
                      <a:pt x="38" y="125"/>
                    </a:lnTo>
                    <a:lnTo>
                      <a:pt x="38" y="130"/>
                    </a:lnTo>
                    <a:lnTo>
                      <a:pt x="39" y="130"/>
                    </a:lnTo>
                    <a:lnTo>
                      <a:pt x="39" y="130"/>
                    </a:lnTo>
                    <a:lnTo>
                      <a:pt x="39" y="128"/>
                    </a:lnTo>
                    <a:lnTo>
                      <a:pt x="43" y="127"/>
                    </a:lnTo>
                    <a:lnTo>
                      <a:pt x="44" y="125"/>
                    </a:lnTo>
                    <a:lnTo>
                      <a:pt x="44" y="124"/>
                    </a:lnTo>
                    <a:lnTo>
                      <a:pt x="44" y="124"/>
                    </a:lnTo>
                    <a:close/>
                    <a:moveTo>
                      <a:pt x="16" y="119"/>
                    </a:moveTo>
                    <a:lnTo>
                      <a:pt x="16" y="119"/>
                    </a:lnTo>
                    <a:lnTo>
                      <a:pt x="14" y="119"/>
                    </a:lnTo>
                    <a:lnTo>
                      <a:pt x="14" y="122"/>
                    </a:lnTo>
                    <a:lnTo>
                      <a:pt x="13" y="124"/>
                    </a:lnTo>
                    <a:lnTo>
                      <a:pt x="14" y="125"/>
                    </a:lnTo>
                    <a:lnTo>
                      <a:pt x="14" y="127"/>
                    </a:lnTo>
                    <a:lnTo>
                      <a:pt x="14" y="127"/>
                    </a:lnTo>
                    <a:lnTo>
                      <a:pt x="16" y="127"/>
                    </a:lnTo>
                    <a:lnTo>
                      <a:pt x="16" y="127"/>
                    </a:lnTo>
                    <a:lnTo>
                      <a:pt x="16" y="127"/>
                    </a:lnTo>
                    <a:lnTo>
                      <a:pt x="16" y="119"/>
                    </a:lnTo>
                    <a:close/>
                    <a:moveTo>
                      <a:pt x="33" y="130"/>
                    </a:moveTo>
                    <a:lnTo>
                      <a:pt x="33" y="130"/>
                    </a:lnTo>
                    <a:lnTo>
                      <a:pt x="32" y="130"/>
                    </a:lnTo>
                    <a:lnTo>
                      <a:pt x="32" y="131"/>
                    </a:lnTo>
                    <a:lnTo>
                      <a:pt x="33" y="133"/>
                    </a:lnTo>
                    <a:lnTo>
                      <a:pt x="33" y="133"/>
                    </a:lnTo>
                    <a:lnTo>
                      <a:pt x="33" y="131"/>
                    </a:lnTo>
                    <a:lnTo>
                      <a:pt x="35" y="131"/>
                    </a:lnTo>
                    <a:lnTo>
                      <a:pt x="35" y="131"/>
                    </a:lnTo>
                    <a:lnTo>
                      <a:pt x="33" y="130"/>
                    </a:lnTo>
                    <a:close/>
                    <a:moveTo>
                      <a:pt x="14" y="131"/>
                    </a:moveTo>
                    <a:lnTo>
                      <a:pt x="13" y="130"/>
                    </a:lnTo>
                    <a:lnTo>
                      <a:pt x="11" y="131"/>
                    </a:lnTo>
                    <a:lnTo>
                      <a:pt x="11" y="131"/>
                    </a:lnTo>
                    <a:lnTo>
                      <a:pt x="11" y="133"/>
                    </a:lnTo>
                    <a:lnTo>
                      <a:pt x="13" y="133"/>
                    </a:lnTo>
                    <a:lnTo>
                      <a:pt x="14" y="131"/>
                    </a:lnTo>
                    <a:lnTo>
                      <a:pt x="14" y="131"/>
                    </a:lnTo>
                    <a:lnTo>
                      <a:pt x="14" y="131"/>
                    </a:lnTo>
                    <a:close/>
                    <a:moveTo>
                      <a:pt x="30" y="141"/>
                    </a:moveTo>
                    <a:lnTo>
                      <a:pt x="28" y="142"/>
                    </a:lnTo>
                    <a:lnTo>
                      <a:pt x="27" y="144"/>
                    </a:lnTo>
                    <a:lnTo>
                      <a:pt x="27" y="144"/>
                    </a:lnTo>
                    <a:lnTo>
                      <a:pt x="28" y="144"/>
                    </a:lnTo>
                    <a:lnTo>
                      <a:pt x="28" y="142"/>
                    </a:lnTo>
                    <a:lnTo>
                      <a:pt x="30" y="142"/>
                    </a:lnTo>
                    <a:lnTo>
                      <a:pt x="30" y="141"/>
                    </a:lnTo>
                    <a:close/>
                    <a:moveTo>
                      <a:pt x="41" y="147"/>
                    </a:moveTo>
                    <a:lnTo>
                      <a:pt x="39" y="146"/>
                    </a:lnTo>
                    <a:lnTo>
                      <a:pt x="38" y="144"/>
                    </a:lnTo>
                    <a:lnTo>
                      <a:pt x="36" y="142"/>
                    </a:lnTo>
                    <a:lnTo>
                      <a:pt x="36" y="142"/>
                    </a:lnTo>
                    <a:lnTo>
                      <a:pt x="35" y="142"/>
                    </a:lnTo>
                    <a:lnTo>
                      <a:pt x="33" y="144"/>
                    </a:lnTo>
                    <a:lnTo>
                      <a:pt x="33" y="144"/>
                    </a:lnTo>
                    <a:lnTo>
                      <a:pt x="33" y="146"/>
                    </a:lnTo>
                    <a:lnTo>
                      <a:pt x="33" y="146"/>
                    </a:lnTo>
                    <a:lnTo>
                      <a:pt x="36" y="147"/>
                    </a:lnTo>
                    <a:lnTo>
                      <a:pt x="35" y="152"/>
                    </a:lnTo>
                    <a:lnTo>
                      <a:pt x="33" y="152"/>
                    </a:lnTo>
                    <a:lnTo>
                      <a:pt x="33" y="153"/>
                    </a:lnTo>
                    <a:lnTo>
                      <a:pt x="33" y="153"/>
                    </a:lnTo>
                    <a:lnTo>
                      <a:pt x="35" y="153"/>
                    </a:lnTo>
                    <a:lnTo>
                      <a:pt x="43" y="152"/>
                    </a:lnTo>
                    <a:lnTo>
                      <a:pt x="43" y="147"/>
                    </a:lnTo>
                    <a:lnTo>
                      <a:pt x="41" y="147"/>
                    </a:lnTo>
                    <a:close/>
                    <a:moveTo>
                      <a:pt x="43" y="160"/>
                    </a:moveTo>
                    <a:lnTo>
                      <a:pt x="43" y="160"/>
                    </a:lnTo>
                    <a:lnTo>
                      <a:pt x="39" y="161"/>
                    </a:lnTo>
                    <a:lnTo>
                      <a:pt x="39" y="163"/>
                    </a:lnTo>
                    <a:lnTo>
                      <a:pt x="39" y="163"/>
                    </a:lnTo>
                    <a:lnTo>
                      <a:pt x="39" y="164"/>
                    </a:lnTo>
                    <a:lnTo>
                      <a:pt x="38" y="166"/>
                    </a:lnTo>
                    <a:lnTo>
                      <a:pt x="38" y="166"/>
                    </a:lnTo>
                    <a:lnTo>
                      <a:pt x="38" y="167"/>
                    </a:lnTo>
                    <a:lnTo>
                      <a:pt x="38" y="169"/>
                    </a:lnTo>
                    <a:lnTo>
                      <a:pt x="38" y="169"/>
                    </a:lnTo>
                    <a:lnTo>
                      <a:pt x="39" y="169"/>
                    </a:lnTo>
                    <a:lnTo>
                      <a:pt x="39" y="169"/>
                    </a:lnTo>
                    <a:lnTo>
                      <a:pt x="43" y="163"/>
                    </a:lnTo>
                    <a:lnTo>
                      <a:pt x="44" y="160"/>
                    </a:lnTo>
                    <a:lnTo>
                      <a:pt x="43" y="160"/>
                    </a:lnTo>
                    <a:close/>
                    <a:moveTo>
                      <a:pt x="38" y="172"/>
                    </a:moveTo>
                    <a:lnTo>
                      <a:pt x="36" y="169"/>
                    </a:lnTo>
                    <a:lnTo>
                      <a:pt x="36" y="164"/>
                    </a:lnTo>
                    <a:lnTo>
                      <a:pt x="35" y="166"/>
                    </a:lnTo>
                    <a:lnTo>
                      <a:pt x="33" y="167"/>
                    </a:lnTo>
                    <a:lnTo>
                      <a:pt x="33" y="167"/>
                    </a:lnTo>
                    <a:lnTo>
                      <a:pt x="32" y="167"/>
                    </a:lnTo>
                    <a:lnTo>
                      <a:pt x="32" y="167"/>
                    </a:lnTo>
                    <a:lnTo>
                      <a:pt x="30" y="167"/>
                    </a:lnTo>
                    <a:lnTo>
                      <a:pt x="30" y="169"/>
                    </a:lnTo>
                    <a:lnTo>
                      <a:pt x="30" y="171"/>
                    </a:lnTo>
                    <a:lnTo>
                      <a:pt x="30" y="172"/>
                    </a:lnTo>
                    <a:lnTo>
                      <a:pt x="30" y="172"/>
                    </a:lnTo>
                    <a:lnTo>
                      <a:pt x="30" y="172"/>
                    </a:lnTo>
                    <a:lnTo>
                      <a:pt x="33" y="171"/>
                    </a:lnTo>
                    <a:lnTo>
                      <a:pt x="33" y="169"/>
                    </a:lnTo>
                    <a:lnTo>
                      <a:pt x="33" y="171"/>
                    </a:lnTo>
                    <a:lnTo>
                      <a:pt x="33" y="171"/>
                    </a:lnTo>
                    <a:lnTo>
                      <a:pt x="33" y="174"/>
                    </a:lnTo>
                    <a:lnTo>
                      <a:pt x="33" y="175"/>
                    </a:lnTo>
                    <a:lnTo>
                      <a:pt x="33" y="175"/>
                    </a:lnTo>
                    <a:lnTo>
                      <a:pt x="35" y="175"/>
                    </a:lnTo>
                    <a:lnTo>
                      <a:pt x="36" y="174"/>
                    </a:lnTo>
                    <a:lnTo>
                      <a:pt x="38" y="172"/>
                    </a:lnTo>
                    <a:lnTo>
                      <a:pt x="38" y="172"/>
                    </a:lnTo>
                    <a:close/>
                    <a:moveTo>
                      <a:pt x="54" y="177"/>
                    </a:moveTo>
                    <a:lnTo>
                      <a:pt x="54" y="174"/>
                    </a:lnTo>
                    <a:lnTo>
                      <a:pt x="54" y="172"/>
                    </a:lnTo>
                    <a:lnTo>
                      <a:pt x="52" y="172"/>
                    </a:lnTo>
                    <a:lnTo>
                      <a:pt x="50" y="172"/>
                    </a:lnTo>
                    <a:lnTo>
                      <a:pt x="50" y="172"/>
                    </a:lnTo>
                    <a:lnTo>
                      <a:pt x="50" y="174"/>
                    </a:lnTo>
                    <a:lnTo>
                      <a:pt x="49" y="175"/>
                    </a:lnTo>
                    <a:lnTo>
                      <a:pt x="50" y="178"/>
                    </a:lnTo>
                    <a:lnTo>
                      <a:pt x="52" y="180"/>
                    </a:lnTo>
                    <a:lnTo>
                      <a:pt x="52" y="180"/>
                    </a:lnTo>
                    <a:lnTo>
                      <a:pt x="54" y="180"/>
                    </a:lnTo>
                    <a:lnTo>
                      <a:pt x="55" y="178"/>
                    </a:lnTo>
                    <a:lnTo>
                      <a:pt x="54" y="177"/>
                    </a:lnTo>
                    <a:close/>
                    <a:moveTo>
                      <a:pt x="47" y="207"/>
                    </a:moveTo>
                    <a:lnTo>
                      <a:pt x="47" y="205"/>
                    </a:lnTo>
                    <a:lnTo>
                      <a:pt x="46" y="203"/>
                    </a:lnTo>
                    <a:lnTo>
                      <a:pt x="43" y="203"/>
                    </a:lnTo>
                    <a:lnTo>
                      <a:pt x="43" y="203"/>
                    </a:lnTo>
                    <a:lnTo>
                      <a:pt x="41" y="205"/>
                    </a:lnTo>
                    <a:lnTo>
                      <a:pt x="41" y="203"/>
                    </a:lnTo>
                    <a:lnTo>
                      <a:pt x="43" y="202"/>
                    </a:lnTo>
                    <a:lnTo>
                      <a:pt x="44" y="202"/>
                    </a:lnTo>
                    <a:lnTo>
                      <a:pt x="44" y="199"/>
                    </a:lnTo>
                    <a:lnTo>
                      <a:pt x="41" y="196"/>
                    </a:lnTo>
                    <a:lnTo>
                      <a:pt x="39" y="192"/>
                    </a:lnTo>
                    <a:lnTo>
                      <a:pt x="38" y="189"/>
                    </a:lnTo>
                    <a:lnTo>
                      <a:pt x="36" y="188"/>
                    </a:lnTo>
                    <a:lnTo>
                      <a:pt x="35" y="188"/>
                    </a:lnTo>
                    <a:lnTo>
                      <a:pt x="32" y="186"/>
                    </a:lnTo>
                    <a:lnTo>
                      <a:pt x="30" y="186"/>
                    </a:lnTo>
                    <a:lnTo>
                      <a:pt x="27" y="188"/>
                    </a:lnTo>
                    <a:lnTo>
                      <a:pt x="24" y="188"/>
                    </a:lnTo>
                    <a:lnTo>
                      <a:pt x="22" y="188"/>
                    </a:lnTo>
                    <a:lnTo>
                      <a:pt x="22" y="188"/>
                    </a:lnTo>
                    <a:lnTo>
                      <a:pt x="21" y="191"/>
                    </a:lnTo>
                    <a:lnTo>
                      <a:pt x="19" y="192"/>
                    </a:lnTo>
                    <a:lnTo>
                      <a:pt x="18" y="192"/>
                    </a:lnTo>
                    <a:lnTo>
                      <a:pt x="18" y="191"/>
                    </a:lnTo>
                    <a:lnTo>
                      <a:pt x="14" y="192"/>
                    </a:lnTo>
                    <a:lnTo>
                      <a:pt x="14" y="192"/>
                    </a:lnTo>
                    <a:lnTo>
                      <a:pt x="14" y="194"/>
                    </a:lnTo>
                    <a:lnTo>
                      <a:pt x="13" y="196"/>
                    </a:lnTo>
                    <a:lnTo>
                      <a:pt x="13" y="197"/>
                    </a:lnTo>
                    <a:lnTo>
                      <a:pt x="13" y="197"/>
                    </a:lnTo>
                    <a:lnTo>
                      <a:pt x="13" y="197"/>
                    </a:lnTo>
                    <a:lnTo>
                      <a:pt x="13" y="199"/>
                    </a:lnTo>
                    <a:lnTo>
                      <a:pt x="11" y="200"/>
                    </a:lnTo>
                    <a:lnTo>
                      <a:pt x="10" y="202"/>
                    </a:lnTo>
                    <a:lnTo>
                      <a:pt x="8" y="202"/>
                    </a:lnTo>
                    <a:lnTo>
                      <a:pt x="8" y="202"/>
                    </a:lnTo>
                    <a:lnTo>
                      <a:pt x="7" y="202"/>
                    </a:lnTo>
                    <a:lnTo>
                      <a:pt x="5" y="202"/>
                    </a:lnTo>
                    <a:lnTo>
                      <a:pt x="5" y="203"/>
                    </a:lnTo>
                    <a:lnTo>
                      <a:pt x="5" y="203"/>
                    </a:lnTo>
                    <a:lnTo>
                      <a:pt x="5" y="203"/>
                    </a:lnTo>
                    <a:lnTo>
                      <a:pt x="7" y="205"/>
                    </a:lnTo>
                    <a:lnTo>
                      <a:pt x="8" y="205"/>
                    </a:lnTo>
                    <a:lnTo>
                      <a:pt x="8" y="207"/>
                    </a:lnTo>
                    <a:lnTo>
                      <a:pt x="7" y="207"/>
                    </a:lnTo>
                    <a:lnTo>
                      <a:pt x="2" y="208"/>
                    </a:lnTo>
                    <a:lnTo>
                      <a:pt x="2" y="210"/>
                    </a:lnTo>
                    <a:lnTo>
                      <a:pt x="0" y="210"/>
                    </a:lnTo>
                    <a:lnTo>
                      <a:pt x="2" y="211"/>
                    </a:lnTo>
                    <a:lnTo>
                      <a:pt x="5" y="214"/>
                    </a:lnTo>
                    <a:lnTo>
                      <a:pt x="5" y="216"/>
                    </a:lnTo>
                    <a:lnTo>
                      <a:pt x="7" y="218"/>
                    </a:lnTo>
                    <a:lnTo>
                      <a:pt x="10" y="219"/>
                    </a:lnTo>
                    <a:lnTo>
                      <a:pt x="10" y="219"/>
                    </a:lnTo>
                    <a:lnTo>
                      <a:pt x="11" y="221"/>
                    </a:lnTo>
                    <a:lnTo>
                      <a:pt x="14" y="219"/>
                    </a:lnTo>
                    <a:lnTo>
                      <a:pt x="14" y="221"/>
                    </a:lnTo>
                    <a:lnTo>
                      <a:pt x="16" y="221"/>
                    </a:lnTo>
                    <a:lnTo>
                      <a:pt x="16" y="219"/>
                    </a:lnTo>
                    <a:lnTo>
                      <a:pt x="18" y="218"/>
                    </a:lnTo>
                    <a:lnTo>
                      <a:pt x="18" y="218"/>
                    </a:lnTo>
                    <a:lnTo>
                      <a:pt x="18" y="216"/>
                    </a:lnTo>
                    <a:lnTo>
                      <a:pt x="18" y="214"/>
                    </a:lnTo>
                    <a:lnTo>
                      <a:pt x="19" y="213"/>
                    </a:lnTo>
                    <a:lnTo>
                      <a:pt x="21" y="211"/>
                    </a:lnTo>
                    <a:lnTo>
                      <a:pt x="21" y="211"/>
                    </a:lnTo>
                    <a:lnTo>
                      <a:pt x="21" y="211"/>
                    </a:lnTo>
                    <a:lnTo>
                      <a:pt x="22" y="213"/>
                    </a:lnTo>
                    <a:lnTo>
                      <a:pt x="24" y="214"/>
                    </a:lnTo>
                    <a:lnTo>
                      <a:pt x="24" y="214"/>
                    </a:lnTo>
                    <a:lnTo>
                      <a:pt x="24" y="216"/>
                    </a:lnTo>
                    <a:lnTo>
                      <a:pt x="24" y="218"/>
                    </a:lnTo>
                    <a:lnTo>
                      <a:pt x="25" y="218"/>
                    </a:lnTo>
                    <a:lnTo>
                      <a:pt x="27" y="219"/>
                    </a:lnTo>
                    <a:lnTo>
                      <a:pt x="27" y="219"/>
                    </a:lnTo>
                    <a:lnTo>
                      <a:pt x="27" y="221"/>
                    </a:lnTo>
                    <a:lnTo>
                      <a:pt x="27" y="222"/>
                    </a:lnTo>
                    <a:lnTo>
                      <a:pt x="28" y="222"/>
                    </a:lnTo>
                    <a:lnTo>
                      <a:pt x="32" y="222"/>
                    </a:lnTo>
                    <a:lnTo>
                      <a:pt x="32" y="222"/>
                    </a:lnTo>
                    <a:lnTo>
                      <a:pt x="32" y="222"/>
                    </a:lnTo>
                    <a:lnTo>
                      <a:pt x="33" y="221"/>
                    </a:lnTo>
                    <a:lnTo>
                      <a:pt x="35" y="221"/>
                    </a:lnTo>
                    <a:lnTo>
                      <a:pt x="36" y="222"/>
                    </a:lnTo>
                    <a:lnTo>
                      <a:pt x="38" y="222"/>
                    </a:lnTo>
                    <a:lnTo>
                      <a:pt x="39" y="221"/>
                    </a:lnTo>
                    <a:lnTo>
                      <a:pt x="41" y="219"/>
                    </a:lnTo>
                    <a:lnTo>
                      <a:pt x="41" y="218"/>
                    </a:lnTo>
                    <a:lnTo>
                      <a:pt x="41" y="218"/>
                    </a:lnTo>
                    <a:lnTo>
                      <a:pt x="44" y="216"/>
                    </a:lnTo>
                    <a:lnTo>
                      <a:pt x="46" y="216"/>
                    </a:lnTo>
                    <a:lnTo>
                      <a:pt x="46" y="213"/>
                    </a:lnTo>
                    <a:lnTo>
                      <a:pt x="46" y="213"/>
                    </a:lnTo>
                    <a:lnTo>
                      <a:pt x="44" y="213"/>
                    </a:lnTo>
                    <a:lnTo>
                      <a:pt x="44" y="210"/>
                    </a:lnTo>
                    <a:lnTo>
                      <a:pt x="44" y="208"/>
                    </a:lnTo>
                    <a:lnTo>
                      <a:pt x="46" y="208"/>
                    </a:lnTo>
                    <a:lnTo>
                      <a:pt x="46" y="208"/>
                    </a:lnTo>
                    <a:lnTo>
                      <a:pt x="47" y="210"/>
                    </a:lnTo>
                    <a:lnTo>
                      <a:pt x="47" y="211"/>
                    </a:lnTo>
                    <a:lnTo>
                      <a:pt x="47" y="210"/>
                    </a:lnTo>
                    <a:lnTo>
                      <a:pt x="47" y="207"/>
                    </a:lnTo>
                    <a:close/>
                    <a:moveTo>
                      <a:pt x="71" y="244"/>
                    </a:moveTo>
                    <a:lnTo>
                      <a:pt x="71" y="244"/>
                    </a:lnTo>
                    <a:lnTo>
                      <a:pt x="68" y="241"/>
                    </a:lnTo>
                    <a:lnTo>
                      <a:pt x="66" y="241"/>
                    </a:lnTo>
                    <a:lnTo>
                      <a:pt x="64" y="243"/>
                    </a:lnTo>
                    <a:lnTo>
                      <a:pt x="64" y="246"/>
                    </a:lnTo>
                    <a:lnTo>
                      <a:pt x="66" y="249"/>
                    </a:lnTo>
                    <a:lnTo>
                      <a:pt x="66" y="249"/>
                    </a:lnTo>
                    <a:lnTo>
                      <a:pt x="68" y="249"/>
                    </a:lnTo>
                    <a:lnTo>
                      <a:pt x="69" y="249"/>
                    </a:lnTo>
                    <a:lnTo>
                      <a:pt x="71" y="247"/>
                    </a:lnTo>
                    <a:lnTo>
                      <a:pt x="72" y="246"/>
                    </a:lnTo>
                    <a:lnTo>
                      <a:pt x="72" y="244"/>
                    </a:lnTo>
                    <a:lnTo>
                      <a:pt x="71" y="244"/>
                    </a:lnTo>
                    <a:close/>
                    <a:moveTo>
                      <a:pt x="124" y="318"/>
                    </a:moveTo>
                    <a:lnTo>
                      <a:pt x="121" y="316"/>
                    </a:lnTo>
                    <a:lnTo>
                      <a:pt x="119" y="318"/>
                    </a:lnTo>
                    <a:lnTo>
                      <a:pt x="118" y="319"/>
                    </a:lnTo>
                    <a:lnTo>
                      <a:pt x="116" y="319"/>
                    </a:lnTo>
                    <a:lnTo>
                      <a:pt x="118" y="319"/>
                    </a:lnTo>
                    <a:lnTo>
                      <a:pt x="121" y="322"/>
                    </a:lnTo>
                    <a:lnTo>
                      <a:pt x="122" y="322"/>
                    </a:lnTo>
                    <a:lnTo>
                      <a:pt x="122" y="321"/>
                    </a:lnTo>
                    <a:lnTo>
                      <a:pt x="124" y="321"/>
                    </a:lnTo>
                    <a:lnTo>
                      <a:pt x="124" y="319"/>
                    </a:lnTo>
                    <a:lnTo>
                      <a:pt x="125" y="319"/>
                    </a:lnTo>
                    <a:lnTo>
                      <a:pt x="124" y="31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6" name="Freeform 73">
                <a:extLst>
                  <a:ext uri="{FF2B5EF4-FFF2-40B4-BE49-F238E27FC236}">
                    <a16:creationId xmlns:a16="http://schemas.microsoft.com/office/drawing/2014/main" id="{F6CEF72A-7A1A-D5AB-2C64-C6FEC4217390}"/>
                  </a:ext>
                </a:extLst>
              </p:cNvPr>
              <p:cNvSpPr>
                <a:spLocks/>
              </p:cNvSpPr>
              <p:nvPr/>
            </p:nvSpPr>
            <p:spPr bwMode="gray">
              <a:xfrm>
                <a:off x="1590" y="1361"/>
                <a:ext cx="3" cy="5"/>
              </a:xfrm>
              <a:custGeom>
                <a:avLst/>
                <a:gdLst>
                  <a:gd name="T0" fmla="*/ 2 w 3"/>
                  <a:gd name="T1" fmla="*/ 5 h 5"/>
                  <a:gd name="T2" fmla="*/ 0 w 3"/>
                  <a:gd name="T3" fmla="*/ 5 h 5"/>
                  <a:gd name="T4" fmla="*/ 2 w 3"/>
                  <a:gd name="T5" fmla="*/ 4 h 5"/>
                  <a:gd name="T6" fmla="*/ 2 w 3"/>
                  <a:gd name="T7" fmla="*/ 4 h 5"/>
                  <a:gd name="T8" fmla="*/ 2 w 3"/>
                  <a:gd name="T9" fmla="*/ 2 h 5"/>
                  <a:gd name="T10" fmla="*/ 3 w 3"/>
                  <a:gd name="T11" fmla="*/ 0 h 5"/>
                  <a:gd name="T12" fmla="*/ 3 w 3"/>
                  <a:gd name="T13" fmla="*/ 0 h 5"/>
                  <a:gd name="T14" fmla="*/ 3 w 3"/>
                  <a:gd name="T15" fmla="*/ 4 h 5"/>
                  <a:gd name="T16" fmla="*/ 2 w 3"/>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2" y="5"/>
                    </a:moveTo>
                    <a:lnTo>
                      <a:pt x="0" y="5"/>
                    </a:lnTo>
                    <a:lnTo>
                      <a:pt x="2" y="4"/>
                    </a:lnTo>
                    <a:lnTo>
                      <a:pt x="2" y="4"/>
                    </a:lnTo>
                    <a:lnTo>
                      <a:pt x="2" y="2"/>
                    </a:lnTo>
                    <a:lnTo>
                      <a:pt x="3" y="0"/>
                    </a:lnTo>
                    <a:lnTo>
                      <a:pt x="3" y="0"/>
                    </a:lnTo>
                    <a:lnTo>
                      <a:pt x="3" y="4"/>
                    </a:lnTo>
                    <a:lnTo>
                      <a:pt x="2"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7" name="Freeform 74">
                <a:extLst>
                  <a:ext uri="{FF2B5EF4-FFF2-40B4-BE49-F238E27FC236}">
                    <a16:creationId xmlns:a16="http://schemas.microsoft.com/office/drawing/2014/main" id="{8810DB0B-4EDA-947E-E249-34BDE9218CD8}"/>
                  </a:ext>
                </a:extLst>
              </p:cNvPr>
              <p:cNvSpPr>
                <a:spLocks/>
              </p:cNvSpPr>
              <p:nvPr/>
            </p:nvSpPr>
            <p:spPr bwMode="gray">
              <a:xfrm>
                <a:off x="3377" y="729"/>
                <a:ext cx="117" cy="60"/>
              </a:xfrm>
              <a:custGeom>
                <a:avLst/>
                <a:gdLst>
                  <a:gd name="T0" fmla="*/ 111 w 117"/>
                  <a:gd name="T1" fmla="*/ 43 h 60"/>
                  <a:gd name="T2" fmla="*/ 108 w 117"/>
                  <a:gd name="T3" fmla="*/ 44 h 60"/>
                  <a:gd name="T4" fmla="*/ 108 w 117"/>
                  <a:gd name="T5" fmla="*/ 47 h 60"/>
                  <a:gd name="T6" fmla="*/ 111 w 117"/>
                  <a:gd name="T7" fmla="*/ 49 h 60"/>
                  <a:gd name="T8" fmla="*/ 116 w 117"/>
                  <a:gd name="T9" fmla="*/ 54 h 60"/>
                  <a:gd name="T10" fmla="*/ 116 w 117"/>
                  <a:gd name="T11" fmla="*/ 58 h 60"/>
                  <a:gd name="T12" fmla="*/ 113 w 117"/>
                  <a:gd name="T13" fmla="*/ 60 h 60"/>
                  <a:gd name="T14" fmla="*/ 108 w 117"/>
                  <a:gd name="T15" fmla="*/ 57 h 60"/>
                  <a:gd name="T16" fmla="*/ 103 w 117"/>
                  <a:gd name="T17" fmla="*/ 57 h 60"/>
                  <a:gd name="T18" fmla="*/ 100 w 117"/>
                  <a:gd name="T19" fmla="*/ 55 h 60"/>
                  <a:gd name="T20" fmla="*/ 92 w 117"/>
                  <a:gd name="T21" fmla="*/ 50 h 60"/>
                  <a:gd name="T22" fmla="*/ 88 w 117"/>
                  <a:gd name="T23" fmla="*/ 55 h 60"/>
                  <a:gd name="T24" fmla="*/ 85 w 117"/>
                  <a:gd name="T25" fmla="*/ 57 h 60"/>
                  <a:gd name="T26" fmla="*/ 78 w 117"/>
                  <a:gd name="T27" fmla="*/ 57 h 60"/>
                  <a:gd name="T28" fmla="*/ 72 w 117"/>
                  <a:gd name="T29" fmla="*/ 57 h 60"/>
                  <a:gd name="T30" fmla="*/ 64 w 117"/>
                  <a:gd name="T31" fmla="*/ 58 h 60"/>
                  <a:gd name="T32" fmla="*/ 60 w 117"/>
                  <a:gd name="T33" fmla="*/ 58 h 60"/>
                  <a:gd name="T34" fmla="*/ 60 w 117"/>
                  <a:gd name="T35" fmla="*/ 57 h 60"/>
                  <a:gd name="T36" fmla="*/ 55 w 117"/>
                  <a:gd name="T37" fmla="*/ 57 h 60"/>
                  <a:gd name="T38" fmla="*/ 55 w 117"/>
                  <a:gd name="T39" fmla="*/ 54 h 60"/>
                  <a:gd name="T40" fmla="*/ 50 w 117"/>
                  <a:gd name="T41" fmla="*/ 50 h 60"/>
                  <a:gd name="T42" fmla="*/ 47 w 117"/>
                  <a:gd name="T43" fmla="*/ 47 h 60"/>
                  <a:gd name="T44" fmla="*/ 46 w 117"/>
                  <a:gd name="T45" fmla="*/ 49 h 60"/>
                  <a:gd name="T46" fmla="*/ 41 w 117"/>
                  <a:gd name="T47" fmla="*/ 50 h 60"/>
                  <a:gd name="T48" fmla="*/ 36 w 117"/>
                  <a:gd name="T49" fmla="*/ 50 h 60"/>
                  <a:gd name="T50" fmla="*/ 31 w 117"/>
                  <a:gd name="T51" fmla="*/ 50 h 60"/>
                  <a:gd name="T52" fmla="*/ 27 w 117"/>
                  <a:gd name="T53" fmla="*/ 49 h 60"/>
                  <a:gd name="T54" fmla="*/ 31 w 117"/>
                  <a:gd name="T55" fmla="*/ 41 h 60"/>
                  <a:gd name="T56" fmla="*/ 28 w 117"/>
                  <a:gd name="T57" fmla="*/ 28 h 60"/>
                  <a:gd name="T58" fmla="*/ 21 w 117"/>
                  <a:gd name="T59" fmla="*/ 19 h 60"/>
                  <a:gd name="T60" fmla="*/ 10 w 117"/>
                  <a:gd name="T61" fmla="*/ 11 h 60"/>
                  <a:gd name="T62" fmla="*/ 0 w 117"/>
                  <a:gd name="T63" fmla="*/ 3 h 60"/>
                  <a:gd name="T64" fmla="*/ 3 w 117"/>
                  <a:gd name="T65" fmla="*/ 0 h 60"/>
                  <a:gd name="T66" fmla="*/ 11 w 117"/>
                  <a:gd name="T67" fmla="*/ 2 h 60"/>
                  <a:gd name="T68" fmla="*/ 19 w 117"/>
                  <a:gd name="T69" fmla="*/ 5 h 60"/>
                  <a:gd name="T70" fmla="*/ 28 w 117"/>
                  <a:gd name="T71" fmla="*/ 10 h 60"/>
                  <a:gd name="T72" fmla="*/ 38 w 117"/>
                  <a:gd name="T73" fmla="*/ 10 h 60"/>
                  <a:gd name="T74" fmla="*/ 46 w 117"/>
                  <a:gd name="T75" fmla="*/ 11 h 60"/>
                  <a:gd name="T76" fmla="*/ 50 w 117"/>
                  <a:gd name="T77" fmla="*/ 11 h 60"/>
                  <a:gd name="T78" fmla="*/ 55 w 117"/>
                  <a:gd name="T79" fmla="*/ 14 h 60"/>
                  <a:gd name="T80" fmla="*/ 64 w 117"/>
                  <a:gd name="T81" fmla="*/ 19 h 60"/>
                  <a:gd name="T82" fmla="*/ 66 w 117"/>
                  <a:gd name="T83" fmla="*/ 21 h 60"/>
                  <a:gd name="T84" fmla="*/ 66 w 117"/>
                  <a:gd name="T85" fmla="*/ 24 h 60"/>
                  <a:gd name="T86" fmla="*/ 71 w 117"/>
                  <a:gd name="T87" fmla="*/ 24 h 60"/>
                  <a:gd name="T88" fmla="*/ 75 w 117"/>
                  <a:gd name="T89" fmla="*/ 21 h 60"/>
                  <a:gd name="T90" fmla="*/ 82 w 117"/>
                  <a:gd name="T91" fmla="*/ 21 h 60"/>
                  <a:gd name="T92" fmla="*/ 85 w 117"/>
                  <a:gd name="T93" fmla="*/ 21 h 60"/>
                  <a:gd name="T94" fmla="*/ 89 w 117"/>
                  <a:gd name="T95" fmla="*/ 22 h 60"/>
                  <a:gd name="T96" fmla="*/ 94 w 117"/>
                  <a:gd name="T97" fmla="*/ 25 h 60"/>
                  <a:gd name="T98" fmla="*/ 100 w 117"/>
                  <a:gd name="T99" fmla="*/ 27 h 60"/>
                  <a:gd name="T100" fmla="*/ 99 w 117"/>
                  <a:gd name="T101" fmla="*/ 33 h 60"/>
                  <a:gd name="T102" fmla="*/ 102 w 117"/>
                  <a:gd name="T103" fmla="*/ 35 h 60"/>
                  <a:gd name="T104" fmla="*/ 107 w 117"/>
                  <a:gd name="T105" fmla="*/ 38 h 60"/>
                  <a:gd name="T106" fmla="*/ 110 w 117"/>
                  <a:gd name="T107" fmla="*/ 3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 h="60">
                    <a:moveTo>
                      <a:pt x="113" y="41"/>
                    </a:moveTo>
                    <a:lnTo>
                      <a:pt x="113" y="41"/>
                    </a:lnTo>
                    <a:lnTo>
                      <a:pt x="111" y="43"/>
                    </a:lnTo>
                    <a:lnTo>
                      <a:pt x="111" y="44"/>
                    </a:lnTo>
                    <a:lnTo>
                      <a:pt x="110" y="44"/>
                    </a:lnTo>
                    <a:lnTo>
                      <a:pt x="108" y="44"/>
                    </a:lnTo>
                    <a:lnTo>
                      <a:pt x="108" y="46"/>
                    </a:lnTo>
                    <a:lnTo>
                      <a:pt x="108" y="46"/>
                    </a:lnTo>
                    <a:lnTo>
                      <a:pt x="108" y="47"/>
                    </a:lnTo>
                    <a:lnTo>
                      <a:pt x="108" y="47"/>
                    </a:lnTo>
                    <a:lnTo>
                      <a:pt x="110" y="47"/>
                    </a:lnTo>
                    <a:lnTo>
                      <a:pt x="111" y="49"/>
                    </a:lnTo>
                    <a:lnTo>
                      <a:pt x="113" y="50"/>
                    </a:lnTo>
                    <a:lnTo>
                      <a:pt x="114" y="52"/>
                    </a:lnTo>
                    <a:lnTo>
                      <a:pt x="116" y="54"/>
                    </a:lnTo>
                    <a:lnTo>
                      <a:pt x="117" y="55"/>
                    </a:lnTo>
                    <a:lnTo>
                      <a:pt x="117" y="55"/>
                    </a:lnTo>
                    <a:lnTo>
                      <a:pt x="116" y="58"/>
                    </a:lnTo>
                    <a:lnTo>
                      <a:pt x="114" y="60"/>
                    </a:lnTo>
                    <a:lnTo>
                      <a:pt x="113" y="60"/>
                    </a:lnTo>
                    <a:lnTo>
                      <a:pt x="113" y="60"/>
                    </a:lnTo>
                    <a:lnTo>
                      <a:pt x="111" y="60"/>
                    </a:lnTo>
                    <a:lnTo>
                      <a:pt x="110" y="58"/>
                    </a:lnTo>
                    <a:lnTo>
                      <a:pt x="108" y="57"/>
                    </a:lnTo>
                    <a:lnTo>
                      <a:pt x="107" y="57"/>
                    </a:lnTo>
                    <a:lnTo>
                      <a:pt x="107" y="58"/>
                    </a:lnTo>
                    <a:lnTo>
                      <a:pt x="103" y="57"/>
                    </a:lnTo>
                    <a:lnTo>
                      <a:pt x="102" y="57"/>
                    </a:lnTo>
                    <a:lnTo>
                      <a:pt x="100" y="55"/>
                    </a:lnTo>
                    <a:lnTo>
                      <a:pt x="100" y="55"/>
                    </a:lnTo>
                    <a:lnTo>
                      <a:pt x="100" y="54"/>
                    </a:lnTo>
                    <a:lnTo>
                      <a:pt x="96" y="52"/>
                    </a:lnTo>
                    <a:lnTo>
                      <a:pt x="92" y="50"/>
                    </a:lnTo>
                    <a:lnTo>
                      <a:pt x="91" y="52"/>
                    </a:lnTo>
                    <a:lnTo>
                      <a:pt x="88" y="55"/>
                    </a:lnTo>
                    <a:lnTo>
                      <a:pt x="88" y="55"/>
                    </a:lnTo>
                    <a:lnTo>
                      <a:pt x="85" y="55"/>
                    </a:lnTo>
                    <a:lnTo>
                      <a:pt x="85" y="55"/>
                    </a:lnTo>
                    <a:lnTo>
                      <a:pt x="85" y="57"/>
                    </a:lnTo>
                    <a:lnTo>
                      <a:pt x="85" y="57"/>
                    </a:lnTo>
                    <a:lnTo>
                      <a:pt x="80" y="57"/>
                    </a:lnTo>
                    <a:lnTo>
                      <a:pt x="78" y="57"/>
                    </a:lnTo>
                    <a:lnTo>
                      <a:pt x="74" y="57"/>
                    </a:lnTo>
                    <a:lnTo>
                      <a:pt x="72" y="57"/>
                    </a:lnTo>
                    <a:lnTo>
                      <a:pt x="72" y="57"/>
                    </a:lnTo>
                    <a:lnTo>
                      <a:pt x="69" y="58"/>
                    </a:lnTo>
                    <a:lnTo>
                      <a:pt x="66" y="58"/>
                    </a:lnTo>
                    <a:lnTo>
                      <a:pt x="64" y="58"/>
                    </a:lnTo>
                    <a:lnTo>
                      <a:pt x="61" y="58"/>
                    </a:lnTo>
                    <a:lnTo>
                      <a:pt x="60" y="58"/>
                    </a:lnTo>
                    <a:lnTo>
                      <a:pt x="60" y="58"/>
                    </a:lnTo>
                    <a:lnTo>
                      <a:pt x="60" y="58"/>
                    </a:lnTo>
                    <a:lnTo>
                      <a:pt x="60" y="57"/>
                    </a:lnTo>
                    <a:lnTo>
                      <a:pt x="60" y="57"/>
                    </a:lnTo>
                    <a:lnTo>
                      <a:pt x="58" y="57"/>
                    </a:lnTo>
                    <a:lnTo>
                      <a:pt x="56" y="57"/>
                    </a:lnTo>
                    <a:lnTo>
                      <a:pt x="55" y="57"/>
                    </a:lnTo>
                    <a:lnTo>
                      <a:pt x="55" y="55"/>
                    </a:lnTo>
                    <a:lnTo>
                      <a:pt x="55" y="55"/>
                    </a:lnTo>
                    <a:lnTo>
                      <a:pt x="55" y="54"/>
                    </a:lnTo>
                    <a:lnTo>
                      <a:pt x="53" y="54"/>
                    </a:lnTo>
                    <a:lnTo>
                      <a:pt x="50" y="50"/>
                    </a:lnTo>
                    <a:lnTo>
                      <a:pt x="50" y="50"/>
                    </a:lnTo>
                    <a:lnTo>
                      <a:pt x="49" y="49"/>
                    </a:lnTo>
                    <a:lnTo>
                      <a:pt x="49" y="47"/>
                    </a:lnTo>
                    <a:lnTo>
                      <a:pt x="47" y="47"/>
                    </a:lnTo>
                    <a:lnTo>
                      <a:pt x="46" y="47"/>
                    </a:lnTo>
                    <a:lnTo>
                      <a:pt x="46" y="49"/>
                    </a:lnTo>
                    <a:lnTo>
                      <a:pt x="46" y="49"/>
                    </a:lnTo>
                    <a:lnTo>
                      <a:pt x="44" y="50"/>
                    </a:lnTo>
                    <a:lnTo>
                      <a:pt x="44" y="52"/>
                    </a:lnTo>
                    <a:lnTo>
                      <a:pt x="41" y="50"/>
                    </a:lnTo>
                    <a:lnTo>
                      <a:pt x="39" y="50"/>
                    </a:lnTo>
                    <a:lnTo>
                      <a:pt x="39" y="50"/>
                    </a:lnTo>
                    <a:lnTo>
                      <a:pt x="36" y="50"/>
                    </a:lnTo>
                    <a:lnTo>
                      <a:pt x="33" y="50"/>
                    </a:lnTo>
                    <a:lnTo>
                      <a:pt x="31" y="52"/>
                    </a:lnTo>
                    <a:lnTo>
                      <a:pt x="31" y="50"/>
                    </a:lnTo>
                    <a:lnTo>
                      <a:pt x="30" y="50"/>
                    </a:lnTo>
                    <a:lnTo>
                      <a:pt x="28" y="50"/>
                    </a:lnTo>
                    <a:lnTo>
                      <a:pt x="27" y="49"/>
                    </a:lnTo>
                    <a:lnTo>
                      <a:pt x="30" y="46"/>
                    </a:lnTo>
                    <a:lnTo>
                      <a:pt x="31" y="43"/>
                    </a:lnTo>
                    <a:lnTo>
                      <a:pt x="31" y="41"/>
                    </a:lnTo>
                    <a:lnTo>
                      <a:pt x="31" y="39"/>
                    </a:lnTo>
                    <a:lnTo>
                      <a:pt x="30" y="35"/>
                    </a:lnTo>
                    <a:lnTo>
                      <a:pt x="28" y="28"/>
                    </a:lnTo>
                    <a:lnTo>
                      <a:pt x="27" y="22"/>
                    </a:lnTo>
                    <a:lnTo>
                      <a:pt x="25" y="21"/>
                    </a:lnTo>
                    <a:lnTo>
                      <a:pt x="21" y="19"/>
                    </a:lnTo>
                    <a:lnTo>
                      <a:pt x="19" y="16"/>
                    </a:lnTo>
                    <a:lnTo>
                      <a:pt x="14" y="13"/>
                    </a:lnTo>
                    <a:lnTo>
                      <a:pt x="10" y="11"/>
                    </a:lnTo>
                    <a:lnTo>
                      <a:pt x="8" y="11"/>
                    </a:lnTo>
                    <a:lnTo>
                      <a:pt x="3" y="7"/>
                    </a:lnTo>
                    <a:lnTo>
                      <a:pt x="0" y="3"/>
                    </a:lnTo>
                    <a:lnTo>
                      <a:pt x="0" y="2"/>
                    </a:lnTo>
                    <a:lnTo>
                      <a:pt x="2" y="0"/>
                    </a:lnTo>
                    <a:lnTo>
                      <a:pt x="3" y="0"/>
                    </a:lnTo>
                    <a:lnTo>
                      <a:pt x="6" y="2"/>
                    </a:lnTo>
                    <a:lnTo>
                      <a:pt x="10" y="2"/>
                    </a:lnTo>
                    <a:lnTo>
                      <a:pt x="11" y="2"/>
                    </a:lnTo>
                    <a:lnTo>
                      <a:pt x="14" y="3"/>
                    </a:lnTo>
                    <a:lnTo>
                      <a:pt x="16" y="5"/>
                    </a:lnTo>
                    <a:lnTo>
                      <a:pt x="19" y="5"/>
                    </a:lnTo>
                    <a:lnTo>
                      <a:pt x="24" y="7"/>
                    </a:lnTo>
                    <a:lnTo>
                      <a:pt x="25" y="8"/>
                    </a:lnTo>
                    <a:lnTo>
                      <a:pt x="28" y="10"/>
                    </a:lnTo>
                    <a:lnTo>
                      <a:pt x="36" y="10"/>
                    </a:lnTo>
                    <a:lnTo>
                      <a:pt x="36" y="10"/>
                    </a:lnTo>
                    <a:lnTo>
                      <a:pt x="38" y="10"/>
                    </a:lnTo>
                    <a:lnTo>
                      <a:pt x="39" y="8"/>
                    </a:lnTo>
                    <a:lnTo>
                      <a:pt x="42" y="8"/>
                    </a:lnTo>
                    <a:lnTo>
                      <a:pt x="46" y="11"/>
                    </a:lnTo>
                    <a:lnTo>
                      <a:pt x="47" y="10"/>
                    </a:lnTo>
                    <a:lnTo>
                      <a:pt x="49" y="10"/>
                    </a:lnTo>
                    <a:lnTo>
                      <a:pt x="50" y="11"/>
                    </a:lnTo>
                    <a:lnTo>
                      <a:pt x="52" y="13"/>
                    </a:lnTo>
                    <a:lnTo>
                      <a:pt x="53" y="13"/>
                    </a:lnTo>
                    <a:lnTo>
                      <a:pt x="55" y="14"/>
                    </a:lnTo>
                    <a:lnTo>
                      <a:pt x="58" y="18"/>
                    </a:lnTo>
                    <a:lnTo>
                      <a:pt x="63" y="18"/>
                    </a:lnTo>
                    <a:lnTo>
                      <a:pt x="64" y="19"/>
                    </a:lnTo>
                    <a:lnTo>
                      <a:pt x="66" y="21"/>
                    </a:lnTo>
                    <a:lnTo>
                      <a:pt x="66" y="21"/>
                    </a:lnTo>
                    <a:lnTo>
                      <a:pt x="66" y="21"/>
                    </a:lnTo>
                    <a:lnTo>
                      <a:pt x="66" y="22"/>
                    </a:lnTo>
                    <a:lnTo>
                      <a:pt x="66" y="24"/>
                    </a:lnTo>
                    <a:lnTo>
                      <a:pt x="66" y="24"/>
                    </a:lnTo>
                    <a:lnTo>
                      <a:pt x="67" y="24"/>
                    </a:lnTo>
                    <a:lnTo>
                      <a:pt x="69" y="25"/>
                    </a:lnTo>
                    <a:lnTo>
                      <a:pt x="71" y="24"/>
                    </a:lnTo>
                    <a:lnTo>
                      <a:pt x="72" y="24"/>
                    </a:lnTo>
                    <a:lnTo>
                      <a:pt x="74" y="22"/>
                    </a:lnTo>
                    <a:lnTo>
                      <a:pt x="75" y="21"/>
                    </a:lnTo>
                    <a:lnTo>
                      <a:pt x="78" y="21"/>
                    </a:lnTo>
                    <a:lnTo>
                      <a:pt x="80" y="21"/>
                    </a:lnTo>
                    <a:lnTo>
                      <a:pt x="82" y="21"/>
                    </a:lnTo>
                    <a:lnTo>
                      <a:pt x="83" y="21"/>
                    </a:lnTo>
                    <a:lnTo>
                      <a:pt x="83" y="24"/>
                    </a:lnTo>
                    <a:lnTo>
                      <a:pt x="85" y="21"/>
                    </a:lnTo>
                    <a:lnTo>
                      <a:pt x="86" y="21"/>
                    </a:lnTo>
                    <a:lnTo>
                      <a:pt x="86" y="21"/>
                    </a:lnTo>
                    <a:lnTo>
                      <a:pt x="89" y="22"/>
                    </a:lnTo>
                    <a:lnTo>
                      <a:pt x="91" y="22"/>
                    </a:lnTo>
                    <a:lnTo>
                      <a:pt x="91" y="22"/>
                    </a:lnTo>
                    <a:lnTo>
                      <a:pt x="94" y="25"/>
                    </a:lnTo>
                    <a:lnTo>
                      <a:pt x="97" y="25"/>
                    </a:lnTo>
                    <a:lnTo>
                      <a:pt x="99" y="25"/>
                    </a:lnTo>
                    <a:lnTo>
                      <a:pt x="100" y="27"/>
                    </a:lnTo>
                    <a:lnTo>
                      <a:pt x="100" y="27"/>
                    </a:lnTo>
                    <a:lnTo>
                      <a:pt x="100" y="30"/>
                    </a:lnTo>
                    <a:lnTo>
                      <a:pt x="99" y="33"/>
                    </a:lnTo>
                    <a:lnTo>
                      <a:pt x="99" y="33"/>
                    </a:lnTo>
                    <a:lnTo>
                      <a:pt x="100" y="35"/>
                    </a:lnTo>
                    <a:lnTo>
                      <a:pt x="102" y="35"/>
                    </a:lnTo>
                    <a:lnTo>
                      <a:pt x="103" y="36"/>
                    </a:lnTo>
                    <a:lnTo>
                      <a:pt x="105" y="38"/>
                    </a:lnTo>
                    <a:lnTo>
                      <a:pt x="107" y="38"/>
                    </a:lnTo>
                    <a:lnTo>
                      <a:pt x="108" y="38"/>
                    </a:lnTo>
                    <a:lnTo>
                      <a:pt x="110" y="38"/>
                    </a:lnTo>
                    <a:lnTo>
                      <a:pt x="110" y="39"/>
                    </a:lnTo>
                    <a:lnTo>
                      <a:pt x="113" y="41"/>
                    </a:lnTo>
                    <a:lnTo>
                      <a:pt x="113" y="4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8" name="Freeform 75">
                <a:extLst>
                  <a:ext uri="{FF2B5EF4-FFF2-40B4-BE49-F238E27FC236}">
                    <a16:creationId xmlns:a16="http://schemas.microsoft.com/office/drawing/2014/main" id="{EB80EF3E-F4D0-9498-14C1-91E31AABAD03}"/>
                  </a:ext>
                </a:extLst>
              </p:cNvPr>
              <p:cNvSpPr>
                <a:spLocks/>
              </p:cNvSpPr>
              <p:nvPr/>
            </p:nvSpPr>
            <p:spPr bwMode="gray">
              <a:xfrm>
                <a:off x="1717" y="1476"/>
                <a:ext cx="51" cy="64"/>
              </a:xfrm>
              <a:custGeom>
                <a:avLst/>
                <a:gdLst>
                  <a:gd name="T0" fmla="*/ 51 w 51"/>
                  <a:gd name="T1" fmla="*/ 31 h 64"/>
                  <a:gd name="T2" fmla="*/ 48 w 51"/>
                  <a:gd name="T3" fmla="*/ 33 h 64"/>
                  <a:gd name="T4" fmla="*/ 47 w 51"/>
                  <a:gd name="T5" fmla="*/ 34 h 64"/>
                  <a:gd name="T6" fmla="*/ 47 w 51"/>
                  <a:gd name="T7" fmla="*/ 36 h 64"/>
                  <a:gd name="T8" fmla="*/ 45 w 51"/>
                  <a:gd name="T9" fmla="*/ 37 h 64"/>
                  <a:gd name="T10" fmla="*/ 42 w 51"/>
                  <a:gd name="T11" fmla="*/ 42 h 64"/>
                  <a:gd name="T12" fmla="*/ 40 w 51"/>
                  <a:gd name="T13" fmla="*/ 45 h 64"/>
                  <a:gd name="T14" fmla="*/ 39 w 51"/>
                  <a:gd name="T15" fmla="*/ 47 h 64"/>
                  <a:gd name="T16" fmla="*/ 39 w 51"/>
                  <a:gd name="T17" fmla="*/ 50 h 64"/>
                  <a:gd name="T18" fmla="*/ 37 w 51"/>
                  <a:gd name="T19" fmla="*/ 51 h 64"/>
                  <a:gd name="T20" fmla="*/ 36 w 51"/>
                  <a:gd name="T21" fmla="*/ 56 h 64"/>
                  <a:gd name="T22" fmla="*/ 34 w 51"/>
                  <a:gd name="T23" fmla="*/ 59 h 64"/>
                  <a:gd name="T24" fmla="*/ 31 w 51"/>
                  <a:gd name="T25" fmla="*/ 61 h 64"/>
                  <a:gd name="T26" fmla="*/ 29 w 51"/>
                  <a:gd name="T27" fmla="*/ 62 h 64"/>
                  <a:gd name="T28" fmla="*/ 28 w 51"/>
                  <a:gd name="T29" fmla="*/ 62 h 64"/>
                  <a:gd name="T30" fmla="*/ 25 w 51"/>
                  <a:gd name="T31" fmla="*/ 62 h 64"/>
                  <a:gd name="T32" fmla="*/ 23 w 51"/>
                  <a:gd name="T33" fmla="*/ 62 h 64"/>
                  <a:gd name="T34" fmla="*/ 22 w 51"/>
                  <a:gd name="T35" fmla="*/ 61 h 64"/>
                  <a:gd name="T36" fmla="*/ 20 w 51"/>
                  <a:gd name="T37" fmla="*/ 61 h 64"/>
                  <a:gd name="T38" fmla="*/ 17 w 51"/>
                  <a:gd name="T39" fmla="*/ 61 h 64"/>
                  <a:gd name="T40" fmla="*/ 15 w 51"/>
                  <a:gd name="T41" fmla="*/ 61 h 64"/>
                  <a:gd name="T42" fmla="*/ 14 w 51"/>
                  <a:gd name="T43" fmla="*/ 59 h 64"/>
                  <a:gd name="T44" fmla="*/ 14 w 51"/>
                  <a:gd name="T45" fmla="*/ 61 h 64"/>
                  <a:gd name="T46" fmla="*/ 11 w 51"/>
                  <a:gd name="T47" fmla="*/ 62 h 64"/>
                  <a:gd name="T48" fmla="*/ 8 w 51"/>
                  <a:gd name="T49" fmla="*/ 64 h 64"/>
                  <a:gd name="T50" fmla="*/ 6 w 51"/>
                  <a:gd name="T51" fmla="*/ 64 h 64"/>
                  <a:gd name="T52" fmla="*/ 3 w 51"/>
                  <a:gd name="T53" fmla="*/ 62 h 64"/>
                  <a:gd name="T54" fmla="*/ 0 w 51"/>
                  <a:gd name="T55" fmla="*/ 61 h 64"/>
                  <a:gd name="T56" fmla="*/ 0 w 51"/>
                  <a:gd name="T57" fmla="*/ 61 h 64"/>
                  <a:gd name="T58" fmla="*/ 0 w 51"/>
                  <a:gd name="T59" fmla="*/ 61 h 64"/>
                  <a:gd name="T60" fmla="*/ 1 w 51"/>
                  <a:gd name="T61" fmla="*/ 59 h 64"/>
                  <a:gd name="T62" fmla="*/ 6 w 51"/>
                  <a:gd name="T63" fmla="*/ 53 h 64"/>
                  <a:gd name="T64" fmla="*/ 6 w 51"/>
                  <a:gd name="T65" fmla="*/ 51 h 64"/>
                  <a:gd name="T66" fmla="*/ 6 w 51"/>
                  <a:gd name="T67" fmla="*/ 47 h 64"/>
                  <a:gd name="T68" fmla="*/ 9 w 51"/>
                  <a:gd name="T69" fmla="*/ 42 h 64"/>
                  <a:gd name="T70" fmla="*/ 11 w 51"/>
                  <a:gd name="T71" fmla="*/ 39 h 64"/>
                  <a:gd name="T72" fmla="*/ 11 w 51"/>
                  <a:gd name="T73" fmla="*/ 37 h 64"/>
                  <a:gd name="T74" fmla="*/ 9 w 51"/>
                  <a:gd name="T75" fmla="*/ 36 h 64"/>
                  <a:gd name="T76" fmla="*/ 6 w 51"/>
                  <a:gd name="T77" fmla="*/ 34 h 64"/>
                  <a:gd name="T78" fmla="*/ 4 w 51"/>
                  <a:gd name="T79" fmla="*/ 29 h 64"/>
                  <a:gd name="T80" fmla="*/ 3 w 51"/>
                  <a:gd name="T81" fmla="*/ 28 h 64"/>
                  <a:gd name="T82" fmla="*/ 3 w 51"/>
                  <a:gd name="T83" fmla="*/ 26 h 64"/>
                  <a:gd name="T84" fmla="*/ 3 w 51"/>
                  <a:gd name="T85" fmla="*/ 23 h 64"/>
                  <a:gd name="T86" fmla="*/ 3 w 51"/>
                  <a:gd name="T87" fmla="*/ 22 h 64"/>
                  <a:gd name="T88" fmla="*/ 1 w 51"/>
                  <a:gd name="T89" fmla="*/ 19 h 64"/>
                  <a:gd name="T90" fmla="*/ 1 w 51"/>
                  <a:gd name="T91" fmla="*/ 15 h 64"/>
                  <a:gd name="T92" fmla="*/ 3 w 51"/>
                  <a:gd name="T93" fmla="*/ 14 h 64"/>
                  <a:gd name="T94" fmla="*/ 6 w 51"/>
                  <a:gd name="T95" fmla="*/ 9 h 64"/>
                  <a:gd name="T96" fmla="*/ 9 w 51"/>
                  <a:gd name="T97" fmla="*/ 6 h 64"/>
                  <a:gd name="T98" fmla="*/ 11 w 51"/>
                  <a:gd name="T99" fmla="*/ 0 h 64"/>
                  <a:gd name="T100" fmla="*/ 20 w 51"/>
                  <a:gd name="T101" fmla="*/ 4 h 64"/>
                  <a:gd name="T102" fmla="*/ 29 w 51"/>
                  <a:gd name="T103" fmla="*/ 6 h 64"/>
                  <a:gd name="T104" fmla="*/ 37 w 51"/>
                  <a:gd name="T105" fmla="*/ 14 h 64"/>
                  <a:gd name="T106" fmla="*/ 40 w 51"/>
                  <a:gd name="T107" fmla="*/ 15 h 64"/>
                  <a:gd name="T108" fmla="*/ 42 w 51"/>
                  <a:gd name="T109" fmla="*/ 15 h 64"/>
                  <a:gd name="T110" fmla="*/ 45 w 51"/>
                  <a:gd name="T111" fmla="*/ 20 h 64"/>
                  <a:gd name="T112" fmla="*/ 45 w 51"/>
                  <a:gd name="T113" fmla="*/ 23 h 64"/>
                  <a:gd name="T114" fmla="*/ 45 w 51"/>
                  <a:gd name="T115" fmla="*/ 25 h 64"/>
                  <a:gd name="T116" fmla="*/ 47 w 51"/>
                  <a:gd name="T117" fmla="*/ 23 h 64"/>
                  <a:gd name="T118" fmla="*/ 47 w 51"/>
                  <a:gd name="T119" fmla="*/ 20 h 64"/>
                  <a:gd name="T120" fmla="*/ 48 w 51"/>
                  <a:gd name="T121" fmla="*/ 22 h 64"/>
                  <a:gd name="T122" fmla="*/ 51 w 51"/>
                  <a:gd name="T123" fmla="*/ 26 h 64"/>
                  <a:gd name="T124" fmla="*/ 51 w 51"/>
                  <a:gd name="T125" fmla="*/ 2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64">
                    <a:moveTo>
                      <a:pt x="51" y="29"/>
                    </a:moveTo>
                    <a:lnTo>
                      <a:pt x="51" y="31"/>
                    </a:lnTo>
                    <a:lnTo>
                      <a:pt x="50" y="31"/>
                    </a:lnTo>
                    <a:lnTo>
                      <a:pt x="48" y="33"/>
                    </a:lnTo>
                    <a:lnTo>
                      <a:pt x="48" y="33"/>
                    </a:lnTo>
                    <a:lnTo>
                      <a:pt x="47" y="34"/>
                    </a:lnTo>
                    <a:lnTo>
                      <a:pt x="47" y="36"/>
                    </a:lnTo>
                    <a:lnTo>
                      <a:pt x="47" y="36"/>
                    </a:lnTo>
                    <a:lnTo>
                      <a:pt x="45" y="36"/>
                    </a:lnTo>
                    <a:lnTo>
                      <a:pt x="45" y="37"/>
                    </a:lnTo>
                    <a:lnTo>
                      <a:pt x="44" y="40"/>
                    </a:lnTo>
                    <a:lnTo>
                      <a:pt x="42" y="42"/>
                    </a:lnTo>
                    <a:lnTo>
                      <a:pt x="40" y="44"/>
                    </a:lnTo>
                    <a:lnTo>
                      <a:pt x="40" y="45"/>
                    </a:lnTo>
                    <a:lnTo>
                      <a:pt x="39" y="45"/>
                    </a:lnTo>
                    <a:lnTo>
                      <a:pt x="39" y="47"/>
                    </a:lnTo>
                    <a:lnTo>
                      <a:pt x="39" y="48"/>
                    </a:lnTo>
                    <a:lnTo>
                      <a:pt x="39" y="50"/>
                    </a:lnTo>
                    <a:lnTo>
                      <a:pt x="37" y="50"/>
                    </a:lnTo>
                    <a:lnTo>
                      <a:pt x="37" y="51"/>
                    </a:lnTo>
                    <a:lnTo>
                      <a:pt x="36" y="54"/>
                    </a:lnTo>
                    <a:lnTo>
                      <a:pt x="36" y="56"/>
                    </a:lnTo>
                    <a:lnTo>
                      <a:pt x="36" y="56"/>
                    </a:lnTo>
                    <a:lnTo>
                      <a:pt x="34" y="59"/>
                    </a:lnTo>
                    <a:lnTo>
                      <a:pt x="33" y="59"/>
                    </a:lnTo>
                    <a:lnTo>
                      <a:pt x="31" y="61"/>
                    </a:lnTo>
                    <a:lnTo>
                      <a:pt x="29" y="61"/>
                    </a:lnTo>
                    <a:lnTo>
                      <a:pt x="29" y="62"/>
                    </a:lnTo>
                    <a:lnTo>
                      <a:pt x="28" y="62"/>
                    </a:lnTo>
                    <a:lnTo>
                      <a:pt x="28" y="62"/>
                    </a:lnTo>
                    <a:lnTo>
                      <a:pt x="26" y="62"/>
                    </a:lnTo>
                    <a:lnTo>
                      <a:pt x="25" y="62"/>
                    </a:lnTo>
                    <a:lnTo>
                      <a:pt x="23" y="62"/>
                    </a:lnTo>
                    <a:lnTo>
                      <a:pt x="23" y="62"/>
                    </a:lnTo>
                    <a:lnTo>
                      <a:pt x="23" y="61"/>
                    </a:lnTo>
                    <a:lnTo>
                      <a:pt x="22" y="61"/>
                    </a:lnTo>
                    <a:lnTo>
                      <a:pt x="22" y="61"/>
                    </a:lnTo>
                    <a:lnTo>
                      <a:pt x="20" y="61"/>
                    </a:lnTo>
                    <a:lnTo>
                      <a:pt x="19" y="62"/>
                    </a:lnTo>
                    <a:lnTo>
                      <a:pt x="17" y="61"/>
                    </a:lnTo>
                    <a:lnTo>
                      <a:pt x="15" y="61"/>
                    </a:lnTo>
                    <a:lnTo>
                      <a:pt x="15" y="61"/>
                    </a:lnTo>
                    <a:lnTo>
                      <a:pt x="14" y="61"/>
                    </a:lnTo>
                    <a:lnTo>
                      <a:pt x="14" y="59"/>
                    </a:lnTo>
                    <a:lnTo>
                      <a:pt x="14" y="61"/>
                    </a:lnTo>
                    <a:lnTo>
                      <a:pt x="14" y="61"/>
                    </a:lnTo>
                    <a:lnTo>
                      <a:pt x="12" y="61"/>
                    </a:lnTo>
                    <a:lnTo>
                      <a:pt x="11" y="62"/>
                    </a:lnTo>
                    <a:lnTo>
                      <a:pt x="9" y="64"/>
                    </a:lnTo>
                    <a:lnTo>
                      <a:pt x="8" y="64"/>
                    </a:lnTo>
                    <a:lnTo>
                      <a:pt x="8" y="64"/>
                    </a:lnTo>
                    <a:lnTo>
                      <a:pt x="6" y="64"/>
                    </a:lnTo>
                    <a:lnTo>
                      <a:pt x="4" y="64"/>
                    </a:lnTo>
                    <a:lnTo>
                      <a:pt x="3" y="62"/>
                    </a:lnTo>
                    <a:lnTo>
                      <a:pt x="1" y="62"/>
                    </a:lnTo>
                    <a:lnTo>
                      <a:pt x="0" y="61"/>
                    </a:lnTo>
                    <a:lnTo>
                      <a:pt x="0" y="61"/>
                    </a:lnTo>
                    <a:lnTo>
                      <a:pt x="0" y="61"/>
                    </a:lnTo>
                    <a:lnTo>
                      <a:pt x="0" y="61"/>
                    </a:lnTo>
                    <a:lnTo>
                      <a:pt x="0" y="61"/>
                    </a:lnTo>
                    <a:lnTo>
                      <a:pt x="1" y="61"/>
                    </a:lnTo>
                    <a:lnTo>
                      <a:pt x="1" y="59"/>
                    </a:lnTo>
                    <a:lnTo>
                      <a:pt x="3" y="58"/>
                    </a:lnTo>
                    <a:lnTo>
                      <a:pt x="6" y="53"/>
                    </a:lnTo>
                    <a:lnTo>
                      <a:pt x="6" y="51"/>
                    </a:lnTo>
                    <a:lnTo>
                      <a:pt x="6" y="51"/>
                    </a:lnTo>
                    <a:lnTo>
                      <a:pt x="8" y="48"/>
                    </a:lnTo>
                    <a:lnTo>
                      <a:pt x="6" y="47"/>
                    </a:lnTo>
                    <a:lnTo>
                      <a:pt x="6" y="45"/>
                    </a:lnTo>
                    <a:lnTo>
                      <a:pt x="9" y="42"/>
                    </a:lnTo>
                    <a:lnTo>
                      <a:pt x="9" y="40"/>
                    </a:lnTo>
                    <a:lnTo>
                      <a:pt x="11" y="39"/>
                    </a:lnTo>
                    <a:lnTo>
                      <a:pt x="11" y="39"/>
                    </a:lnTo>
                    <a:lnTo>
                      <a:pt x="11" y="37"/>
                    </a:lnTo>
                    <a:lnTo>
                      <a:pt x="9" y="37"/>
                    </a:lnTo>
                    <a:lnTo>
                      <a:pt x="9" y="36"/>
                    </a:lnTo>
                    <a:lnTo>
                      <a:pt x="8" y="36"/>
                    </a:lnTo>
                    <a:lnTo>
                      <a:pt x="6" y="34"/>
                    </a:lnTo>
                    <a:lnTo>
                      <a:pt x="6" y="33"/>
                    </a:lnTo>
                    <a:lnTo>
                      <a:pt x="4" y="29"/>
                    </a:lnTo>
                    <a:lnTo>
                      <a:pt x="4" y="28"/>
                    </a:lnTo>
                    <a:lnTo>
                      <a:pt x="3" y="28"/>
                    </a:lnTo>
                    <a:lnTo>
                      <a:pt x="3" y="28"/>
                    </a:lnTo>
                    <a:lnTo>
                      <a:pt x="3" y="26"/>
                    </a:lnTo>
                    <a:lnTo>
                      <a:pt x="3" y="25"/>
                    </a:lnTo>
                    <a:lnTo>
                      <a:pt x="3" y="23"/>
                    </a:lnTo>
                    <a:lnTo>
                      <a:pt x="3" y="23"/>
                    </a:lnTo>
                    <a:lnTo>
                      <a:pt x="3" y="22"/>
                    </a:lnTo>
                    <a:lnTo>
                      <a:pt x="3" y="19"/>
                    </a:lnTo>
                    <a:lnTo>
                      <a:pt x="1" y="19"/>
                    </a:lnTo>
                    <a:lnTo>
                      <a:pt x="1" y="17"/>
                    </a:lnTo>
                    <a:lnTo>
                      <a:pt x="1" y="15"/>
                    </a:lnTo>
                    <a:lnTo>
                      <a:pt x="3" y="14"/>
                    </a:lnTo>
                    <a:lnTo>
                      <a:pt x="3" y="14"/>
                    </a:lnTo>
                    <a:lnTo>
                      <a:pt x="4" y="11"/>
                    </a:lnTo>
                    <a:lnTo>
                      <a:pt x="6" y="9"/>
                    </a:lnTo>
                    <a:lnTo>
                      <a:pt x="8" y="8"/>
                    </a:lnTo>
                    <a:lnTo>
                      <a:pt x="9" y="6"/>
                    </a:lnTo>
                    <a:lnTo>
                      <a:pt x="11" y="1"/>
                    </a:lnTo>
                    <a:lnTo>
                      <a:pt x="11" y="0"/>
                    </a:lnTo>
                    <a:lnTo>
                      <a:pt x="12" y="0"/>
                    </a:lnTo>
                    <a:lnTo>
                      <a:pt x="20" y="4"/>
                    </a:lnTo>
                    <a:lnTo>
                      <a:pt x="23" y="4"/>
                    </a:lnTo>
                    <a:lnTo>
                      <a:pt x="29" y="6"/>
                    </a:lnTo>
                    <a:lnTo>
                      <a:pt x="31" y="9"/>
                    </a:lnTo>
                    <a:lnTo>
                      <a:pt x="37" y="14"/>
                    </a:lnTo>
                    <a:lnTo>
                      <a:pt x="40" y="15"/>
                    </a:lnTo>
                    <a:lnTo>
                      <a:pt x="40" y="15"/>
                    </a:lnTo>
                    <a:lnTo>
                      <a:pt x="39" y="17"/>
                    </a:lnTo>
                    <a:lnTo>
                      <a:pt x="42" y="15"/>
                    </a:lnTo>
                    <a:lnTo>
                      <a:pt x="44" y="19"/>
                    </a:lnTo>
                    <a:lnTo>
                      <a:pt x="45" y="20"/>
                    </a:lnTo>
                    <a:lnTo>
                      <a:pt x="45" y="22"/>
                    </a:lnTo>
                    <a:lnTo>
                      <a:pt x="45" y="23"/>
                    </a:lnTo>
                    <a:lnTo>
                      <a:pt x="45" y="25"/>
                    </a:lnTo>
                    <a:lnTo>
                      <a:pt x="45" y="25"/>
                    </a:lnTo>
                    <a:lnTo>
                      <a:pt x="47" y="25"/>
                    </a:lnTo>
                    <a:lnTo>
                      <a:pt x="47" y="23"/>
                    </a:lnTo>
                    <a:lnTo>
                      <a:pt x="47" y="22"/>
                    </a:lnTo>
                    <a:lnTo>
                      <a:pt x="47" y="20"/>
                    </a:lnTo>
                    <a:lnTo>
                      <a:pt x="48" y="20"/>
                    </a:lnTo>
                    <a:lnTo>
                      <a:pt x="48" y="22"/>
                    </a:lnTo>
                    <a:lnTo>
                      <a:pt x="50" y="26"/>
                    </a:lnTo>
                    <a:lnTo>
                      <a:pt x="51" y="26"/>
                    </a:lnTo>
                    <a:lnTo>
                      <a:pt x="51" y="28"/>
                    </a:lnTo>
                    <a:lnTo>
                      <a:pt x="51" y="29"/>
                    </a:lnTo>
                    <a:lnTo>
                      <a:pt x="51" y="2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49" name="Freeform 76">
                <a:extLst>
                  <a:ext uri="{FF2B5EF4-FFF2-40B4-BE49-F238E27FC236}">
                    <a16:creationId xmlns:a16="http://schemas.microsoft.com/office/drawing/2014/main" id="{C8AFD304-4556-B20C-D174-14D6FBF1431B}"/>
                  </a:ext>
                </a:extLst>
              </p:cNvPr>
              <p:cNvSpPr>
                <a:spLocks/>
              </p:cNvSpPr>
              <p:nvPr/>
            </p:nvSpPr>
            <p:spPr bwMode="gray">
              <a:xfrm>
                <a:off x="2628" y="578"/>
                <a:ext cx="3" cy="3"/>
              </a:xfrm>
              <a:custGeom>
                <a:avLst/>
                <a:gdLst>
                  <a:gd name="T0" fmla="*/ 3 w 3"/>
                  <a:gd name="T1" fmla="*/ 1 h 3"/>
                  <a:gd name="T2" fmla="*/ 2 w 3"/>
                  <a:gd name="T3" fmla="*/ 3 h 3"/>
                  <a:gd name="T4" fmla="*/ 0 w 3"/>
                  <a:gd name="T5" fmla="*/ 1 h 3"/>
                  <a:gd name="T6" fmla="*/ 0 w 3"/>
                  <a:gd name="T7" fmla="*/ 1 h 3"/>
                  <a:gd name="T8" fmla="*/ 2 w 3"/>
                  <a:gd name="T9" fmla="*/ 0 h 3"/>
                  <a:gd name="T10" fmla="*/ 3 w 3"/>
                  <a:gd name="T11" fmla="*/ 0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lnTo>
                      <a:pt x="2" y="3"/>
                    </a:lnTo>
                    <a:lnTo>
                      <a:pt x="0" y="1"/>
                    </a:lnTo>
                    <a:lnTo>
                      <a:pt x="0" y="1"/>
                    </a:lnTo>
                    <a:lnTo>
                      <a:pt x="2" y="0"/>
                    </a:lnTo>
                    <a:lnTo>
                      <a:pt x="3" y="0"/>
                    </a:lnTo>
                    <a:lnTo>
                      <a:pt x="3"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0" name="Freeform 77">
                <a:extLst>
                  <a:ext uri="{FF2B5EF4-FFF2-40B4-BE49-F238E27FC236}">
                    <a16:creationId xmlns:a16="http://schemas.microsoft.com/office/drawing/2014/main" id="{4961ED74-643B-83D9-BCFF-ECB330C53251}"/>
                  </a:ext>
                </a:extLst>
              </p:cNvPr>
              <p:cNvSpPr>
                <a:spLocks/>
              </p:cNvSpPr>
              <p:nvPr/>
            </p:nvSpPr>
            <p:spPr bwMode="gray">
              <a:xfrm>
                <a:off x="2617" y="1380"/>
                <a:ext cx="79" cy="115"/>
              </a:xfrm>
              <a:custGeom>
                <a:avLst/>
                <a:gdLst>
                  <a:gd name="T0" fmla="*/ 58 w 79"/>
                  <a:gd name="T1" fmla="*/ 5 h 115"/>
                  <a:gd name="T2" fmla="*/ 57 w 79"/>
                  <a:gd name="T3" fmla="*/ 10 h 115"/>
                  <a:gd name="T4" fmla="*/ 61 w 79"/>
                  <a:gd name="T5" fmla="*/ 14 h 115"/>
                  <a:gd name="T6" fmla="*/ 64 w 79"/>
                  <a:gd name="T7" fmla="*/ 17 h 115"/>
                  <a:gd name="T8" fmla="*/ 63 w 79"/>
                  <a:gd name="T9" fmla="*/ 27 h 115"/>
                  <a:gd name="T10" fmla="*/ 63 w 79"/>
                  <a:gd name="T11" fmla="*/ 28 h 115"/>
                  <a:gd name="T12" fmla="*/ 63 w 79"/>
                  <a:gd name="T13" fmla="*/ 28 h 115"/>
                  <a:gd name="T14" fmla="*/ 63 w 79"/>
                  <a:gd name="T15" fmla="*/ 32 h 115"/>
                  <a:gd name="T16" fmla="*/ 64 w 79"/>
                  <a:gd name="T17" fmla="*/ 30 h 115"/>
                  <a:gd name="T18" fmla="*/ 66 w 79"/>
                  <a:gd name="T19" fmla="*/ 35 h 115"/>
                  <a:gd name="T20" fmla="*/ 66 w 79"/>
                  <a:gd name="T21" fmla="*/ 43 h 115"/>
                  <a:gd name="T22" fmla="*/ 64 w 79"/>
                  <a:gd name="T23" fmla="*/ 46 h 115"/>
                  <a:gd name="T24" fmla="*/ 71 w 79"/>
                  <a:gd name="T25" fmla="*/ 52 h 115"/>
                  <a:gd name="T26" fmla="*/ 69 w 79"/>
                  <a:gd name="T27" fmla="*/ 61 h 115"/>
                  <a:gd name="T28" fmla="*/ 68 w 79"/>
                  <a:gd name="T29" fmla="*/ 68 h 115"/>
                  <a:gd name="T30" fmla="*/ 68 w 79"/>
                  <a:gd name="T31" fmla="*/ 72 h 115"/>
                  <a:gd name="T32" fmla="*/ 68 w 79"/>
                  <a:gd name="T33" fmla="*/ 75 h 115"/>
                  <a:gd name="T34" fmla="*/ 68 w 79"/>
                  <a:gd name="T35" fmla="*/ 79 h 115"/>
                  <a:gd name="T36" fmla="*/ 71 w 79"/>
                  <a:gd name="T37" fmla="*/ 83 h 115"/>
                  <a:gd name="T38" fmla="*/ 75 w 79"/>
                  <a:gd name="T39" fmla="*/ 86 h 115"/>
                  <a:gd name="T40" fmla="*/ 79 w 79"/>
                  <a:gd name="T41" fmla="*/ 89 h 115"/>
                  <a:gd name="T42" fmla="*/ 77 w 79"/>
                  <a:gd name="T43" fmla="*/ 93 h 115"/>
                  <a:gd name="T44" fmla="*/ 69 w 79"/>
                  <a:gd name="T45" fmla="*/ 96 h 115"/>
                  <a:gd name="T46" fmla="*/ 49 w 79"/>
                  <a:gd name="T47" fmla="*/ 102 h 115"/>
                  <a:gd name="T48" fmla="*/ 32 w 79"/>
                  <a:gd name="T49" fmla="*/ 108 h 115"/>
                  <a:gd name="T50" fmla="*/ 21 w 79"/>
                  <a:gd name="T51" fmla="*/ 113 h 115"/>
                  <a:gd name="T52" fmla="*/ 7 w 79"/>
                  <a:gd name="T53" fmla="*/ 108 h 115"/>
                  <a:gd name="T54" fmla="*/ 5 w 79"/>
                  <a:gd name="T55" fmla="*/ 107 h 115"/>
                  <a:gd name="T56" fmla="*/ 8 w 79"/>
                  <a:gd name="T57" fmla="*/ 107 h 115"/>
                  <a:gd name="T58" fmla="*/ 10 w 79"/>
                  <a:gd name="T59" fmla="*/ 102 h 115"/>
                  <a:gd name="T60" fmla="*/ 5 w 79"/>
                  <a:gd name="T61" fmla="*/ 97 h 115"/>
                  <a:gd name="T62" fmla="*/ 3 w 79"/>
                  <a:gd name="T63" fmla="*/ 91 h 115"/>
                  <a:gd name="T64" fmla="*/ 0 w 79"/>
                  <a:gd name="T65" fmla="*/ 80 h 115"/>
                  <a:gd name="T66" fmla="*/ 2 w 79"/>
                  <a:gd name="T67" fmla="*/ 75 h 115"/>
                  <a:gd name="T68" fmla="*/ 5 w 79"/>
                  <a:gd name="T69" fmla="*/ 69 h 115"/>
                  <a:gd name="T70" fmla="*/ 8 w 79"/>
                  <a:gd name="T71" fmla="*/ 60 h 115"/>
                  <a:gd name="T72" fmla="*/ 11 w 79"/>
                  <a:gd name="T73" fmla="*/ 57 h 115"/>
                  <a:gd name="T74" fmla="*/ 13 w 79"/>
                  <a:gd name="T75" fmla="*/ 53 h 115"/>
                  <a:gd name="T76" fmla="*/ 13 w 79"/>
                  <a:gd name="T77" fmla="*/ 43 h 115"/>
                  <a:gd name="T78" fmla="*/ 11 w 79"/>
                  <a:gd name="T79" fmla="*/ 39 h 115"/>
                  <a:gd name="T80" fmla="*/ 11 w 79"/>
                  <a:gd name="T81" fmla="*/ 35 h 115"/>
                  <a:gd name="T82" fmla="*/ 11 w 79"/>
                  <a:gd name="T83" fmla="*/ 30 h 115"/>
                  <a:gd name="T84" fmla="*/ 10 w 79"/>
                  <a:gd name="T85" fmla="*/ 25 h 115"/>
                  <a:gd name="T86" fmla="*/ 10 w 79"/>
                  <a:gd name="T87" fmla="*/ 17 h 115"/>
                  <a:gd name="T88" fmla="*/ 10 w 79"/>
                  <a:gd name="T89" fmla="*/ 14 h 115"/>
                  <a:gd name="T90" fmla="*/ 7 w 79"/>
                  <a:gd name="T91" fmla="*/ 11 h 115"/>
                  <a:gd name="T92" fmla="*/ 10 w 79"/>
                  <a:gd name="T93" fmla="*/ 3 h 115"/>
                  <a:gd name="T94" fmla="*/ 24 w 79"/>
                  <a:gd name="T95" fmla="*/ 3 h 115"/>
                  <a:gd name="T96" fmla="*/ 36 w 79"/>
                  <a:gd name="T97" fmla="*/ 3 h 115"/>
                  <a:gd name="T98" fmla="*/ 44 w 79"/>
                  <a:gd name="T99" fmla="*/ 3 h 115"/>
                  <a:gd name="T100" fmla="*/ 47 w 79"/>
                  <a:gd name="T101" fmla="*/ 5 h 115"/>
                  <a:gd name="T102" fmla="*/ 50 w 79"/>
                  <a:gd name="T103" fmla="*/ 2 h 115"/>
                  <a:gd name="T104" fmla="*/ 52 w 79"/>
                  <a:gd name="T10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115">
                    <a:moveTo>
                      <a:pt x="57" y="2"/>
                    </a:moveTo>
                    <a:lnTo>
                      <a:pt x="58" y="3"/>
                    </a:lnTo>
                    <a:lnTo>
                      <a:pt x="58" y="3"/>
                    </a:lnTo>
                    <a:lnTo>
                      <a:pt x="58" y="5"/>
                    </a:lnTo>
                    <a:lnTo>
                      <a:pt x="57" y="8"/>
                    </a:lnTo>
                    <a:lnTo>
                      <a:pt x="57" y="8"/>
                    </a:lnTo>
                    <a:lnTo>
                      <a:pt x="57" y="10"/>
                    </a:lnTo>
                    <a:lnTo>
                      <a:pt x="57" y="10"/>
                    </a:lnTo>
                    <a:lnTo>
                      <a:pt x="58" y="11"/>
                    </a:lnTo>
                    <a:lnTo>
                      <a:pt x="60" y="13"/>
                    </a:lnTo>
                    <a:lnTo>
                      <a:pt x="60" y="13"/>
                    </a:lnTo>
                    <a:lnTo>
                      <a:pt x="61" y="14"/>
                    </a:lnTo>
                    <a:lnTo>
                      <a:pt x="64" y="16"/>
                    </a:lnTo>
                    <a:lnTo>
                      <a:pt x="64" y="16"/>
                    </a:lnTo>
                    <a:lnTo>
                      <a:pt x="64" y="17"/>
                    </a:lnTo>
                    <a:lnTo>
                      <a:pt x="64" y="17"/>
                    </a:lnTo>
                    <a:lnTo>
                      <a:pt x="64" y="22"/>
                    </a:lnTo>
                    <a:lnTo>
                      <a:pt x="64" y="24"/>
                    </a:lnTo>
                    <a:lnTo>
                      <a:pt x="64" y="25"/>
                    </a:lnTo>
                    <a:lnTo>
                      <a:pt x="63" y="27"/>
                    </a:lnTo>
                    <a:lnTo>
                      <a:pt x="63" y="27"/>
                    </a:lnTo>
                    <a:lnTo>
                      <a:pt x="63" y="27"/>
                    </a:lnTo>
                    <a:lnTo>
                      <a:pt x="63" y="27"/>
                    </a:lnTo>
                    <a:lnTo>
                      <a:pt x="63" y="28"/>
                    </a:lnTo>
                    <a:lnTo>
                      <a:pt x="63" y="28"/>
                    </a:lnTo>
                    <a:lnTo>
                      <a:pt x="64" y="28"/>
                    </a:lnTo>
                    <a:lnTo>
                      <a:pt x="63" y="28"/>
                    </a:lnTo>
                    <a:lnTo>
                      <a:pt x="63" y="28"/>
                    </a:lnTo>
                    <a:lnTo>
                      <a:pt x="63" y="30"/>
                    </a:lnTo>
                    <a:lnTo>
                      <a:pt x="63" y="30"/>
                    </a:lnTo>
                    <a:lnTo>
                      <a:pt x="61" y="32"/>
                    </a:lnTo>
                    <a:lnTo>
                      <a:pt x="63" y="32"/>
                    </a:lnTo>
                    <a:lnTo>
                      <a:pt x="63" y="32"/>
                    </a:lnTo>
                    <a:lnTo>
                      <a:pt x="63" y="32"/>
                    </a:lnTo>
                    <a:lnTo>
                      <a:pt x="64" y="30"/>
                    </a:lnTo>
                    <a:lnTo>
                      <a:pt x="64" y="30"/>
                    </a:lnTo>
                    <a:lnTo>
                      <a:pt x="66" y="30"/>
                    </a:lnTo>
                    <a:lnTo>
                      <a:pt x="68" y="32"/>
                    </a:lnTo>
                    <a:lnTo>
                      <a:pt x="68" y="33"/>
                    </a:lnTo>
                    <a:lnTo>
                      <a:pt x="66" y="35"/>
                    </a:lnTo>
                    <a:lnTo>
                      <a:pt x="66" y="38"/>
                    </a:lnTo>
                    <a:lnTo>
                      <a:pt x="66" y="39"/>
                    </a:lnTo>
                    <a:lnTo>
                      <a:pt x="66" y="41"/>
                    </a:lnTo>
                    <a:lnTo>
                      <a:pt x="66" y="43"/>
                    </a:lnTo>
                    <a:lnTo>
                      <a:pt x="66" y="43"/>
                    </a:lnTo>
                    <a:lnTo>
                      <a:pt x="64" y="44"/>
                    </a:lnTo>
                    <a:lnTo>
                      <a:pt x="64" y="44"/>
                    </a:lnTo>
                    <a:lnTo>
                      <a:pt x="64" y="46"/>
                    </a:lnTo>
                    <a:lnTo>
                      <a:pt x="66" y="47"/>
                    </a:lnTo>
                    <a:lnTo>
                      <a:pt x="69" y="49"/>
                    </a:lnTo>
                    <a:lnTo>
                      <a:pt x="71" y="50"/>
                    </a:lnTo>
                    <a:lnTo>
                      <a:pt x="71" y="52"/>
                    </a:lnTo>
                    <a:lnTo>
                      <a:pt x="69" y="52"/>
                    </a:lnTo>
                    <a:lnTo>
                      <a:pt x="69" y="53"/>
                    </a:lnTo>
                    <a:lnTo>
                      <a:pt x="68" y="55"/>
                    </a:lnTo>
                    <a:lnTo>
                      <a:pt x="69" y="61"/>
                    </a:lnTo>
                    <a:lnTo>
                      <a:pt x="66" y="64"/>
                    </a:lnTo>
                    <a:lnTo>
                      <a:pt x="66" y="66"/>
                    </a:lnTo>
                    <a:lnTo>
                      <a:pt x="68" y="68"/>
                    </a:lnTo>
                    <a:lnTo>
                      <a:pt x="68" y="68"/>
                    </a:lnTo>
                    <a:lnTo>
                      <a:pt x="68" y="68"/>
                    </a:lnTo>
                    <a:lnTo>
                      <a:pt x="69" y="68"/>
                    </a:lnTo>
                    <a:lnTo>
                      <a:pt x="69" y="71"/>
                    </a:lnTo>
                    <a:lnTo>
                      <a:pt x="68" y="72"/>
                    </a:lnTo>
                    <a:lnTo>
                      <a:pt x="68" y="74"/>
                    </a:lnTo>
                    <a:lnTo>
                      <a:pt x="68" y="74"/>
                    </a:lnTo>
                    <a:lnTo>
                      <a:pt x="68" y="75"/>
                    </a:lnTo>
                    <a:lnTo>
                      <a:pt x="68" y="75"/>
                    </a:lnTo>
                    <a:lnTo>
                      <a:pt x="68" y="77"/>
                    </a:lnTo>
                    <a:lnTo>
                      <a:pt x="68" y="77"/>
                    </a:lnTo>
                    <a:lnTo>
                      <a:pt x="68" y="79"/>
                    </a:lnTo>
                    <a:lnTo>
                      <a:pt x="68" y="79"/>
                    </a:lnTo>
                    <a:lnTo>
                      <a:pt x="69" y="82"/>
                    </a:lnTo>
                    <a:lnTo>
                      <a:pt x="71" y="82"/>
                    </a:lnTo>
                    <a:lnTo>
                      <a:pt x="71" y="82"/>
                    </a:lnTo>
                    <a:lnTo>
                      <a:pt x="71" y="83"/>
                    </a:lnTo>
                    <a:lnTo>
                      <a:pt x="71" y="85"/>
                    </a:lnTo>
                    <a:lnTo>
                      <a:pt x="72" y="85"/>
                    </a:lnTo>
                    <a:lnTo>
                      <a:pt x="74" y="86"/>
                    </a:lnTo>
                    <a:lnTo>
                      <a:pt x="75" y="86"/>
                    </a:lnTo>
                    <a:lnTo>
                      <a:pt x="75" y="88"/>
                    </a:lnTo>
                    <a:lnTo>
                      <a:pt x="77" y="88"/>
                    </a:lnTo>
                    <a:lnTo>
                      <a:pt x="77" y="89"/>
                    </a:lnTo>
                    <a:lnTo>
                      <a:pt x="79" y="89"/>
                    </a:lnTo>
                    <a:lnTo>
                      <a:pt x="79" y="89"/>
                    </a:lnTo>
                    <a:lnTo>
                      <a:pt x="79" y="91"/>
                    </a:lnTo>
                    <a:lnTo>
                      <a:pt x="77" y="91"/>
                    </a:lnTo>
                    <a:lnTo>
                      <a:pt x="77" y="93"/>
                    </a:lnTo>
                    <a:lnTo>
                      <a:pt x="75" y="94"/>
                    </a:lnTo>
                    <a:lnTo>
                      <a:pt x="74" y="96"/>
                    </a:lnTo>
                    <a:lnTo>
                      <a:pt x="71" y="96"/>
                    </a:lnTo>
                    <a:lnTo>
                      <a:pt x="69" y="96"/>
                    </a:lnTo>
                    <a:lnTo>
                      <a:pt x="63" y="96"/>
                    </a:lnTo>
                    <a:lnTo>
                      <a:pt x="55" y="99"/>
                    </a:lnTo>
                    <a:lnTo>
                      <a:pt x="52" y="100"/>
                    </a:lnTo>
                    <a:lnTo>
                      <a:pt x="49" y="102"/>
                    </a:lnTo>
                    <a:lnTo>
                      <a:pt x="46" y="104"/>
                    </a:lnTo>
                    <a:lnTo>
                      <a:pt x="44" y="105"/>
                    </a:lnTo>
                    <a:lnTo>
                      <a:pt x="39" y="107"/>
                    </a:lnTo>
                    <a:lnTo>
                      <a:pt x="32" y="108"/>
                    </a:lnTo>
                    <a:lnTo>
                      <a:pt x="28" y="110"/>
                    </a:lnTo>
                    <a:lnTo>
                      <a:pt x="27" y="111"/>
                    </a:lnTo>
                    <a:lnTo>
                      <a:pt x="22" y="115"/>
                    </a:lnTo>
                    <a:lnTo>
                      <a:pt x="21" y="113"/>
                    </a:lnTo>
                    <a:lnTo>
                      <a:pt x="18" y="111"/>
                    </a:lnTo>
                    <a:lnTo>
                      <a:pt x="16" y="111"/>
                    </a:lnTo>
                    <a:lnTo>
                      <a:pt x="10" y="110"/>
                    </a:lnTo>
                    <a:lnTo>
                      <a:pt x="7" y="108"/>
                    </a:lnTo>
                    <a:lnTo>
                      <a:pt x="3" y="108"/>
                    </a:lnTo>
                    <a:lnTo>
                      <a:pt x="3" y="108"/>
                    </a:lnTo>
                    <a:lnTo>
                      <a:pt x="3" y="107"/>
                    </a:lnTo>
                    <a:lnTo>
                      <a:pt x="5" y="107"/>
                    </a:lnTo>
                    <a:lnTo>
                      <a:pt x="7" y="108"/>
                    </a:lnTo>
                    <a:lnTo>
                      <a:pt x="7" y="107"/>
                    </a:lnTo>
                    <a:lnTo>
                      <a:pt x="8" y="107"/>
                    </a:lnTo>
                    <a:lnTo>
                      <a:pt x="8" y="107"/>
                    </a:lnTo>
                    <a:lnTo>
                      <a:pt x="8" y="105"/>
                    </a:lnTo>
                    <a:lnTo>
                      <a:pt x="8" y="104"/>
                    </a:lnTo>
                    <a:lnTo>
                      <a:pt x="10" y="104"/>
                    </a:lnTo>
                    <a:lnTo>
                      <a:pt x="10" y="102"/>
                    </a:lnTo>
                    <a:lnTo>
                      <a:pt x="8" y="99"/>
                    </a:lnTo>
                    <a:lnTo>
                      <a:pt x="8" y="99"/>
                    </a:lnTo>
                    <a:lnTo>
                      <a:pt x="7" y="99"/>
                    </a:lnTo>
                    <a:lnTo>
                      <a:pt x="5" y="97"/>
                    </a:lnTo>
                    <a:lnTo>
                      <a:pt x="5" y="97"/>
                    </a:lnTo>
                    <a:lnTo>
                      <a:pt x="5" y="96"/>
                    </a:lnTo>
                    <a:lnTo>
                      <a:pt x="3" y="93"/>
                    </a:lnTo>
                    <a:lnTo>
                      <a:pt x="3" y="91"/>
                    </a:lnTo>
                    <a:lnTo>
                      <a:pt x="2" y="86"/>
                    </a:lnTo>
                    <a:lnTo>
                      <a:pt x="2" y="85"/>
                    </a:lnTo>
                    <a:lnTo>
                      <a:pt x="0" y="83"/>
                    </a:lnTo>
                    <a:lnTo>
                      <a:pt x="0" y="80"/>
                    </a:lnTo>
                    <a:lnTo>
                      <a:pt x="2" y="80"/>
                    </a:lnTo>
                    <a:lnTo>
                      <a:pt x="2" y="79"/>
                    </a:lnTo>
                    <a:lnTo>
                      <a:pt x="0" y="79"/>
                    </a:lnTo>
                    <a:lnTo>
                      <a:pt x="2" y="75"/>
                    </a:lnTo>
                    <a:lnTo>
                      <a:pt x="5" y="72"/>
                    </a:lnTo>
                    <a:lnTo>
                      <a:pt x="5" y="72"/>
                    </a:lnTo>
                    <a:lnTo>
                      <a:pt x="5" y="71"/>
                    </a:lnTo>
                    <a:lnTo>
                      <a:pt x="5" y="69"/>
                    </a:lnTo>
                    <a:lnTo>
                      <a:pt x="7" y="66"/>
                    </a:lnTo>
                    <a:lnTo>
                      <a:pt x="7" y="63"/>
                    </a:lnTo>
                    <a:lnTo>
                      <a:pt x="8" y="61"/>
                    </a:lnTo>
                    <a:lnTo>
                      <a:pt x="8" y="60"/>
                    </a:lnTo>
                    <a:lnTo>
                      <a:pt x="8" y="58"/>
                    </a:lnTo>
                    <a:lnTo>
                      <a:pt x="8" y="58"/>
                    </a:lnTo>
                    <a:lnTo>
                      <a:pt x="11" y="57"/>
                    </a:lnTo>
                    <a:lnTo>
                      <a:pt x="11" y="57"/>
                    </a:lnTo>
                    <a:lnTo>
                      <a:pt x="13" y="55"/>
                    </a:lnTo>
                    <a:lnTo>
                      <a:pt x="11" y="55"/>
                    </a:lnTo>
                    <a:lnTo>
                      <a:pt x="11" y="55"/>
                    </a:lnTo>
                    <a:lnTo>
                      <a:pt x="13" y="53"/>
                    </a:lnTo>
                    <a:lnTo>
                      <a:pt x="13" y="53"/>
                    </a:lnTo>
                    <a:lnTo>
                      <a:pt x="14" y="53"/>
                    </a:lnTo>
                    <a:lnTo>
                      <a:pt x="13" y="49"/>
                    </a:lnTo>
                    <a:lnTo>
                      <a:pt x="13" y="43"/>
                    </a:lnTo>
                    <a:lnTo>
                      <a:pt x="13" y="43"/>
                    </a:lnTo>
                    <a:lnTo>
                      <a:pt x="11" y="43"/>
                    </a:lnTo>
                    <a:lnTo>
                      <a:pt x="11" y="39"/>
                    </a:lnTo>
                    <a:lnTo>
                      <a:pt x="11" y="39"/>
                    </a:lnTo>
                    <a:lnTo>
                      <a:pt x="10" y="38"/>
                    </a:lnTo>
                    <a:lnTo>
                      <a:pt x="10" y="38"/>
                    </a:lnTo>
                    <a:lnTo>
                      <a:pt x="11" y="35"/>
                    </a:lnTo>
                    <a:lnTo>
                      <a:pt x="11" y="35"/>
                    </a:lnTo>
                    <a:lnTo>
                      <a:pt x="10" y="33"/>
                    </a:lnTo>
                    <a:lnTo>
                      <a:pt x="10" y="33"/>
                    </a:lnTo>
                    <a:lnTo>
                      <a:pt x="11" y="32"/>
                    </a:lnTo>
                    <a:lnTo>
                      <a:pt x="11" y="30"/>
                    </a:lnTo>
                    <a:lnTo>
                      <a:pt x="10" y="30"/>
                    </a:lnTo>
                    <a:lnTo>
                      <a:pt x="10" y="27"/>
                    </a:lnTo>
                    <a:lnTo>
                      <a:pt x="10" y="25"/>
                    </a:lnTo>
                    <a:lnTo>
                      <a:pt x="10" y="25"/>
                    </a:lnTo>
                    <a:lnTo>
                      <a:pt x="10" y="24"/>
                    </a:lnTo>
                    <a:lnTo>
                      <a:pt x="10" y="21"/>
                    </a:lnTo>
                    <a:lnTo>
                      <a:pt x="8" y="17"/>
                    </a:lnTo>
                    <a:lnTo>
                      <a:pt x="10" y="17"/>
                    </a:lnTo>
                    <a:lnTo>
                      <a:pt x="10" y="16"/>
                    </a:lnTo>
                    <a:lnTo>
                      <a:pt x="8" y="16"/>
                    </a:lnTo>
                    <a:lnTo>
                      <a:pt x="8" y="14"/>
                    </a:lnTo>
                    <a:lnTo>
                      <a:pt x="10" y="14"/>
                    </a:lnTo>
                    <a:lnTo>
                      <a:pt x="8" y="14"/>
                    </a:lnTo>
                    <a:lnTo>
                      <a:pt x="8" y="13"/>
                    </a:lnTo>
                    <a:lnTo>
                      <a:pt x="7" y="13"/>
                    </a:lnTo>
                    <a:lnTo>
                      <a:pt x="7" y="11"/>
                    </a:lnTo>
                    <a:lnTo>
                      <a:pt x="7" y="8"/>
                    </a:lnTo>
                    <a:lnTo>
                      <a:pt x="8" y="5"/>
                    </a:lnTo>
                    <a:lnTo>
                      <a:pt x="8" y="3"/>
                    </a:lnTo>
                    <a:lnTo>
                      <a:pt x="10" y="3"/>
                    </a:lnTo>
                    <a:lnTo>
                      <a:pt x="10" y="3"/>
                    </a:lnTo>
                    <a:lnTo>
                      <a:pt x="14" y="3"/>
                    </a:lnTo>
                    <a:lnTo>
                      <a:pt x="19" y="3"/>
                    </a:lnTo>
                    <a:lnTo>
                      <a:pt x="24" y="3"/>
                    </a:lnTo>
                    <a:lnTo>
                      <a:pt x="30" y="3"/>
                    </a:lnTo>
                    <a:lnTo>
                      <a:pt x="30" y="3"/>
                    </a:lnTo>
                    <a:lnTo>
                      <a:pt x="32" y="3"/>
                    </a:lnTo>
                    <a:lnTo>
                      <a:pt x="36" y="3"/>
                    </a:lnTo>
                    <a:lnTo>
                      <a:pt x="39" y="3"/>
                    </a:lnTo>
                    <a:lnTo>
                      <a:pt x="41" y="3"/>
                    </a:lnTo>
                    <a:lnTo>
                      <a:pt x="43" y="3"/>
                    </a:lnTo>
                    <a:lnTo>
                      <a:pt x="44" y="3"/>
                    </a:lnTo>
                    <a:lnTo>
                      <a:pt x="46" y="3"/>
                    </a:lnTo>
                    <a:lnTo>
                      <a:pt x="47" y="5"/>
                    </a:lnTo>
                    <a:lnTo>
                      <a:pt x="47" y="5"/>
                    </a:lnTo>
                    <a:lnTo>
                      <a:pt x="47" y="5"/>
                    </a:lnTo>
                    <a:lnTo>
                      <a:pt x="49" y="3"/>
                    </a:lnTo>
                    <a:lnTo>
                      <a:pt x="49" y="3"/>
                    </a:lnTo>
                    <a:lnTo>
                      <a:pt x="50" y="3"/>
                    </a:lnTo>
                    <a:lnTo>
                      <a:pt x="50" y="2"/>
                    </a:lnTo>
                    <a:lnTo>
                      <a:pt x="50" y="2"/>
                    </a:lnTo>
                    <a:lnTo>
                      <a:pt x="52" y="2"/>
                    </a:lnTo>
                    <a:lnTo>
                      <a:pt x="52" y="2"/>
                    </a:lnTo>
                    <a:lnTo>
                      <a:pt x="52" y="0"/>
                    </a:lnTo>
                    <a:lnTo>
                      <a:pt x="57"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1" name="Freeform 78">
                <a:extLst>
                  <a:ext uri="{FF2B5EF4-FFF2-40B4-BE49-F238E27FC236}">
                    <a16:creationId xmlns:a16="http://schemas.microsoft.com/office/drawing/2014/main" id="{FF903967-0ECE-A0A3-A6DF-1BB155C4AC11}"/>
                  </a:ext>
                </a:extLst>
              </p:cNvPr>
              <p:cNvSpPr>
                <a:spLocks/>
              </p:cNvSpPr>
              <p:nvPr/>
            </p:nvSpPr>
            <p:spPr bwMode="gray">
              <a:xfrm>
                <a:off x="2581" y="898"/>
                <a:ext cx="0" cy="2"/>
              </a:xfrm>
              <a:custGeom>
                <a:avLst/>
                <a:gdLst>
                  <a:gd name="T0" fmla="*/ 0 h 2"/>
                  <a:gd name="T1" fmla="*/ 0 h 2"/>
                  <a:gd name="T2" fmla="*/ 2 h 2"/>
                  <a:gd name="T3" fmla="*/ 2 h 2"/>
                  <a:gd name="T4" fmla="*/ 2 h 2"/>
                  <a:gd name="T5" fmla="*/ 2 h 2"/>
                  <a:gd name="T6" fmla="*/ 2 h 2"/>
                  <a:gd name="T7" fmla="*/ 0 h 2"/>
                  <a:gd name="T8" fmla="*/ 0 h 2"/>
                  <a:gd name="T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2">
                    <a:moveTo>
                      <a:pt x="0" y="0"/>
                    </a:moveTo>
                    <a:lnTo>
                      <a:pt x="0" y="0"/>
                    </a:lnTo>
                    <a:lnTo>
                      <a:pt x="0" y="2"/>
                    </a:lnTo>
                    <a:lnTo>
                      <a:pt x="0" y="2"/>
                    </a:lnTo>
                    <a:lnTo>
                      <a:pt x="0" y="2"/>
                    </a:lnTo>
                    <a:lnTo>
                      <a:pt x="0" y="2"/>
                    </a:lnTo>
                    <a:lnTo>
                      <a:pt x="0" y="2"/>
                    </a:lnTo>
                    <a:lnTo>
                      <a:pt x="0" y="0"/>
                    </a:lnTo>
                    <a:lnTo>
                      <a:pt x="0"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2" name="Freeform 79">
                <a:extLst>
                  <a:ext uri="{FF2B5EF4-FFF2-40B4-BE49-F238E27FC236}">
                    <a16:creationId xmlns:a16="http://schemas.microsoft.com/office/drawing/2014/main" id="{CC0A78E9-B6A4-0637-8E54-9156E0F673DC}"/>
                  </a:ext>
                </a:extLst>
              </p:cNvPr>
              <p:cNvSpPr>
                <a:spLocks noEditPoints="1"/>
              </p:cNvSpPr>
              <p:nvPr/>
            </p:nvSpPr>
            <p:spPr bwMode="gray">
              <a:xfrm>
                <a:off x="1740" y="33"/>
                <a:ext cx="291" cy="230"/>
              </a:xfrm>
              <a:custGeom>
                <a:avLst/>
                <a:gdLst>
                  <a:gd name="T0" fmla="*/ 121 w 291"/>
                  <a:gd name="T1" fmla="*/ 200 h 230"/>
                  <a:gd name="T2" fmla="*/ 282 w 291"/>
                  <a:gd name="T3" fmla="*/ 5 h 230"/>
                  <a:gd name="T4" fmla="*/ 286 w 291"/>
                  <a:gd name="T5" fmla="*/ 0 h 230"/>
                  <a:gd name="T6" fmla="*/ 271 w 291"/>
                  <a:gd name="T7" fmla="*/ 0 h 230"/>
                  <a:gd name="T8" fmla="*/ 280 w 291"/>
                  <a:gd name="T9" fmla="*/ 3 h 230"/>
                  <a:gd name="T10" fmla="*/ 2 w 291"/>
                  <a:gd name="T11" fmla="*/ 9 h 230"/>
                  <a:gd name="T12" fmla="*/ 24 w 291"/>
                  <a:gd name="T13" fmla="*/ 8 h 230"/>
                  <a:gd name="T14" fmla="*/ 35 w 291"/>
                  <a:gd name="T15" fmla="*/ 3 h 230"/>
                  <a:gd name="T16" fmla="*/ 13 w 291"/>
                  <a:gd name="T17" fmla="*/ 20 h 230"/>
                  <a:gd name="T18" fmla="*/ 21 w 291"/>
                  <a:gd name="T19" fmla="*/ 47 h 230"/>
                  <a:gd name="T20" fmla="*/ 27 w 291"/>
                  <a:gd name="T21" fmla="*/ 63 h 230"/>
                  <a:gd name="T22" fmla="*/ 36 w 291"/>
                  <a:gd name="T23" fmla="*/ 45 h 230"/>
                  <a:gd name="T24" fmla="*/ 42 w 291"/>
                  <a:gd name="T25" fmla="*/ 33 h 230"/>
                  <a:gd name="T26" fmla="*/ 46 w 291"/>
                  <a:gd name="T27" fmla="*/ 39 h 230"/>
                  <a:gd name="T28" fmla="*/ 56 w 291"/>
                  <a:gd name="T29" fmla="*/ 55 h 230"/>
                  <a:gd name="T30" fmla="*/ 42 w 291"/>
                  <a:gd name="T31" fmla="*/ 48 h 230"/>
                  <a:gd name="T32" fmla="*/ 30 w 291"/>
                  <a:gd name="T33" fmla="*/ 63 h 230"/>
                  <a:gd name="T34" fmla="*/ 33 w 291"/>
                  <a:gd name="T35" fmla="*/ 70 h 230"/>
                  <a:gd name="T36" fmla="*/ 49 w 291"/>
                  <a:gd name="T37" fmla="*/ 66 h 230"/>
                  <a:gd name="T38" fmla="*/ 35 w 291"/>
                  <a:gd name="T39" fmla="*/ 72 h 230"/>
                  <a:gd name="T40" fmla="*/ 42 w 291"/>
                  <a:gd name="T41" fmla="*/ 108 h 230"/>
                  <a:gd name="T42" fmla="*/ 50 w 291"/>
                  <a:gd name="T43" fmla="*/ 120 h 230"/>
                  <a:gd name="T44" fmla="*/ 53 w 291"/>
                  <a:gd name="T45" fmla="*/ 127 h 230"/>
                  <a:gd name="T46" fmla="*/ 58 w 291"/>
                  <a:gd name="T47" fmla="*/ 139 h 230"/>
                  <a:gd name="T48" fmla="*/ 64 w 291"/>
                  <a:gd name="T49" fmla="*/ 152 h 230"/>
                  <a:gd name="T50" fmla="*/ 74 w 291"/>
                  <a:gd name="T51" fmla="*/ 150 h 230"/>
                  <a:gd name="T52" fmla="*/ 69 w 291"/>
                  <a:gd name="T53" fmla="*/ 161 h 230"/>
                  <a:gd name="T54" fmla="*/ 75 w 291"/>
                  <a:gd name="T55" fmla="*/ 174 h 230"/>
                  <a:gd name="T56" fmla="*/ 85 w 291"/>
                  <a:gd name="T57" fmla="*/ 183 h 230"/>
                  <a:gd name="T58" fmla="*/ 94 w 291"/>
                  <a:gd name="T59" fmla="*/ 191 h 230"/>
                  <a:gd name="T60" fmla="*/ 97 w 291"/>
                  <a:gd name="T61" fmla="*/ 199 h 230"/>
                  <a:gd name="T62" fmla="*/ 107 w 291"/>
                  <a:gd name="T63" fmla="*/ 197 h 230"/>
                  <a:gd name="T64" fmla="*/ 122 w 291"/>
                  <a:gd name="T65" fmla="*/ 188 h 230"/>
                  <a:gd name="T66" fmla="*/ 130 w 291"/>
                  <a:gd name="T67" fmla="*/ 185 h 230"/>
                  <a:gd name="T68" fmla="*/ 133 w 291"/>
                  <a:gd name="T69" fmla="*/ 205 h 230"/>
                  <a:gd name="T70" fmla="*/ 150 w 291"/>
                  <a:gd name="T71" fmla="*/ 202 h 230"/>
                  <a:gd name="T72" fmla="*/ 138 w 291"/>
                  <a:gd name="T73" fmla="*/ 217 h 230"/>
                  <a:gd name="T74" fmla="*/ 160 w 291"/>
                  <a:gd name="T75" fmla="*/ 216 h 230"/>
                  <a:gd name="T76" fmla="*/ 158 w 291"/>
                  <a:gd name="T77" fmla="*/ 228 h 230"/>
                  <a:gd name="T78" fmla="*/ 167 w 291"/>
                  <a:gd name="T79" fmla="*/ 230 h 230"/>
                  <a:gd name="T80" fmla="*/ 174 w 291"/>
                  <a:gd name="T81" fmla="*/ 227 h 230"/>
                  <a:gd name="T82" fmla="*/ 175 w 291"/>
                  <a:gd name="T83" fmla="*/ 208 h 230"/>
                  <a:gd name="T84" fmla="*/ 169 w 291"/>
                  <a:gd name="T85" fmla="*/ 203 h 230"/>
                  <a:gd name="T86" fmla="*/ 189 w 291"/>
                  <a:gd name="T87" fmla="*/ 175 h 230"/>
                  <a:gd name="T88" fmla="*/ 193 w 291"/>
                  <a:gd name="T89" fmla="*/ 161 h 230"/>
                  <a:gd name="T90" fmla="*/ 194 w 291"/>
                  <a:gd name="T91" fmla="*/ 139 h 230"/>
                  <a:gd name="T92" fmla="*/ 183 w 291"/>
                  <a:gd name="T93" fmla="*/ 127 h 230"/>
                  <a:gd name="T94" fmla="*/ 199 w 291"/>
                  <a:gd name="T95" fmla="*/ 124 h 230"/>
                  <a:gd name="T96" fmla="*/ 196 w 291"/>
                  <a:gd name="T97" fmla="*/ 108 h 230"/>
                  <a:gd name="T98" fmla="*/ 208 w 291"/>
                  <a:gd name="T99" fmla="*/ 111 h 230"/>
                  <a:gd name="T100" fmla="*/ 214 w 291"/>
                  <a:gd name="T101" fmla="*/ 94 h 230"/>
                  <a:gd name="T102" fmla="*/ 222 w 291"/>
                  <a:gd name="T103" fmla="*/ 69 h 230"/>
                  <a:gd name="T104" fmla="*/ 214 w 291"/>
                  <a:gd name="T105" fmla="*/ 64 h 230"/>
                  <a:gd name="T106" fmla="*/ 230 w 291"/>
                  <a:gd name="T107" fmla="*/ 55 h 230"/>
                  <a:gd name="T108" fmla="*/ 216 w 291"/>
                  <a:gd name="T109" fmla="*/ 39 h 230"/>
                  <a:gd name="T110" fmla="*/ 232 w 291"/>
                  <a:gd name="T111" fmla="*/ 30 h 230"/>
                  <a:gd name="T112" fmla="*/ 230 w 291"/>
                  <a:gd name="T113" fmla="*/ 11 h 230"/>
                  <a:gd name="T114" fmla="*/ 0 w 291"/>
                  <a:gd name="T11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 h="230">
                    <a:moveTo>
                      <a:pt x="121" y="192"/>
                    </a:moveTo>
                    <a:lnTo>
                      <a:pt x="114" y="197"/>
                    </a:lnTo>
                    <a:lnTo>
                      <a:pt x="114" y="197"/>
                    </a:lnTo>
                    <a:lnTo>
                      <a:pt x="116" y="197"/>
                    </a:lnTo>
                    <a:lnTo>
                      <a:pt x="117" y="199"/>
                    </a:lnTo>
                    <a:lnTo>
                      <a:pt x="119" y="200"/>
                    </a:lnTo>
                    <a:lnTo>
                      <a:pt x="121" y="200"/>
                    </a:lnTo>
                    <a:lnTo>
                      <a:pt x="122" y="197"/>
                    </a:lnTo>
                    <a:lnTo>
                      <a:pt x="124" y="194"/>
                    </a:lnTo>
                    <a:lnTo>
                      <a:pt x="124" y="192"/>
                    </a:lnTo>
                    <a:lnTo>
                      <a:pt x="124" y="191"/>
                    </a:lnTo>
                    <a:lnTo>
                      <a:pt x="121" y="192"/>
                    </a:lnTo>
                    <a:close/>
                    <a:moveTo>
                      <a:pt x="285" y="3"/>
                    </a:moveTo>
                    <a:lnTo>
                      <a:pt x="282" y="5"/>
                    </a:lnTo>
                    <a:lnTo>
                      <a:pt x="282" y="8"/>
                    </a:lnTo>
                    <a:lnTo>
                      <a:pt x="282" y="11"/>
                    </a:lnTo>
                    <a:lnTo>
                      <a:pt x="285" y="11"/>
                    </a:lnTo>
                    <a:lnTo>
                      <a:pt x="286" y="9"/>
                    </a:lnTo>
                    <a:lnTo>
                      <a:pt x="286" y="6"/>
                    </a:lnTo>
                    <a:lnTo>
                      <a:pt x="285" y="3"/>
                    </a:lnTo>
                    <a:close/>
                    <a:moveTo>
                      <a:pt x="286" y="0"/>
                    </a:moveTo>
                    <a:lnTo>
                      <a:pt x="286" y="2"/>
                    </a:lnTo>
                    <a:lnTo>
                      <a:pt x="288" y="2"/>
                    </a:lnTo>
                    <a:lnTo>
                      <a:pt x="291" y="0"/>
                    </a:lnTo>
                    <a:lnTo>
                      <a:pt x="291" y="0"/>
                    </a:lnTo>
                    <a:lnTo>
                      <a:pt x="291" y="0"/>
                    </a:lnTo>
                    <a:lnTo>
                      <a:pt x="286" y="0"/>
                    </a:lnTo>
                    <a:close/>
                    <a:moveTo>
                      <a:pt x="271" y="0"/>
                    </a:moveTo>
                    <a:lnTo>
                      <a:pt x="268" y="5"/>
                    </a:lnTo>
                    <a:lnTo>
                      <a:pt x="269" y="8"/>
                    </a:lnTo>
                    <a:lnTo>
                      <a:pt x="272" y="9"/>
                    </a:lnTo>
                    <a:lnTo>
                      <a:pt x="274" y="8"/>
                    </a:lnTo>
                    <a:lnTo>
                      <a:pt x="277" y="8"/>
                    </a:lnTo>
                    <a:lnTo>
                      <a:pt x="279" y="6"/>
                    </a:lnTo>
                    <a:lnTo>
                      <a:pt x="280" y="3"/>
                    </a:lnTo>
                    <a:lnTo>
                      <a:pt x="280" y="0"/>
                    </a:lnTo>
                    <a:lnTo>
                      <a:pt x="282" y="0"/>
                    </a:lnTo>
                    <a:lnTo>
                      <a:pt x="282" y="0"/>
                    </a:lnTo>
                    <a:lnTo>
                      <a:pt x="271" y="0"/>
                    </a:lnTo>
                    <a:close/>
                    <a:moveTo>
                      <a:pt x="0" y="0"/>
                    </a:moveTo>
                    <a:lnTo>
                      <a:pt x="0" y="2"/>
                    </a:lnTo>
                    <a:lnTo>
                      <a:pt x="2" y="9"/>
                    </a:lnTo>
                    <a:lnTo>
                      <a:pt x="2" y="9"/>
                    </a:lnTo>
                    <a:lnTo>
                      <a:pt x="5" y="9"/>
                    </a:lnTo>
                    <a:lnTo>
                      <a:pt x="10" y="9"/>
                    </a:lnTo>
                    <a:lnTo>
                      <a:pt x="13" y="14"/>
                    </a:lnTo>
                    <a:lnTo>
                      <a:pt x="16" y="14"/>
                    </a:lnTo>
                    <a:lnTo>
                      <a:pt x="22" y="9"/>
                    </a:lnTo>
                    <a:lnTo>
                      <a:pt x="24" y="8"/>
                    </a:lnTo>
                    <a:lnTo>
                      <a:pt x="27" y="5"/>
                    </a:lnTo>
                    <a:lnTo>
                      <a:pt x="27" y="3"/>
                    </a:lnTo>
                    <a:lnTo>
                      <a:pt x="33" y="2"/>
                    </a:lnTo>
                    <a:lnTo>
                      <a:pt x="38" y="0"/>
                    </a:lnTo>
                    <a:lnTo>
                      <a:pt x="38" y="2"/>
                    </a:lnTo>
                    <a:lnTo>
                      <a:pt x="38" y="2"/>
                    </a:lnTo>
                    <a:lnTo>
                      <a:pt x="35" y="3"/>
                    </a:lnTo>
                    <a:lnTo>
                      <a:pt x="28" y="3"/>
                    </a:lnTo>
                    <a:lnTo>
                      <a:pt x="27" y="6"/>
                    </a:lnTo>
                    <a:lnTo>
                      <a:pt x="22" y="11"/>
                    </a:lnTo>
                    <a:lnTo>
                      <a:pt x="19" y="16"/>
                    </a:lnTo>
                    <a:lnTo>
                      <a:pt x="14" y="19"/>
                    </a:lnTo>
                    <a:lnTo>
                      <a:pt x="13" y="19"/>
                    </a:lnTo>
                    <a:lnTo>
                      <a:pt x="13" y="20"/>
                    </a:lnTo>
                    <a:lnTo>
                      <a:pt x="13" y="22"/>
                    </a:lnTo>
                    <a:lnTo>
                      <a:pt x="14" y="25"/>
                    </a:lnTo>
                    <a:lnTo>
                      <a:pt x="14" y="25"/>
                    </a:lnTo>
                    <a:lnTo>
                      <a:pt x="17" y="27"/>
                    </a:lnTo>
                    <a:lnTo>
                      <a:pt x="17" y="31"/>
                    </a:lnTo>
                    <a:lnTo>
                      <a:pt x="21" y="42"/>
                    </a:lnTo>
                    <a:lnTo>
                      <a:pt x="21" y="47"/>
                    </a:lnTo>
                    <a:lnTo>
                      <a:pt x="21" y="50"/>
                    </a:lnTo>
                    <a:lnTo>
                      <a:pt x="21" y="58"/>
                    </a:lnTo>
                    <a:lnTo>
                      <a:pt x="21" y="61"/>
                    </a:lnTo>
                    <a:lnTo>
                      <a:pt x="22" y="64"/>
                    </a:lnTo>
                    <a:lnTo>
                      <a:pt x="24" y="66"/>
                    </a:lnTo>
                    <a:lnTo>
                      <a:pt x="25" y="66"/>
                    </a:lnTo>
                    <a:lnTo>
                      <a:pt x="27" y="63"/>
                    </a:lnTo>
                    <a:lnTo>
                      <a:pt x="28" y="59"/>
                    </a:lnTo>
                    <a:lnTo>
                      <a:pt x="31" y="52"/>
                    </a:lnTo>
                    <a:lnTo>
                      <a:pt x="33" y="50"/>
                    </a:lnTo>
                    <a:lnTo>
                      <a:pt x="33" y="45"/>
                    </a:lnTo>
                    <a:lnTo>
                      <a:pt x="35" y="44"/>
                    </a:lnTo>
                    <a:lnTo>
                      <a:pt x="38" y="42"/>
                    </a:lnTo>
                    <a:lnTo>
                      <a:pt x="36" y="45"/>
                    </a:lnTo>
                    <a:lnTo>
                      <a:pt x="36" y="48"/>
                    </a:lnTo>
                    <a:lnTo>
                      <a:pt x="39" y="47"/>
                    </a:lnTo>
                    <a:lnTo>
                      <a:pt x="42" y="47"/>
                    </a:lnTo>
                    <a:lnTo>
                      <a:pt x="44" y="44"/>
                    </a:lnTo>
                    <a:lnTo>
                      <a:pt x="44" y="42"/>
                    </a:lnTo>
                    <a:lnTo>
                      <a:pt x="44" y="39"/>
                    </a:lnTo>
                    <a:lnTo>
                      <a:pt x="42" y="33"/>
                    </a:lnTo>
                    <a:lnTo>
                      <a:pt x="41" y="30"/>
                    </a:lnTo>
                    <a:lnTo>
                      <a:pt x="41" y="25"/>
                    </a:lnTo>
                    <a:lnTo>
                      <a:pt x="41" y="25"/>
                    </a:lnTo>
                    <a:lnTo>
                      <a:pt x="42" y="30"/>
                    </a:lnTo>
                    <a:lnTo>
                      <a:pt x="42" y="31"/>
                    </a:lnTo>
                    <a:lnTo>
                      <a:pt x="46" y="38"/>
                    </a:lnTo>
                    <a:lnTo>
                      <a:pt x="46" y="39"/>
                    </a:lnTo>
                    <a:lnTo>
                      <a:pt x="46" y="39"/>
                    </a:lnTo>
                    <a:lnTo>
                      <a:pt x="49" y="44"/>
                    </a:lnTo>
                    <a:lnTo>
                      <a:pt x="52" y="42"/>
                    </a:lnTo>
                    <a:lnTo>
                      <a:pt x="53" y="44"/>
                    </a:lnTo>
                    <a:lnTo>
                      <a:pt x="55" y="45"/>
                    </a:lnTo>
                    <a:lnTo>
                      <a:pt x="55" y="52"/>
                    </a:lnTo>
                    <a:lnTo>
                      <a:pt x="56" y="55"/>
                    </a:lnTo>
                    <a:lnTo>
                      <a:pt x="56" y="56"/>
                    </a:lnTo>
                    <a:lnTo>
                      <a:pt x="55" y="55"/>
                    </a:lnTo>
                    <a:lnTo>
                      <a:pt x="52" y="50"/>
                    </a:lnTo>
                    <a:lnTo>
                      <a:pt x="52" y="47"/>
                    </a:lnTo>
                    <a:lnTo>
                      <a:pt x="49" y="47"/>
                    </a:lnTo>
                    <a:lnTo>
                      <a:pt x="46" y="47"/>
                    </a:lnTo>
                    <a:lnTo>
                      <a:pt x="42" y="48"/>
                    </a:lnTo>
                    <a:lnTo>
                      <a:pt x="42" y="50"/>
                    </a:lnTo>
                    <a:lnTo>
                      <a:pt x="42" y="52"/>
                    </a:lnTo>
                    <a:lnTo>
                      <a:pt x="41" y="52"/>
                    </a:lnTo>
                    <a:lnTo>
                      <a:pt x="38" y="52"/>
                    </a:lnTo>
                    <a:lnTo>
                      <a:pt x="36" y="52"/>
                    </a:lnTo>
                    <a:lnTo>
                      <a:pt x="33" y="56"/>
                    </a:lnTo>
                    <a:lnTo>
                      <a:pt x="30" y="63"/>
                    </a:lnTo>
                    <a:lnTo>
                      <a:pt x="27" y="66"/>
                    </a:lnTo>
                    <a:lnTo>
                      <a:pt x="28" y="67"/>
                    </a:lnTo>
                    <a:lnTo>
                      <a:pt x="30" y="70"/>
                    </a:lnTo>
                    <a:lnTo>
                      <a:pt x="30" y="70"/>
                    </a:lnTo>
                    <a:lnTo>
                      <a:pt x="31" y="70"/>
                    </a:lnTo>
                    <a:lnTo>
                      <a:pt x="33" y="69"/>
                    </a:lnTo>
                    <a:lnTo>
                      <a:pt x="33" y="70"/>
                    </a:lnTo>
                    <a:lnTo>
                      <a:pt x="38" y="69"/>
                    </a:lnTo>
                    <a:lnTo>
                      <a:pt x="44" y="66"/>
                    </a:lnTo>
                    <a:lnTo>
                      <a:pt x="49" y="63"/>
                    </a:lnTo>
                    <a:lnTo>
                      <a:pt x="50" y="63"/>
                    </a:lnTo>
                    <a:lnTo>
                      <a:pt x="49" y="64"/>
                    </a:lnTo>
                    <a:lnTo>
                      <a:pt x="49" y="66"/>
                    </a:lnTo>
                    <a:lnTo>
                      <a:pt x="49" y="66"/>
                    </a:lnTo>
                    <a:lnTo>
                      <a:pt x="50" y="66"/>
                    </a:lnTo>
                    <a:lnTo>
                      <a:pt x="53" y="66"/>
                    </a:lnTo>
                    <a:lnTo>
                      <a:pt x="52" y="67"/>
                    </a:lnTo>
                    <a:lnTo>
                      <a:pt x="47" y="69"/>
                    </a:lnTo>
                    <a:lnTo>
                      <a:pt x="46" y="69"/>
                    </a:lnTo>
                    <a:lnTo>
                      <a:pt x="41" y="70"/>
                    </a:lnTo>
                    <a:lnTo>
                      <a:pt x="35" y="72"/>
                    </a:lnTo>
                    <a:lnTo>
                      <a:pt x="30" y="75"/>
                    </a:lnTo>
                    <a:lnTo>
                      <a:pt x="31" y="78"/>
                    </a:lnTo>
                    <a:lnTo>
                      <a:pt x="30" y="84"/>
                    </a:lnTo>
                    <a:lnTo>
                      <a:pt x="31" y="89"/>
                    </a:lnTo>
                    <a:lnTo>
                      <a:pt x="36" y="97"/>
                    </a:lnTo>
                    <a:lnTo>
                      <a:pt x="39" y="103"/>
                    </a:lnTo>
                    <a:lnTo>
                      <a:pt x="42" y="108"/>
                    </a:lnTo>
                    <a:lnTo>
                      <a:pt x="42" y="111"/>
                    </a:lnTo>
                    <a:lnTo>
                      <a:pt x="44" y="113"/>
                    </a:lnTo>
                    <a:lnTo>
                      <a:pt x="47" y="114"/>
                    </a:lnTo>
                    <a:lnTo>
                      <a:pt x="47" y="116"/>
                    </a:lnTo>
                    <a:lnTo>
                      <a:pt x="49" y="116"/>
                    </a:lnTo>
                    <a:lnTo>
                      <a:pt x="50" y="120"/>
                    </a:lnTo>
                    <a:lnTo>
                      <a:pt x="50" y="120"/>
                    </a:lnTo>
                    <a:lnTo>
                      <a:pt x="52" y="120"/>
                    </a:lnTo>
                    <a:lnTo>
                      <a:pt x="55" y="114"/>
                    </a:lnTo>
                    <a:lnTo>
                      <a:pt x="61" y="113"/>
                    </a:lnTo>
                    <a:lnTo>
                      <a:pt x="56" y="117"/>
                    </a:lnTo>
                    <a:lnTo>
                      <a:pt x="53" y="120"/>
                    </a:lnTo>
                    <a:lnTo>
                      <a:pt x="52" y="125"/>
                    </a:lnTo>
                    <a:lnTo>
                      <a:pt x="53" y="127"/>
                    </a:lnTo>
                    <a:lnTo>
                      <a:pt x="53" y="130"/>
                    </a:lnTo>
                    <a:lnTo>
                      <a:pt x="52" y="131"/>
                    </a:lnTo>
                    <a:lnTo>
                      <a:pt x="52" y="135"/>
                    </a:lnTo>
                    <a:lnTo>
                      <a:pt x="52" y="135"/>
                    </a:lnTo>
                    <a:lnTo>
                      <a:pt x="53" y="136"/>
                    </a:lnTo>
                    <a:lnTo>
                      <a:pt x="56" y="138"/>
                    </a:lnTo>
                    <a:lnTo>
                      <a:pt x="58" y="139"/>
                    </a:lnTo>
                    <a:lnTo>
                      <a:pt x="61" y="141"/>
                    </a:lnTo>
                    <a:lnTo>
                      <a:pt x="63" y="142"/>
                    </a:lnTo>
                    <a:lnTo>
                      <a:pt x="66" y="142"/>
                    </a:lnTo>
                    <a:lnTo>
                      <a:pt x="63" y="145"/>
                    </a:lnTo>
                    <a:lnTo>
                      <a:pt x="63" y="149"/>
                    </a:lnTo>
                    <a:lnTo>
                      <a:pt x="63" y="152"/>
                    </a:lnTo>
                    <a:lnTo>
                      <a:pt x="64" y="152"/>
                    </a:lnTo>
                    <a:lnTo>
                      <a:pt x="69" y="152"/>
                    </a:lnTo>
                    <a:lnTo>
                      <a:pt x="71" y="150"/>
                    </a:lnTo>
                    <a:lnTo>
                      <a:pt x="71" y="149"/>
                    </a:lnTo>
                    <a:lnTo>
                      <a:pt x="72" y="147"/>
                    </a:lnTo>
                    <a:lnTo>
                      <a:pt x="75" y="147"/>
                    </a:lnTo>
                    <a:lnTo>
                      <a:pt x="78" y="149"/>
                    </a:lnTo>
                    <a:lnTo>
                      <a:pt x="74" y="150"/>
                    </a:lnTo>
                    <a:lnTo>
                      <a:pt x="74" y="152"/>
                    </a:lnTo>
                    <a:lnTo>
                      <a:pt x="72" y="152"/>
                    </a:lnTo>
                    <a:lnTo>
                      <a:pt x="69" y="155"/>
                    </a:lnTo>
                    <a:lnTo>
                      <a:pt x="67" y="156"/>
                    </a:lnTo>
                    <a:lnTo>
                      <a:pt x="69" y="158"/>
                    </a:lnTo>
                    <a:lnTo>
                      <a:pt x="69" y="160"/>
                    </a:lnTo>
                    <a:lnTo>
                      <a:pt x="69" y="161"/>
                    </a:lnTo>
                    <a:lnTo>
                      <a:pt x="71" y="163"/>
                    </a:lnTo>
                    <a:lnTo>
                      <a:pt x="72" y="164"/>
                    </a:lnTo>
                    <a:lnTo>
                      <a:pt x="71" y="166"/>
                    </a:lnTo>
                    <a:lnTo>
                      <a:pt x="69" y="167"/>
                    </a:lnTo>
                    <a:lnTo>
                      <a:pt x="71" y="169"/>
                    </a:lnTo>
                    <a:lnTo>
                      <a:pt x="74" y="169"/>
                    </a:lnTo>
                    <a:lnTo>
                      <a:pt x="75" y="174"/>
                    </a:lnTo>
                    <a:lnTo>
                      <a:pt x="75" y="175"/>
                    </a:lnTo>
                    <a:lnTo>
                      <a:pt x="77" y="178"/>
                    </a:lnTo>
                    <a:lnTo>
                      <a:pt x="82" y="180"/>
                    </a:lnTo>
                    <a:lnTo>
                      <a:pt x="83" y="180"/>
                    </a:lnTo>
                    <a:lnTo>
                      <a:pt x="83" y="180"/>
                    </a:lnTo>
                    <a:lnTo>
                      <a:pt x="85" y="181"/>
                    </a:lnTo>
                    <a:lnTo>
                      <a:pt x="85" y="183"/>
                    </a:lnTo>
                    <a:lnTo>
                      <a:pt x="86" y="183"/>
                    </a:lnTo>
                    <a:lnTo>
                      <a:pt x="86" y="188"/>
                    </a:lnTo>
                    <a:lnTo>
                      <a:pt x="89" y="188"/>
                    </a:lnTo>
                    <a:lnTo>
                      <a:pt x="89" y="189"/>
                    </a:lnTo>
                    <a:lnTo>
                      <a:pt x="96" y="188"/>
                    </a:lnTo>
                    <a:lnTo>
                      <a:pt x="97" y="189"/>
                    </a:lnTo>
                    <a:lnTo>
                      <a:pt x="94" y="191"/>
                    </a:lnTo>
                    <a:lnTo>
                      <a:pt x="89" y="194"/>
                    </a:lnTo>
                    <a:lnTo>
                      <a:pt x="88" y="196"/>
                    </a:lnTo>
                    <a:lnTo>
                      <a:pt x="89" y="197"/>
                    </a:lnTo>
                    <a:lnTo>
                      <a:pt x="91" y="199"/>
                    </a:lnTo>
                    <a:lnTo>
                      <a:pt x="92" y="199"/>
                    </a:lnTo>
                    <a:lnTo>
                      <a:pt x="96" y="199"/>
                    </a:lnTo>
                    <a:lnTo>
                      <a:pt x="97" y="199"/>
                    </a:lnTo>
                    <a:lnTo>
                      <a:pt x="96" y="196"/>
                    </a:lnTo>
                    <a:lnTo>
                      <a:pt x="96" y="196"/>
                    </a:lnTo>
                    <a:lnTo>
                      <a:pt x="97" y="196"/>
                    </a:lnTo>
                    <a:lnTo>
                      <a:pt x="100" y="194"/>
                    </a:lnTo>
                    <a:lnTo>
                      <a:pt x="102" y="194"/>
                    </a:lnTo>
                    <a:lnTo>
                      <a:pt x="103" y="196"/>
                    </a:lnTo>
                    <a:lnTo>
                      <a:pt x="107" y="197"/>
                    </a:lnTo>
                    <a:lnTo>
                      <a:pt x="108" y="196"/>
                    </a:lnTo>
                    <a:lnTo>
                      <a:pt x="110" y="196"/>
                    </a:lnTo>
                    <a:lnTo>
                      <a:pt x="113" y="196"/>
                    </a:lnTo>
                    <a:lnTo>
                      <a:pt x="113" y="194"/>
                    </a:lnTo>
                    <a:lnTo>
                      <a:pt x="114" y="192"/>
                    </a:lnTo>
                    <a:lnTo>
                      <a:pt x="117" y="189"/>
                    </a:lnTo>
                    <a:lnTo>
                      <a:pt x="122" y="188"/>
                    </a:lnTo>
                    <a:lnTo>
                      <a:pt x="127" y="185"/>
                    </a:lnTo>
                    <a:lnTo>
                      <a:pt x="128" y="185"/>
                    </a:lnTo>
                    <a:lnTo>
                      <a:pt x="128" y="183"/>
                    </a:lnTo>
                    <a:lnTo>
                      <a:pt x="128" y="181"/>
                    </a:lnTo>
                    <a:lnTo>
                      <a:pt x="130" y="181"/>
                    </a:lnTo>
                    <a:lnTo>
                      <a:pt x="130" y="181"/>
                    </a:lnTo>
                    <a:lnTo>
                      <a:pt x="130" y="185"/>
                    </a:lnTo>
                    <a:lnTo>
                      <a:pt x="128" y="188"/>
                    </a:lnTo>
                    <a:lnTo>
                      <a:pt x="127" y="189"/>
                    </a:lnTo>
                    <a:lnTo>
                      <a:pt x="125" y="197"/>
                    </a:lnTo>
                    <a:lnTo>
                      <a:pt x="127" y="202"/>
                    </a:lnTo>
                    <a:lnTo>
                      <a:pt x="128" y="203"/>
                    </a:lnTo>
                    <a:lnTo>
                      <a:pt x="128" y="203"/>
                    </a:lnTo>
                    <a:lnTo>
                      <a:pt x="133" y="205"/>
                    </a:lnTo>
                    <a:lnTo>
                      <a:pt x="135" y="207"/>
                    </a:lnTo>
                    <a:lnTo>
                      <a:pt x="138" y="208"/>
                    </a:lnTo>
                    <a:lnTo>
                      <a:pt x="138" y="208"/>
                    </a:lnTo>
                    <a:lnTo>
                      <a:pt x="139" y="208"/>
                    </a:lnTo>
                    <a:lnTo>
                      <a:pt x="144" y="207"/>
                    </a:lnTo>
                    <a:lnTo>
                      <a:pt x="149" y="200"/>
                    </a:lnTo>
                    <a:lnTo>
                      <a:pt x="150" y="202"/>
                    </a:lnTo>
                    <a:lnTo>
                      <a:pt x="147" y="205"/>
                    </a:lnTo>
                    <a:lnTo>
                      <a:pt x="146" y="208"/>
                    </a:lnTo>
                    <a:lnTo>
                      <a:pt x="144" y="210"/>
                    </a:lnTo>
                    <a:lnTo>
                      <a:pt x="141" y="211"/>
                    </a:lnTo>
                    <a:lnTo>
                      <a:pt x="138" y="211"/>
                    </a:lnTo>
                    <a:lnTo>
                      <a:pt x="139" y="214"/>
                    </a:lnTo>
                    <a:lnTo>
                      <a:pt x="138" y="217"/>
                    </a:lnTo>
                    <a:lnTo>
                      <a:pt x="149" y="222"/>
                    </a:lnTo>
                    <a:lnTo>
                      <a:pt x="152" y="224"/>
                    </a:lnTo>
                    <a:lnTo>
                      <a:pt x="153" y="224"/>
                    </a:lnTo>
                    <a:lnTo>
                      <a:pt x="155" y="221"/>
                    </a:lnTo>
                    <a:lnTo>
                      <a:pt x="157" y="217"/>
                    </a:lnTo>
                    <a:lnTo>
                      <a:pt x="158" y="214"/>
                    </a:lnTo>
                    <a:lnTo>
                      <a:pt x="160" y="216"/>
                    </a:lnTo>
                    <a:lnTo>
                      <a:pt x="158" y="217"/>
                    </a:lnTo>
                    <a:lnTo>
                      <a:pt x="155" y="222"/>
                    </a:lnTo>
                    <a:lnTo>
                      <a:pt x="155" y="224"/>
                    </a:lnTo>
                    <a:lnTo>
                      <a:pt x="155" y="227"/>
                    </a:lnTo>
                    <a:lnTo>
                      <a:pt x="157" y="228"/>
                    </a:lnTo>
                    <a:lnTo>
                      <a:pt x="157" y="228"/>
                    </a:lnTo>
                    <a:lnTo>
                      <a:pt x="158" y="228"/>
                    </a:lnTo>
                    <a:lnTo>
                      <a:pt x="160" y="227"/>
                    </a:lnTo>
                    <a:lnTo>
                      <a:pt x="161" y="227"/>
                    </a:lnTo>
                    <a:lnTo>
                      <a:pt x="161" y="228"/>
                    </a:lnTo>
                    <a:lnTo>
                      <a:pt x="161" y="230"/>
                    </a:lnTo>
                    <a:lnTo>
                      <a:pt x="164" y="230"/>
                    </a:lnTo>
                    <a:lnTo>
                      <a:pt x="166" y="230"/>
                    </a:lnTo>
                    <a:lnTo>
                      <a:pt x="167" y="230"/>
                    </a:lnTo>
                    <a:lnTo>
                      <a:pt x="169" y="230"/>
                    </a:lnTo>
                    <a:lnTo>
                      <a:pt x="167" y="227"/>
                    </a:lnTo>
                    <a:lnTo>
                      <a:pt x="164" y="224"/>
                    </a:lnTo>
                    <a:lnTo>
                      <a:pt x="163" y="224"/>
                    </a:lnTo>
                    <a:lnTo>
                      <a:pt x="169" y="225"/>
                    </a:lnTo>
                    <a:lnTo>
                      <a:pt x="169" y="227"/>
                    </a:lnTo>
                    <a:lnTo>
                      <a:pt x="174" y="227"/>
                    </a:lnTo>
                    <a:lnTo>
                      <a:pt x="175" y="225"/>
                    </a:lnTo>
                    <a:lnTo>
                      <a:pt x="178" y="222"/>
                    </a:lnTo>
                    <a:lnTo>
                      <a:pt x="177" y="214"/>
                    </a:lnTo>
                    <a:lnTo>
                      <a:pt x="177" y="214"/>
                    </a:lnTo>
                    <a:lnTo>
                      <a:pt x="177" y="213"/>
                    </a:lnTo>
                    <a:lnTo>
                      <a:pt x="177" y="211"/>
                    </a:lnTo>
                    <a:lnTo>
                      <a:pt x="175" y="208"/>
                    </a:lnTo>
                    <a:lnTo>
                      <a:pt x="171" y="208"/>
                    </a:lnTo>
                    <a:lnTo>
                      <a:pt x="169" y="207"/>
                    </a:lnTo>
                    <a:lnTo>
                      <a:pt x="166" y="207"/>
                    </a:lnTo>
                    <a:lnTo>
                      <a:pt x="164" y="205"/>
                    </a:lnTo>
                    <a:lnTo>
                      <a:pt x="164" y="203"/>
                    </a:lnTo>
                    <a:lnTo>
                      <a:pt x="166" y="203"/>
                    </a:lnTo>
                    <a:lnTo>
                      <a:pt x="169" y="203"/>
                    </a:lnTo>
                    <a:lnTo>
                      <a:pt x="174" y="207"/>
                    </a:lnTo>
                    <a:lnTo>
                      <a:pt x="177" y="207"/>
                    </a:lnTo>
                    <a:lnTo>
                      <a:pt x="177" y="207"/>
                    </a:lnTo>
                    <a:lnTo>
                      <a:pt x="180" y="207"/>
                    </a:lnTo>
                    <a:lnTo>
                      <a:pt x="185" y="197"/>
                    </a:lnTo>
                    <a:lnTo>
                      <a:pt x="186" y="186"/>
                    </a:lnTo>
                    <a:lnTo>
                      <a:pt x="189" y="175"/>
                    </a:lnTo>
                    <a:lnTo>
                      <a:pt x="191" y="169"/>
                    </a:lnTo>
                    <a:lnTo>
                      <a:pt x="191" y="166"/>
                    </a:lnTo>
                    <a:lnTo>
                      <a:pt x="193" y="164"/>
                    </a:lnTo>
                    <a:lnTo>
                      <a:pt x="188" y="163"/>
                    </a:lnTo>
                    <a:lnTo>
                      <a:pt x="188" y="161"/>
                    </a:lnTo>
                    <a:lnTo>
                      <a:pt x="191" y="160"/>
                    </a:lnTo>
                    <a:lnTo>
                      <a:pt x="193" y="161"/>
                    </a:lnTo>
                    <a:lnTo>
                      <a:pt x="196" y="156"/>
                    </a:lnTo>
                    <a:lnTo>
                      <a:pt x="196" y="153"/>
                    </a:lnTo>
                    <a:lnTo>
                      <a:pt x="196" y="152"/>
                    </a:lnTo>
                    <a:lnTo>
                      <a:pt x="194" y="150"/>
                    </a:lnTo>
                    <a:lnTo>
                      <a:pt x="193" y="145"/>
                    </a:lnTo>
                    <a:lnTo>
                      <a:pt x="194" y="141"/>
                    </a:lnTo>
                    <a:lnTo>
                      <a:pt x="194" y="139"/>
                    </a:lnTo>
                    <a:lnTo>
                      <a:pt x="194" y="138"/>
                    </a:lnTo>
                    <a:lnTo>
                      <a:pt x="194" y="135"/>
                    </a:lnTo>
                    <a:lnTo>
                      <a:pt x="194" y="133"/>
                    </a:lnTo>
                    <a:lnTo>
                      <a:pt x="196" y="130"/>
                    </a:lnTo>
                    <a:lnTo>
                      <a:pt x="189" y="130"/>
                    </a:lnTo>
                    <a:lnTo>
                      <a:pt x="186" y="128"/>
                    </a:lnTo>
                    <a:lnTo>
                      <a:pt x="183" y="127"/>
                    </a:lnTo>
                    <a:lnTo>
                      <a:pt x="182" y="125"/>
                    </a:lnTo>
                    <a:lnTo>
                      <a:pt x="183" y="125"/>
                    </a:lnTo>
                    <a:lnTo>
                      <a:pt x="185" y="125"/>
                    </a:lnTo>
                    <a:lnTo>
                      <a:pt x="191" y="125"/>
                    </a:lnTo>
                    <a:lnTo>
                      <a:pt x="193" y="125"/>
                    </a:lnTo>
                    <a:lnTo>
                      <a:pt x="197" y="125"/>
                    </a:lnTo>
                    <a:lnTo>
                      <a:pt x="199" y="124"/>
                    </a:lnTo>
                    <a:lnTo>
                      <a:pt x="199" y="124"/>
                    </a:lnTo>
                    <a:lnTo>
                      <a:pt x="202" y="117"/>
                    </a:lnTo>
                    <a:lnTo>
                      <a:pt x="203" y="117"/>
                    </a:lnTo>
                    <a:lnTo>
                      <a:pt x="203" y="114"/>
                    </a:lnTo>
                    <a:lnTo>
                      <a:pt x="199" y="113"/>
                    </a:lnTo>
                    <a:lnTo>
                      <a:pt x="196" y="110"/>
                    </a:lnTo>
                    <a:lnTo>
                      <a:pt x="196" y="108"/>
                    </a:lnTo>
                    <a:lnTo>
                      <a:pt x="194" y="106"/>
                    </a:lnTo>
                    <a:lnTo>
                      <a:pt x="196" y="106"/>
                    </a:lnTo>
                    <a:lnTo>
                      <a:pt x="197" y="108"/>
                    </a:lnTo>
                    <a:lnTo>
                      <a:pt x="200" y="111"/>
                    </a:lnTo>
                    <a:lnTo>
                      <a:pt x="203" y="111"/>
                    </a:lnTo>
                    <a:lnTo>
                      <a:pt x="207" y="111"/>
                    </a:lnTo>
                    <a:lnTo>
                      <a:pt x="208" y="111"/>
                    </a:lnTo>
                    <a:lnTo>
                      <a:pt x="210" y="110"/>
                    </a:lnTo>
                    <a:lnTo>
                      <a:pt x="211" y="106"/>
                    </a:lnTo>
                    <a:lnTo>
                      <a:pt x="213" y="103"/>
                    </a:lnTo>
                    <a:lnTo>
                      <a:pt x="213" y="102"/>
                    </a:lnTo>
                    <a:lnTo>
                      <a:pt x="213" y="100"/>
                    </a:lnTo>
                    <a:lnTo>
                      <a:pt x="214" y="99"/>
                    </a:lnTo>
                    <a:lnTo>
                      <a:pt x="214" y="94"/>
                    </a:lnTo>
                    <a:lnTo>
                      <a:pt x="218" y="94"/>
                    </a:lnTo>
                    <a:lnTo>
                      <a:pt x="219" y="94"/>
                    </a:lnTo>
                    <a:lnTo>
                      <a:pt x="219" y="89"/>
                    </a:lnTo>
                    <a:lnTo>
                      <a:pt x="224" y="86"/>
                    </a:lnTo>
                    <a:lnTo>
                      <a:pt x="222" y="84"/>
                    </a:lnTo>
                    <a:lnTo>
                      <a:pt x="221" y="78"/>
                    </a:lnTo>
                    <a:lnTo>
                      <a:pt x="222" y="69"/>
                    </a:lnTo>
                    <a:lnTo>
                      <a:pt x="218" y="69"/>
                    </a:lnTo>
                    <a:lnTo>
                      <a:pt x="216" y="69"/>
                    </a:lnTo>
                    <a:lnTo>
                      <a:pt x="214" y="70"/>
                    </a:lnTo>
                    <a:lnTo>
                      <a:pt x="213" y="67"/>
                    </a:lnTo>
                    <a:lnTo>
                      <a:pt x="205" y="63"/>
                    </a:lnTo>
                    <a:lnTo>
                      <a:pt x="213" y="63"/>
                    </a:lnTo>
                    <a:lnTo>
                      <a:pt x="214" y="64"/>
                    </a:lnTo>
                    <a:lnTo>
                      <a:pt x="216" y="66"/>
                    </a:lnTo>
                    <a:lnTo>
                      <a:pt x="219" y="66"/>
                    </a:lnTo>
                    <a:lnTo>
                      <a:pt x="221" y="64"/>
                    </a:lnTo>
                    <a:lnTo>
                      <a:pt x="221" y="61"/>
                    </a:lnTo>
                    <a:lnTo>
                      <a:pt x="224" y="61"/>
                    </a:lnTo>
                    <a:lnTo>
                      <a:pt x="228" y="58"/>
                    </a:lnTo>
                    <a:lnTo>
                      <a:pt x="230" y="55"/>
                    </a:lnTo>
                    <a:lnTo>
                      <a:pt x="228" y="53"/>
                    </a:lnTo>
                    <a:lnTo>
                      <a:pt x="228" y="50"/>
                    </a:lnTo>
                    <a:lnTo>
                      <a:pt x="225" y="47"/>
                    </a:lnTo>
                    <a:lnTo>
                      <a:pt x="224" y="41"/>
                    </a:lnTo>
                    <a:lnTo>
                      <a:pt x="221" y="38"/>
                    </a:lnTo>
                    <a:lnTo>
                      <a:pt x="218" y="39"/>
                    </a:lnTo>
                    <a:lnTo>
                      <a:pt x="216" y="39"/>
                    </a:lnTo>
                    <a:lnTo>
                      <a:pt x="214" y="34"/>
                    </a:lnTo>
                    <a:lnTo>
                      <a:pt x="214" y="33"/>
                    </a:lnTo>
                    <a:lnTo>
                      <a:pt x="214" y="30"/>
                    </a:lnTo>
                    <a:lnTo>
                      <a:pt x="218" y="30"/>
                    </a:lnTo>
                    <a:lnTo>
                      <a:pt x="221" y="30"/>
                    </a:lnTo>
                    <a:lnTo>
                      <a:pt x="228" y="31"/>
                    </a:lnTo>
                    <a:lnTo>
                      <a:pt x="232" y="30"/>
                    </a:lnTo>
                    <a:lnTo>
                      <a:pt x="233" y="28"/>
                    </a:lnTo>
                    <a:lnTo>
                      <a:pt x="236" y="23"/>
                    </a:lnTo>
                    <a:lnTo>
                      <a:pt x="239" y="22"/>
                    </a:lnTo>
                    <a:lnTo>
                      <a:pt x="239" y="20"/>
                    </a:lnTo>
                    <a:lnTo>
                      <a:pt x="239" y="19"/>
                    </a:lnTo>
                    <a:lnTo>
                      <a:pt x="230" y="12"/>
                    </a:lnTo>
                    <a:lnTo>
                      <a:pt x="230" y="11"/>
                    </a:lnTo>
                    <a:lnTo>
                      <a:pt x="233" y="11"/>
                    </a:lnTo>
                    <a:lnTo>
                      <a:pt x="243" y="9"/>
                    </a:lnTo>
                    <a:lnTo>
                      <a:pt x="249" y="8"/>
                    </a:lnTo>
                    <a:lnTo>
                      <a:pt x="257" y="8"/>
                    </a:lnTo>
                    <a:lnTo>
                      <a:pt x="264" y="5"/>
                    </a:lnTo>
                    <a:lnTo>
                      <a:pt x="264"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3" name="Freeform 80">
                <a:extLst>
                  <a:ext uri="{FF2B5EF4-FFF2-40B4-BE49-F238E27FC236}">
                    <a16:creationId xmlns:a16="http://schemas.microsoft.com/office/drawing/2014/main" id="{CB25C8AB-1C0A-EEE2-D27A-803671B9467F}"/>
                  </a:ext>
                </a:extLst>
              </p:cNvPr>
              <p:cNvSpPr>
                <a:spLocks/>
              </p:cNvSpPr>
              <p:nvPr/>
            </p:nvSpPr>
            <p:spPr bwMode="gray">
              <a:xfrm>
                <a:off x="2380" y="1333"/>
                <a:ext cx="53" cy="14"/>
              </a:xfrm>
              <a:custGeom>
                <a:avLst/>
                <a:gdLst>
                  <a:gd name="T0" fmla="*/ 1 w 53"/>
                  <a:gd name="T1" fmla="*/ 13 h 14"/>
                  <a:gd name="T2" fmla="*/ 1 w 53"/>
                  <a:gd name="T3" fmla="*/ 8 h 14"/>
                  <a:gd name="T4" fmla="*/ 3 w 53"/>
                  <a:gd name="T5" fmla="*/ 7 h 14"/>
                  <a:gd name="T6" fmla="*/ 4 w 53"/>
                  <a:gd name="T7" fmla="*/ 10 h 14"/>
                  <a:gd name="T8" fmla="*/ 9 w 53"/>
                  <a:gd name="T9" fmla="*/ 10 h 14"/>
                  <a:gd name="T10" fmla="*/ 11 w 53"/>
                  <a:gd name="T11" fmla="*/ 10 h 14"/>
                  <a:gd name="T12" fmla="*/ 14 w 53"/>
                  <a:gd name="T13" fmla="*/ 8 h 14"/>
                  <a:gd name="T14" fmla="*/ 20 w 53"/>
                  <a:gd name="T15" fmla="*/ 7 h 14"/>
                  <a:gd name="T16" fmla="*/ 25 w 53"/>
                  <a:gd name="T17" fmla="*/ 7 h 14"/>
                  <a:gd name="T18" fmla="*/ 22 w 53"/>
                  <a:gd name="T19" fmla="*/ 7 h 14"/>
                  <a:gd name="T20" fmla="*/ 12 w 53"/>
                  <a:gd name="T21" fmla="*/ 7 h 14"/>
                  <a:gd name="T22" fmla="*/ 6 w 53"/>
                  <a:gd name="T23" fmla="*/ 8 h 14"/>
                  <a:gd name="T24" fmla="*/ 4 w 53"/>
                  <a:gd name="T25" fmla="*/ 5 h 14"/>
                  <a:gd name="T26" fmla="*/ 14 w 53"/>
                  <a:gd name="T27" fmla="*/ 5 h 14"/>
                  <a:gd name="T28" fmla="*/ 23 w 53"/>
                  <a:gd name="T29" fmla="*/ 5 h 14"/>
                  <a:gd name="T30" fmla="*/ 26 w 53"/>
                  <a:gd name="T31" fmla="*/ 0 h 14"/>
                  <a:gd name="T32" fmla="*/ 31 w 53"/>
                  <a:gd name="T33" fmla="*/ 0 h 14"/>
                  <a:gd name="T34" fmla="*/ 36 w 53"/>
                  <a:gd name="T35" fmla="*/ 3 h 14"/>
                  <a:gd name="T36" fmla="*/ 39 w 53"/>
                  <a:gd name="T37" fmla="*/ 3 h 14"/>
                  <a:gd name="T38" fmla="*/ 42 w 53"/>
                  <a:gd name="T39" fmla="*/ 7 h 14"/>
                  <a:gd name="T40" fmla="*/ 45 w 53"/>
                  <a:gd name="T41" fmla="*/ 7 h 14"/>
                  <a:gd name="T42" fmla="*/ 47 w 53"/>
                  <a:gd name="T43" fmla="*/ 5 h 14"/>
                  <a:gd name="T44" fmla="*/ 51 w 53"/>
                  <a:gd name="T45" fmla="*/ 7 h 14"/>
                  <a:gd name="T46" fmla="*/ 51 w 53"/>
                  <a:gd name="T47" fmla="*/ 10 h 14"/>
                  <a:gd name="T48" fmla="*/ 45 w 53"/>
                  <a:gd name="T49" fmla="*/ 11 h 14"/>
                  <a:gd name="T50" fmla="*/ 37 w 53"/>
                  <a:gd name="T51" fmla="*/ 8 h 14"/>
                  <a:gd name="T52" fmla="*/ 34 w 53"/>
                  <a:gd name="T53" fmla="*/ 7 h 14"/>
                  <a:gd name="T54" fmla="*/ 31 w 53"/>
                  <a:gd name="T55" fmla="*/ 7 h 14"/>
                  <a:gd name="T56" fmla="*/ 29 w 53"/>
                  <a:gd name="T57" fmla="*/ 5 h 14"/>
                  <a:gd name="T58" fmla="*/ 28 w 53"/>
                  <a:gd name="T59" fmla="*/ 7 h 14"/>
                  <a:gd name="T60" fmla="*/ 26 w 53"/>
                  <a:gd name="T61" fmla="*/ 8 h 14"/>
                  <a:gd name="T62" fmla="*/ 20 w 53"/>
                  <a:gd name="T63" fmla="*/ 8 h 14"/>
                  <a:gd name="T64" fmla="*/ 17 w 53"/>
                  <a:gd name="T65" fmla="*/ 10 h 14"/>
                  <a:gd name="T66" fmla="*/ 14 w 53"/>
                  <a:gd name="T67" fmla="*/ 13 h 14"/>
                  <a:gd name="T68" fmla="*/ 6 w 53"/>
                  <a:gd name="T69" fmla="*/ 13 h 14"/>
                  <a:gd name="T70" fmla="*/ 1 w 53"/>
                  <a:gd name="T7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
                    <a:moveTo>
                      <a:pt x="1" y="14"/>
                    </a:moveTo>
                    <a:lnTo>
                      <a:pt x="1" y="13"/>
                    </a:lnTo>
                    <a:lnTo>
                      <a:pt x="0" y="10"/>
                    </a:lnTo>
                    <a:lnTo>
                      <a:pt x="1" y="8"/>
                    </a:lnTo>
                    <a:lnTo>
                      <a:pt x="3" y="7"/>
                    </a:lnTo>
                    <a:lnTo>
                      <a:pt x="3" y="7"/>
                    </a:lnTo>
                    <a:lnTo>
                      <a:pt x="3" y="8"/>
                    </a:lnTo>
                    <a:lnTo>
                      <a:pt x="4" y="10"/>
                    </a:lnTo>
                    <a:lnTo>
                      <a:pt x="7" y="10"/>
                    </a:lnTo>
                    <a:lnTo>
                      <a:pt x="9" y="10"/>
                    </a:lnTo>
                    <a:lnTo>
                      <a:pt x="11" y="10"/>
                    </a:lnTo>
                    <a:lnTo>
                      <a:pt x="11" y="10"/>
                    </a:lnTo>
                    <a:lnTo>
                      <a:pt x="11" y="8"/>
                    </a:lnTo>
                    <a:lnTo>
                      <a:pt x="14" y="8"/>
                    </a:lnTo>
                    <a:lnTo>
                      <a:pt x="17" y="8"/>
                    </a:lnTo>
                    <a:lnTo>
                      <a:pt x="20" y="7"/>
                    </a:lnTo>
                    <a:lnTo>
                      <a:pt x="23" y="7"/>
                    </a:lnTo>
                    <a:lnTo>
                      <a:pt x="25" y="7"/>
                    </a:lnTo>
                    <a:lnTo>
                      <a:pt x="23" y="7"/>
                    </a:lnTo>
                    <a:lnTo>
                      <a:pt x="22" y="7"/>
                    </a:lnTo>
                    <a:lnTo>
                      <a:pt x="17" y="7"/>
                    </a:lnTo>
                    <a:lnTo>
                      <a:pt x="12" y="7"/>
                    </a:lnTo>
                    <a:lnTo>
                      <a:pt x="7" y="10"/>
                    </a:lnTo>
                    <a:lnTo>
                      <a:pt x="6" y="8"/>
                    </a:lnTo>
                    <a:lnTo>
                      <a:pt x="4" y="7"/>
                    </a:lnTo>
                    <a:lnTo>
                      <a:pt x="4" y="5"/>
                    </a:lnTo>
                    <a:lnTo>
                      <a:pt x="9" y="5"/>
                    </a:lnTo>
                    <a:lnTo>
                      <a:pt x="14" y="5"/>
                    </a:lnTo>
                    <a:lnTo>
                      <a:pt x="20" y="5"/>
                    </a:lnTo>
                    <a:lnTo>
                      <a:pt x="23" y="5"/>
                    </a:lnTo>
                    <a:lnTo>
                      <a:pt x="25" y="2"/>
                    </a:lnTo>
                    <a:lnTo>
                      <a:pt x="26" y="0"/>
                    </a:lnTo>
                    <a:lnTo>
                      <a:pt x="29" y="0"/>
                    </a:lnTo>
                    <a:lnTo>
                      <a:pt x="31" y="0"/>
                    </a:lnTo>
                    <a:lnTo>
                      <a:pt x="33" y="0"/>
                    </a:lnTo>
                    <a:lnTo>
                      <a:pt x="36" y="3"/>
                    </a:lnTo>
                    <a:lnTo>
                      <a:pt x="37" y="3"/>
                    </a:lnTo>
                    <a:lnTo>
                      <a:pt x="39" y="3"/>
                    </a:lnTo>
                    <a:lnTo>
                      <a:pt x="40" y="5"/>
                    </a:lnTo>
                    <a:lnTo>
                      <a:pt x="42" y="7"/>
                    </a:lnTo>
                    <a:lnTo>
                      <a:pt x="43" y="7"/>
                    </a:lnTo>
                    <a:lnTo>
                      <a:pt x="45" y="7"/>
                    </a:lnTo>
                    <a:lnTo>
                      <a:pt x="45" y="5"/>
                    </a:lnTo>
                    <a:lnTo>
                      <a:pt x="47" y="5"/>
                    </a:lnTo>
                    <a:lnTo>
                      <a:pt x="50" y="5"/>
                    </a:lnTo>
                    <a:lnTo>
                      <a:pt x="51" y="7"/>
                    </a:lnTo>
                    <a:lnTo>
                      <a:pt x="53" y="8"/>
                    </a:lnTo>
                    <a:lnTo>
                      <a:pt x="51" y="10"/>
                    </a:lnTo>
                    <a:lnTo>
                      <a:pt x="48" y="10"/>
                    </a:lnTo>
                    <a:lnTo>
                      <a:pt x="45" y="11"/>
                    </a:lnTo>
                    <a:lnTo>
                      <a:pt x="42" y="10"/>
                    </a:lnTo>
                    <a:lnTo>
                      <a:pt x="37" y="8"/>
                    </a:lnTo>
                    <a:lnTo>
                      <a:pt x="36" y="8"/>
                    </a:lnTo>
                    <a:lnTo>
                      <a:pt x="34" y="7"/>
                    </a:lnTo>
                    <a:lnTo>
                      <a:pt x="33" y="7"/>
                    </a:lnTo>
                    <a:lnTo>
                      <a:pt x="31" y="7"/>
                    </a:lnTo>
                    <a:lnTo>
                      <a:pt x="29" y="5"/>
                    </a:lnTo>
                    <a:lnTo>
                      <a:pt x="29" y="5"/>
                    </a:lnTo>
                    <a:lnTo>
                      <a:pt x="28" y="5"/>
                    </a:lnTo>
                    <a:lnTo>
                      <a:pt x="28" y="7"/>
                    </a:lnTo>
                    <a:lnTo>
                      <a:pt x="28" y="8"/>
                    </a:lnTo>
                    <a:lnTo>
                      <a:pt x="26" y="8"/>
                    </a:lnTo>
                    <a:lnTo>
                      <a:pt x="23" y="8"/>
                    </a:lnTo>
                    <a:lnTo>
                      <a:pt x="20" y="8"/>
                    </a:lnTo>
                    <a:lnTo>
                      <a:pt x="18" y="10"/>
                    </a:lnTo>
                    <a:lnTo>
                      <a:pt x="17" y="10"/>
                    </a:lnTo>
                    <a:lnTo>
                      <a:pt x="17" y="13"/>
                    </a:lnTo>
                    <a:lnTo>
                      <a:pt x="14" y="13"/>
                    </a:lnTo>
                    <a:lnTo>
                      <a:pt x="11" y="13"/>
                    </a:lnTo>
                    <a:lnTo>
                      <a:pt x="6" y="13"/>
                    </a:lnTo>
                    <a:lnTo>
                      <a:pt x="3" y="13"/>
                    </a:lnTo>
                    <a:lnTo>
                      <a:pt x="1" y="13"/>
                    </a:lnTo>
                    <a:lnTo>
                      <a:pt x="1" y="1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4" name="Freeform 81">
                <a:extLst>
                  <a:ext uri="{FF2B5EF4-FFF2-40B4-BE49-F238E27FC236}">
                    <a16:creationId xmlns:a16="http://schemas.microsoft.com/office/drawing/2014/main" id="{C3FA779A-E653-2568-5E5E-24613B976B90}"/>
                  </a:ext>
                </a:extLst>
              </p:cNvPr>
              <p:cNvSpPr>
                <a:spLocks/>
              </p:cNvSpPr>
              <p:nvPr/>
            </p:nvSpPr>
            <p:spPr bwMode="gray">
              <a:xfrm>
                <a:off x="2411" y="1354"/>
                <a:ext cx="130" cy="97"/>
              </a:xfrm>
              <a:custGeom>
                <a:avLst/>
                <a:gdLst>
                  <a:gd name="T0" fmla="*/ 62 w 130"/>
                  <a:gd name="T1" fmla="*/ 9 h 97"/>
                  <a:gd name="T2" fmla="*/ 70 w 130"/>
                  <a:gd name="T3" fmla="*/ 9 h 97"/>
                  <a:gd name="T4" fmla="*/ 75 w 130"/>
                  <a:gd name="T5" fmla="*/ 14 h 97"/>
                  <a:gd name="T6" fmla="*/ 80 w 130"/>
                  <a:gd name="T7" fmla="*/ 9 h 97"/>
                  <a:gd name="T8" fmla="*/ 92 w 130"/>
                  <a:gd name="T9" fmla="*/ 11 h 97"/>
                  <a:gd name="T10" fmla="*/ 98 w 130"/>
                  <a:gd name="T11" fmla="*/ 7 h 97"/>
                  <a:gd name="T12" fmla="*/ 98 w 130"/>
                  <a:gd name="T13" fmla="*/ 4 h 97"/>
                  <a:gd name="T14" fmla="*/ 106 w 130"/>
                  <a:gd name="T15" fmla="*/ 6 h 97"/>
                  <a:gd name="T16" fmla="*/ 109 w 130"/>
                  <a:gd name="T17" fmla="*/ 18 h 97"/>
                  <a:gd name="T18" fmla="*/ 116 w 130"/>
                  <a:gd name="T19" fmla="*/ 23 h 97"/>
                  <a:gd name="T20" fmla="*/ 114 w 130"/>
                  <a:gd name="T21" fmla="*/ 26 h 97"/>
                  <a:gd name="T22" fmla="*/ 114 w 130"/>
                  <a:gd name="T23" fmla="*/ 29 h 97"/>
                  <a:gd name="T24" fmla="*/ 117 w 130"/>
                  <a:gd name="T25" fmla="*/ 33 h 97"/>
                  <a:gd name="T26" fmla="*/ 123 w 130"/>
                  <a:gd name="T27" fmla="*/ 42 h 97"/>
                  <a:gd name="T28" fmla="*/ 120 w 130"/>
                  <a:gd name="T29" fmla="*/ 48 h 97"/>
                  <a:gd name="T30" fmla="*/ 123 w 130"/>
                  <a:gd name="T31" fmla="*/ 58 h 97"/>
                  <a:gd name="T32" fmla="*/ 127 w 130"/>
                  <a:gd name="T33" fmla="*/ 64 h 97"/>
                  <a:gd name="T34" fmla="*/ 128 w 130"/>
                  <a:gd name="T35" fmla="*/ 72 h 97"/>
                  <a:gd name="T36" fmla="*/ 127 w 130"/>
                  <a:gd name="T37" fmla="*/ 75 h 97"/>
                  <a:gd name="T38" fmla="*/ 119 w 130"/>
                  <a:gd name="T39" fmla="*/ 75 h 97"/>
                  <a:gd name="T40" fmla="*/ 122 w 130"/>
                  <a:gd name="T41" fmla="*/ 79 h 97"/>
                  <a:gd name="T42" fmla="*/ 122 w 130"/>
                  <a:gd name="T43" fmla="*/ 86 h 97"/>
                  <a:gd name="T44" fmla="*/ 116 w 130"/>
                  <a:gd name="T45" fmla="*/ 90 h 97"/>
                  <a:gd name="T46" fmla="*/ 111 w 130"/>
                  <a:gd name="T47" fmla="*/ 89 h 97"/>
                  <a:gd name="T48" fmla="*/ 108 w 130"/>
                  <a:gd name="T49" fmla="*/ 95 h 97"/>
                  <a:gd name="T50" fmla="*/ 103 w 130"/>
                  <a:gd name="T51" fmla="*/ 97 h 97"/>
                  <a:gd name="T52" fmla="*/ 98 w 130"/>
                  <a:gd name="T53" fmla="*/ 94 h 97"/>
                  <a:gd name="T54" fmla="*/ 100 w 130"/>
                  <a:gd name="T55" fmla="*/ 89 h 97"/>
                  <a:gd name="T56" fmla="*/ 98 w 130"/>
                  <a:gd name="T57" fmla="*/ 83 h 97"/>
                  <a:gd name="T58" fmla="*/ 97 w 130"/>
                  <a:gd name="T59" fmla="*/ 76 h 97"/>
                  <a:gd name="T60" fmla="*/ 94 w 130"/>
                  <a:gd name="T61" fmla="*/ 75 h 97"/>
                  <a:gd name="T62" fmla="*/ 88 w 130"/>
                  <a:gd name="T63" fmla="*/ 75 h 97"/>
                  <a:gd name="T64" fmla="*/ 81 w 130"/>
                  <a:gd name="T65" fmla="*/ 75 h 97"/>
                  <a:gd name="T66" fmla="*/ 77 w 130"/>
                  <a:gd name="T67" fmla="*/ 78 h 97"/>
                  <a:gd name="T68" fmla="*/ 80 w 130"/>
                  <a:gd name="T69" fmla="*/ 70 h 97"/>
                  <a:gd name="T70" fmla="*/ 75 w 130"/>
                  <a:gd name="T71" fmla="*/ 64 h 97"/>
                  <a:gd name="T72" fmla="*/ 75 w 130"/>
                  <a:gd name="T73" fmla="*/ 59 h 97"/>
                  <a:gd name="T74" fmla="*/ 67 w 130"/>
                  <a:gd name="T75" fmla="*/ 48 h 97"/>
                  <a:gd name="T76" fmla="*/ 50 w 130"/>
                  <a:gd name="T77" fmla="*/ 50 h 97"/>
                  <a:gd name="T78" fmla="*/ 42 w 130"/>
                  <a:gd name="T79" fmla="*/ 53 h 97"/>
                  <a:gd name="T80" fmla="*/ 39 w 130"/>
                  <a:gd name="T81" fmla="*/ 59 h 97"/>
                  <a:gd name="T82" fmla="*/ 33 w 130"/>
                  <a:gd name="T83" fmla="*/ 64 h 97"/>
                  <a:gd name="T84" fmla="*/ 28 w 130"/>
                  <a:gd name="T85" fmla="*/ 59 h 97"/>
                  <a:gd name="T86" fmla="*/ 23 w 130"/>
                  <a:gd name="T87" fmla="*/ 51 h 97"/>
                  <a:gd name="T88" fmla="*/ 19 w 130"/>
                  <a:gd name="T89" fmla="*/ 48 h 97"/>
                  <a:gd name="T90" fmla="*/ 11 w 130"/>
                  <a:gd name="T91" fmla="*/ 43 h 97"/>
                  <a:gd name="T92" fmla="*/ 6 w 130"/>
                  <a:gd name="T93" fmla="*/ 34 h 97"/>
                  <a:gd name="T94" fmla="*/ 2 w 130"/>
                  <a:gd name="T95" fmla="*/ 33 h 97"/>
                  <a:gd name="T96" fmla="*/ 5 w 130"/>
                  <a:gd name="T97" fmla="*/ 23 h 97"/>
                  <a:gd name="T98" fmla="*/ 14 w 130"/>
                  <a:gd name="T99" fmla="*/ 18 h 97"/>
                  <a:gd name="T100" fmla="*/ 23 w 130"/>
                  <a:gd name="T101" fmla="*/ 12 h 97"/>
                  <a:gd name="T102" fmla="*/ 20 w 130"/>
                  <a:gd name="T103" fmla="*/ 7 h 97"/>
                  <a:gd name="T104" fmla="*/ 23 w 130"/>
                  <a:gd name="T105" fmla="*/ 3 h 97"/>
                  <a:gd name="T106" fmla="*/ 33 w 130"/>
                  <a:gd name="T107" fmla="*/ 1 h 97"/>
                  <a:gd name="T108" fmla="*/ 36 w 130"/>
                  <a:gd name="T109" fmla="*/ 3 h 97"/>
                  <a:gd name="T110" fmla="*/ 41 w 130"/>
                  <a:gd name="T111" fmla="*/ 4 h 97"/>
                  <a:gd name="T112" fmla="*/ 50 w 130"/>
                  <a:gd name="T113" fmla="*/ 6 h 97"/>
                  <a:gd name="T114" fmla="*/ 64 w 130"/>
                  <a:gd name="T115"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97">
                    <a:moveTo>
                      <a:pt x="64" y="4"/>
                    </a:moveTo>
                    <a:lnTo>
                      <a:pt x="64" y="6"/>
                    </a:lnTo>
                    <a:lnTo>
                      <a:pt x="62" y="6"/>
                    </a:lnTo>
                    <a:lnTo>
                      <a:pt x="62" y="7"/>
                    </a:lnTo>
                    <a:lnTo>
                      <a:pt x="62" y="9"/>
                    </a:lnTo>
                    <a:lnTo>
                      <a:pt x="62" y="9"/>
                    </a:lnTo>
                    <a:lnTo>
                      <a:pt x="64" y="11"/>
                    </a:lnTo>
                    <a:lnTo>
                      <a:pt x="66" y="12"/>
                    </a:lnTo>
                    <a:lnTo>
                      <a:pt x="66" y="12"/>
                    </a:lnTo>
                    <a:lnTo>
                      <a:pt x="67" y="12"/>
                    </a:lnTo>
                    <a:lnTo>
                      <a:pt x="69" y="11"/>
                    </a:lnTo>
                    <a:lnTo>
                      <a:pt x="70" y="9"/>
                    </a:lnTo>
                    <a:lnTo>
                      <a:pt x="70" y="7"/>
                    </a:lnTo>
                    <a:lnTo>
                      <a:pt x="72" y="9"/>
                    </a:lnTo>
                    <a:lnTo>
                      <a:pt x="73" y="9"/>
                    </a:lnTo>
                    <a:lnTo>
                      <a:pt x="73" y="11"/>
                    </a:lnTo>
                    <a:lnTo>
                      <a:pt x="75" y="14"/>
                    </a:lnTo>
                    <a:lnTo>
                      <a:pt x="75" y="14"/>
                    </a:lnTo>
                    <a:lnTo>
                      <a:pt x="77" y="14"/>
                    </a:lnTo>
                    <a:lnTo>
                      <a:pt x="77" y="14"/>
                    </a:lnTo>
                    <a:lnTo>
                      <a:pt x="77" y="14"/>
                    </a:lnTo>
                    <a:lnTo>
                      <a:pt x="78" y="14"/>
                    </a:lnTo>
                    <a:lnTo>
                      <a:pt x="78" y="12"/>
                    </a:lnTo>
                    <a:lnTo>
                      <a:pt x="80" y="9"/>
                    </a:lnTo>
                    <a:lnTo>
                      <a:pt x="81" y="9"/>
                    </a:lnTo>
                    <a:lnTo>
                      <a:pt x="83" y="9"/>
                    </a:lnTo>
                    <a:lnTo>
                      <a:pt x="83" y="7"/>
                    </a:lnTo>
                    <a:lnTo>
                      <a:pt x="86" y="9"/>
                    </a:lnTo>
                    <a:lnTo>
                      <a:pt x="88" y="11"/>
                    </a:lnTo>
                    <a:lnTo>
                      <a:pt x="92" y="11"/>
                    </a:lnTo>
                    <a:lnTo>
                      <a:pt x="92" y="12"/>
                    </a:lnTo>
                    <a:lnTo>
                      <a:pt x="94" y="11"/>
                    </a:lnTo>
                    <a:lnTo>
                      <a:pt x="94" y="9"/>
                    </a:lnTo>
                    <a:lnTo>
                      <a:pt x="95" y="9"/>
                    </a:lnTo>
                    <a:lnTo>
                      <a:pt x="97" y="7"/>
                    </a:lnTo>
                    <a:lnTo>
                      <a:pt x="98" y="7"/>
                    </a:lnTo>
                    <a:lnTo>
                      <a:pt x="100" y="7"/>
                    </a:lnTo>
                    <a:lnTo>
                      <a:pt x="100" y="7"/>
                    </a:lnTo>
                    <a:lnTo>
                      <a:pt x="100" y="6"/>
                    </a:lnTo>
                    <a:lnTo>
                      <a:pt x="100" y="6"/>
                    </a:lnTo>
                    <a:lnTo>
                      <a:pt x="98" y="4"/>
                    </a:lnTo>
                    <a:lnTo>
                      <a:pt x="98" y="4"/>
                    </a:lnTo>
                    <a:lnTo>
                      <a:pt x="100" y="3"/>
                    </a:lnTo>
                    <a:lnTo>
                      <a:pt x="100" y="3"/>
                    </a:lnTo>
                    <a:lnTo>
                      <a:pt x="102" y="3"/>
                    </a:lnTo>
                    <a:lnTo>
                      <a:pt x="103" y="4"/>
                    </a:lnTo>
                    <a:lnTo>
                      <a:pt x="105" y="4"/>
                    </a:lnTo>
                    <a:lnTo>
                      <a:pt x="106" y="6"/>
                    </a:lnTo>
                    <a:lnTo>
                      <a:pt x="106" y="7"/>
                    </a:lnTo>
                    <a:lnTo>
                      <a:pt x="108" y="11"/>
                    </a:lnTo>
                    <a:lnTo>
                      <a:pt x="109" y="14"/>
                    </a:lnTo>
                    <a:lnTo>
                      <a:pt x="109" y="15"/>
                    </a:lnTo>
                    <a:lnTo>
                      <a:pt x="109" y="18"/>
                    </a:lnTo>
                    <a:lnTo>
                      <a:pt x="109" y="18"/>
                    </a:lnTo>
                    <a:lnTo>
                      <a:pt x="111" y="18"/>
                    </a:lnTo>
                    <a:lnTo>
                      <a:pt x="111" y="18"/>
                    </a:lnTo>
                    <a:lnTo>
                      <a:pt x="113" y="20"/>
                    </a:lnTo>
                    <a:lnTo>
                      <a:pt x="113" y="22"/>
                    </a:lnTo>
                    <a:lnTo>
                      <a:pt x="114" y="22"/>
                    </a:lnTo>
                    <a:lnTo>
                      <a:pt x="116" y="23"/>
                    </a:lnTo>
                    <a:lnTo>
                      <a:pt x="116" y="23"/>
                    </a:lnTo>
                    <a:lnTo>
                      <a:pt x="117" y="23"/>
                    </a:lnTo>
                    <a:lnTo>
                      <a:pt x="116" y="23"/>
                    </a:lnTo>
                    <a:lnTo>
                      <a:pt x="116" y="25"/>
                    </a:lnTo>
                    <a:lnTo>
                      <a:pt x="116" y="25"/>
                    </a:lnTo>
                    <a:lnTo>
                      <a:pt x="114" y="26"/>
                    </a:lnTo>
                    <a:lnTo>
                      <a:pt x="114" y="26"/>
                    </a:lnTo>
                    <a:lnTo>
                      <a:pt x="113" y="29"/>
                    </a:lnTo>
                    <a:lnTo>
                      <a:pt x="113" y="29"/>
                    </a:lnTo>
                    <a:lnTo>
                      <a:pt x="113" y="29"/>
                    </a:lnTo>
                    <a:lnTo>
                      <a:pt x="113" y="29"/>
                    </a:lnTo>
                    <a:lnTo>
                      <a:pt x="114" y="29"/>
                    </a:lnTo>
                    <a:lnTo>
                      <a:pt x="116" y="29"/>
                    </a:lnTo>
                    <a:lnTo>
                      <a:pt x="116" y="29"/>
                    </a:lnTo>
                    <a:lnTo>
                      <a:pt x="117" y="29"/>
                    </a:lnTo>
                    <a:lnTo>
                      <a:pt x="117" y="31"/>
                    </a:lnTo>
                    <a:lnTo>
                      <a:pt x="119" y="31"/>
                    </a:lnTo>
                    <a:lnTo>
                      <a:pt x="117" y="33"/>
                    </a:lnTo>
                    <a:lnTo>
                      <a:pt x="117" y="34"/>
                    </a:lnTo>
                    <a:lnTo>
                      <a:pt x="119" y="37"/>
                    </a:lnTo>
                    <a:lnTo>
                      <a:pt x="119" y="39"/>
                    </a:lnTo>
                    <a:lnTo>
                      <a:pt x="119" y="40"/>
                    </a:lnTo>
                    <a:lnTo>
                      <a:pt x="123" y="42"/>
                    </a:lnTo>
                    <a:lnTo>
                      <a:pt x="123" y="42"/>
                    </a:lnTo>
                    <a:lnTo>
                      <a:pt x="123" y="43"/>
                    </a:lnTo>
                    <a:lnTo>
                      <a:pt x="123" y="45"/>
                    </a:lnTo>
                    <a:lnTo>
                      <a:pt x="123" y="45"/>
                    </a:lnTo>
                    <a:lnTo>
                      <a:pt x="122" y="47"/>
                    </a:lnTo>
                    <a:lnTo>
                      <a:pt x="120" y="47"/>
                    </a:lnTo>
                    <a:lnTo>
                      <a:pt x="120" y="48"/>
                    </a:lnTo>
                    <a:lnTo>
                      <a:pt x="120" y="50"/>
                    </a:lnTo>
                    <a:lnTo>
                      <a:pt x="120" y="53"/>
                    </a:lnTo>
                    <a:lnTo>
                      <a:pt x="120" y="56"/>
                    </a:lnTo>
                    <a:lnTo>
                      <a:pt x="122" y="58"/>
                    </a:lnTo>
                    <a:lnTo>
                      <a:pt x="123" y="58"/>
                    </a:lnTo>
                    <a:lnTo>
                      <a:pt x="123" y="58"/>
                    </a:lnTo>
                    <a:lnTo>
                      <a:pt x="125" y="58"/>
                    </a:lnTo>
                    <a:lnTo>
                      <a:pt x="125" y="59"/>
                    </a:lnTo>
                    <a:lnTo>
                      <a:pt x="125" y="62"/>
                    </a:lnTo>
                    <a:lnTo>
                      <a:pt x="127" y="62"/>
                    </a:lnTo>
                    <a:lnTo>
                      <a:pt x="127" y="64"/>
                    </a:lnTo>
                    <a:lnTo>
                      <a:pt x="127" y="64"/>
                    </a:lnTo>
                    <a:lnTo>
                      <a:pt x="125" y="65"/>
                    </a:lnTo>
                    <a:lnTo>
                      <a:pt x="125" y="65"/>
                    </a:lnTo>
                    <a:lnTo>
                      <a:pt x="123" y="67"/>
                    </a:lnTo>
                    <a:lnTo>
                      <a:pt x="125" y="69"/>
                    </a:lnTo>
                    <a:lnTo>
                      <a:pt x="127" y="70"/>
                    </a:lnTo>
                    <a:lnTo>
                      <a:pt x="128" y="72"/>
                    </a:lnTo>
                    <a:lnTo>
                      <a:pt x="128" y="73"/>
                    </a:lnTo>
                    <a:lnTo>
                      <a:pt x="130" y="76"/>
                    </a:lnTo>
                    <a:lnTo>
                      <a:pt x="128" y="76"/>
                    </a:lnTo>
                    <a:lnTo>
                      <a:pt x="128" y="76"/>
                    </a:lnTo>
                    <a:lnTo>
                      <a:pt x="127" y="75"/>
                    </a:lnTo>
                    <a:lnTo>
                      <a:pt x="127" y="75"/>
                    </a:lnTo>
                    <a:lnTo>
                      <a:pt x="125" y="75"/>
                    </a:lnTo>
                    <a:lnTo>
                      <a:pt x="125" y="75"/>
                    </a:lnTo>
                    <a:lnTo>
                      <a:pt x="122" y="75"/>
                    </a:lnTo>
                    <a:lnTo>
                      <a:pt x="120" y="75"/>
                    </a:lnTo>
                    <a:lnTo>
                      <a:pt x="120" y="75"/>
                    </a:lnTo>
                    <a:lnTo>
                      <a:pt x="119" y="75"/>
                    </a:lnTo>
                    <a:lnTo>
                      <a:pt x="119" y="76"/>
                    </a:lnTo>
                    <a:lnTo>
                      <a:pt x="119" y="78"/>
                    </a:lnTo>
                    <a:lnTo>
                      <a:pt x="120" y="79"/>
                    </a:lnTo>
                    <a:lnTo>
                      <a:pt x="120" y="79"/>
                    </a:lnTo>
                    <a:lnTo>
                      <a:pt x="122" y="79"/>
                    </a:lnTo>
                    <a:lnTo>
                      <a:pt x="122" y="79"/>
                    </a:lnTo>
                    <a:lnTo>
                      <a:pt x="123" y="81"/>
                    </a:lnTo>
                    <a:lnTo>
                      <a:pt x="123" y="81"/>
                    </a:lnTo>
                    <a:lnTo>
                      <a:pt x="123" y="83"/>
                    </a:lnTo>
                    <a:lnTo>
                      <a:pt x="122" y="83"/>
                    </a:lnTo>
                    <a:lnTo>
                      <a:pt x="122" y="86"/>
                    </a:lnTo>
                    <a:lnTo>
                      <a:pt x="122" y="86"/>
                    </a:lnTo>
                    <a:lnTo>
                      <a:pt x="122" y="87"/>
                    </a:lnTo>
                    <a:lnTo>
                      <a:pt x="120" y="90"/>
                    </a:lnTo>
                    <a:lnTo>
                      <a:pt x="119" y="90"/>
                    </a:lnTo>
                    <a:lnTo>
                      <a:pt x="117" y="90"/>
                    </a:lnTo>
                    <a:lnTo>
                      <a:pt x="116" y="90"/>
                    </a:lnTo>
                    <a:lnTo>
                      <a:pt x="116" y="90"/>
                    </a:lnTo>
                    <a:lnTo>
                      <a:pt x="114" y="90"/>
                    </a:lnTo>
                    <a:lnTo>
                      <a:pt x="114" y="89"/>
                    </a:lnTo>
                    <a:lnTo>
                      <a:pt x="113" y="89"/>
                    </a:lnTo>
                    <a:lnTo>
                      <a:pt x="113" y="89"/>
                    </a:lnTo>
                    <a:lnTo>
                      <a:pt x="113" y="89"/>
                    </a:lnTo>
                    <a:lnTo>
                      <a:pt x="111" y="89"/>
                    </a:lnTo>
                    <a:lnTo>
                      <a:pt x="111" y="90"/>
                    </a:lnTo>
                    <a:lnTo>
                      <a:pt x="111" y="90"/>
                    </a:lnTo>
                    <a:lnTo>
                      <a:pt x="111" y="92"/>
                    </a:lnTo>
                    <a:lnTo>
                      <a:pt x="109" y="92"/>
                    </a:lnTo>
                    <a:lnTo>
                      <a:pt x="109" y="94"/>
                    </a:lnTo>
                    <a:lnTo>
                      <a:pt x="108" y="95"/>
                    </a:lnTo>
                    <a:lnTo>
                      <a:pt x="108" y="95"/>
                    </a:lnTo>
                    <a:lnTo>
                      <a:pt x="106" y="95"/>
                    </a:lnTo>
                    <a:lnTo>
                      <a:pt x="106" y="95"/>
                    </a:lnTo>
                    <a:lnTo>
                      <a:pt x="106" y="97"/>
                    </a:lnTo>
                    <a:lnTo>
                      <a:pt x="105" y="97"/>
                    </a:lnTo>
                    <a:lnTo>
                      <a:pt x="103" y="97"/>
                    </a:lnTo>
                    <a:lnTo>
                      <a:pt x="103" y="97"/>
                    </a:lnTo>
                    <a:lnTo>
                      <a:pt x="103" y="95"/>
                    </a:lnTo>
                    <a:lnTo>
                      <a:pt x="102" y="95"/>
                    </a:lnTo>
                    <a:lnTo>
                      <a:pt x="102" y="94"/>
                    </a:lnTo>
                    <a:lnTo>
                      <a:pt x="100" y="94"/>
                    </a:lnTo>
                    <a:lnTo>
                      <a:pt x="98" y="94"/>
                    </a:lnTo>
                    <a:lnTo>
                      <a:pt x="98" y="94"/>
                    </a:lnTo>
                    <a:lnTo>
                      <a:pt x="98" y="94"/>
                    </a:lnTo>
                    <a:lnTo>
                      <a:pt x="98" y="92"/>
                    </a:lnTo>
                    <a:lnTo>
                      <a:pt x="98" y="92"/>
                    </a:lnTo>
                    <a:lnTo>
                      <a:pt x="98" y="90"/>
                    </a:lnTo>
                    <a:lnTo>
                      <a:pt x="100" y="89"/>
                    </a:lnTo>
                    <a:lnTo>
                      <a:pt x="100" y="89"/>
                    </a:lnTo>
                    <a:lnTo>
                      <a:pt x="98" y="86"/>
                    </a:lnTo>
                    <a:lnTo>
                      <a:pt x="98" y="86"/>
                    </a:lnTo>
                    <a:lnTo>
                      <a:pt x="98" y="84"/>
                    </a:lnTo>
                    <a:lnTo>
                      <a:pt x="98" y="84"/>
                    </a:lnTo>
                    <a:lnTo>
                      <a:pt x="98" y="83"/>
                    </a:lnTo>
                    <a:lnTo>
                      <a:pt x="98" y="83"/>
                    </a:lnTo>
                    <a:lnTo>
                      <a:pt x="97" y="81"/>
                    </a:lnTo>
                    <a:lnTo>
                      <a:pt x="97" y="79"/>
                    </a:lnTo>
                    <a:lnTo>
                      <a:pt x="97" y="79"/>
                    </a:lnTo>
                    <a:lnTo>
                      <a:pt x="97" y="78"/>
                    </a:lnTo>
                    <a:lnTo>
                      <a:pt x="97" y="76"/>
                    </a:lnTo>
                    <a:lnTo>
                      <a:pt x="97" y="76"/>
                    </a:lnTo>
                    <a:lnTo>
                      <a:pt x="95" y="76"/>
                    </a:lnTo>
                    <a:lnTo>
                      <a:pt x="95" y="75"/>
                    </a:lnTo>
                    <a:lnTo>
                      <a:pt x="94" y="75"/>
                    </a:lnTo>
                    <a:lnTo>
                      <a:pt x="94" y="75"/>
                    </a:lnTo>
                    <a:lnTo>
                      <a:pt x="94" y="75"/>
                    </a:lnTo>
                    <a:lnTo>
                      <a:pt x="94" y="75"/>
                    </a:lnTo>
                    <a:lnTo>
                      <a:pt x="94" y="75"/>
                    </a:lnTo>
                    <a:lnTo>
                      <a:pt x="92" y="73"/>
                    </a:lnTo>
                    <a:lnTo>
                      <a:pt x="92" y="73"/>
                    </a:lnTo>
                    <a:lnTo>
                      <a:pt x="92" y="73"/>
                    </a:lnTo>
                    <a:lnTo>
                      <a:pt x="88" y="75"/>
                    </a:lnTo>
                    <a:lnTo>
                      <a:pt x="88" y="75"/>
                    </a:lnTo>
                    <a:lnTo>
                      <a:pt x="86" y="73"/>
                    </a:lnTo>
                    <a:lnTo>
                      <a:pt x="86" y="73"/>
                    </a:lnTo>
                    <a:lnTo>
                      <a:pt x="84" y="75"/>
                    </a:lnTo>
                    <a:lnTo>
                      <a:pt x="83" y="75"/>
                    </a:lnTo>
                    <a:lnTo>
                      <a:pt x="81" y="75"/>
                    </a:lnTo>
                    <a:lnTo>
                      <a:pt x="81" y="75"/>
                    </a:lnTo>
                    <a:lnTo>
                      <a:pt x="80" y="76"/>
                    </a:lnTo>
                    <a:lnTo>
                      <a:pt x="78" y="78"/>
                    </a:lnTo>
                    <a:lnTo>
                      <a:pt x="78" y="78"/>
                    </a:lnTo>
                    <a:lnTo>
                      <a:pt x="77" y="76"/>
                    </a:lnTo>
                    <a:lnTo>
                      <a:pt x="77" y="78"/>
                    </a:lnTo>
                    <a:lnTo>
                      <a:pt x="77" y="76"/>
                    </a:lnTo>
                    <a:lnTo>
                      <a:pt x="77" y="76"/>
                    </a:lnTo>
                    <a:lnTo>
                      <a:pt x="77" y="76"/>
                    </a:lnTo>
                    <a:lnTo>
                      <a:pt x="77" y="73"/>
                    </a:lnTo>
                    <a:lnTo>
                      <a:pt x="80" y="72"/>
                    </a:lnTo>
                    <a:lnTo>
                      <a:pt x="80" y="70"/>
                    </a:lnTo>
                    <a:lnTo>
                      <a:pt x="78" y="70"/>
                    </a:lnTo>
                    <a:lnTo>
                      <a:pt x="78" y="67"/>
                    </a:lnTo>
                    <a:lnTo>
                      <a:pt x="78" y="65"/>
                    </a:lnTo>
                    <a:lnTo>
                      <a:pt x="78" y="64"/>
                    </a:lnTo>
                    <a:lnTo>
                      <a:pt x="75" y="64"/>
                    </a:lnTo>
                    <a:lnTo>
                      <a:pt x="75" y="64"/>
                    </a:lnTo>
                    <a:lnTo>
                      <a:pt x="75" y="64"/>
                    </a:lnTo>
                    <a:lnTo>
                      <a:pt x="75" y="62"/>
                    </a:lnTo>
                    <a:lnTo>
                      <a:pt x="77" y="61"/>
                    </a:lnTo>
                    <a:lnTo>
                      <a:pt x="77" y="61"/>
                    </a:lnTo>
                    <a:lnTo>
                      <a:pt x="77" y="59"/>
                    </a:lnTo>
                    <a:lnTo>
                      <a:pt x="75" y="59"/>
                    </a:lnTo>
                    <a:lnTo>
                      <a:pt x="73" y="56"/>
                    </a:lnTo>
                    <a:lnTo>
                      <a:pt x="72" y="53"/>
                    </a:lnTo>
                    <a:lnTo>
                      <a:pt x="70" y="51"/>
                    </a:lnTo>
                    <a:lnTo>
                      <a:pt x="69" y="50"/>
                    </a:lnTo>
                    <a:lnTo>
                      <a:pt x="67" y="48"/>
                    </a:lnTo>
                    <a:lnTo>
                      <a:pt x="67" y="48"/>
                    </a:lnTo>
                    <a:lnTo>
                      <a:pt x="66" y="48"/>
                    </a:lnTo>
                    <a:lnTo>
                      <a:pt x="62" y="48"/>
                    </a:lnTo>
                    <a:lnTo>
                      <a:pt x="58" y="48"/>
                    </a:lnTo>
                    <a:lnTo>
                      <a:pt x="55" y="48"/>
                    </a:lnTo>
                    <a:lnTo>
                      <a:pt x="55" y="48"/>
                    </a:lnTo>
                    <a:lnTo>
                      <a:pt x="50" y="50"/>
                    </a:lnTo>
                    <a:lnTo>
                      <a:pt x="48" y="48"/>
                    </a:lnTo>
                    <a:lnTo>
                      <a:pt x="45" y="50"/>
                    </a:lnTo>
                    <a:lnTo>
                      <a:pt x="44" y="50"/>
                    </a:lnTo>
                    <a:lnTo>
                      <a:pt x="44" y="51"/>
                    </a:lnTo>
                    <a:lnTo>
                      <a:pt x="44" y="53"/>
                    </a:lnTo>
                    <a:lnTo>
                      <a:pt x="42" y="53"/>
                    </a:lnTo>
                    <a:lnTo>
                      <a:pt x="42" y="54"/>
                    </a:lnTo>
                    <a:lnTo>
                      <a:pt x="42" y="54"/>
                    </a:lnTo>
                    <a:lnTo>
                      <a:pt x="42" y="56"/>
                    </a:lnTo>
                    <a:lnTo>
                      <a:pt x="41" y="56"/>
                    </a:lnTo>
                    <a:lnTo>
                      <a:pt x="41" y="59"/>
                    </a:lnTo>
                    <a:lnTo>
                      <a:pt x="39" y="59"/>
                    </a:lnTo>
                    <a:lnTo>
                      <a:pt x="36" y="61"/>
                    </a:lnTo>
                    <a:lnTo>
                      <a:pt x="36" y="62"/>
                    </a:lnTo>
                    <a:lnTo>
                      <a:pt x="36" y="64"/>
                    </a:lnTo>
                    <a:lnTo>
                      <a:pt x="34" y="64"/>
                    </a:lnTo>
                    <a:lnTo>
                      <a:pt x="33" y="64"/>
                    </a:lnTo>
                    <a:lnTo>
                      <a:pt x="33" y="64"/>
                    </a:lnTo>
                    <a:lnTo>
                      <a:pt x="31" y="64"/>
                    </a:lnTo>
                    <a:lnTo>
                      <a:pt x="31" y="64"/>
                    </a:lnTo>
                    <a:lnTo>
                      <a:pt x="30" y="64"/>
                    </a:lnTo>
                    <a:lnTo>
                      <a:pt x="31" y="62"/>
                    </a:lnTo>
                    <a:lnTo>
                      <a:pt x="31" y="61"/>
                    </a:lnTo>
                    <a:lnTo>
                      <a:pt x="28" y="59"/>
                    </a:lnTo>
                    <a:lnTo>
                      <a:pt x="28" y="59"/>
                    </a:lnTo>
                    <a:lnTo>
                      <a:pt x="28" y="58"/>
                    </a:lnTo>
                    <a:lnTo>
                      <a:pt x="25" y="56"/>
                    </a:lnTo>
                    <a:lnTo>
                      <a:pt x="23" y="56"/>
                    </a:lnTo>
                    <a:lnTo>
                      <a:pt x="23" y="54"/>
                    </a:lnTo>
                    <a:lnTo>
                      <a:pt x="23" y="51"/>
                    </a:lnTo>
                    <a:lnTo>
                      <a:pt x="23" y="50"/>
                    </a:lnTo>
                    <a:lnTo>
                      <a:pt x="23" y="48"/>
                    </a:lnTo>
                    <a:lnTo>
                      <a:pt x="23" y="48"/>
                    </a:lnTo>
                    <a:lnTo>
                      <a:pt x="22" y="50"/>
                    </a:lnTo>
                    <a:lnTo>
                      <a:pt x="22" y="50"/>
                    </a:lnTo>
                    <a:lnTo>
                      <a:pt x="19" y="48"/>
                    </a:lnTo>
                    <a:lnTo>
                      <a:pt x="17" y="47"/>
                    </a:lnTo>
                    <a:lnTo>
                      <a:pt x="17" y="45"/>
                    </a:lnTo>
                    <a:lnTo>
                      <a:pt x="17" y="45"/>
                    </a:lnTo>
                    <a:lnTo>
                      <a:pt x="17" y="45"/>
                    </a:lnTo>
                    <a:lnTo>
                      <a:pt x="16" y="45"/>
                    </a:lnTo>
                    <a:lnTo>
                      <a:pt x="11" y="43"/>
                    </a:lnTo>
                    <a:lnTo>
                      <a:pt x="8" y="37"/>
                    </a:lnTo>
                    <a:lnTo>
                      <a:pt x="8" y="37"/>
                    </a:lnTo>
                    <a:lnTo>
                      <a:pt x="8" y="34"/>
                    </a:lnTo>
                    <a:lnTo>
                      <a:pt x="8" y="34"/>
                    </a:lnTo>
                    <a:lnTo>
                      <a:pt x="6" y="36"/>
                    </a:lnTo>
                    <a:lnTo>
                      <a:pt x="6" y="34"/>
                    </a:lnTo>
                    <a:lnTo>
                      <a:pt x="5" y="33"/>
                    </a:lnTo>
                    <a:lnTo>
                      <a:pt x="5" y="31"/>
                    </a:lnTo>
                    <a:lnTo>
                      <a:pt x="3" y="31"/>
                    </a:lnTo>
                    <a:lnTo>
                      <a:pt x="3" y="31"/>
                    </a:lnTo>
                    <a:lnTo>
                      <a:pt x="2" y="31"/>
                    </a:lnTo>
                    <a:lnTo>
                      <a:pt x="2" y="33"/>
                    </a:lnTo>
                    <a:lnTo>
                      <a:pt x="0" y="33"/>
                    </a:lnTo>
                    <a:lnTo>
                      <a:pt x="0" y="33"/>
                    </a:lnTo>
                    <a:lnTo>
                      <a:pt x="0" y="31"/>
                    </a:lnTo>
                    <a:lnTo>
                      <a:pt x="0" y="29"/>
                    </a:lnTo>
                    <a:lnTo>
                      <a:pt x="2" y="28"/>
                    </a:lnTo>
                    <a:lnTo>
                      <a:pt x="5" y="23"/>
                    </a:lnTo>
                    <a:lnTo>
                      <a:pt x="6" y="22"/>
                    </a:lnTo>
                    <a:lnTo>
                      <a:pt x="6" y="20"/>
                    </a:lnTo>
                    <a:lnTo>
                      <a:pt x="8" y="20"/>
                    </a:lnTo>
                    <a:lnTo>
                      <a:pt x="11" y="20"/>
                    </a:lnTo>
                    <a:lnTo>
                      <a:pt x="12" y="18"/>
                    </a:lnTo>
                    <a:lnTo>
                      <a:pt x="14" y="18"/>
                    </a:lnTo>
                    <a:lnTo>
                      <a:pt x="16" y="18"/>
                    </a:lnTo>
                    <a:lnTo>
                      <a:pt x="19" y="18"/>
                    </a:lnTo>
                    <a:lnTo>
                      <a:pt x="23" y="17"/>
                    </a:lnTo>
                    <a:lnTo>
                      <a:pt x="23" y="15"/>
                    </a:lnTo>
                    <a:lnTo>
                      <a:pt x="23" y="12"/>
                    </a:lnTo>
                    <a:lnTo>
                      <a:pt x="23" y="12"/>
                    </a:lnTo>
                    <a:lnTo>
                      <a:pt x="22" y="11"/>
                    </a:lnTo>
                    <a:lnTo>
                      <a:pt x="20" y="11"/>
                    </a:lnTo>
                    <a:lnTo>
                      <a:pt x="20" y="9"/>
                    </a:lnTo>
                    <a:lnTo>
                      <a:pt x="19" y="9"/>
                    </a:lnTo>
                    <a:lnTo>
                      <a:pt x="19" y="7"/>
                    </a:lnTo>
                    <a:lnTo>
                      <a:pt x="20" y="7"/>
                    </a:lnTo>
                    <a:lnTo>
                      <a:pt x="20" y="7"/>
                    </a:lnTo>
                    <a:lnTo>
                      <a:pt x="22" y="7"/>
                    </a:lnTo>
                    <a:lnTo>
                      <a:pt x="23" y="7"/>
                    </a:lnTo>
                    <a:lnTo>
                      <a:pt x="23" y="6"/>
                    </a:lnTo>
                    <a:lnTo>
                      <a:pt x="23" y="4"/>
                    </a:lnTo>
                    <a:lnTo>
                      <a:pt x="23" y="3"/>
                    </a:lnTo>
                    <a:lnTo>
                      <a:pt x="23" y="1"/>
                    </a:lnTo>
                    <a:lnTo>
                      <a:pt x="23" y="0"/>
                    </a:lnTo>
                    <a:lnTo>
                      <a:pt x="28" y="0"/>
                    </a:lnTo>
                    <a:lnTo>
                      <a:pt x="30" y="0"/>
                    </a:lnTo>
                    <a:lnTo>
                      <a:pt x="31" y="1"/>
                    </a:lnTo>
                    <a:lnTo>
                      <a:pt x="33" y="1"/>
                    </a:lnTo>
                    <a:lnTo>
                      <a:pt x="34" y="1"/>
                    </a:lnTo>
                    <a:lnTo>
                      <a:pt x="34" y="1"/>
                    </a:lnTo>
                    <a:lnTo>
                      <a:pt x="34" y="1"/>
                    </a:lnTo>
                    <a:lnTo>
                      <a:pt x="34" y="3"/>
                    </a:lnTo>
                    <a:lnTo>
                      <a:pt x="34" y="3"/>
                    </a:lnTo>
                    <a:lnTo>
                      <a:pt x="36" y="3"/>
                    </a:lnTo>
                    <a:lnTo>
                      <a:pt x="36" y="3"/>
                    </a:lnTo>
                    <a:lnTo>
                      <a:pt x="36" y="3"/>
                    </a:lnTo>
                    <a:lnTo>
                      <a:pt x="37" y="3"/>
                    </a:lnTo>
                    <a:lnTo>
                      <a:pt x="37" y="3"/>
                    </a:lnTo>
                    <a:lnTo>
                      <a:pt x="39" y="4"/>
                    </a:lnTo>
                    <a:lnTo>
                      <a:pt x="41" y="4"/>
                    </a:lnTo>
                    <a:lnTo>
                      <a:pt x="42" y="4"/>
                    </a:lnTo>
                    <a:lnTo>
                      <a:pt x="44" y="6"/>
                    </a:lnTo>
                    <a:lnTo>
                      <a:pt x="45" y="6"/>
                    </a:lnTo>
                    <a:lnTo>
                      <a:pt x="47" y="6"/>
                    </a:lnTo>
                    <a:lnTo>
                      <a:pt x="48" y="6"/>
                    </a:lnTo>
                    <a:lnTo>
                      <a:pt x="50" y="6"/>
                    </a:lnTo>
                    <a:lnTo>
                      <a:pt x="53" y="4"/>
                    </a:lnTo>
                    <a:lnTo>
                      <a:pt x="55" y="4"/>
                    </a:lnTo>
                    <a:lnTo>
                      <a:pt x="56" y="4"/>
                    </a:lnTo>
                    <a:lnTo>
                      <a:pt x="61" y="4"/>
                    </a:lnTo>
                    <a:lnTo>
                      <a:pt x="62" y="4"/>
                    </a:lnTo>
                    <a:lnTo>
                      <a:pt x="64"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5" name="Freeform 82">
                <a:extLst>
                  <a:ext uri="{FF2B5EF4-FFF2-40B4-BE49-F238E27FC236}">
                    <a16:creationId xmlns:a16="http://schemas.microsoft.com/office/drawing/2014/main" id="{06F90A12-A33B-B498-C2DE-D3ACC8008368}"/>
                  </a:ext>
                </a:extLst>
              </p:cNvPr>
              <p:cNvSpPr>
                <a:spLocks/>
              </p:cNvSpPr>
              <p:nvPr/>
            </p:nvSpPr>
            <p:spPr bwMode="gray">
              <a:xfrm>
                <a:off x="3505" y="1779"/>
                <a:ext cx="0" cy="2"/>
              </a:xfrm>
              <a:custGeom>
                <a:avLst/>
                <a:gdLst>
                  <a:gd name="T0" fmla="*/ 2 h 2"/>
                  <a:gd name="T1" fmla="*/ 2 h 2"/>
                  <a:gd name="T2" fmla="*/ 2 h 2"/>
                  <a:gd name="T3" fmla="*/ 0 h 2"/>
                  <a:gd name="T4" fmla="*/ 0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2"/>
                    </a:lnTo>
                    <a:lnTo>
                      <a:pt x="0" y="0"/>
                    </a:lnTo>
                    <a:lnTo>
                      <a:pt x="0" y="0"/>
                    </a:lnTo>
                    <a:lnTo>
                      <a:pt x="0"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6" name="Freeform 83">
                <a:extLst>
                  <a:ext uri="{FF2B5EF4-FFF2-40B4-BE49-F238E27FC236}">
                    <a16:creationId xmlns:a16="http://schemas.microsoft.com/office/drawing/2014/main" id="{DDF32F32-1820-DFEF-1507-05FEE8F7AD80}"/>
                  </a:ext>
                </a:extLst>
              </p:cNvPr>
              <p:cNvSpPr>
                <a:spLocks noEditPoints="1"/>
              </p:cNvSpPr>
              <p:nvPr/>
            </p:nvSpPr>
            <p:spPr bwMode="gray">
              <a:xfrm>
                <a:off x="1590" y="1285"/>
                <a:ext cx="11" cy="11"/>
              </a:xfrm>
              <a:custGeom>
                <a:avLst/>
                <a:gdLst>
                  <a:gd name="T0" fmla="*/ 11 w 11"/>
                  <a:gd name="T1" fmla="*/ 9 h 11"/>
                  <a:gd name="T2" fmla="*/ 9 w 11"/>
                  <a:gd name="T3" fmla="*/ 9 h 11"/>
                  <a:gd name="T4" fmla="*/ 9 w 11"/>
                  <a:gd name="T5" fmla="*/ 9 h 11"/>
                  <a:gd name="T6" fmla="*/ 8 w 11"/>
                  <a:gd name="T7" fmla="*/ 9 h 11"/>
                  <a:gd name="T8" fmla="*/ 9 w 11"/>
                  <a:gd name="T9" fmla="*/ 11 h 11"/>
                  <a:gd name="T10" fmla="*/ 9 w 11"/>
                  <a:gd name="T11" fmla="*/ 11 h 11"/>
                  <a:gd name="T12" fmla="*/ 9 w 11"/>
                  <a:gd name="T13" fmla="*/ 11 h 11"/>
                  <a:gd name="T14" fmla="*/ 11 w 11"/>
                  <a:gd name="T15" fmla="*/ 11 h 11"/>
                  <a:gd name="T16" fmla="*/ 11 w 11"/>
                  <a:gd name="T17" fmla="*/ 9 h 11"/>
                  <a:gd name="T18" fmla="*/ 5 w 11"/>
                  <a:gd name="T19" fmla="*/ 5 h 11"/>
                  <a:gd name="T20" fmla="*/ 3 w 11"/>
                  <a:gd name="T21" fmla="*/ 3 h 11"/>
                  <a:gd name="T22" fmla="*/ 3 w 11"/>
                  <a:gd name="T23" fmla="*/ 3 h 11"/>
                  <a:gd name="T24" fmla="*/ 2 w 11"/>
                  <a:gd name="T25" fmla="*/ 3 h 11"/>
                  <a:gd name="T26" fmla="*/ 0 w 11"/>
                  <a:gd name="T27" fmla="*/ 3 h 11"/>
                  <a:gd name="T28" fmla="*/ 0 w 11"/>
                  <a:gd name="T29" fmla="*/ 3 h 11"/>
                  <a:gd name="T30" fmla="*/ 0 w 11"/>
                  <a:gd name="T31" fmla="*/ 8 h 11"/>
                  <a:gd name="T32" fmla="*/ 2 w 11"/>
                  <a:gd name="T33" fmla="*/ 9 h 11"/>
                  <a:gd name="T34" fmla="*/ 2 w 11"/>
                  <a:gd name="T35" fmla="*/ 9 h 11"/>
                  <a:gd name="T36" fmla="*/ 3 w 11"/>
                  <a:gd name="T37" fmla="*/ 9 h 11"/>
                  <a:gd name="T38" fmla="*/ 5 w 11"/>
                  <a:gd name="T39" fmla="*/ 8 h 11"/>
                  <a:gd name="T40" fmla="*/ 5 w 11"/>
                  <a:gd name="T41" fmla="*/ 5 h 11"/>
                  <a:gd name="T42" fmla="*/ 5 w 11"/>
                  <a:gd name="T43" fmla="*/ 5 h 11"/>
                  <a:gd name="T44" fmla="*/ 8 w 11"/>
                  <a:gd name="T45" fmla="*/ 3 h 11"/>
                  <a:gd name="T46" fmla="*/ 8 w 11"/>
                  <a:gd name="T47" fmla="*/ 1 h 11"/>
                  <a:gd name="T48" fmla="*/ 6 w 11"/>
                  <a:gd name="T49" fmla="*/ 0 h 11"/>
                  <a:gd name="T50" fmla="*/ 6 w 11"/>
                  <a:gd name="T51" fmla="*/ 0 h 11"/>
                  <a:gd name="T52" fmla="*/ 5 w 11"/>
                  <a:gd name="T53" fmla="*/ 0 h 11"/>
                  <a:gd name="T54" fmla="*/ 5 w 11"/>
                  <a:gd name="T55" fmla="*/ 1 h 11"/>
                  <a:gd name="T56" fmla="*/ 5 w 11"/>
                  <a:gd name="T57" fmla="*/ 3 h 11"/>
                  <a:gd name="T58" fmla="*/ 5 w 11"/>
                  <a:gd name="T59" fmla="*/ 3 h 11"/>
                  <a:gd name="T60" fmla="*/ 5 w 11"/>
                  <a:gd name="T61" fmla="*/ 5 h 11"/>
                  <a:gd name="T62" fmla="*/ 6 w 11"/>
                  <a:gd name="T63" fmla="*/ 5 h 11"/>
                  <a:gd name="T64" fmla="*/ 8 w 11"/>
                  <a:gd name="T65" fmla="*/ 5 h 11"/>
                  <a:gd name="T66" fmla="*/ 11 w 11"/>
                  <a:gd name="T67" fmla="*/ 5 h 11"/>
                  <a:gd name="T68" fmla="*/ 8 w 11"/>
                  <a:gd name="T6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 h="11">
                    <a:moveTo>
                      <a:pt x="11" y="9"/>
                    </a:moveTo>
                    <a:lnTo>
                      <a:pt x="9" y="9"/>
                    </a:lnTo>
                    <a:lnTo>
                      <a:pt x="9" y="9"/>
                    </a:lnTo>
                    <a:lnTo>
                      <a:pt x="8" y="9"/>
                    </a:lnTo>
                    <a:lnTo>
                      <a:pt x="9" y="11"/>
                    </a:lnTo>
                    <a:lnTo>
                      <a:pt x="9" y="11"/>
                    </a:lnTo>
                    <a:lnTo>
                      <a:pt x="9" y="11"/>
                    </a:lnTo>
                    <a:lnTo>
                      <a:pt x="11" y="11"/>
                    </a:lnTo>
                    <a:lnTo>
                      <a:pt x="11" y="9"/>
                    </a:lnTo>
                    <a:close/>
                    <a:moveTo>
                      <a:pt x="5" y="5"/>
                    </a:moveTo>
                    <a:lnTo>
                      <a:pt x="3" y="3"/>
                    </a:lnTo>
                    <a:lnTo>
                      <a:pt x="3" y="3"/>
                    </a:lnTo>
                    <a:lnTo>
                      <a:pt x="2" y="3"/>
                    </a:lnTo>
                    <a:lnTo>
                      <a:pt x="0" y="3"/>
                    </a:lnTo>
                    <a:lnTo>
                      <a:pt x="0" y="3"/>
                    </a:lnTo>
                    <a:lnTo>
                      <a:pt x="0" y="8"/>
                    </a:lnTo>
                    <a:lnTo>
                      <a:pt x="2" y="9"/>
                    </a:lnTo>
                    <a:lnTo>
                      <a:pt x="2" y="9"/>
                    </a:lnTo>
                    <a:lnTo>
                      <a:pt x="3" y="9"/>
                    </a:lnTo>
                    <a:lnTo>
                      <a:pt x="5" y="8"/>
                    </a:lnTo>
                    <a:lnTo>
                      <a:pt x="5" y="5"/>
                    </a:lnTo>
                    <a:lnTo>
                      <a:pt x="5" y="5"/>
                    </a:lnTo>
                    <a:close/>
                    <a:moveTo>
                      <a:pt x="8" y="3"/>
                    </a:moveTo>
                    <a:lnTo>
                      <a:pt x="8" y="1"/>
                    </a:lnTo>
                    <a:lnTo>
                      <a:pt x="6" y="0"/>
                    </a:lnTo>
                    <a:lnTo>
                      <a:pt x="6" y="0"/>
                    </a:lnTo>
                    <a:lnTo>
                      <a:pt x="5" y="0"/>
                    </a:lnTo>
                    <a:lnTo>
                      <a:pt x="5" y="1"/>
                    </a:lnTo>
                    <a:lnTo>
                      <a:pt x="5" y="3"/>
                    </a:lnTo>
                    <a:lnTo>
                      <a:pt x="5" y="3"/>
                    </a:lnTo>
                    <a:lnTo>
                      <a:pt x="5" y="5"/>
                    </a:lnTo>
                    <a:lnTo>
                      <a:pt x="6" y="5"/>
                    </a:lnTo>
                    <a:lnTo>
                      <a:pt x="8" y="5"/>
                    </a:lnTo>
                    <a:lnTo>
                      <a:pt x="11" y="5"/>
                    </a:lnTo>
                    <a:lnTo>
                      <a:pt x="8"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7" name="Freeform 84">
                <a:extLst>
                  <a:ext uri="{FF2B5EF4-FFF2-40B4-BE49-F238E27FC236}">
                    <a16:creationId xmlns:a16="http://schemas.microsoft.com/office/drawing/2014/main" id="{CA8C79D1-1BE6-53FC-7891-5EF0FACA1A96}"/>
                  </a:ext>
                </a:extLst>
              </p:cNvPr>
              <p:cNvSpPr>
                <a:spLocks noEditPoints="1"/>
              </p:cNvSpPr>
              <p:nvPr/>
            </p:nvSpPr>
            <p:spPr bwMode="gray">
              <a:xfrm>
                <a:off x="2822" y="1512"/>
                <a:ext cx="52" cy="48"/>
              </a:xfrm>
              <a:custGeom>
                <a:avLst/>
                <a:gdLst>
                  <a:gd name="T0" fmla="*/ 52 w 52"/>
                  <a:gd name="T1" fmla="*/ 39 h 48"/>
                  <a:gd name="T2" fmla="*/ 52 w 52"/>
                  <a:gd name="T3" fmla="*/ 31 h 48"/>
                  <a:gd name="T4" fmla="*/ 52 w 52"/>
                  <a:gd name="T5" fmla="*/ 28 h 48"/>
                  <a:gd name="T6" fmla="*/ 28 w 52"/>
                  <a:gd name="T7" fmla="*/ 28 h 48"/>
                  <a:gd name="T8" fmla="*/ 27 w 52"/>
                  <a:gd name="T9" fmla="*/ 26 h 48"/>
                  <a:gd name="T10" fmla="*/ 25 w 52"/>
                  <a:gd name="T11" fmla="*/ 26 h 48"/>
                  <a:gd name="T12" fmla="*/ 25 w 52"/>
                  <a:gd name="T13" fmla="*/ 26 h 48"/>
                  <a:gd name="T14" fmla="*/ 25 w 52"/>
                  <a:gd name="T15" fmla="*/ 25 h 48"/>
                  <a:gd name="T16" fmla="*/ 25 w 52"/>
                  <a:gd name="T17" fmla="*/ 25 h 48"/>
                  <a:gd name="T18" fmla="*/ 25 w 52"/>
                  <a:gd name="T19" fmla="*/ 25 h 48"/>
                  <a:gd name="T20" fmla="*/ 25 w 52"/>
                  <a:gd name="T21" fmla="*/ 29 h 48"/>
                  <a:gd name="T22" fmla="*/ 25 w 52"/>
                  <a:gd name="T23" fmla="*/ 31 h 48"/>
                  <a:gd name="T24" fmla="*/ 24 w 52"/>
                  <a:gd name="T25" fmla="*/ 34 h 48"/>
                  <a:gd name="T26" fmla="*/ 22 w 52"/>
                  <a:gd name="T27" fmla="*/ 37 h 48"/>
                  <a:gd name="T28" fmla="*/ 22 w 52"/>
                  <a:gd name="T29" fmla="*/ 37 h 48"/>
                  <a:gd name="T30" fmla="*/ 20 w 52"/>
                  <a:gd name="T31" fmla="*/ 39 h 48"/>
                  <a:gd name="T32" fmla="*/ 19 w 52"/>
                  <a:gd name="T33" fmla="*/ 40 h 48"/>
                  <a:gd name="T34" fmla="*/ 19 w 52"/>
                  <a:gd name="T35" fmla="*/ 42 h 48"/>
                  <a:gd name="T36" fmla="*/ 17 w 52"/>
                  <a:gd name="T37" fmla="*/ 45 h 48"/>
                  <a:gd name="T38" fmla="*/ 19 w 52"/>
                  <a:gd name="T39" fmla="*/ 45 h 48"/>
                  <a:gd name="T40" fmla="*/ 20 w 52"/>
                  <a:gd name="T41" fmla="*/ 45 h 48"/>
                  <a:gd name="T42" fmla="*/ 22 w 52"/>
                  <a:gd name="T43" fmla="*/ 47 h 48"/>
                  <a:gd name="T44" fmla="*/ 20 w 52"/>
                  <a:gd name="T45" fmla="*/ 47 h 48"/>
                  <a:gd name="T46" fmla="*/ 22 w 52"/>
                  <a:gd name="T47" fmla="*/ 47 h 48"/>
                  <a:gd name="T48" fmla="*/ 22 w 52"/>
                  <a:gd name="T49" fmla="*/ 47 h 48"/>
                  <a:gd name="T50" fmla="*/ 24 w 52"/>
                  <a:gd name="T51" fmla="*/ 47 h 48"/>
                  <a:gd name="T52" fmla="*/ 24 w 52"/>
                  <a:gd name="T53" fmla="*/ 47 h 48"/>
                  <a:gd name="T54" fmla="*/ 25 w 52"/>
                  <a:gd name="T55" fmla="*/ 47 h 48"/>
                  <a:gd name="T56" fmla="*/ 25 w 52"/>
                  <a:gd name="T57" fmla="*/ 48 h 48"/>
                  <a:gd name="T58" fmla="*/ 25 w 52"/>
                  <a:gd name="T59" fmla="*/ 48 h 48"/>
                  <a:gd name="T60" fmla="*/ 27 w 52"/>
                  <a:gd name="T61" fmla="*/ 48 h 48"/>
                  <a:gd name="T62" fmla="*/ 27 w 52"/>
                  <a:gd name="T63" fmla="*/ 48 h 48"/>
                  <a:gd name="T64" fmla="*/ 28 w 52"/>
                  <a:gd name="T65" fmla="*/ 48 h 48"/>
                  <a:gd name="T66" fmla="*/ 28 w 52"/>
                  <a:gd name="T67" fmla="*/ 47 h 48"/>
                  <a:gd name="T68" fmla="*/ 31 w 52"/>
                  <a:gd name="T69" fmla="*/ 47 h 48"/>
                  <a:gd name="T70" fmla="*/ 35 w 52"/>
                  <a:gd name="T71" fmla="*/ 48 h 48"/>
                  <a:gd name="T72" fmla="*/ 52 w 52"/>
                  <a:gd name="T73" fmla="*/ 48 h 48"/>
                  <a:gd name="T74" fmla="*/ 52 w 52"/>
                  <a:gd name="T75" fmla="*/ 42 h 48"/>
                  <a:gd name="T76" fmla="*/ 52 w 52"/>
                  <a:gd name="T77" fmla="*/ 39 h 48"/>
                  <a:gd name="T78" fmla="*/ 10 w 52"/>
                  <a:gd name="T79" fmla="*/ 0 h 48"/>
                  <a:gd name="T80" fmla="*/ 6 w 52"/>
                  <a:gd name="T81" fmla="*/ 0 h 48"/>
                  <a:gd name="T82" fmla="*/ 6 w 52"/>
                  <a:gd name="T83" fmla="*/ 0 h 48"/>
                  <a:gd name="T84" fmla="*/ 5 w 52"/>
                  <a:gd name="T85" fmla="*/ 0 h 48"/>
                  <a:gd name="T86" fmla="*/ 5 w 52"/>
                  <a:gd name="T87" fmla="*/ 1 h 48"/>
                  <a:gd name="T88" fmla="*/ 5 w 52"/>
                  <a:gd name="T89" fmla="*/ 3 h 48"/>
                  <a:gd name="T90" fmla="*/ 3 w 52"/>
                  <a:gd name="T91" fmla="*/ 4 h 48"/>
                  <a:gd name="T92" fmla="*/ 3 w 52"/>
                  <a:gd name="T93" fmla="*/ 4 h 48"/>
                  <a:gd name="T94" fmla="*/ 2 w 52"/>
                  <a:gd name="T95" fmla="*/ 4 h 48"/>
                  <a:gd name="T96" fmla="*/ 2 w 52"/>
                  <a:gd name="T97" fmla="*/ 4 h 48"/>
                  <a:gd name="T98" fmla="*/ 0 w 52"/>
                  <a:gd name="T99" fmla="*/ 8 h 48"/>
                  <a:gd name="T100" fmla="*/ 2 w 52"/>
                  <a:gd name="T101" fmla="*/ 8 h 48"/>
                  <a:gd name="T102" fmla="*/ 2 w 52"/>
                  <a:gd name="T103" fmla="*/ 8 h 48"/>
                  <a:gd name="T104" fmla="*/ 5 w 52"/>
                  <a:gd name="T105" fmla="*/ 9 h 48"/>
                  <a:gd name="T106" fmla="*/ 6 w 52"/>
                  <a:gd name="T107" fmla="*/ 9 h 48"/>
                  <a:gd name="T108" fmla="*/ 6 w 52"/>
                  <a:gd name="T109" fmla="*/ 8 h 48"/>
                  <a:gd name="T110" fmla="*/ 6 w 52"/>
                  <a:gd name="T111" fmla="*/ 6 h 48"/>
                  <a:gd name="T112" fmla="*/ 10 w 52"/>
                  <a:gd name="T113" fmla="*/ 1 h 48"/>
                  <a:gd name="T114" fmla="*/ 10 w 52"/>
                  <a:gd name="T115" fmla="*/ 0 h 48"/>
                  <a:gd name="T116" fmla="*/ 10 w 52"/>
                  <a:gd name="T1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48">
                    <a:moveTo>
                      <a:pt x="52" y="39"/>
                    </a:moveTo>
                    <a:lnTo>
                      <a:pt x="52" y="31"/>
                    </a:lnTo>
                    <a:lnTo>
                      <a:pt x="52" y="28"/>
                    </a:lnTo>
                    <a:lnTo>
                      <a:pt x="28" y="28"/>
                    </a:lnTo>
                    <a:lnTo>
                      <a:pt x="27" y="26"/>
                    </a:lnTo>
                    <a:lnTo>
                      <a:pt x="25" y="26"/>
                    </a:lnTo>
                    <a:lnTo>
                      <a:pt x="25" y="26"/>
                    </a:lnTo>
                    <a:lnTo>
                      <a:pt x="25" y="25"/>
                    </a:lnTo>
                    <a:lnTo>
                      <a:pt x="25" y="25"/>
                    </a:lnTo>
                    <a:lnTo>
                      <a:pt x="25" y="25"/>
                    </a:lnTo>
                    <a:lnTo>
                      <a:pt x="25" y="29"/>
                    </a:lnTo>
                    <a:lnTo>
                      <a:pt x="25" y="31"/>
                    </a:lnTo>
                    <a:lnTo>
                      <a:pt x="24" y="34"/>
                    </a:lnTo>
                    <a:lnTo>
                      <a:pt x="22" y="37"/>
                    </a:lnTo>
                    <a:lnTo>
                      <a:pt x="22" y="37"/>
                    </a:lnTo>
                    <a:lnTo>
                      <a:pt x="20" y="39"/>
                    </a:lnTo>
                    <a:lnTo>
                      <a:pt x="19" y="40"/>
                    </a:lnTo>
                    <a:lnTo>
                      <a:pt x="19" y="42"/>
                    </a:lnTo>
                    <a:lnTo>
                      <a:pt x="17" y="45"/>
                    </a:lnTo>
                    <a:lnTo>
                      <a:pt x="19" y="45"/>
                    </a:lnTo>
                    <a:lnTo>
                      <a:pt x="20" y="45"/>
                    </a:lnTo>
                    <a:lnTo>
                      <a:pt x="22" y="47"/>
                    </a:lnTo>
                    <a:lnTo>
                      <a:pt x="20" y="47"/>
                    </a:lnTo>
                    <a:lnTo>
                      <a:pt x="22" y="47"/>
                    </a:lnTo>
                    <a:lnTo>
                      <a:pt x="22" y="47"/>
                    </a:lnTo>
                    <a:lnTo>
                      <a:pt x="24" y="47"/>
                    </a:lnTo>
                    <a:lnTo>
                      <a:pt x="24" y="47"/>
                    </a:lnTo>
                    <a:lnTo>
                      <a:pt x="25" y="47"/>
                    </a:lnTo>
                    <a:lnTo>
                      <a:pt x="25" y="48"/>
                    </a:lnTo>
                    <a:lnTo>
                      <a:pt x="25" y="48"/>
                    </a:lnTo>
                    <a:lnTo>
                      <a:pt x="27" y="48"/>
                    </a:lnTo>
                    <a:lnTo>
                      <a:pt x="27" y="48"/>
                    </a:lnTo>
                    <a:lnTo>
                      <a:pt x="28" y="48"/>
                    </a:lnTo>
                    <a:lnTo>
                      <a:pt x="28" y="47"/>
                    </a:lnTo>
                    <a:lnTo>
                      <a:pt x="31" y="47"/>
                    </a:lnTo>
                    <a:lnTo>
                      <a:pt x="35" y="48"/>
                    </a:lnTo>
                    <a:lnTo>
                      <a:pt x="52" y="48"/>
                    </a:lnTo>
                    <a:lnTo>
                      <a:pt x="52" y="42"/>
                    </a:lnTo>
                    <a:lnTo>
                      <a:pt x="52" y="39"/>
                    </a:lnTo>
                    <a:close/>
                    <a:moveTo>
                      <a:pt x="10" y="0"/>
                    </a:moveTo>
                    <a:lnTo>
                      <a:pt x="6" y="0"/>
                    </a:lnTo>
                    <a:lnTo>
                      <a:pt x="6" y="0"/>
                    </a:lnTo>
                    <a:lnTo>
                      <a:pt x="5" y="0"/>
                    </a:lnTo>
                    <a:lnTo>
                      <a:pt x="5" y="1"/>
                    </a:lnTo>
                    <a:lnTo>
                      <a:pt x="5" y="3"/>
                    </a:lnTo>
                    <a:lnTo>
                      <a:pt x="3" y="4"/>
                    </a:lnTo>
                    <a:lnTo>
                      <a:pt x="3" y="4"/>
                    </a:lnTo>
                    <a:lnTo>
                      <a:pt x="2" y="4"/>
                    </a:lnTo>
                    <a:lnTo>
                      <a:pt x="2" y="4"/>
                    </a:lnTo>
                    <a:lnTo>
                      <a:pt x="0" y="8"/>
                    </a:lnTo>
                    <a:lnTo>
                      <a:pt x="2" y="8"/>
                    </a:lnTo>
                    <a:lnTo>
                      <a:pt x="2" y="8"/>
                    </a:lnTo>
                    <a:lnTo>
                      <a:pt x="5" y="9"/>
                    </a:lnTo>
                    <a:lnTo>
                      <a:pt x="6" y="9"/>
                    </a:lnTo>
                    <a:lnTo>
                      <a:pt x="6" y="8"/>
                    </a:lnTo>
                    <a:lnTo>
                      <a:pt x="6" y="6"/>
                    </a:lnTo>
                    <a:lnTo>
                      <a:pt x="10" y="1"/>
                    </a:lnTo>
                    <a:lnTo>
                      <a:pt x="10" y="0"/>
                    </a:lnTo>
                    <a:lnTo>
                      <a:pt x="1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8" name="Freeform 85">
                <a:extLst>
                  <a:ext uri="{FF2B5EF4-FFF2-40B4-BE49-F238E27FC236}">
                    <a16:creationId xmlns:a16="http://schemas.microsoft.com/office/drawing/2014/main" id="{4C2FE4A5-2A01-31AB-BF1D-84790BD26ED8}"/>
                  </a:ext>
                </a:extLst>
              </p:cNvPr>
              <p:cNvSpPr>
                <a:spLocks noEditPoints="1"/>
              </p:cNvSpPr>
              <p:nvPr/>
            </p:nvSpPr>
            <p:spPr bwMode="gray">
              <a:xfrm>
                <a:off x="3019" y="773"/>
                <a:ext cx="152" cy="152"/>
              </a:xfrm>
              <a:custGeom>
                <a:avLst/>
                <a:gdLst>
                  <a:gd name="T0" fmla="*/ 94 w 152"/>
                  <a:gd name="T1" fmla="*/ 143 h 152"/>
                  <a:gd name="T2" fmla="*/ 80 w 152"/>
                  <a:gd name="T3" fmla="*/ 138 h 152"/>
                  <a:gd name="T4" fmla="*/ 69 w 152"/>
                  <a:gd name="T5" fmla="*/ 143 h 152"/>
                  <a:gd name="T6" fmla="*/ 105 w 152"/>
                  <a:gd name="T7" fmla="*/ 150 h 152"/>
                  <a:gd name="T8" fmla="*/ 133 w 152"/>
                  <a:gd name="T9" fmla="*/ 135 h 152"/>
                  <a:gd name="T10" fmla="*/ 61 w 152"/>
                  <a:gd name="T11" fmla="*/ 125 h 152"/>
                  <a:gd name="T12" fmla="*/ 149 w 152"/>
                  <a:gd name="T13" fmla="*/ 128 h 152"/>
                  <a:gd name="T14" fmla="*/ 103 w 152"/>
                  <a:gd name="T15" fmla="*/ 121 h 152"/>
                  <a:gd name="T16" fmla="*/ 144 w 152"/>
                  <a:gd name="T17" fmla="*/ 117 h 152"/>
                  <a:gd name="T18" fmla="*/ 100 w 152"/>
                  <a:gd name="T19" fmla="*/ 113 h 152"/>
                  <a:gd name="T20" fmla="*/ 133 w 152"/>
                  <a:gd name="T21" fmla="*/ 111 h 152"/>
                  <a:gd name="T22" fmla="*/ 89 w 152"/>
                  <a:gd name="T23" fmla="*/ 107 h 152"/>
                  <a:gd name="T24" fmla="*/ 130 w 152"/>
                  <a:gd name="T25" fmla="*/ 107 h 152"/>
                  <a:gd name="T26" fmla="*/ 105 w 152"/>
                  <a:gd name="T27" fmla="*/ 108 h 152"/>
                  <a:gd name="T28" fmla="*/ 83 w 152"/>
                  <a:gd name="T29" fmla="*/ 99 h 152"/>
                  <a:gd name="T30" fmla="*/ 100 w 152"/>
                  <a:gd name="T31" fmla="*/ 99 h 152"/>
                  <a:gd name="T32" fmla="*/ 99 w 152"/>
                  <a:gd name="T33" fmla="*/ 94 h 152"/>
                  <a:gd name="T34" fmla="*/ 85 w 152"/>
                  <a:gd name="T35" fmla="*/ 92 h 152"/>
                  <a:gd name="T36" fmla="*/ 130 w 152"/>
                  <a:gd name="T37" fmla="*/ 91 h 152"/>
                  <a:gd name="T38" fmla="*/ 92 w 152"/>
                  <a:gd name="T39" fmla="*/ 88 h 152"/>
                  <a:gd name="T40" fmla="*/ 67 w 152"/>
                  <a:gd name="T41" fmla="*/ 86 h 152"/>
                  <a:gd name="T42" fmla="*/ 14 w 152"/>
                  <a:gd name="T43" fmla="*/ 77 h 152"/>
                  <a:gd name="T44" fmla="*/ 19 w 152"/>
                  <a:gd name="T45" fmla="*/ 80 h 152"/>
                  <a:gd name="T46" fmla="*/ 113 w 152"/>
                  <a:gd name="T47" fmla="*/ 72 h 152"/>
                  <a:gd name="T48" fmla="*/ 19 w 152"/>
                  <a:gd name="T49" fmla="*/ 66 h 152"/>
                  <a:gd name="T50" fmla="*/ 86 w 152"/>
                  <a:gd name="T51" fmla="*/ 64 h 152"/>
                  <a:gd name="T52" fmla="*/ 80 w 152"/>
                  <a:gd name="T53" fmla="*/ 74 h 152"/>
                  <a:gd name="T54" fmla="*/ 58 w 152"/>
                  <a:gd name="T55" fmla="*/ 66 h 152"/>
                  <a:gd name="T56" fmla="*/ 78 w 152"/>
                  <a:gd name="T57" fmla="*/ 78 h 152"/>
                  <a:gd name="T58" fmla="*/ 88 w 152"/>
                  <a:gd name="T59" fmla="*/ 81 h 152"/>
                  <a:gd name="T60" fmla="*/ 122 w 152"/>
                  <a:gd name="T61" fmla="*/ 60 h 152"/>
                  <a:gd name="T62" fmla="*/ 116 w 152"/>
                  <a:gd name="T63" fmla="*/ 60 h 152"/>
                  <a:gd name="T64" fmla="*/ 5 w 152"/>
                  <a:gd name="T65" fmla="*/ 49 h 152"/>
                  <a:gd name="T66" fmla="*/ 102 w 152"/>
                  <a:gd name="T67" fmla="*/ 41 h 152"/>
                  <a:gd name="T68" fmla="*/ 100 w 152"/>
                  <a:gd name="T69" fmla="*/ 46 h 152"/>
                  <a:gd name="T70" fmla="*/ 91 w 152"/>
                  <a:gd name="T71" fmla="*/ 24 h 152"/>
                  <a:gd name="T72" fmla="*/ 119 w 152"/>
                  <a:gd name="T73" fmla="*/ 2 h 152"/>
                  <a:gd name="T74" fmla="*/ 108 w 152"/>
                  <a:gd name="T75" fmla="*/ 10 h 152"/>
                  <a:gd name="T76" fmla="*/ 86 w 152"/>
                  <a:gd name="T77" fmla="*/ 5 h 152"/>
                  <a:gd name="T78" fmla="*/ 72 w 152"/>
                  <a:gd name="T79" fmla="*/ 8 h 152"/>
                  <a:gd name="T80" fmla="*/ 55 w 152"/>
                  <a:gd name="T81" fmla="*/ 10 h 152"/>
                  <a:gd name="T82" fmla="*/ 38 w 152"/>
                  <a:gd name="T83" fmla="*/ 19 h 152"/>
                  <a:gd name="T84" fmla="*/ 25 w 152"/>
                  <a:gd name="T85" fmla="*/ 27 h 152"/>
                  <a:gd name="T86" fmla="*/ 16 w 152"/>
                  <a:gd name="T87" fmla="*/ 39 h 152"/>
                  <a:gd name="T88" fmla="*/ 13 w 152"/>
                  <a:gd name="T89" fmla="*/ 46 h 152"/>
                  <a:gd name="T90" fmla="*/ 16 w 152"/>
                  <a:gd name="T91" fmla="*/ 58 h 152"/>
                  <a:gd name="T92" fmla="*/ 20 w 152"/>
                  <a:gd name="T93" fmla="*/ 66 h 152"/>
                  <a:gd name="T94" fmla="*/ 38 w 152"/>
                  <a:gd name="T95" fmla="*/ 77 h 152"/>
                  <a:gd name="T96" fmla="*/ 63 w 152"/>
                  <a:gd name="T97" fmla="*/ 81 h 152"/>
                  <a:gd name="T98" fmla="*/ 38 w 152"/>
                  <a:gd name="T99" fmla="*/ 80 h 152"/>
                  <a:gd name="T100" fmla="*/ 36 w 152"/>
                  <a:gd name="T101" fmla="*/ 100 h 152"/>
                  <a:gd name="T102" fmla="*/ 49 w 152"/>
                  <a:gd name="T103" fmla="*/ 117 h 152"/>
                  <a:gd name="T104" fmla="*/ 61 w 152"/>
                  <a:gd name="T105" fmla="*/ 111 h 152"/>
                  <a:gd name="T106" fmla="*/ 69 w 152"/>
                  <a:gd name="T107" fmla="*/ 97 h 152"/>
                  <a:gd name="T108" fmla="*/ 69 w 152"/>
                  <a:gd name="T109" fmla="*/ 85 h 152"/>
                  <a:gd name="T110" fmla="*/ 72 w 152"/>
                  <a:gd name="T111" fmla="*/ 78 h 152"/>
                  <a:gd name="T112" fmla="*/ 60 w 152"/>
                  <a:gd name="T113" fmla="*/ 63 h 152"/>
                  <a:gd name="T114" fmla="*/ 60 w 152"/>
                  <a:gd name="T115" fmla="*/ 50 h 152"/>
                  <a:gd name="T116" fmla="*/ 61 w 152"/>
                  <a:gd name="T117" fmla="*/ 33 h 152"/>
                  <a:gd name="T118" fmla="*/ 77 w 152"/>
                  <a:gd name="T119" fmla="*/ 39 h 152"/>
                  <a:gd name="T120" fmla="*/ 75 w 152"/>
                  <a:gd name="T121" fmla="*/ 31 h 152"/>
                  <a:gd name="T122" fmla="*/ 96 w 152"/>
                  <a:gd name="T123" fmla="*/ 19 h 152"/>
                  <a:gd name="T124" fmla="*/ 119 w 152"/>
                  <a:gd name="T125"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2">
                    <a:moveTo>
                      <a:pt x="117" y="144"/>
                    </a:moveTo>
                    <a:lnTo>
                      <a:pt x="116" y="146"/>
                    </a:lnTo>
                    <a:lnTo>
                      <a:pt x="113" y="146"/>
                    </a:lnTo>
                    <a:lnTo>
                      <a:pt x="110" y="147"/>
                    </a:lnTo>
                    <a:lnTo>
                      <a:pt x="110" y="147"/>
                    </a:lnTo>
                    <a:lnTo>
                      <a:pt x="108" y="149"/>
                    </a:lnTo>
                    <a:lnTo>
                      <a:pt x="108" y="147"/>
                    </a:lnTo>
                    <a:lnTo>
                      <a:pt x="108" y="147"/>
                    </a:lnTo>
                    <a:lnTo>
                      <a:pt x="108" y="144"/>
                    </a:lnTo>
                    <a:lnTo>
                      <a:pt x="108" y="143"/>
                    </a:lnTo>
                    <a:lnTo>
                      <a:pt x="105" y="144"/>
                    </a:lnTo>
                    <a:lnTo>
                      <a:pt x="103" y="144"/>
                    </a:lnTo>
                    <a:lnTo>
                      <a:pt x="100" y="144"/>
                    </a:lnTo>
                    <a:lnTo>
                      <a:pt x="97" y="144"/>
                    </a:lnTo>
                    <a:lnTo>
                      <a:pt x="94" y="143"/>
                    </a:lnTo>
                    <a:lnTo>
                      <a:pt x="89" y="141"/>
                    </a:lnTo>
                    <a:lnTo>
                      <a:pt x="88" y="143"/>
                    </a:lnTo>
                    <a:lnTo>
                      <a:pt x="86" y="143"/>
                    </a:lnTo>
                    <a:lnTo>
                      <a:pt x="85" y="143"/>
                    </a:lnTo>
                    <a:lnTo>
                      <a:pt x="83" y="143"/>
                    </a:lnTo>
                    <a:lnTo>
                      <a:pt x="83" y="143"/>
                    </a:lnTo>
                    <a:lnTo>
                      <a:pt x="81" y="143"/>
                    </a:lnTo>
                    <a:lnTo>
                      <a:pt x="81" y="141"/>
                    </a:lnTo>
                    <a:lnTo>
                      <a:pt x="81" y="141"/>
                    </a:lnTo>
                    <a:lnTo>
                      <a:pt x="80" y="141"/>
                    </a:lnTo>
                    <a:lnTo>
                      <a:pt x="80" y="141"/>
                    </a:lnTo>
                    <a:lnTo>
                      <a:pt x="78" y="139"/>
                    </a:lnTo>
                    <a:lnTo>
                      <a:pt x="80" y="139"/>
                    </a:lnTo>
                    <a:lnTo>
                      <a:pt x="80" y="139"/>
                    </a:lnTo>
                    <a:lnTo>
                      <a:pt x="80" y="138"/>
                    </a:lnTo>
                    <a:lnTo>
                      <a:pt x="78" y="138"/>
                    </a:lnTo>
                    <a:lnTo>
                      <a:pt x="78" y="139"/>
                    </a:lnTo>
                    <a:lnTo>
                      <a:pt x="77" y="139"/>
                    </a:lnTo>
                    <a:lnTo>
                      <a:pt x="75" y="139"/>
                    </a:lnTo>
                    <a:lnTo>
                      <a:pt x="75" y="139"/>
                    </a:lnTo>
                    <a:lnTo>
                      <a:pt x="74" y="139"/>
                    </a:lnTo>
                    <a:lnTo>
                      <a:pt x="74" y="138"/>
                    </a:lnTo>
                    <a:lnTo>
                      <a:pt x="72" y="136"/>
                    </a:lnTo>
                    <a:lnTo>
                      <a:pt x="72" y="138"/>
                    </a:lnTo>
                    <a:lnTo>
                      <a:pt x="72" y="139"/>
                    </a:lnTo>
                    <a:lnTo>
                      <a:pt x="72" y="139"/>
                    </a:lnTo>
                    <a:lnTo>
                      <a:pt x="71" y="139"/>
                    </a:lnTo>
                    <a:lnTo>
                      <a:pt x="71" y="138"/>
                    </a:lnTo>
                    <a:lnTo>
                      <a:pt x="69" y="139"/>
                    </a:lnTo>
                    <a:lnTo>
                      <a:pt x="69" y="143"/>
                    </a:lnTo>
                    <a:lnTo>
                      <a:pt x="69" y="144"/>
                    </a:lnTo>
                    <a:lnTo>
                      <a:pt x="71" y="146"/>
                    </a:lnTo>
                    <a:lnTo>
                      <a:pt x="71" y="146"/>
                    </a:lnTo>
                    <a:lnTo>
                      <a:pt x="72" y="146"/>
                    </a:lnTo>
                    <a:lnTo>
                      <a:pt x="75" y="146"/>
                    </a:lnTo>
                    <a:lnTo>
                      <a:pt x="77" y="146"/>
                    </a:lnTo>
                    <a:lnTo>
                      <a:pt x="85" y="147"/>
                    </a:lnTo>
                    <a:lnTo>
                      <a:pt x="88" y="149"/>
                    </a:lnTo>
                    <a:lnTo>
                      <a:pt x="89" y="149"/>
                    </a:lnTo>
                    <a:lnTo>
                      <a:pt x="89" y="149"/>
                    </a:lnTo>
                    <a:lnTo>
                      <a:pt x="91" y="150"/>
                    </a:lnTo>
                    <a:lnTo>
                      <a:pt x="91" y="152"/>
                    </a:lnTo>
                    <a:lnTo>
                      <a:pt x="91" y="152"/>
                    </a:lnTo>
                    <a:lnTo>
                      <a:pt x="99" y="152"/>
                    </a:lnTo>
                    <a:lnTo>
                      <a:pt x="105" y="150"/>
                    </a:lnTo>
                    <a:lnTo>
                      <a:pt x="110" y="150"/>
                    </a:lnTo>
                    <a:lnTo>
                      <a:pt x="113" y="150"/>
                    </a:lnTo>
                    <a:lnTo>
                      <a:pt x="116" y="150"/>
                    </a:lnTo>
                    <a:lnTo>
                      <a:pt x="116" y="150"/>
                    </a:lnTo>
                    <a:lnTo>
                      <a:pt x="117" y="149"/>
                    </a:lnTo>
                    <a:lnTo>
                      <a:pt x="117" y="147"/>
                    </a:lnTo>
                    <a:lnTo>
                      <a:pt x="117" y="146"/>
                    </a:lnTo>
                    <a:lnTo>
                      <a:pt x="117" y="144"/>
                    </a:lnTo>
                    <a:lnTo>
                      <a:pt x="117" y="144"/>
                    </a:lnTo>
                    <a:close/>
                    <a:moveTo>
                      <a:pt x="133" y="139"/>
                    </a:moveTo>
                    <a:lnTo>
                      <a:pt x="133" y="138"/>
                    </a:lnTo>
                    <a:lnTo>
                      <a:pt x="133" y="135"/>
                    </a:lnTo>
                    <a:lnTo>
                      <a:pt x="133" y="133"/>
                    </a:lnTo>
                    <a:lnTo>
                      <a:pt x="133" y="133"/>
                    </a:lnTo>
                    <a:lnTo>
                      <a:pt x="133" y="135"/>
                    </a:lnTo>
                    <a:lnTo>
                      <a:pt x="131" y="138"/>
                    </a:lnTo>
                    <a:lnTo>
                      <a:pt x="131" y="139"/>
                    </a:lnTo>
                    <a:lnTo>
                      <a:pt x="131" y="141"/>
                    </a:lnTo>
                    <a:lnTo>
                      <a:pt x="131" y="143"/>
                    </a:lnTo>
                    <a:lnTo>
                      <a:pt x="133" y="141"/>
                    </a:lnTo>
                    <a:lnTo>
                      <a:pt x="135" y="141"/>
                    </a:lnTo>
                    <a:lnTo>
                      <a:pt x="133" y="139"/>
                    </a:lnTo>
                    <a:close/>
                    <a:moveTo>
                      <a:pt x="60" y="122"/>
                    </a:moveTo>
                    <a:lnTo>
                      <a:pt x="58" y="121"/>
                    </a:lnTo>
                    <a:lnTo>
                      <a:pt x="58" y="121"/>
                    </a:lnTo>
                    <a:lnTo>
                      <a:pt x="58" y="122"/>
                    </a:lnTo>
                    <a:lnTo>
                      <a:pt x="58" y="124"/>
                    </a:lnTo>
                    <a:lnTo>
                      <a:pt x="58" y="125"/>
                    </a:lnTo>
                    <a:lnTo>
                      <a:pt x="60" y="125"/>
                    </a:lnTo>
                    <a:lnTo>
                      <a:pt x="61" y="125"/>
                    </a:lnTo>
                    <a:lnTo>
                      <a:pt x="61" y="124"/>
                    </a:lnTo>
                    <a:lnTo>
                      <a:pt x="60" y="122"/>
                    </a:lnTo>
                    <a:close/>
                    <a:moveTo>
                      <a:pt x="150" y="121"/>
                    </a:moveTo>
                    <a:lnTo>
                      <a:pt x="146" y="122"/>
                    </a:lnTo>
                    <a:lnTo>
                      <a:pt x="144" y="124"/>
                    </a:lnTo>
                    <a:lnTo>
                      <a:pt x="144" y="125"/>
                    </a:lnTo>
                    <a:lnTo>
                      <a:pt x="142" y="125"/>
                    </a:lnTo>
                    <a:lnTo>
                      <a:pt x="142" y="127"/>
                    </a:lnTo>
                    <a:lnTo>
                      <a:pt x="142" y="128"/>
                    </a:lnTo>
                    <a:lnTo>
                      <a:pt x="142" y="130"/>
                    </a:lnTo>
                    <a:lnTo>
                      <a:pt x="142" y="132"/>
                    </a:lnTo>
                    <a:lnTo>
                      <a:pt x="144" y="132"/>
                    </a:lnTo>
                    <a:lnTo>
                      <a:pt x="144" y="130"/>
                    </a:lnTo>
                    <a:lnTo>
                      <a:pt x="147" y="128"/>
                    </a:lnTo>
                    <a:lnTo>
                      <a:pt x="149" y="128"/>
                    </a:lnTo>
                    <a:lnTo>
                      <a:pt x="149" y="127"/>
                    </a:lnTo>
                    <a:lnTo>
                      <a:pt x="150" y="125"/>
                    </a:lnTo>
                    <a:lnTo>
                      <a:pt x="152" y="121"/>
                    </a:lnTo>
                    <a:lnTo>
                      <a:pt x="152" y="121"/>
                    </a:lnTo>
                    <a:lnTo>
                      <a:pt x="150" y="121"/>
                    </a:lnTo>
                    <a:close/>
                    <a:moveTo>
                      <a:pt x="103" y="121"/>
                    </a:moveTo>
                    <a:lnTo>
                      <a:pt x="102" y="119"/>
                    </a:lnTo>
                    <a:lnTo>
                      <a:pt x="102" y="119"/>
                    </a:lnTo>
                    <a:lnTo>
                      <a:pt x="102" y="119"/>
                    </a:lnTo>
                    <a:lnTo>
                      <a:pt x="102" y="121"/>
                    </a:lnTo>
                    <a:lnTo>
                      <a:pt x="102" y="121"/>
                    </a:lnTo>
                    <a:lnTo>
                      <a:pt x="102" y="122"/>
                    </a:lnTo>
                    <a:lnTo>
                      <a:pt x="102" y="122"/>
                    </a:lnTo>
                    <a:lnTo>
                      <a:pt x="103" y="121"/>
                    </a:lnTo>
                    <a:lnTo>
                      <a:pt x="103" y="121"/>
                    </a:lnTo>
                    <a:close/>
                    <a:moveTo>
                      <a:pt x="119" y="116"/>
                    </a:moveTo>
                    <a:lnTo>
                      <a:pt x="119" y="116"/>
                    </a:lnTo>
                    <a:lnTo>
                      <a:pt x="119" y="116"/>
                    </a:lnTo>
                    <a:lnTo>
                      <a:pt x="117" y="116"/>
                    </a:lnTo>
                    <a:lnTo>
                      <a:pt x="117" y="116"/>
                    </a:lnTo>
                    <a:lnTo>
                      <a:pt x="117" y="117"/>
                    </a:lnTo>
                    <a:lnTo>
                      <a:pt x="117" y="117"/>
                    </a:lnTo>
                    <a:lnTo>
                      <a:pt x="119" y="117"/>
                    </a:lnTo>
                    <a:lnTo>
                      <a:pt x="121" y="116"/>
                    </a:lnTo>
                    <a:lnTo>
                      <a:pt x="119" y="116"/>
                    </a:lnTo>
                    <a:close/>
                    <a:moveTo>
                      <a:pt x="146" y="116"/>
                    </a:moveTo>
                    <a:lnTo>
                      <a:pt x="144" y="116"/>
                    </a:lnTo>
                    <a:lnTo>
                      <a:pt x="144" y="116"/>
                    </a:lnTo>
                    <a:lnTo>
                      <a:pt x="144" y="116"/>
                    </a:lnTo>
                    <a:lnTo>
                      <a:pt x="144" y="117"/>
                    </a:lnTo>
                    <a:lnTo>
                      <a:pt x="146" y="117"/>
                    </a:lnTo>
                    <a:lnTo>
                      <a:pt x="146" y="116"/>
                    </a:lnTo>
                    <a:lnTo>
                      <a:pt x="146" y="116"/>
                    </a:lnTo>
                    <a:lnTo>
                      <a:pt x="146" y="116"/>
                    </a:lnTo>
                    <a:close/>
                    <a:moveTo>
                      <a:pt x="85" y="113"/>
                    </a:moveTo>
                    <a:lnTo>
                      <a:pt x="85" y="113"/>
                    </a:lnTo>
                    <a:lnTo>
                      <a:pt x="85" y="114"/>
                    </a:lnTo>
                    <a:lnTo>
                      <a:pt x="83" y="113"/>
                    </a:lnTo>
                    <a:lnTo>
                      <a:pt x="83" y="113"/>
                    </a:lnTo>
                    <a:lnTo>
                      <a:pt x="83" y="114"/>
                    </a:lnTo>
                    <a:lnTo>
                      <a:pt x="86" y="114"/>
                    </a:lnTo>
                    <a:lnTo>
                      <a:pt x="86" y="114"/>
                    </a:lnTo>
                    <a:lnTo>
                      <a:pt x="86" y="113"/>
                    </a:lnTo>
                    <a:lnTo>
                      <a:pt x="85" y="113"/>
                    </a:lnTo>
                    <a:close/>
                    <a:moveTo>
                      <a:pt x="100" y="113"/>
                    </a:moveTo>
                    <a:lnTo>
                      <a:pt x="99" y="113"/>
                    </a:lnTo>
                    <a:lnTo>
                      <a:pt x="100" y="114"/>
                    </a:lnTo>
                    <a:lnTo>
                      <a:pt x="102" y="114"/>
                    </a:lnTo>
                    <a:lnTo>
                      <a:pt x="102" y="114"/>
                    </a:lnTo>
                    <a:lnTo>
                      <a:pt x="102" y="114"/>
                    </a:lnTo>
                    <a:lnTo>
                      <a:pt x="100" y="113"/>
                    </a:lnTo>
                    <a:close/>
                    <a:moveTo>
                      <a:pt x="135" y="110"/>
                    </a:moveTo>
                    <a:lnTo>
                      <a:pt x="133" y="110"/>
                    </a:lnTo>
                    <a:lnTo>
                      <a:pt x="131" y="111"/>
                    </a:lnTo>
                    <a:lnTo>
                      <a:pt x="128" y="113"/>
                    </a:lnTo>
                    <a:lnTo>
                      <a:pt x="128" y="113"/>
                    </a:lnTo>
                    <a:lnTo>
                      <a:pt x="128" y="113"/>
                    </a:lnTo>
                    <a:lnTo>
                      <a:pt x="130" y="113"/>
                    </a:lnTo>
                    <a:lnTo>
                      <a:pt x="133" y="113"/>
                    </a:lnTo>
                    <a:lnTo>
                      <a:pt x="133" y="111"/>
                    </a:lnTo>
                    <a:lnTo>
                      <a:pt x="136" y="110"/>
                    </a:lnTo>
                    <a:lnTo>
                      <a:pt x="135" y="110"/>
                    </a:lnTo>
                    <a:close/>
                    <a:moveTo>
                      <a:pt x="113" y="108"/>
                    </a:moveTo>
                    <a:lnTo>
                      <a:pt x="111" y="110"/>
                    </a:lnTo>
                    <a:lnTo>
                      <a:pt x="110" y="111"/>
                    </a:lnTo>
                    <a:lnTo>
                      <a:pt x="110" y="111"/>
                    </a:lnTo>
                    <a:lnTo>
                      <a:pt x="108" y="111"/>
                    </a:lnTo>
                    <a:lnTo>
                      <a:pt x="108" y="113"/>
                    </a:lnTo>
                    <a:lnTo>
                      <a:pt x="108" y="113"/>
                    </a:lnTo>
                    <a:lnTo>
                      <a:pt x="110" y="113"/>
                    </a:lnTo>
                    <a:lnTo>
                      <a:pt x="111" y="110"/>
                    </a:lnTo>
                    <a:lnTo>
                      <a:pt x="113" y="110"/>
                    </a:lnTo>
                    <a:lnTo>
                      <a:pt x="113" y="108"/>
                    </a:lnTo>
                    <a:close/>
                    <a:moveTo>
                      <a:pt x="89" y="107"/>
                    </a:moveTo>
                    <a:lnTo>
                      <a:pt x="89" y="107"/>
                    </a:lnTo>
                    <a:lnTo>
                      <a:pt x="89" y="108"/>
                    </a:lnTo>
                    <a:lnTo>
                      <a:pt x="89" y="108"/>
                    </a:lnTo>
                    <a:lnTo>
                      <a:pt x="89" y="110"/>
                    </a:lnTo>
                    <a:lnTo>
                      <a:pt x="89" y="110"/>
                    </a:lnTo>
                    <a:lnTo>
                      <a:pt x="91" y="108"/>
                    </a:lnTo>
                    <a:lnTo>
                      <a:pt x="89" y="107"/>
                    </a:lnTo>
                    <a:close/>
                    <a:moveTo>
                      <a:pt x="130" y="107"/>
                    </a:moveTo>
                    <a:lnTo>
                      <a:pt x="130" y="107"/>
                    </a:lnTo>
                    <a:lnTo>
                      <a:pt x="128" y="105"/>
                    </a:lnTo>
                    <a:lnTo>
                      <a:pt x="128" y="107"/>
                    </a:lnTo>
                    <a:lnTo>
                      <a:pt x="128" y="108"/>
                    </a:lnTo>
                    <a:lnTo>
                      <a:pt x="130" y="108"/>
                    </a:lnTo>
                    <a:lnTo>
                      <a:pt x="130" y="108"/>
                    </a:lnTo>
                    <a:lnTo>
                      <a:pt x="130" y="108"/>
                    </a:lnTo>
                    <a:lnTo>
                      <a:pt x="130" y="107"/>
                    </a:lnTo>
                    <a:close/>
                    <a:moveTo>
                      <a:pt x="99" y="105"/>
                    </a:moveTo>
                    <a:lnTo>
                      <a:pt x="100" y="105"/>
                    </a:lnTo>
                    <a:lnTo>
                      <a:pt x="99" y="105"/>
                    </a:lnTo>
                    <a:lnTo>
                      <a:pt x="97" y="105"/>
                    </a:lnTo>
                    <a:lnTo>
                      <a:pt x="97" y="107"/>
                    </a:lnTo>
                    <a:lnTo>
                      <a:pt x="97" y="108"/>
                    </a:lnTo>
                    <a:lnTo>
                      <a:pt x="99" y="108"/>
                    </a:lnTo>
                    <a:lnTo>
                      <a:pt x="100" y="107"/>
                    </a:lnTo>
                    <a:lnTo>
                      <a:pt x="99" y="105"/>
                    </a:lnTo>
                    <a:close/>
                    <a:moveTo>
                      <a:pt x="105" y="103"/>
                    </a:moveTo>
                    <a:lnTo>
                      <a:pt x="103" y="103"/>
                    </a:lnTo>
                    <a:lnTo>
                      <a:pt x="102" y="107"/>
                    </a:lnTo>
                    <a:lnTo>
                      <a:pt x="102" y="108"/>
                    </a:lnTo>
                    <a:lnTo>
                      <a:pt x="103" y="110"/>
                    </a:lnTo>
                    <a:lnTo>
                      <a:pt x="105" y="108"/>
                    </a:lnTo>
                    <a:lnTo>
                      <a:pt x="105" y="107"/>
                    </a:lnTo>
                    <a:lnTo>
                      <a:pt x="105" y="103"/>
                    </a:lnTo>
                    <a:lnTo>
                      <a:pt x="105" y="103"/>
                    </a:lnTo>
                    <a:close/>
                    <a:moveTo>
                      <a:pt x="86" y="103"/>
                    </a:moveTo>
                    <a:lnTo>
                      <a:pt x="86" y="103"/>
                    </a:lnTo>
                    <a:lnTo>
                      <a:pt x="85" y="103"/>
                    </a:lnTo>
                    <a:lnTo>
                      <a:pt x="85" y="105"/>
                    </a:lnTo>
                    <a:lnTo>
                      <a:pt x="86" y="105"/>
                    </a:lnTo>
                    <a:lnTo>
                      <a:pt x="86" y="105"/>
                    </a:lnTo>
                    <a:lnTo>
                      <a:pt x="86" y="103"/>
                    </a:lnTo>
                    <a:lnTo>
                      <a:pt x="86" y="103"/>
                    </a:lnTo>
                    <a:close/>
                    <a:moveTo>
                      <a:pt x="85" y="97"/>
                    </a:moveTo>
                    <a:lnTo>
                      <a:pt x="85" y="97"/>
                    </a:lnTo>
                    <a:lnTo>
                      <a:pt x="85" y="97"/>
                    </a:lnTo>
                    <a:lnTo>
                      <a:pt x="83" y="99"/>
                    </a:lnTo>
                    <a:lnTo>
                      <a:pt x="85" y="99"/>
                    </a:lnTo>
                    <a:lnTo>
                      <a:pt x="83" y="100"/>
                    </a:lnTo>
                    <a:lnTo>
                      <a:pt x="85" y="100"/>
                    </a:lnTo>
                    <a:lnTo>
                      <a:pt x="86" y="99"/>
                    </a:lnTo>
                    <a:lnTo>
                      <a:pt x="85" y="97"/>
                    </a:lnTo>
                    <a:close/>
                    <a:moveTo>
                      <a:pt x="92" y="96"/>
                    </a:moveTo>
                    <a:lnTo>
                      <a:pt x="92" y="97"/>
                    </a:lnTo>
                    <a:lnTo>
                      <a:pt x="92" y="99"/>
                    </a:lnTo>
                    <a:lnTo>
                      <a:pt x="92" y="99"/>
                    </a:lnTo>
                    <a:lnTo>
                      <a:pt x="94" y="99"/>
                    </a:lnTo>
                    <a:lnTo>
                      <a:pt x="94" y="97"/>
                    </a:lnTo>
                    <a:lnTo>
                      <a:pt x="92" y="96"/>
                    </a:lnTo>
                    <a:close/>
                    <a:moveTo>
                      <a:pt x="100" y="96"/>
                    </a:moveTo>
                    <a:lnTo>
                      <a:pt x="100" y="97"/>
                    </a:lnTo>
                    <a:lnTo>
                      <a:pt x="100" y="99"/>
                    </a:lnTo>
                    <a:lnTo>
                      <a:pt x="102" y="99"/>
                    </a:lnTo>
                    <a:lnTo>
                      <a:pt x="103" y="97"/>
                    </a:lnTo>
                    <a:lnTo>
                      <a:pt x="103" y="97"/>
                    </a:lnTo>
                    <a:lnTo>
                      <a:pt x="100" y="96"/>
                    </a:lnTo>
                    <a:close/>
                    <a:moveTo>
                      <a:pt x="117" y="92"/>
                    </a:moveTo>
                    <a:lnTo>
                      <a:pt x="116" y="94"/>
                    </a:lnTo>
                    <a:lnTo>
                      <a:pt x="114" y="94"/>
                    </a:lnTo>
                    <a:lnTo>
                      <a:pt x="113" y="96"/>
                    </a:lnTo>
                    <a:lnTo>
                      <a:pt x="111" y="96"/>
                    </a:lnTo>
                    <a:lnTo>
                      <a:pt x="113" y="96"/>
                    </a:lnTo>
                    <a:lnTo>
                      <a:pt x="116" y="96"/>
                    </a:lnTo>
                    <a:lnTo>
                      <a:pt x="117" y="94"/>
                    </a:lnTo>
                    <a:lnTo>
                      <a:pt x="119" y="92"/>
                    </a:lnTo>
                    <a:lnTo>
                      <a:pt x="117" y="92"/>
                    </a:lnTo>
                    <a:close/>
                    <a:moveTo>
                      <a:pt x="99" y="94"/>
                    </a:moveTo>
                    <a:lnTo>
                      <a:pt x="96" y="94"/>
                    </a:lnTo>
                    <a:lnTo>
                      <a:pt x="96" y="92"/>
                    </a:lnTo>
                    <a:lnTo>
                      <a:pt x="94" y="92"/>
                    </a:lnTo>
                    <a:lnTo>
                      <a:pt x="96" y="94"/>
                    </a:lnTo>
                    <a:lnTo>
                      <a:pt x="96" y="94"/>
                    </a:lnTo>
                    <a:lnTo>
                      <a:pt x="97" y="96"/>
                    </a:lnTo>
                    <a:lnTo>
                      <a:pt x="99" y="96"/>
                    </a:lnTo>
                    <a:lnTo>
                      <a:pt x="99" y="94"/>
                    </a:lnTo>
                    <a:lnTo>
                      <a:pt x="99" y="94"/>
                    </a:lnTo>
                    <a:close/>
                    <a:moveTo>
                      <a:pt x="83" y="92"/>
                    </a:moveTo>
                    <a:lnTo>
                      <a:pt x="83" y="92"/>
                    </a:lnTo>
                    <a:lnTo>
                      <a:pt x="81" y="94"/>
                    </a:lnTo>
                    <a:lnTo>
                      <a:pt x="81" y="96"/>
                    </a:lnTo>
                    <a:lnTo>
                      <a:pt x="83" y="96"/>
                    </a:lnTo>
                    <a:lnTo>
                      <a:pt x="85" y="92"/>
                    </a:lnTo>
                    <a:lnTo>
                      <a:pt x="83" y="92"/>
                    </a:lnTo>
                    <a:close/>
                    <a:moveTo>
                      <a:pt x="130" y="91"/>
                    </a:moveTo>
                    <a:lnTo>
                      <a:pt x="130" y="91"/>
                    </a:lnTo>
                    <a:lnTo>
                      <a:pt x="128" y="91"/>
                    </a:lnTo>
                    <a:lnTo>
                      <a:pt x="127" y="89"/>
                    </a:lnTo>
                    <a:lnTo>
                      <a:pt x="125" y="89"/>
                    </a:lnTo>
                    <a:lnTo>
                      <a:pt x="124" y="91"/>
                    </a:lnTo>
                    <a:lnTo>
                      <a:pt x="122" y="91"/>
                    </a:lnTo>
                    <a:lnTo>
                      <a:pt x="124" y="92"/>
                    </a:lnTo>
                    <a:lnTo>
                      <a:pt x="125" y="92"/>
                    </a:lnTo>
                    <a:lnTo>
                      <a:pt x="127" y="92"/>
                    </a:lnTo>
                    <a:lnTo>
                      <a:pt x="127" y="94"/>
                    </a:lnTo>
                    <a:lnTo>
                      <a:pt x="130" y="92"/>
                    </a:lnTo>
                    <a:lnTo>
                      <a:pt x="131" y="92"/>
                    </a:lnTo>
                    <a:lnTo>
                      <a:pt x="130" y="91"/>
                    </a:lnTo>
                    <a:close/>
                    <a:moveTo>
                      <a:pt x="22" y="89"/>
                    </a:moveTo>
                    <a:lnTo>
                      <a:pt x="22" y="89"/>
                    </a:lnTo>
                    <a:lnTo>
                      <a:pt x="20" y="89"/>
                    </a:lnTo>
                    <a:lnTo>
                      <a:pt x="19" y="88"/>
                    </a:lnTo>
                    <a:lnTo>
                      <a:pt x="17" y="89"/>
                    </a:lnTo>
                    <a:lnTo>
                      <a:pt x="17" y="89"/>
                    </a:lnTo>
                    <a:lnTo>
                      <a:pt x="19" y="91"/>
                    </a:lnTo>
                    <a:lnTo>
                      <a:pt x="22" y="92"/>
                    </a:lnTo>
                    <a:lnTo>
                      <a:pt x="24" y="91"/>
                    </a:lnTo>
                    <a:lnTo>
                      <a:pt x="24" y="92"/>
                    </a:lnTo>
                    <a:lnTo>
                      <a:pt x="22" y="89"/>
                    </a:lnTo>
                    <a:close/>
                    <a:moveTo>
                      <a:pt x="94" y="89"/>
                    </a:moveTo>
                    <a:lnTo>
                      <a:pt x="94" y="89"/>
                    </a:lnTo>
                    <a:lnTo>
                      <a:pt x="94" y="88"/>
                    </a:lnTo>
                    <a:lnTo>
                      <a:pt x="92" y="88"/>
                    </a:lnTo>
                    <a:lnTo>
                      <a:pt x="91" y="86"/>
                    </a:lnTo>
                    <a:lnTo>
                      <a:pt x="91" y="86"/>
                    </a:lnTo>
                    <a:lnTo>
                      <a:pt x="89" y="86"/>
                    </a:lnTo>
                    <a:lnTo>
                      <a:pt x="89" y="88"/>
                    </a:lnTo>
                    <a:lnTo>
                      <a:pt x="91" y="88"/>
                    </a:lnTo>
                    <a:lnTo>
                      <a:pt x="91" y="89"/>
                    </a:lnTo>
                    <a:lnTo>
                      <a:pt x="92" y="91"/>
                    </a:lnTo>
                    <a:lnTo>
                      <a:pt x="94" y="92"/>
                    </a:lnTo>
                    <a:lnTo>
                      <a:pt x="94" y="91"/>
                    </a:lnTo>
                    <a:lnTo>
                      <a:pt x="94" y="89"/>
                    </a:lnTo>
                    <a:close/>
                    <a:moveTo>
                      <a:pt x="69" y="86"/>
                    </a:moveTo>
                    <a:lnTo>
                      <a:pt x="69" y="86"/>
                    </a:lnTo>
                    <a:lnTo>
                      <a:pt x="67" y="86"/>
                    </a:lnTo>
                    <a:lnTo>
                      <a:pt x="67" y="86"/>
                    </a:lnTo>
                    <a:lnTo>
                      <a:pt x="67" y="86"/>
                    </a:lnTo>
                    <a:lnTo>
                      <a:pt x="67" y="86"/>
                    </a:lnTo>
                    <a:lnTo>
                      <a:pt x="67" y="88"/>
                    </a:lnTo>
                    <a:lnTo>
                      <a:pt x="67" y="88"/>
                    </a:lnTo>
                    <a:lnTo>
                      <a:pt x="69" y="88"/>
                    </a:lnTo>
                    <a:lnTo>
                      <a:pt x="69" y="88"/>
                    </a:lnTo>
                    <a:lnTo>
                      <a:pt x="69" y="86"/>
                    </a:lnTo>
                    <a:close/>
                    <a:moveTo>
                      <a:pt x="19" y="80"/>
                    </a:moveTo>
                    <a:lnTo>
                      <a:pt x="17" y="80"/>
                    </a:lnTo>
                    <a:lnTo>
                      <a:pt x="17" y="77"/>
                    </a:lnTo>
                    <a:lnTo>
                      <a:pt x="17" y="75"/>
                    </a:lnTo>
                    <a:lnTo>
                      <a:pt x="17" y="75"/>
                    </a:lnTo>
                    <a:lnTo>
                      <a:pt x="16" y="77"/>
                    </a:lnTo>
                    <a:lnTo>
                      <a:pt x="16" y="78"/>
                    </a:lnTo>
                    <a:lnTo>
                      <a:pt x="16" y="78"/>
                    </a:lnTo>
                    <a:lnTo>
                      <a:pt x="14" y="77"/>
                    </a:lnTo>
                    <a:lnTo>
                      <a:pt x="14" y="78"/>
                    </a:lnTo>
                    <a:lnTo>
                      <a:pt x="13" y="80"/>
                    </a:lnTo>
                    <a:lnTo>
                      <a:pt x="13" y="81"/>
                    </a:lnTo>
                    <a:lnTo>
                      <a:pt x="14" y="81"/>
                    </a:lnTo>
                    <a:lnTo>
                      <a:pt x="14" y="80"/>
                    </a:lnTo>
                    <a:lnTo>
                      <a:pt x="16" y="80"/>
                    </a:lnTo>
                    <a:lnTo>
                      <a:pt x="16" y="81"/>
                    </a:lnTo>
                    <a:lnTo>
                      <a:pt x="16" y="81"/>
                    </a:lnTo>
                    <a:lnTo>
                      <a:pt x="16" y="83"/>
                    </a:lnTo>
                    <a:lnTo>
                      <a:pt x="17" y="83"/>
                    </a:lnTo>
                    <a:lnTo>
                      <a:pt x="17" y="83"/>
                    </a:lnTo>
                    <a:lnTo>
                      <a:pt x="20" y="85"/>
                    </a:lnTo>
                    <a:lnTo>
                      <a:pt x="20" y="83"/>
                    </a:lnTo>
                    <a:lnTo>
                      <a:pt x="20" y="83"/>
                    </a:lnTo>
                    <a:lnTo>
                      <a:pt x="19" y="80"/>
                    </a:lnTo>
                    <a:close/>
                    <a:moveTo>
                      <a:pt x="20" y="77"/>
                    </a:moveTo>
                    <a:lnTo>
                      <a:pt x="19" y="77"/>
                    </a:lnTo>
                    <a:lnTo>
                      <a:pt x="19" y="75"/>
                    </a:lnTo>
                    <a:lnTo>
                      <a:pt x="19" y="75"/>
                    </a:lnTo>
                    <a:lnTo>
                      <a:pt x="19" y="75"/>
                    </a:lnTo>
                    <a:lnTo>
                      <a:pt x="19" y="75"/>
                    </a:lnTo>
                    <a:lnTo>
                      <a:pt x="17" y="75"/>
                    </a:lnTo>
                    <a:lnTo>
                      <a:pt x="19" y="77"/>
                    </a:lnTo>
                    <a:lnTo>
                      <a:pt x="19" y="78"/>
                    </a:lnTo>
                    <a:lnTo>
                      <a:pt x="20" y="78"/>
                    </a:lnTo>
                    <a:lnTo>
                      <a:pt x="20" y="77"/>
                    </a:lnTo>
                    <a:close/>
                    <a:moveTo>
                      <a:pt x="114" y="75"/>
                    </a:moveTo>
                    <a:lnTo>
                      <a:pt x="114" y="74"/>
                    </a:lnTo>
                    <a:lnTo>
                      <a:pt x="114" y="74"/>
                    </a:lnTo>
                    <a:lnTo>
                      <a:pt x="113" y="72"/>
                    </a:lnTo>
                    <a:lnTo>
                      <a:pt x="110" y="72"/>
                    </a:lnTo>
                    <a:lnTo>
                      <a:pt x="110" y="74"/>
                    </a:lnTo>
                    <a:lnTo>
                      <a:pt x="111" y="77"/>
                    </a:lnTo>
                    <a:lnTo>
                      <a:pt x="113" y="77"/>
                    </a:lnTo>
                    <a:lnTo>
                      <a:pt x="111" y="78"/>
                    </a:lnTo>
                    <a:lnTo>
                      <a:pt x="110" y="80"/>
                    </a:lnTo>
                    <a:lnTo>
                      <a:pt x="110" y="80"/>
                    </a:lnTo>
                    <a:lnTo>
                      <a:pt x="113" y="81"/>
                    </a:lnTo>
                    <a:lnTo>
                      <a:pt x="114" y="80"/>
                    </a:lnTo>
                    <a:lnTo>
                      <a:pt x="114" y="80"/>
                    </a:lnTo>
                    <a:lnTo>
                      <a:pt x="114" y="80"/>
                    </a:lnTo>
                    <a:lnTo>
                      <a:pt x="114" y="78"/>
                    </a:lnTo>
                    <a:lnTo>
                      <a:pt x="114" y="75"/>
                    </a:lnTo>
                    <a:lnTo>
                      <a:pt x="114" y="75"/>
                    </a:lnTo>
                    <a:close/>
                    <a:moveTo>
                      <a:pt x="19" y="66"/>
                    </a:moveTo>
                    <a:lnTo>
                      <a:pt x="17" y="67"/>
                    </a:lnTo>
                    <a:lnTo>
                      <a:pt x="17" y="69"/>
                    </a:lnTo>
                    <a:lnTo>
                      <a:pt x="17" y="71"/>
                    </a:lnTo>
                    <a:lnTo>
                      <a:pt x="17" y="72"/>
                    </a:lnTo>
                    <a:lnTo>
                      <a:pt x="17" y="72"/>
                    </a:lnTo>
                    <a:lnTo>
                      <a:pt x="17" y="72"/>
                    </a:lnTo>
                    <a:lnTo>
                      <a:pt x="19" y="72"/>
                    </a:lnTo>
                    <a:lnTo>
                      <a:pt x="19" y="72"/>
                    </a:lnTo>
                    <a:lnTo>
                      <a:pt x="19" y="71"/>
                    </a:lnTo>
                    <a:lnTo>
                      <a:pt x="19" y="67"/>
                    </a:lnTo>
                    <a:lnTo>
                      <a:pt x="19" y="66"/>
                    </a:lnTo>
                    <a:close/>
                    <a:moveTo>
                      <a:pt x="88" y="66"/>
                    </a:moveTo>
                    <a:lnTo>
                      <a:pt x="88" y="64"/>
                    </a:lnTo>
                    <a:lnTo>
                      <a:pt x="86" y="64"/>
                    </a:lnTo>
                    <a:lnTo>
                      <a:pt x="86" y="64"/>
                    </a:lnTo>
                    <a:lnTo>
                      <a:pt x="85" y="66"/>
                    </a:lnTo>
                    <a:lnTo>
                      <a:pt x="88" y="67"/>
                    </a:lnTo>
                    <a:lnTo>
                      <a:pt x="88" y="67"/>
                    </a:lnTo>
                    <a:lnTo>
                      <a:pt x="86" y="67"/>
                    </a:lnTo>
                    <a:lnTo>
                      <a:pt x="88" y="67"/>
                    </a:lnTo>
                    <a:lnTo>
                      <a:pt x="89" y="67"/>
                    </a:lnTo>
                    <a:lnTo>
                      <a:pt x="88" y="66"/>
                    </a:lnTo>
                    <a:close/>
                    <a:moveTo>
                      <a:pt x="88" y="81"/>
                    </a:moveTo>
                    <a:lnTo>
                      <a:pt x="85" y="81"/>
                    </a:lnTo>
                    <a:lnTo>
                      <a:pt x="83" y="81"/>
                    </a:lnTo>
                    <a:lnTo>
                      <a:pt x="81" y="80"/>
                    </a:lnTo>
                    <a:lnTo>
                      <a:pt x="81" y="78"/>
                    </a:lnTo>
                    <a:lnTo>
                      <a:pt x="80" y="75"/>
                    </a:lnTo>
                    <a:lnTo>
                      <a:pt x="81" y="74"/>
                    </a:lnTo>
                    <a:lnTo>
                      <a:pt x="80" y="74"/>
                    </a:lnTo>
                    <a:lnTo>
                      <a:pt x="80" y="72"/>
                    </a:lnTo>
                    <a:lnTo>
                      <a:pt x="80" y="71"/>
                    </a:lnTo>
                    <a:lnTo>
                      <a:pt x="78" y="71"/>
                    </a:lnTo>
                    <a:lnTo>
                      <a:pt x="75" y="71"/>
                    </a:lnTo>
                    <a:lnTo>
                      <a:pt x="72" y="69"/>
                    </a:lnTo>
                    <a:lnTo>
                      <a:pt x="71" y="69"/>
                    </a:lnTo>
                    <a:lnTo>
                      <a:pt x="69" y="67"/>
                    </a:lnTo>
                    <a:lnTo>
                      <a:pt x="67" y="66"/>
                    </a:lnTo>
                    <a:lnTo>
                      <a:pt x="67" y="64"/>
                    </a:lnTo>
                    <a:lnTo>
                      <a:pt x="64" y="63"/>
                    </a:lnTo>
                    <a:lnTo>
                      <a:pt x="64" y="63"/>
                    </a:lnTo>
                    <a:lnTo>
                      <a:pt x="63" y="63"/>
                    </a:lnTo>
                    <a:lnTo>
                      <a:pt x="60" y="64"/>
                    </a:lnTo>
                    <a:lnTo>
                      <a:pt x="58" y="66"/>
                    </a:lnTo>
                    <a:lnTo>
                      <a:pt x="58" y="66"/>
                    </a:lnTo>
                    <a:lnTo>
                      <a:pt x="58" y="67"/>
                    </a:lnTo>
                    <a:lnTo>
                      <a:pt x="60" y="66"/>
                    </a:lnTo>
                    <a:lnTo>
                      <a:pt x="63" y="66"/>
                    </a:lnTo>
                    <a:lnTo>
                      <a:pt x="64" y="67"/>
                    </a:lnTo>
                    <a:lnTo>
                      <a:pt x="66" y="69"/>
                    </a:lnTo>
                    <a:lnTo>
                      <a:pt x="67" y="71"/>
                    </a:lnTo>
                    <a:lnTo>
                      <a:pt x="69" y="72"/>
                    </a:lnTo>
                    <a:lnTo>
                      <a:pt x="69" y="72"/>
                    </a:lnTo>
                    <a:lnTo>
                      <a:pt x="71" y="74"/>
                    </a:lnTo>
                    <a:lnTo>
                      <a:pt x="71" y="75"/>
                    </a:lnTo>
                    <a:lnTo>
                      <a:pt x="74" y="77"/>
                    </a:lnTo>
                    <a:lnTo>
                      <a:pt x="75" y="77"/>
                    </a:lnTo>
                    <a:lnTo>
                      <a:pt x="78" y="77"/>
                    </a:lnTo>
                    <a:lnTo>
                      <a:pt x="78" y="77"/>
                    </a:lnTo>
                    <a:lnTo>
                      <a:pt x="78" y="78"/>
                    </a:lnTo>
                    <a:lnTo>
                      <a:pt x="78" y="78"/>
                    </a:lnTo>
                    <a:lnTo>
                      <a:pt x="80" y="80"/>
                    </a:lnTo>
                    <a:lnTo>
                      <a:pt x="80" y="81"/>
                    </a:lnTo>
                    <a:lnTo>
                      <a:pt x="80" y="81"/>
                    </a:lnTo>
                    <a:lnTo>
                      <a:pt x="81" y="83"/>
                    </a:lnTo>
                    <a:lnTo>
                      <a:pt x="83" y="85"/>
                    </a:lnTo>
                    <a:lnTo>
                      <a:pt x="83" y="85"/>
                    </a:lnTo>
                    <a:lnTo>
                      <a:pt x="85" y="85"/>
                    </a:lnTo>
                    <a:lnTo>
                      <a:pt x="85" y="85"/>
                    </a:lnTo>
                    <a:lnTo>
                      <a:pt x="86" y="86"/>
                    </a:lnTo>
                    <a:lnTo>
                      <a:pt x="86" y="86"/>
                    </a:lnTo>
                    <a:lnTo>
                      <a:pt x="86" y="86"/>
                    </a:lnTo>
                    <a:lnTo>
                      <a:pt x="88" y="85"/>
                    </a:lnTo>
                    <a:lnTo>
                      <a:pt x="88" y="83"/>
                    </a:lnTo>
                    <a:lnTo>
                      <a:pt x="88" y="81"/>
                    </a:lnTo>
                    <a:close/>
                    <a:moveTo>
                      <a:pt x="71" y="58"/>
                    </a:moveTo>
                    <a:lnTo>
                      <a:pt x="71" y="61"/>
                    </a:lnTo>
                    <a:lnTo>
                      <a:pt x="72" y="61"/>
                    </a:lnTo>
                    <a:lnTo>
                      <a:pt x="74" y="61"/>
                    </a:lnTo>
                    <a:lnTo>
                      <a:pt x="71" y="58"/>
                    </a:lnTo>
                    <a:close/>
                    <a:moveTo>
                      <a:pt x="75" y="58"/>
                    </a:moveTo>
                    <a:lnTo>
                      <a:pt x="74" y="60"/>
                    </a:lnTo>
                    <a:lnTo>
                      <a:pt x="75" y="60"/>
                    </a:lnTo>
                    <a:lnTo>
                      <a:pt x="77" y="58"/>
                    </a:lnTo>
                    <a:lnTo>
                      <a:pt x="77" y="56"/>
                    </a:lnTo>
                    <a:lnTo>
                      <a:pt x="75" y="58"/>
                    </a:lnTo>
                    <a:close/>
                    <a:moveTo>
                      <a:pt x="122" y="63"/>
                    </a:moveTo>
                    <a:lnTo>
                      <a:pt x="122" y="63"/>
                    </a:lnTo>
                    <a:lnTo>
                      <a:pt x="122" y="61"/>
                    </a:lnTo>
                    <a:lnTo>
                      <a:pt x="122" y="60"/>
                    </a:lnTo>
                    <a:lnTo>
                      <a:pt x="119" y="56"/>
                    </a:lnTo>
                    <a:lnTo>
                      <a:pt x="119" y="55"/>
                    </a:lnTo>
                    <a:lnTo>
                      <a:pt x="119" y="55"/>
                    </a:lnTo>
                    <a:lnTo>
                      <a:pt x="116" y="55"/>
                    </a:lnTo>
                    <a:lnTo>
                      <a:pt x="116" y="55"/>
                    </a:lnTo>
                    <a:lnTo>
                      <a:pt x="114" y="56"/>
                    </a:lnTo>
                    <a:lnTo>
                      <a:pt x="113" y="56"/>
                    </a:lnTo>
                    <a:lnTo>
                      <a:pt x="111" y="56"/>
                    </a:lnTo>
                    <a:lnTo>
                      <a:pt x="110" y="58"/>
                    </a:lnTo>
                    <a:lnTo>
                      <a:pt x="110" y="60"/>
                    </a:lnTo>
                    <a:lnTo>
                      <a:pt x="111" y="60"/>
                    </a:lnTo>
                    <a:lnTo>
                      <a:pt x="113" y="61"/>
                    </a:lnTo>
                    <a:lnTo>
                      <a:pt x="116" y="58"/>
                    </a:lnTo>
                    <a:lnTo>
                      <a:pt x="117" y="58"/>
                    </a:lnTo>
                    <a:lnTo>
                      <a:pt x="116" y="60"/>
                    </a:lnTo>
                    <a:lnTo>
                      <a:pt x="114" y="61"/>
                    </a:lnTo>
                    <a:lnTo>
                      <a:pt x="114" y="63"/>
                    </a:lnTo>
                    <a:lnTo>
                      <a:pt x="119" y="64"/>
                    </a:lnTo>
                    <a:lnTo>
                      <a:pt x="121" y="64"/>
                    </a:lnTo>
                    <a:lnTo>
                      <a:pt x="122" y="63"/>
                    </a:lnTo>
                    <a:lnTo>
                      <a:pt x="121" y="63"/>
                    </a:lnTo>
                    <a:lnTo>
                      <a:pt x="121" y="61"/>
                    </a:lnTo>
                    <a:lnTo>
                      <a:pt x="122" y="61"/>
                    </a:lnTo>
                    <a:lnTo>
                      <a:pt x="122" y="63"/>
                    </a:lnTo>
                    <a:close/>
                    <a:moveTo>
                      <a:pt x="8" y="53"/>
                    </a:moveTo>
                    <a:lnTo>
                      <a:pt x="8" y="53"/>
                    </a:lnTo>
                    <a:lnTo>
                      <a:pt x="6" y="52"/>
                    </a:lnTo>
                    <a:lnTo>
                      <a:pt x="6" y="52"/>
                    </a:lnTo>
                    <a:lnTo>
                      <a:pt x="5" y="50"/>
                    </a:lnTo>
                    <a:lnTo>
                      <a:pt x="5" y="49"/>
                    </a:lnTo>
                    <a:lnTo>
                      <a:pt x="5" y="49"/>
                    </a:lnTo>
                    <a:lnTo>
                      <a:pt x="5" y="47"/>
                    </a:lnTo>
                    <a:lnTo>
                      <a:pt x="6" y="46"/>
                    </a:lnTo>
                    <a:lnTo>
                      <a:pt x="5" y="46"/>
                    </a:lnTo>
                    <a:lnTo>
                      <a:pt x="5" y="46"/>
                    </a:lnTo>
                    <a:lnTo>
                      <a:pt x="5" y="44"/>
                    </a:lnTo>
                    <a:lnTo>
                      <a:pt x="2" y="46"/>
                    </a:lnTo>
                    <a:lnTo>
                      <a:pt x="0" y="46"/>
                    </a:lnTo>
                    <a:lnTo>
                      <a:pt x="0" y="47"/>
                    </a:lnTo>
                    <a:lnTo>
                      <a:pt x="3" y="50"/>
                    </a:lnTo>
                    <a:lnTo>
                      <a:pt x="5" y="53"/>
                    </a:lnTo>
                    <a:lnTo>
                      <a:pt x="6" y="53"/>
                    </a:lnTo>
                    <a:lnTo>
                      <a:pt x="8" y="55"/>
                    </a:lnTo>
                    <a:lnTo>
                      <a:pt x="8" y="53"/>
                    </a:lnTo>
                    <a:close/>
                    <a:moveTo>
                      <a:pt x="102" y="41"/>
                    </a:moveTo>
                    <a:lnTo>
                      <a:pt x="100" y="41"/>
                    </a:lnTo>
                    <a:lnTo>
                      <a:pt x="100" y="41"/>
                    </a:lnTo>
                    <a:lnTo>
                      <a:pt x="99" y="41"/>
                    </a:lnTo>
                    <a:lnTo>
                      <a:pt x="96" y="41"/>
                    </a:lnTo>
                    <a:lnTo>
                      <a:pt x="96" y="41"/>
                    </a:lnTo>
                    <a:lnTo>
                      <a:pt x="96" y="42"/>
                    </a:lnTo>
                    <a:lnTo>
                      <a:pt x="96" y="44"/>
                    </a:lnTo>
                    <a:lnTo>
                      <a:pt x="97" y="44"/>
                    </a:lnTo>
                    <a:lnTo>
                      <a:pt x="99" y="44"/>
                    </a:lnTo>
                    <a:lnTo>
                      <a:pt x="99" y="44"/>
                    </a:lnTo>
                    <a:lnTo>
                      <a:pt x="99" y="42"/>
                    </a:lnTo>
                    <a:lnTo>
                      <a:pt x="99" y="42"/>
                    </a:lnTo>
                    <a:lnTo>
                      <a:pt x="99" y="44"/>
                    </a:lnTo>
                    <a:lnTo>
                      <a:pt x="99" y="44"/>
                    </a:lnTo>
                    <a:lnTo>
                      <a:pt x="100" y="46"/>
                    </a:lnTo>
                    <a:lnTo>
                      <a:pt x="100" y="46"/>
                    </a:lnTo>
                    <a:lnTo>
                      <a:pt x="102" y="42"/>
                    </a:lnTo>
                    <a:lnTo>
                      <a:pt x="102" y="41"/>
                    </a:lnTo>
                    <a:lnTo>
                      <a:pt x="102" y="41"/>
                    </a:lnTo>
                    <a:lnTo>
                      <a:pt x="102" y="39"/>
                    </a:lnTo>
                    <a:lnTo>
                      <a:pt x="102" y="41"/>
                    </a:lnTo>
                    <a:close/>
                    <a:moveTo>
                      <a:pt x="106" y="30"/>
                    </a:moveTo>
                    <a:lnTo>
                      <a:pt x="105" y="30"/>
                    </a:lnTo>
                    <a:lnTo>
                      <a:pt x="105" y="28"/>
                    </a:lnTo>
                    <a:lnTo>
                      <a:pt x="102" y="30"/>
                    </a:lnTo>
                    <a:lnTo>
                      <a:pt x="105" y="31"/>
                    </a:lnTo>
                    <a:lnTo>
                      <a:pt x="106" y="31"/>
                    </a:lnTo>
                    <a:lnTo>
                      <a:pt x="106" y="30"/>
                    </a:lnTo>
                    <a:close/>
                    <a:moveTo>
                      <a:pt x="91" y="24"/>
                    </a:moveTo>
                    <a:lnTo>
                      <a:pt x="91" y="24"/>
                    </a:lnTo>
                    <a:lnTo>
                      <a:pt x="89" y="22"/>
                    </a:lnTo>
                    <a:lnTo>
                      <a:pt x="88" y="22"/>
                    </a:lnTo>
                    <a:lnTo>
                      <a:pt x="88" y="22"/>
                    </a:lnTo>
                    <a:lnTo>
                      <a:pt x="86" y="25"/>
                    </a:lnTo>
                    <a:lnTo>
                      <a:pt x="86" y="25"/>
                    </a:lnTo>
                    <a:lnTo>
                      <a:pt x="88" y="27"/>
                    </a:lnTo>
                    <a:lnTo>
                      <a:pt x="91" y="27"/>
                    </a:lnTo>
                    <a:lnTo>
                      <a:pt x="91" y="25"/>
                    </a:lnTo>
                    <a:lnTo>
                      <a:pt x="91" y="24"/>
                    </a:lnTo>
                    <a:close/>
                    <a:moveTo>
                      <a:pt x="124" y="5"/>
                    </a:moveTo>
                    <a:lnTo>
                      <a:pt x="122" y="3"/>
                    </a:lnTo>
                    <a:lnTo>
                      <a:pt x="122" y="3"/>
                    </a:lnTo>
                    <a:lnTo>
                      <a:pt x="121" y="3"/>
                    </a:lnTo>
                    <a:lnTo>
                      <a:pt x="121" y="2"/>
                    </a:lnTo>
                    <a:lnTo>
                      <a:pt x="119" y="2"/>
                    </a:lnTo>
                    <a:lnTo>
                      <a:pt x="117" y="0"/>
                    </a:lnTo>
                    <a:lnTo>
                      <a:pt x="116" y="0"/>
                    </a:lnTo>
                    <a:lnTo>
                      <a:pt x="114" y="0"/>
                    </a:lnTo>
                    <a:lnTo>
                      <a:pt x="114" y="0"/>
                    </a:lnTo>
                    <a:lnTo>
                      <a:pt x="114" y="0"/>
                    </a:lnTo>
                    <a:lnTo>
                      <a:pt x="113" y="2"/>
                    </a:lnTo>
                    <a:lnTo>
                      <a:pt x="114" y="2"/>
                    </a:lnTo>
                    <a:lnTo>
                      <a:pt x="114" y="3"/>
                    </a:lnTo>
                    <a:lnTo>
                      <a:pt x="114" y="5"/>
                    </a:lnTo>
                    <a:lnTo>
                      <a:pt x="114" y="8"/>
                    </a:lnTo>
                    <a:lnTo>
                      <a:pt x="114" y="8"/>
                    </a:lnTo>
                    <a:lnTo>
                      <a:pt x="114" y="8"/>
                    </a:lnTo>
                    <a:lnTo>
                      <a:pt x="113" y="10"/>
                    </a:lnTo>
                    <a:lnTo>
                      <a:pt x="111" y="10"/>
                    </a:lnTo>
                    <a:lnTo>
                      <a:pt x="108" y="10"/>
                    </a:lnTo>
                    <a:lnTo>
                      <a:pt x="108" y="10"/>
                    </a:lnTo>
                    <a:lnTo>
                      <a:pt x="108" y="10"/>
                    </a:lnTo>
                    <a:lnTo>
                      <a:pt x="105" y="10"/>
                    </a:lnTo>
                    <a:lnTo>
                      <a:pt x="103" y="11"/>
                    </a:lnTo>
                    <a:lnTo>
                      <a:pt x="102" y="11"/>
                    </a:lnTo>
                    <a:lnTo>
                      <a:pt x="99" y="11"/>
                    </a:lnTo>
                    <a:lnTo>
                      <a:pt x="97" y="10"/>
                    </a:lnTo>
                    <a:lnTo>
                      <a:pt x="94" y="10"/>
                    </a:lnTo>
                    <a:lnTo>
                      <a:pt x="92" y="8"/>
                    </a:lnTo>
                    <a:lnTo>
                      <a:pt x="91" y="8"/>
                    </a:lnTo>
                    <a:lnTo>
                      <a:pt x="91" y="10"/>
                    </a:lnTo>
                    <a:lnTo>
                      <a:pt x="89" y="8"/>
                    </a:lnTo>
                    <a:lnTo>
                      <a:pt x="88" y="6"/>
                    </a:lnTo>
                    <a:lnTo>
                      <a:pt x="88" y="6"/>
                    </a:lnTo>
                    <a:lnTo>
                      <a:pt x="86" y="5"/>
                    </a:lnTo>
                    <a:lnTo>
                      <a:pt x="86" y="5"/>
                    </a:lnTo>
                    <a:lnTo>
                      <a:pt x="85" y="5"/>
                    </a:lnTo>
                    <a:lnTo>
                      <a:pt x="83" y="5"/>
                    </a:lnTo>
                    <a:lnTo>
                      <a:pt x="81" y="5"/>
                    </a:lnTo>
                    <a:lnTo>
                      <a:pt x="78" y="5"/>
                    </a:lnTo>
                    <a:lnTo>
                      <a:pt x="78" y="5"/>
                    </a:lnTo>
                    <a:lnTo>
                      <a:pt x="78" y="6"/>
                    </a:lnTo>
                    <a:lnTo>
                      <a:pt x="78" y="6"/>
                    </a:lnTo>
                    <a:lnTo>
                      <a:pt x="77" y="6"/>
                    </a:lnTo>
                    <a:lnTo>
                      <a:pt x="77" y="6"/>
                    </a:lnTo>
                    <a:lnTo>
                      <a:pt x="75" y="6"/>
                    </a:lnTo>
                    <a:lnTo>
                      <a:pt x="75" y="6"/>
                    </a:lnTo>
                    <a:lnTo>
                      <a:pt x="74" y="8"/>
                    </a:lnTo>
                    <a:lnTo>
                      <a:pt x="72" y="8"/>
                    </a:lnTo>
                    <a:lnTo>
                      <a:pt x="72" y="8"/>
                    </a:lnTo>
                    <a:lnTo>
                      <a:pt x="72" y="8"/>
                    </a:lnTo>
                    <a:lnTo>
                      <a:pt x="71" y="8"/>
                    </a:lnTo>
                    <a:lnTo>
                      <a:pt x="69" y="8"/>
                    </a:lnTo>
                    <a:lnTo>
                      <a:pt x="67" y="8"/>
                    </a:lnTo>
                    <a:lnTo>
                      <a:pt x="66" y="8"/>
                    </a:lnTo>
                    <a:lnTo>
                      <a:pt x="64" y="8"/>
                    </a:lnTo>
                    <a:lnTo>
                      <a:pt x="64" y="8"/>
                    </a:lnTo>
                    <a:lnTo>
                      <a:pt x="63" y="10"/>
                    </a:lnTo>
                    <a:lnTo>
                      <a:pt x="63" y="10"/>
                    </a:lnTo>
                    <a:lnTo>
                      <a:pt x="60" y="10"/>
                    </a:lnTo>
                    <a:lnTo>
                      <a:pt x="58" y="10"/>
                    </a:lnTo>
                    <a:lnTo>
                      <a:pt x="56" y="10"/>
                    </a:lnTo>
                    <a:lnTo>
                      <a:pt x="56" y="10"/>
                    </a:lnTo>
                    <a:lnTo>
                      <a:pt x="56" y="10"/>
                    </a:lnTo>
                    <a:lnTo>
                      <a:pt x="55" y="10"/>
                    </a:lnTo>
                    <a:lnTo>
                      <a:pt x="55" y="13"/>
                    </a:lnTo>
                    <a:lnTo>
                      <a:pt x="55" y="13"/>
                    </a:lnTo>
                    <a:lnTo>
                      <a:pt x="55" y="13"/>
                    </a:lnTo>
                    <a:lnTo>
                      <a:pt x="53" y="14"/>
                    </a:lnTo>
                    <a:lnTo>
                      <a:pt x="50" y="14"/>
                    </a:lnTo>
                    <a:lnTo>
                      <a:pt x="49" y="14"/>
                    </a:lnTo>
                    <a:lnTo>
                      <a:pt x="46" y="14"/>
                    </a:lnTo>
                    <a:lnTo>
                      <a:pt x="46" y="14"/>
                    </a:lnTo>
                    <a:lnTo>
                      <a:pt x="46" y="14"/>
                    </a:lnTo>
                    <a:lnTo>
                      <a:pt x="46" y="14"/>
                    </a:lnTo>
                    <a:lnTo>
                      <a:pt x="44" y="14"/>
                    </a:lnTo>
                    <a:lnTo>
                      <a:pt x="42" y="14"/>
                    </a:lnTo>
                    <a:lnTo>
                      <a:pt x="42" y="14"/>
                    </a:lnTo>
                    <a:lnTo>
                      <a:pt x="41" y="14"/>
                    </a:lnTo>
                    <a:lnTo>
                      <a:pt x="38" y="19"/>
                    </a:lnTo>
                    <a:lnTo>
                      <a:pt x="38" y="19"/>
                    </a:lnTo>
                    <a:lnTo>
                      <a:pt x="36" y="20"/>
                    </a:lnTo>
                    <a:lnTo>
                      <a:pt x="35" y="20"/>
                    </a:lnTo>
                    <a:lnTo>
                      <a:pt x="33" y="19"/>
                    </a:lnTo>
                    <a:lnTo>
                      <a:pt x="31" y="19"/>
                    </a:lnTo>
                    <a:lnTo>
                      <a:pt x="31" y="19"/>
                    </a:lnTo>
                    <a:lnTo>
                      <a:pt x="30" y="20"/>
                    </a:lnTo>
                    <a:lnTo>
                      <a:pt x="27" y="20"/>
                    </a:lnTo>
                    <a:lnTo>
                      <a:pt x="27" y="20"/>
                    </a:lnTo>
                    <a:lnTo>
                      <a:pt x="24" y="20"/>
                    </a:lnTo>
                    <a:lnTo>
                      <a:pt x="24" y="20"/>
                    </a:lnTo>
                    <a:lnTo>
                      <a:pt x="24" y="22"/>
                    </a:lnTo>
                    <a:lnTo>
                      <a:pt x="24" y="24"/>
                    </a:lnTo>
                    <a:lnTo>
                      <a:pt x="25" y="25"/>
                    </a:lnTo>
                    <a:lnTo>
                      <a:pt x="25" y="27"/>
                    </a:lnTo>
                    <a:lnTo>
                      <a:pt x="25" y="27"/>
                    </a:lnTo>
                    <a:lnTo>
                      <a:pt x="24" y="28"/>
                    </a:lnTo>
                    <a:lnTo>
                      <a:pt x="22" y="30"/>
                    </a:lnTo>
                    <a:lnTo>
                      <a:pt x="20" y="30"/>
                    </a:lnTo>
                    <a:lnTo>
                      <a:pt x="20" y="31"/>
                    </a:lnTo>
                    <a:lnTo>
                      <a:pt x="20" y="33"/>
                    </a:lnTo>
                    <a:lnTo>
                      <a:pt x="20" y="33"/>
                    </a:lnTo>
                    <a:lnTo>
                      <a:pt x="19" y="33"/>
                    </a:lnTo>
                    <a:lnTo>
                      <a:pt x="19" y="35"/>
                    </a:lnTo>
                    <a:lnTo>
                      <a:pt x="19" y="36"/>
                    </a:lnTo>
                    <a:lnTo>
                      <a:pt x="19" y="38"/>
                    </a:lnTo>
                    <a:lnTo>
                      <a:pt x="19" y="38"/>
                    </a:lnTo>
                    <a:lnTo>
                      <a:pt x="19" y="38"/>
                    </a:lnTo>
                    <a:lnTo>
                      <a:pt x="17" y="39"/>
                    </a:lnTo>
                    <a:lnTo>
                      <a:pt x="16" y="39"/>
                    </a:lnTo>
                    <a:lnTo>
                      <a:pt x="14" y="39"/>
                    </a:lnTo>
                    <a:lnTo>
                      <a:pt x="14" y="39"/>
                    </a:lnTo>
                    <a:lnTo>
                      <a:pt x="14" y="39"/>
                    </a:lnTo>
                    <a:lnTo>
                      <a:pt x="14" y="39"/>
                    </a:lnTo>
                    <a:lnTo>
                      <a:pt x="13" y="41"/>
                    </a:lnTo>
                    <a:lnTo>
                      <a:pt x="13" y="41"/>
                    </a:lnTo>
                    <a:lnTo>
                      <a:pt x="13" y="41"/>
                    </a:lnTo>
                    <a:lnTo>
                      <a:pt x="13" y="42"/>
                    </a:lnTo>
                    <a:lnTo>
                      <a:pt x="14" y="44"/>
                    </a:lnTo>
                    <a:lnTo>
                      <a:pt x="14" y="46"/>
                    </a:lnTo>
                    <a:lnTo>
                      <a:pt x="14" y="46"/>
                    </a:lnTo>
                    <a:lnTo>
                      <a:pt x="13" y="46"/>
                    </a:lnTo>
                    <a:lnTo>
                      <a:pt x="13" y="46"/>
                    </a:lnTo>
                    <a:lnTo>
                      <a:pt x="13" y="46"/>
                    </a:lnTo>
                    <a:lnTo>
                      <a:pt x="13" y="46"/>
                    </a:lnTo>
                    <a:lnTo>
                      <a:pt x="13" y="46"/>
                    </a:lnTo>
                    <a:lnTo>
                      <a:pt x="13" y="47"/>
                    </a:lnTo>
                    <a:lnTo>
                      <a:pt x="13" y="47"/>
                    </a:lnTo>
                    <a:lnTo>
                      <a:pt x="11" y="47"/>
                    </a:lnTo>
                    <a:lnTo>
                      <a:pt x="11" y="47"/>
                    </a:lnTo>
                    <a:lnTo>
                      <a:pt x="11" y="47"/>
                    </a:lnTo>
                    <a:lnTo>
                      <a:pt x="11" y="49"/>
                    </a:lnTo>
                    <a:lnTo>
                      <a:pt x="10" y="49"/>
                    </a:lnTo>
                    <a:lnTo>
                      <a:pt x="8" y="47"/>
                    </a:lnTo>
                    <a:lnTo>
                      <a:pt x="8" y="47"/>
                    </a:lnTo>
                    <a:lnTo>
                      <a:pt x="6" y="47"/>
                    </a:lnTo>
                    <a:lnTo>
                      <a:pt x="8" y="49"/>
                    </a:lnTo>
                    <a:lnTo>
                      <a:pt x="10" y="50"/>
                    </a:lnTo>
                    <a:lnTo>
                      <a:pt x="13" y="55"/>
                    </a:lnTo>
                    <a:lnTo>
                      <a:pt x="16" y="58"/>
                    </a:lnTo>
                    <a:lnTo>
                      <a:pt x="17" y="60"/>
                    </a:lnTo>
                    <a:lnTo>
                      <a:pt x="19" y="61"/>
                    </a:lnTo>
                    <a:lnTo>
                      <a:pt x="19" y="63"/>
                    </a:lnTo>
                    <a:lnTo>
                      <a:pt x="20" y="63"/>
                    </a:lnTo>
                    <a:lnTo>
                      <a:pt x="24" y="63"/>
                    </a:lnTo>
                    <a:lnTo>
                      <a:pt x="25" y="63"/>
                    </a:lnTo>
                    <a:lnTo>
                      <a:pt x="25" y="63"/>
                    </a:lnTo>
                    <a:lnTo>
                      <a:pt x="27" y="63"/>
                    </a:lnTo>
                    <a:lnTo>
                      <a:pt x="27" y="64"/>
                    </a:lnTo>
                    <a:lnTo>
                      <a:pt x="27" y="64"/>
                    </a:lnTo>
                    <a:lnTo>
                      <a:pt x="27" y="66"/>
                    </a:lnTo>
                    <a:lnTo>
                      <a:pt x="25" y="66"/>
                    </a:lnTo>
                    <a:lnTo>
                      <a:pt x="22" y="64"/>
                    </a:lnTo>
                    <a:lnTo>
                      <a:pt x="20" y="64"/>
                    </a:lnTo>
                    <a:lnTo>
                      <a:pt x="20" y="66"/>
                    </a:lnTo>
                    <a:lnTo>
                      <a:pt x="20" y="67"/>
                    </a:lnTo>
                    <a:lnTo>
                      <a:pt x="22" y="67"/>
                    </a:lnTo>
                    <a:lnTo>
                      <a:pt x="24" y="71"/>
                    </a:lnTo>
                    <a:lnTo>
                      <a:pt x="25" y="74"/>
                    </a:lnTo>
                    <a:lnTo>
                      <a:pt x="27" y="77"/>
                    </a:lnTo>
                    <a:lnTo>
                      <a:pt x="28" y="78"/>
                    </a:lnTo>
                    <a:lnTo>
                      <a:pt x="30" y="77"/>
                    </a:lnTo>
                    <a:lnTo>
                      <a:pt x="30" y="75"/>
                    </a:lnTo>
                    <a:lnTo>
                      <a:pt x="30" y="75"/>
                    </a:lnTo>
                    <a:lnTo>
                      <a:pt x="31" y="75"/>
                    </a:lnTo>
                    <a:lnTo>
                      <a:pt x="31" y="77"/>
                    </a:lnTo>
                    <a:lnTo>
                      <a:pt x="33" y="78"/>
                    </a:lnTo>
                    <a:lnTo>
                      <a:pt x="35" y="78"/>
                    </a:lnTo>
                    <a:lnTo>
                      <a:pt x="36" y="77"/>
                    </a:lnTo>
                    <a:lnTo>
                      <a:pt x="38" y="77"/>
                    </a:lnTo>
                    <a:lnTo>
                      <a:pt x="39" y="77"/>
                    </a:lnTo>
                    <a:lnTo>
                      <a:pt x="41" y="77"/>
                    </a:lnTo>
                    <a:lnTo>
                      <a:pt x="46" y="77"/>
                    </a:lnTo>
                    <a:lnTo>
                      <a:pt x="47" y="77"/>
                    </a:lnTo>
                    <a:lnTo>
                      <a:pt x="49" y="77"/>
                    </a:lnTo>
                    <a:lnTo>
                      <a:pt x="50" y="75"/>
                    </a:lnTo>
                    <a:lnTo>
                      <a:pt x="52" y="78"/>
                    </a:lnTo>
                    <a:lnTo>
                      <a:pt x="55" y="78"/>
                    </a:lnTo>
                    <a:lnTo>
                      <a:pt x="56" y="80"/>
                    </a:lnTo>
                    <a:lnTo>
                      <a:pt x="56" y="80"/>
                    </a:lnTo>
                    <a:lnTo>
                      <a:pt x="58" y="81"/>
                    </a:lnTo>
                    <a:lnTo>
                      <a:pt x="60" y="80"/>
                    </a:lnTo>
                    <a:lnTo>
                      <a:pt x="60" y="81"/>
                    </a:lnTo>
                    <a:lnTo>
                      <a:pt x="61" y="81"/>
                    </a:lnTo>
                    <a:lnTo>
                      <a:pt x="63" y="81"/>
                    </a:lnTo>
                    <a:lnTo>
                      <a:pt x="63" y="83"/>
                    </a:lnTo>
                    <a:lnTo>
                      <a:pt x="63" y="83"/>
                    </a:lnTo>
                    <a:lnTo>
                      <a:pt x="61" y="83"/>
                    </a:lnTo>
                    <a:lnTo>
                      <a:pt x="60" y="83"/>
                    </a:lnTo>
                    <a:lnTo>
                      <a:pt x="58" y="85"/>
                    </a:lnTo>
                    <a:lnTo>
                      <a:pt x="58" y="85"/>
                    </a:lnTo>
                    <a:lnTo>
                      <a:pt x="58" y="86"/>
                    </a:lnTo>
                    <a:lnTo>
                      <a:pt x="56" y="86"/>
                    </a:lnTo>
                    <a:lnTo>
                      <a:pt x="56" y="86"/>
                    </a:lnTo>
                    <a:lnTo>
                      <a:pt x="55" y="85"/>
                    </a:lnTo>
                    <a:lnTo>
                      <a:pt x="52" y="83"/>
                    </a:lnTo>
                    <a:lnTo>
                      <a:pt x="47" y="81"/>
                    </a:lnTo>
                    <a:lnTo>
                      <a:pt x="41" y="78"/>
                    </a:lnTo>
                    <a:lnTo>
                      <a:pt x="39" y="78"/>
                    </a:lnTo>
                    <a:lnTo>
                      <a:pt x="38" y="80"/>
                    </a:lnTo>
                    <a:lnTo>
                      <a:pt x="36" y="81"/>
                    </a:lnTo>
                    <a:lnTo>
                      <a:pt x="35" y="81"/>
                    </a:lnTo>
                    <a:lnTo>
                      <a:pt x="33" y="81"/>
                    </a:lnTo>
                    <a:lnTo>
                      <a:pt x="31" y="81"/>
                    </a:lnTo>
                    <a:lnTo>
                      <a:pt x="30" y="85"/>
                    </a:lnTo>
                    <a:lnTo>
                      <a:pt x="27" y="88"/>
                    </a:lnTo>
                    <a:lnTo>
                      <a:pt x="27" y="88"/>
                    </a:lnTo>
                    <a:lnTo>
                      <a:pt x="27" y="89"/>
                    </a:lnTo>
                    <a:lnTo>
                      <a:pt x="28" y="89"/>
                    </a:lnTo>
                    <a:lnTo>
                      <a:pt x="30" y="91"/>
                    </a:lnTo>
                    <a:lnTo>
                      <a:pt x="30" y="92"/>
                    </a:lnTo>
                    <a:lnTo>
                      <a:pt x="31" y="94"/>
                    </a:lnTo>
                    <a:lnTo>
                      <a:pt x="35" y="96"/>
                    </a:lnTo>
                    <a:lnTo>
                      <a:pt x="36" y="99"/>
                    </a:lnTo>
                    <a:lnTo>
                      <a:pt x="36" y="100"/>
                    </a:lnTo>
                    <a:lnTo>
                      <a:pt x="35" y="103"/>
                    </a:lnTo>
                    <a:lnTo>
                      <a:pt x="35" y="105"/>
                    </a:lnTo>
                    <a:lnTo>
                      <a:pt x="38" y="111"/>
                    </a:lnTo>
                    <a:lnTo>
                      <a:pt x="41" y="113"/>
                    </a:lnTo>
                    <a:lnTo>
                      <a:pt x="41" y="111"/>
                    </a:lnTo>
                    <a:lnTo>
                      <a:pt x="41" y="110"/>
                    </a:lnTo>
                    <a:lnTo>
                      <a:pt x="41" y="108"/>
                    </a:lnTo>
                    <a:lnTo>
                      <a:pt x="42" y="107"/>
                    </a:lnTo>
                    <a:lnTo>
                      <a:pt x="44" y="107"/>
                    </a:lnTo>
                    <a:lnTo>
                      <a:pt x="44" y="108"/>
                    </a:lnTo>
                    <a:lnTo>
                      <a:pt x="46" y="110"/>
                    </a:lnTo>
                    <a:lnTo>
                      <a:pt x="46" y="110"/>
                    </a:lnTo>
                    <a:lnTo>
                      <a:pt x="49" y="114"/>
                    </a:lnTo>
                    <a:lnTo>
                      <a:pt x="49" y="116"/>
                    </a:lnTo>
                    <a:lnTo>
                      <a:pt x="49" y="117"/>
                    </a:lnTo>
                    <a:lnTo>
                      <a:pt x="50" y="119"/>
                    </a:lnTo>
                    <a:lnTo>
                      <a:pt x="50" y="119"/>
                    </a:lnTo>
                    <a:lnTo>
                      <a:pt x="50" y="117"/>
                    </a:lnTo>
                    <a:lnTo>
                      <a:pt x="53" y="113"/>
                    </a:lnTo>
                    <a:lnTo>
                      <a:pt x="55" y="111"/>
                    </a:lnTo>
                    <a:lnTo>
                      <a:pt x="56" y="113"/>
                    </a:lnTo>
                    <a:lnTo>
                      <a:pt x="56" y="114"/>
                    </a:lnTo>
                    <a:lnTo>
                      <a:pt x="60" y="117"/>
                    </a:lnTo>
                    <a:lnTo>
                      <a:pt x="61" y="119"/>
                    </a:lnTo>
                    <a:lnTo>
                      <a:pt x="61" y="119"/>
                    </a:lnTo>
                    <a:lnTo>
                      <a:pt x="63" y="119"/>
                    </a:lnTo>
                    <a:lnTo>
                      <a:pt x="61" y="117"/>
                    </a:lnTo>
                    <a:lnTo>
                      <a:pt x="60" y="116"/>
                    </a:lnTo>
                    <a:lnTo>
                      <a:pt x="61" y="113"/>
                    </a:lnTo>
                    <a:lnTo>
                      <a:pt x="61" y="111"/>
                    </a:lnTo>
                    <a:lnTo>
                      <a:pt x="60" y="107"/>
                    </a:lnTo>
                    <a:lnTo>
                      <a:pt x="56" y="102"/>
                    </a:lnTo>
                    <a:lnTo>
                      <a:pt x="55" y="99"/>
                    </a:lnTo>
                    <a:lnTo>
                      <a:pt x="55" y="96"/>
                    </a:lnTo>
                    <a:lnTo>
                      <a:pt x="55" y="94"/>
                    </a:lnTo>
                    <a:lnTo>
                      <a:pt x="56" y="96"/>
                    </a:lnTo>
                    <a:lnTo>
                      <a:pt x="58" y="96"/>
                    </a:lnTo>
                    <a:lnTo>
                      <a:pt x="60" y="97"/>
                    </a:lnTo>
                    <a:lnTo>
                      <a:pt x="61" y="97"/>
                    </a:lnTo>
                    <a:lnTo>
                      <a:pt x="61" y="99"/>
                    </a:lnTo>
                    <a:lnTo>
                      <a:pt x="63" y="100"/>
                    </a:lnTo>
                    <a:lnTo>
                      <a:pt x="63" y="100"/>
                    </a:lnTo>
                    <a:lnTo>
                      <a:pt x="64" y="99"/>
                    </a:lnTo>
                    <a:lnTo>
                      <a:pt x="69" y="97"/>
                    </a:lnTo>
                    <a:lnTo>
                      <a:pt x="69" y="97"/>
                    </a:lnTo>
                    <a:lnTo>
                      <a:pt x="67" y="97"/>
                    </a:lnTo>
                    <a:lnTo>
                      <a:pt x="67" y="96"/>
                    </a:lnTo>
                    <a:lnTo>
                      <a:pt x="66" y="94"/>
                    </a:lnTo>
                    <a:lnTo>
                      <a:pt x="66" y="94"/>
                    </a:lnTo>
                    <a:lnTo>
                      <a:pt x="64" y="94"/>
                    </a:lnTo>
                    <a:lnTo>
                      <a:pt x="63" y="94"/>
                    </a:lnTo>
                    <a:lnTo>
                      <a:pt x="63" y="92"/>
                    </a:lnTo>
                    <a:lnTo>
                      <a:pt x="63" y="89"/>
                    </a:lnTo>
                    <a:lnTo>
                      <a:pt x="61" y="89"/>
                    </a:lnTo>
                    <a:lnTo>
                      <a:pt x="60" y="88"/>
                    </a:lnTo>
                    <a:lnTo>
                      <a:pt x="61" y="88"/>
                    </a:lnTo>
                    <a:lnTo>
                      <a:pt x="61" y="88"/>
                    </a:lnTo>
                    <a:lnTo>
                      <a:pt x="63" y="86"/>
                    </a:lnTo>
                    <a:lnTo>
                      <a:pt x="67" y="86"/>
                    </a:lnTo>
                    <a:lnTo>
                      <a:pt x="69" y="85"/>
                    </a:lnTo>
                    <a:lnTo>
                      <a:pt x="69" y="85"/>
                    </a:lnTo>
                    <a:lnTo>
                      <a:pt x="71" y="85"/>
                    </a:lnTo>
                    <a:lnTo>
                      <a:pt x="72" y="88"/>
                    </a:lnTo>
                    <a:lnTo>
                      <a:pt x="75" y="91"/>
                    </a:lnTo>
                    <a:lnTo>
                      <a:pt x="77" y="92"/>
                    </a:lnTo>
                    <a:lnTo>
                      <a:pt x="77" y="92"/>
                    </a:lnTo>
                    <a:lnTo>
                      <a:pt x="78" y="92"/>
                    </a:lnTo>
                    <a:lnTo>
                      <a:pt x="78" y="91"/>
                    </a:lnTo>
                    <a:lnTo>
                      <a:pt x="78" y="89"/>
                    </a:lnTo>
                    <a:lnTo>
                      <a:pt x="78" y="86"/>
                    </a:lnTo>
                    <a:lnTo>
                      <a:pt x="78" y="83"/>
                    </a:lnTo>
                    <a:lnTo>
                      <a:pt x="77" y="80"/>
                    </a:lnTo>
                    <a:lnTo>
                      <a:pt x="77" y="80"/>
                    </a:lnTo>
                    <a:lnTo>
                      <a:pt x="74" y="78"/>
                    </a:lnTo>
                    <a:lnTo>
                      <a:pt x="72" y="78"/>
                    </a:lnTo>
                    <a:lnTo>
                      <a:pt x="69" y="75"/>
                    </a:lnTo>
                    <a:lnTo>
                      <a:pt x="66" y="74"/>
                    </a:lnTo>
                    <a:lnTo>
                      <a:pt x="64" y="71"/>
                    </a:lnTo>
                    <a:lnTo>
                      <a:pt x="63" y="71"/>
                    </a:lnTo>
                    <a:lnTo>
                      <a:pt x="60" y="69"/>
                    </a:lnTo>
                    <a:lnTo>
                      <a:pt x="55" y="67"/>
                    </a:lnTo>
                    <a:lnTo>
                      <a:pt x="55" y="66"/>
                    </a:lnTo>
                    <a:lnTo>
                      <a:pt x="53" y="66"/>
                    </a:lnTo>
                    <a:lnTo>
                      <a:pt x="52" y="66"/>
                    </a:lnTo>
                    <a:lnTo>
                      <a:pt x="52" y="66"/>
                    </a:lnTo>
                    <a:lnTo>
                      <a:pt x="53" y="66"/>
                    </a:lnTo>
                    <a:lnTo>
                      <a:pt x="56" y="66"/>
                    </a:lnTo>
                    <a:lnTo>
                      <a:pt x="58" y="64"/>
                    </a:lnTo>
                    <a:lnTo>
                      <a:pt x="61" y="63"/>
                    </a:lnTo>
                    <a:lnTo>
                      <a:pt x="60" y="63"/>
                    </a:lnTo>
                    <a:lnTo>
                      <a:pt x="58" y="61"/>
                    </a:lnTo>
                    <a:lnTo>
                      <a:pt x="58" y="60"/>
                    </a:lnTo>
                    <a:lnTo>
                      <a:pt x="56" y="56"/>
                    </a:lnTo>
                    <a:lnTo>
                      <a:pt x="58" y="56"/>
                    </a:lnTo>
                    <a:lnTo>
                      <a:pt x="60" y="55"/>
                    </a:lnTo>
                    <a:lnTo>
                      <a:pt x="63" y="58"/>
                    </a:lnTo>
                    <a:lnTo>
                      <a:pt x="63" y="58"/>
                    </a:lnTo>
                    <a:lnTo>
                      <a:pt x="61" y="60"/>
                    </a:lnTo>
                    <a:lnTo>
                      <a:pt x="63" y="61"/>
                    </a:lnTo>
                    <a:lnTo>
                      <a:pt x="63" y="61"/>
                    </a:lnTo>
                    <a:lnTo>
                      <a:pt x="66" y="60"/>
                    </a:lnTo>
                    <a:lnTo>
                      <a:pt x="64" y="56"/>
                    </a:lnTo>
                    <a:lnTo>
                      <a:pt x="64" y="55"/>
                    </a:lnTo>
                    <a:lnTo>
                      <a:pt x="61" y="52"/>
                    </a:lnTo>
                    <a:lnTo>
                      <a:pt x="60" y="50"/>
                    </a:lnTo>
                    <a:lnTo>
                      <a:pt x="58" y="49"/>
                    </a:lnTo>
                    <a:lnTo>
                      <a:pt x="56" y="46"/>
                    </a:lnTo>
                    <a:lnTo>
                      <a:pt x="52" y="39"/>
                    </a:lnTo>
                    <a:lnTo>
                      <a:pt x="52" y="38"/>
                    </a:lnTo>
                    <a:lnTo>
                      <a:pt x="53" y="35"/>
                    </a:lnTo>
                    <a:lnTo>
                      <a:pt x="53" y="31"/>
                    </a:lnTo>
                    <a:lnTo>
                      <a:pt x="53" y="30"/>
                    </a:lnTo>
                    <a:lnTo>
                      <a:pt x="53" y="28"/>
                    </a:lnTo>
                    <a:lnTo>
                      <a:pt x="55" y="28"/>
                    </a:lnTo>
                    <a:lnTo>
                      <a:pt x="56" y="27"/>
                    </a:lnTo>
                    <a:lnTo>
                      <a:pt x="58" y="27"/>
                    </a:lnTo>
                    <a:lnTo>
                      <a:pt x="58" y="28"/>
                    </a:lnTo>
                    <a:lnTo>
                      <a:pt x="56" y="30"/>
                    </a:lnTo>
                    <a:lnTo>
                      <a:pt x="58" y="31"/>
                    </a:lnTo>
                    <a:lnTo>
                      <a:pt x="61" y="33"/>
                    </a:lnTo>
                    <a:lnTo>
                      <a:pt x="66" y="36"/>
                    </a:lnTo>
                    <a:lnTo>
                      <a:pt x="66" y="38"/>
                    </a:lnTo>
                    <a:lnTo>
                      <a:pt x="66" y="41"/>
                    </a:lnTo>
                    <a:lnTo>
                      <a:pt x="71" y="42"/>
                    </a:lnTo>
                    <a:lnTo>
                      <a:pt x="71" y="42"/>
                    </a:lnTo>
                    <a:lnTo>
                      <a:pt x="72" y="41"/>
                    </a:lnTo>
                    <a:lnTo>
                      <a:pt x="67" y="39"/>
                    </a:lnTo>
                    <a:lnTo>
                      <a:pt x="67" y="38"/>
                    </a:lnTo>
                    <a:lnTo>
                      <a:pt x="66" y="35"/>
                    </a:lnTo>
                    <a:lnTo>
                      <a:pt x="67" y="35"/>
                    </a:lnTo>
                    <a:lnTo>
                      <a:pt x="71" y="35"/>
                    </a:lnTo>
                    <a:lnTo>
                      <a:pt x="74" y="39"/>
                    </a:lnTo>
                    <a:lnTo>
                      <a:pt x="77" y="41"/>
                    </a:lnTo>
                    <a:lnTo>
                      <a:pt x="77" y="41"/>
                    </a:lnTo>
                    <a:lnTo>
                      <a:pt x="77" y="39"/>
                    </a:lnTo>
                    <a:lnTo>
                      <a:pt x="77" y="38"/>
                    </a:lnTo>
                    <a:lnTo>
                      <a:pt x="75" y="36"/>
                    </a:lnTo>
                    <a:lnTo>
                      <a:pt x="74" y="36"/>
                    </a:lnTo>
                    <a:lnTo>
                      <a:pt x="72" y="35"/>
                    </a:lnTo>
                    <a:lnTo>
                      <a:pt x="72" y="33"/>
                    </a:lnTo>
                    <a:lnTo>
                      <a:pt x="74" y="31"/>
                    </a:lnTo>
                    <a:lnTo>
                      <a:pt x="75" y="31"/>
                    </a:lnTo>
                    <a:lnTo>
                      <a:pt x="78" y="33"/>
                    </a:lnTo>
                    <a:lnTo>
                      <a:pt x="80" y="35"/>
                    </a:lnTo>
                    <a:lnTo>
                      <a:pt x="81" y="36"/>
                    </a:lnTo>
                    <a:lnTo>
                      <a:pt x="83" y="38"/>
                    </a:lnTo>
                    <a:lnTo>
                      <a:pt x="83" y="35"/>
                    </a:lnTo>
                    <a:lnTo>
                      <a:pt x="81" y="33"/>
                    </a:lnTo>
                    <a:lnTo>
                      <a:pt x="78" y="31"/>
                    </a:lnTo>
                    <a:lnTo>
                      <a:pt x="75" y="31"/>
                    </a:lnTo>
                    <a:lnTo>
                      <a:pt x="75" y="31"/>
                    </a:lnTo>
                    <a:lnTo>
                      <a:pt x="74" y="30"/>
                    </a:lnTo>
                    <a:lnTo>
                      <a:pt x="75" y="28"/>
                    </a:lnTo>
                    <a:lnTo>
                      <a:pt x="74" y="27"/>
                    </a:lnTo>
                    <a:lnTo>
                      <a:pt x="72" y="25"/>
                    </a:lnTo>
                    <a:lnTo>
                      <a:pt x="74" y="24"/>
                    </a:lnTo>
                    <a:lnTo>
                      <a:pt x="77" y="24"/>
                    </a:lnTo>
                    <a:lnTo>
                      <a:pt x="78" y="24"/>
                    </a:lnTo>
                    <a:lnTo>
                      <a:pt x="81" y="22"/>
                    </a:lnTo>
                    <a:lnTo>
                      <a:pt x="85" y="19"/>
                    </a:lnTo>
                    <a:lnTo>
                      <a:pt x="86" y="19"/>
                    </a:lnTo>
                    <a:lnTo>
                      <a:pt x="86" y="19"/>
                    </a:lnTo>
                    <a:lnTo>
                      <a:pt x="89" y="20"/>
                    </a:lnTo>
                    <a:lnTo>
                      <a:pt x="91" y="20"/>
                    </a:lnTo>
                    <a:lnTo>
                      <a:pt x="96" y="19"/>
                    </a:lnTo>
                    <a:lnTo>
                      <a:pt x="97" y="17"/>
                    </a:lnTo>
                    <a:lnTo>
                      <a:pt x="99" y="19"/>
                    </a:lnTo>
                    <a:lnTo>
                      <a:pt x="100" y="19"/>
                    </a:lnTo>
                    <a:lnTo>
                      <a:pt x="103" y="20"/>
                    </a:lnTo>
                    <a:lnTo>
                      <a:pt x="110" y="20"/>
                    </a:lnTo>
                    <a:lnTo>
                      <a:pt x="113" y="22"/>
                    </a:lnTo>
                    <a:lnTo>
                      <a:pt x="113" y="24"/>
                    </a:lnTo>
                    <a:lnTo>
                      <a:pt x="113" y="24"/>
                    </a:lnTo>
                    <a:lnTo>
                      <a:pt x="114" y="24"/>
                    </a:lnTo>
                    <a:lnTo>
                      <a:pt x="114" y="24"/>
                    </a:lnTo>
                    <a:lnTo>
                      <a:pt x="116" y="22"/>
                    </a:lnTo>
                    <a:lnTo>
                      <a:pt x="116" y="20"/>
                    </a:lnTo>
                    <a:lnTo>
                      <a:pt x="117" y="19"/>
                    </a:lnTo>
                    <a:lnTo>
                      <a:pt x="119" y="17"/>
                    </a:lnTo>
                    <a:lnTo>
                      <a:pt x="119" y="16"/>
                    </a:lnTo>
                    <a:lnTo>
                      <a:pt x="117" y="16"/>
                    </a:lnTo>
                    <a:lnTo>
                      <a:pt x="117" y="16"/>
                    </a:lnTo>
                    <a:lnTo>
                      <a:pt x="117" y="14"/>
                    </a:lnTo>
                    <a:lnTo>
                      <a:pt x="117" y="11"/>
                    </a:lnTo>
                    <a:lnTo>
                      <a:pt x="122" y="10"/>
                    </a:lnTo>
                    <a:lnTo>
                      <a:pt x="122" y="10"/>
                    </a:lnTo>
                    <a:lnTo>
                      <a:pt x="124" y="8"/>
                    </a:lnTo>
                    <a:lnTo>
                      <a:pt x="124"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59" name="Freeform 86">
                <a:extLst>
                  <a:ext uri="{FF2B5EF4-FFF2-40B4-BE49-F238E27FC236}">
                    <a16:creationId xmlns:a16="http://schemas.microsoft.com/office/drawing/2014/main" id="{BEF66BD7-159E-437E-EC77-B65022077379}"/>
                  </a:ext>
                </a:extLst>
              </p:cNvPr>
              <p:cNvSpPr>
                <a:spLocks/>
              </p:cNvSpPr>
              <p:nvPr/>
            </p:nvSpPr>
            <p:spPr bwMode="gray">
              <a:xfrm>
                <a:off x="1055" y="1261"/>
                <a:ext cx="71" cy="74"/>
              </a:xfrm>
              <a:custGeom>
                <a:avLst/>
                <a:gdLst>
                  <a:gd name="T0" fmla="*/ 55 w 71"/>
                  <a:gd name="T1" fmla="*/ 5 h 74"/>
                  <a:gd name="T2" fmla="*/ 55 w 71"/>
                  <a:gd name="T3" fmla="*/ 13 h 74"/>
                  <a:gd name="T4" fmla="*/ 54 w 71"/>
                  <a:gd name="T5" fmla="*/ 24 h 74"/>
                  <a:gd name="T6" fmla="*/ 54 w 71"/>
                  <a:gd name="T7" fmla="*/ 35 h 74"/>
                  <a:gd name="T8" fmla="*/ 55 w 71"/>
                  <a:gd name="T9" fmla="*/ 35 h 74"/>
                  <a:gd name="T10" fmla="*/ 60 w 71"/>
                  <a:gd name="T11" fmla="*/ 35 h 74"/>
                  <a:gd name="T12" fmla="*/ 61 w 71"/>
                  <a:gd name="T13" fmla="*/ 35 h 74"/>
                  <a:gd name="T14" fmla="*/ 64 w 71"/>
                  <a:gd name="T15" fmla="*/ 38 h 74"/>
                  <a:gd name="T16" fmla="*/ 66 w 71"/>
                  <a:gd name="T17" fmla="*/ 35 h 74"/>
                  <a:gd name="T18" fmla="*/ 64 w 71"/>
                  <a:gd name="T19" fmla="*/ 33 h 74"/>
                  <a:gd name="T20" fmla="*/ 71 w 71"/>
                  <a:gd name="T21" fmla="*/ 38 h 74"/>
                  <a:gd name="T22" fmla="*/ 66 w 71"/>
                  <a:gd name="T23" fmla="*/ 43 h 74"/>
                  <a:gd name="T24" fmla="*/ 61 w 71"/>
                  <a:gd name="T25" fmla="*/ 47 h 74"/>
                  <a:gd name="T26" fmla="*/ 58 w 71"/>
                  <a:gd name="T27" fmla="*/ 49 h 74"/>
                  <a:gd name="T28" fmla="*/ 55 w 71"/>
                  <a:gd name="T29" fmla="*/ 50 h 74"/>
                  <a:gd name="T30" fmla="*/ 54 w 71"/>
                  <a:gd name="T31" fmla="*/ 54 h 74"/>
                  <a:gd name="T32" fmla="*/ 55 w 71"/>
                  <a:gd name="T33" fmla="*/ 57 h 74"/>
                  <a:gd name="T34" fmla="*/ 52 w 71"/>
                  <a:gd name="T35" fmla="*/ 60 h 74"/>
                  <a:gd name="T36" fmla="*/ 52 w 71"/>
                  <a:gd name="T37" fmla="*/ 61 h 74"/>
                  <a:gd name="T38" fmla="*/ 50 w 71"/>
                  <a:gd name="T39" fmla="*/ 61 h 74"/>
                  <a:gd name="T40" fmla="*/ 49 w 71"/>
                  <a:gd name="T41" fmla="*/ 61 h 74"/>
                  <a:gd name="T42" fmla="*/ 47 w 71"/>
                  <a:gd name="T43" fmla="*/ 63 h 74"/>
                  <a:gd name="T44" fmla="*/ 49 w 71"/>
                  <a:gd name="T45" fmla="*/ 65 h 74"/>
                  <a:gd name="T46" fmla="*/ 46 w 71"/>
                  <a:gd name="T47" fmla="*/ 66 h 74"/>
                  <a:gd name="T48" fmla="*/ 44 w 71"/>
                  <a:gd name="T49" fmla="*/ 68 h 74"/>
                  <a:gd name="T50" fmla="*/ 43 w 71"/>
                  <a:gd name="T51" fmla="*/ 68 h 74"/>
                  <a:gd name="T52" fmla="*/ 41 w 71"/>
                  <a:gd name="T53" fmla="*/ 69 h 74"/>
                  <a:gd name="T54" fmla="*/ 38 w 71"/>
                  <a:gd name="T55" fmla="*/ 72 h 74"/>
                  <a:gd name="T56" fmla="*/ 38 w 71"/>
                  <a:gd name="T57" fmla="*/ 74 h 74"/>
                  <a:gd name="T58" fmla="*/ 30 w 71"/>
                  <a:gd name="T59" fmla="*/ 71 h 74"/>
                  <a:gd name="T60" fmla="*/ 16 w 71"/>
                  <a:gd name="T61" fmla="*/ 69 h 74"/>
                  <a:gd name="T62" fmla="*/ 8 w 71"/>
                  <a:gd name="T63" fmla="*/ 65 h 74"/>
                  <a:gd name="T64" fmla="*/ 2 w 71"/>
                  <a:gd name="T65" fmla="*/ 58 h 74"/>
                  <a:gd name="T66" fmla="*/ 2 w 71"/>
                  <a:gd name="T67" fmla="*/ 57 h 74"/>
                  <a:gd name="T68" fmla="*/ 2 w 71"/>
                  <a:gd name="T69" fmla="*/ 55 h 74"/>
                  <a:gd name="T70" fmla="*/ 2 w 71"/>
                  <a:gd name="T71" fmla="*/ 52 h 74"/>
                  <a:gd name="T72" fmla="*/ 4 w 71"/>
                  <a:gd name="T73" fmla="*/ 50 h 74"/>
                  <a:gd name="T74" fmla="*/ 2 w 71"/>
                  <a:gd name="T75" fmla="*/ 47 h 74"/>
                  <a:gd name="T76" fmla="*/ 2 w 71"/>
                  <a:gd name="T77" fmla="*/ 46 h 74"/>
                  <a:gd name="T78" fmla="*/ 5 w 71"/>
                  <a:gd name="T79" fmla="*/ 38 h 74"/>
                  <a:gd name="T80" fmla="*/ 10 w 71"/>
                  <a:gd name="T81" fmla="*/ 32 h 74"/>
                  <a:gd name="T82" fmla="*/ 19 w 71"/>
                  <a:gd name="T83" fmla="*/ 32 h 74"/>
                  <a:gd name="T84" fmla="*/ 29 w 71"/>
                  <a:gd name="T85" fmla="*/ 32 h 74"/>
                  <a:gd name="T86" fmla="*/ 32 w 71"/>
                  <a:gd name="T87" fmla="*/ 32 h 74"/>
                  <a:gd name="T88" fmla="*/ 32 w 71"/>
                  <a:gd name="T89" fmla="*/ 29 h 74"/>
                  <a:gd name="T90" fmla="*/ 33 w 71"/>
                  <a:gd name="T91" fmla="*/ 25 h 74"/>
                  <a:gd name="T92" fmla="*/ 30 w 71"/>
                  <a:gd name="T93" fmla="*/ 24 h 74"/>
                  <a:gd name="T94" fmla="*/ 29 w 71"/>
                  <a:gd name="T95" fmla="*/ 22 h 74"/>
                  <a:gd name="T96" fmla="*/ 27 w 71"/>
                  <a:gd name="T97" fmla="*/ 21 h 74"/>
                  <a:gd name="T98" fmla="*/ 24 w 71"/>
                  <a:gd name="T99" fmla="*/ 18 h 74"/>
                  <a:gd name="T100" fmla="*/ 19 w 71"/>
                  <a:gd name="T101" fmla="*/ 13 h 74"/>
                  <a:gd name="T102" fmla="*/ 16 w 71"/>
                  <a:gd name="T103" fmla="*/ 10 h 74"/>
                  <a:gd name="T104" fmla="*/ 19 w 71"/>
                  <a:gd name="T105" fmla="*/ 10 h 74"/>
                  <a:gd name="T106" fmla="*/ 22 w 71"/>
                  <a:gd name="T107" fmla="*/ 7 h 74"/>
                  <a:gd name="T108" fmla="*/ 22 w 71"/>
                  <a:gd name="T109" fmla="*/ 0 h 74"/>
                  <a:gd name="T110" fmla="*/ 36 w 71"/>
                  <a:gd name="T111" fmla="*/ 0 h 74"/>
                  <a:gd name="T112" fmla="*/ 52 w 71"/>
                  <a:gd name="T11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 h="74">
                    <a:moveTo>
                      <a:pt x="55" y="0"/>
                    </a:moveTo>
                    <a:lnTo>
                      <a:pt x="55" y="5"/>
                    </a:lnTo>
                    <a:lnTo>
                      <a:pt x="55" y="10"/>
                    </a:lnTo>
                    <a:lnTo>
                      <a:pt x="55" y="13"/>
                    </a:lnTo>
                    <a:lnTo>
                      <a:pt x="54" y="18"/>
                    </a:lnTo>
                    <a:lnTo>
                      <a:pt x="54" y="24"/>
                    </a:lnTo>
                    <a:lnTo>
                      <a:pt x="54" y="30"/>
                    </a:lnTo>
                    <a:lnTo>
                      <a:pt x="54" y="35"/>
                    </a:lnTo>
                    <a:lnTo>
                      <a:pt x="54" y="35"/>
                    </a:lnTo>
                    <a:lnTo>
                      <a:pt x="55" y="35"/>
                    </a:lnTo>
                    <a:lnTo>
                      <a:pt x="58" y="35"/>
                    </a:lnTo>
                    <a:lnTo>
                      <a:pt x="60" y="35"/>
                    </a:lnTo>
                    <a:lnTo>
                      <a:pt x="60" y="35"/>
                    </a:lnTo>
                    <a:lnTo>
                      <a:pt x="61" y="35"/>
                    </a:lnTo>
                    <a:lnTo>
                      <a:pt x="63" y="36"/>
                    </a:lnTo>
                    <a:lnTo>
                      <a:pt x="64" y="38"/>
                    </a:lnTo>
                    <a:lnTo>
                      <a:pt x="66" y="36"/>
                    </a:lnTo>
                    <a:lnTo>
                      <a:pt x="66" y="35"/>
                    </a:lnTo>
                    <a:lnTo>
                      <a:pt x="64" y="35"/>
                    </a:lnTo>
                    <a:lnTo>
                      <a:pt x="64" y="33"/>
                    </a:lnTo>
                    <a:lnTo>
                      <a:pt x="71" y="38"/>
                    </a:lnTo>
                    <a:lnTo>
                      <a:pt x="71" y="38"/>
                    </a:lnTo>
                    <a:lnTo>
                      <a:pt x="69" y="39"/>
                    </a:lnTo>
                    <a:lnTo>
                      <a:pt x="66" y="43"/>
                    </a:lnTo>
                    <a:lnTo>
                      <a:pt x="63" y="44"/>
                    </a:lnTo>
                    <a:lnTo>
                      <a:pt x="61" y="47"/>
                    </a:lnTo>
                    <a:lnTo>
                      <a:pt x="58" y="49"/>
                    </a:lnTo>
                    <a:lnTo>
                      <a:pt x="58" y="49"/>
                    </a:lnTo>
                    <a:lnTo>
                      <a:pt x="55" y="50"/>
                    </a:lnTo>
                    <a:lnTo>
                      <a:pt x="55" y="50"/>
                    </a:lnTo>
                    <a:lnTo>
                      <a:pt x="54" y="54"/>
                    </a:lnTo>
                    <a:lnTo>
                      <a:pt x="54" y="54"/>
                    </a:lnTo>
                    <a:lnTo>
                      <a:pt x="55" y="55"/>
                    </a:lnTo>
                    <a:lnTo>
                      <a:pt x="55" y="57"/>
                    </a:lnTo>
                    <a:lnTo>
                      <a:pt x="55" y="58"/>
                    </a:lnTo>
                    <a:lnTo>
                      <a:pt x="52" y="60"/>
                    </a:lnTo>
                    <a:lnTo>
                      <a:pt x="52" y="61"/>
                    </a:lnTo>
                    <a:lnTo>
                      <a:pt x="52" y="61"/>
                    </a:lnTo>
                    <a:lnTo>
                      <a:pt x="50" y="61"/>
                    </a:lnTo>
                    <a:lnTo>
                      <a:pt x="50" y="61"/>
                    </a:lnTo>
                    <a:lnTo>
                      <a:pt x="49" y="61"/>
                    </a:lnTo>
                    <a:lnTo>
                      <a:pt x="49" y="61"/>
                    </a:lnTo>
                    <a:lnTo>
                      <a:pt x="47" y="61"/>
                    </a:lnTo>
                    <a:lnTo>
                      <a:pt x="47" y="63"/>
                    </a:lnTo>
                    <a:lnTo>
                      <a:pt x="47" y="65"/>
                    </a:lnTo>
                    <a:lnTo>
                      <a:pt x="49" y="65"/>
                    </a:lnTo>
                    <a:lnTo>
                      <a:pt x="47" y="65"/>
                    </a:lnTo>
                    <a:lnTo>
                      <a:pt x="46" y="66"/>
                    </a:lnTo>
                    <a:lnTo>
                      <a:pt x="46" y="66"/>
                    </a:lnTo>
                    <a:lnTo>
                      <a:pt x="44" y="68"/>
                    </a:lnTo>
                    <a:lnTo>
                      <a:pt x="44" y="68"/>
                    </a:lnTo>
                    <a:lnTo>
                      <a:pt x="43" y="68"/>
                    </a:lnTo>
                    <a:lnTo>
                      <a:pt x="43" y="68"/>
                    </a:lnTo>
                    <a:lnTo>
                      <a:pt x="41" y="69"/>
                    </a:lnTo>
                    <a:lnTo>
                      <a:pt x="39" y="71"/>
                    </a:lnTo>
                    <a:lnTo>
                      <a:pt x="38" y="72"/>
                    </a:lnTo>
                    <a:lnTo>
                      <a:pt x="38" y="72"/>
                    </a:lnTo>
                    <a:lnTo>
                      <a:pt x="38" y="74"/>
                    </a:lnTo>
                    <a:lnTo>
                      <a:pt x="32" y="71"/>
                    </a:lnTo>
                    <a:lnTo>
                      <a:pt x="30" y="71"/>
                    </a:lnTo>
                    <a:lnTo>
                      <a:pt x="21" y="71"/>
                    </a:lnTo>
                    <a:lnTo>
                      <a:pt x="16" y="69"/>
                    </a:lnTo>
                    <a:lnTo>
                      <a:pt x="11" y="68"/>
                    </a:lnTo>
                    <a:lnTo>
                      <a:pt x="8" y="65"/>
                    </a:lnTo>
                    <a:lnTo>
                      <a:pt x="0" y="60"/>
                    </a:lnTo>
                    <a:lnTo>
                      <a:pt x="2" y="58"/>
                    </a:lnTo>
                    <a:lnTo>
                      <a:pt x="2" y="58"/>
                    </a:lnTo>
                    <a:lnTo>
                      <a:pt x="2" y="57"/>
                    </a:lnTo>
                    <a:lnTo>
                      <a:pt x="2" y="55"/>
                    </a:lnTo>
                    <a:lnTo>
                      <a:pt x="2" y="55"/>
                    </a:lnTo>
                    <a:lnTo>
                      <a:pt x="2" y="54"/>
                    </a:lnTo>
                    <a:lnTo>
                      <a:pt x="2" y="52"/>
                    </a:lnTo>
                    <a:lnTo>
                      <a:pt x="2" y="50"/>
                    </a:lnTo>
                    <a:lnTo>
                      <a:pt x="4" y="50"/>
                    </a:lnTo>
                    <a:lnTo>
                      <a:pt x="4" y="50"/>
                    </a:lnTo>
                    <a:lnTo>
                      <a:pt x="2" y="47"/>
                    </a:lnTo>
                    <a:lnTo>
                      <a:pt x="2" y="46"/>
                    </a:lnTo>
                    <a:lnTo>
                      <a:pt x="2" y="46"/>
                    </a:lnTo>
                    <a:lnTo>
                      <a:pt x="4" y="43"/>
                    </a:lnTo>
                    <a:lnTo>
                      <a:pt x="5" y="38"/>
                    </a:lnTo>
                    <a:lnTo>
                      <a:pt x="8" y="35"/>
                    </a:lnTo>
                    <a:lnTo>
                      <a:pt x="10" y="32"/>
                    </a:lnTo>
                    <a:lnTo>
                      <a:pt x="14" y="32"/>
                    </a:lnTo>
                    <a:lnTo>
                      <a:pt x="19" y="32"/>
                    </a:lnTo>
                    <a:lnTo>
                      <a:pt x="22" y="32"/>
                    </a:lnTo>
                    <a:lnTo>
                      <a:pt x="29" y="32"/>
                    </a:lnTo>
                    <a:lnTo>
                      <a:pt x="32" y="32"/>
                    </a:lnTo>
                    <a:lnTo>
                      <a:pt x="32" y="32"/>
                    </a:lnTo>
                    <a:lnTo>
                      <a:pt x="32" y="30"/>
                    </a:lnTo>
                    <a:lnTo>
                      <a:pt x="32" y="29"/>
                    </a:lnTo>
                    <a:lnTo>
                      <a:pt x="33" y="27"/>
                    </a:lnTo>
                    <a:lnTo>
                      <a:pt x="33" y="25"/>
                    </a:lnTo>
                    <a:lnTo>
                      <a:pt x="32" y="25"/>
                    </a:lnTo>
                    <a:lnTo>
                      <a:pt x="30" y="24"/>
                    </a:lnTo>
                    <a:lnTo>
                      <a:pt x="29" y="24"/>
                    </a:lnTo>
                    <a:lnTo>
                      <a:pt x="29" y="22"/>
                    </a:lnTo>
                    <a:lnTo>
                      <a:pt x="29" y="22"/>
                    </a:lnTo>
                    <a:lnTo>
                      <a:pt x="27" y="21"/>
                    </a:lnTo>
                    <a:lnTo>
                      <a:pt x="25" y="19"/>
                    </a:lnTo>
                    <a:lnTo>
                      <a:pt x="24" y="18"/>
                    </a:lnTo>
                    <a:lnTo>
                      <a:pt x="21" y="16"/>
                    </a:lnTo>
                    <a:lnTo>
                      <a:pt x="19" y="13"/>
                    </a:lnTo>
                    <a:lnTo>
                      <a:pt x="18" y="11"/>
                    </a:lnTo>
                    <a:lnTo>
                      <a:pt x="16" y="10"/>
                    </a:lnTo>
                    <a:lnTo>
                      <a:pt x="16" y="10"/>
                    </a:lnTo>
                    <a:lnTo>
                      <a:pt x="19" y="10"/>
                    </a:lnTo>
                    <a:lnTo>
                      <a:pt x="22" y="10"/>
                    </a:lnTo>
                    <a:lnTo>
                      <a:pt x="22" y="7"/>
                    </a:lnTo>
                    <a:lnTo>
                      <a:pt x="22" y="3"/>
                    </a:lnTo>
                    <a:lnTo>
                      <a:pt x="22" y="0"/>
                    </a:lnTo>
                    <a:lnTo>
                      <a:pt x="29" y="0"/>
                    </a:lnTo>
                    <a:lnTo>
                      <a:pt x="36" y="0"/>
                    </a:lnTo>
                    <a:lnTo>
                      <a:pt x="46" y="0"/>
                    </a:lnTo>
                    <a:lnTo>
                      <a:pt x="52" y="0"/>
                    </a:lnTo>
                    <a:lnTo>
                      <a:pt x="55"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0" name="Freeform 87">
                <a:extLst>
                  <a:ext uri="{FF2B5EF4-FFF2-40B4-BE49-F238E27FC236}">
                    <a16:creationId xmlns:a16="http://schemas.microsoft.com/office/drawing/2014/main" id="{DC2E0C50-16DA-AFF3-2A72-A8C57477964E}"/>
                  </a:ext>
                </a:extLst>
              </p:cNvPr>
              <p:cNvSpPr>
                <a:spLocks noEditPoints="1"/>
              </p:cNvSpPr>
              <p:nvPr/>
            </p:nvSpPr>
            <p:spPr bwMode="gray">
              <a:xfrm>
                <a:off x="2381" y="1354"/>
                <a:ext cx="53" cy="31"/>
              </a:xfrm>
              <a:custGeom>
                <a:avLst/>
                <a:gdLst>
                  <a:gd name="T0" fmla="*/ 14 w 53"/>
                  <a:gd name="T1" fmla="*/ 26 h 31"/>
                  <a:gd name="T2" fmla="*/ 14 w 53"/>
                  <a:gd name="T3" fmla="*/ 28 h 31"/>
                  <a:gd name="T4" fmla="*/ 14 w 53"/>
                  <a:gd name="T5" fmla="*/ 28 h 31"/>
                  <a:gd name="T6" fmla="*/ 11 w 53"/>
                  <a:gd name="T7" fmla="*/ 26 h 31"/>
                  <a:gd name="T8" fmla="*/ 10 w 53"/>
                  <a:gd name="T9" fmla="*/ 28 h 31"/>
                  <a:gd name="T10" fmla="*/ 10 w 53"/>
                  <a:gd name="T11" fmla="*/ 28 h 31"/>
                  <a:gd name="T12" fmla="*/ 11 w 53"/>
                  <a:gd name="T13" fmla="*/ 28 h 31"/>
                  <a:gd name="T14" fmla="*/ 19 w 53"/>
                  <a:gd name="T15" fmla="*/ 25 h 31"/>
                  <a:gd name="T16" fmla="*/ 17 w 53"/>
                  <a:gd name="T17" fmla="*/ 26 h 31"/>
                  <a:gd name="T18" fmla="*/ 17 w 53"/>
                  <a:gd name="T19" fmla="*/ 26 h 31"/>
                  <a:gd name="T20" fmla="*/ 19 w 53"/>
                  <a:gd name="T21" fmla="*/ 25 h 31"/>
                  <a:gd name="T22" fmla="*/ 14 w 53"/>
                  <a:gd name="T23" fmla="*/ 18 h 31"/>
                  <a:gd name="T24" fmla="*/ 13 w 53"/>
                  <a:gd name="T25" fmla="*/ 22 h 31"/>
                  <a:gd name="T26" fmla="*/ 14 w 53"/>
                  <a:gd name="T27" fmla="*/ 20 h 31"/>
                  <a:gd name="T28" fmla="*/ 21 w 53"/>
                  <a:gd name="T29" fmla="*/ 20 h 31"/>
                  <a:gd name="T30" fmla="*/ 22 w 53"/>
                  <a:gd name="T31" fmla="*/ 20 h 31"/>
                  <a:gd name="T32" fmla="*/ 13 w 53"/>
                  <a:gd name="T33" fmla="*/ 14 h 31"/>
                  <a:gd name="T34" fmla="*/ 11 w 53"/>
                  <a:gd name="T35" fmla="*/ 15 h 31"/>
                  <a:gd name="T36" fmla="*/ 13 w 53"/>
                  <a:gd name="T37" fmla="*/ 14 h 31"/>
                  <a:gd name="T38" fmla="*/ 47 w 53"/>
                  <a:gd name="T39" fmla="*/ 0 h 31"/>
                  <a:gd name="T40" fmla="*/ 27 w 53"/>
                  <a:gd name="T41" fmla="*/ 0 h 31"/>
                  <a:gd name="T42" fmla="*/ 16 w 53"/>
                  <a:gd name="T43" fmla="*/ 4 h 31"/>
                  <a:gd name="T44" fmla="*/ 6 w 53"/>
                  <a:gd name="T45" fmla="*/ 4 h 31"/>
                  <a:gd name="T46" fmla="*/ 2 w 53"/>
                  <a:gd name="T47" fmla="*/ 6 h 31"/>
                  <a:gd name="T48" fmla="*/ 8 w 53"/>
                  <a:gd name="T49" fmla="*/ 7 h 31"/>
                  <a:gd name="T50" fmla="*/ 8 w 53"/>
                  <a:gd name="T51" fmla="*/ 9 h 31"/>
                  <a:gd name="T52" fmla="*/ 11 w 53"/>
                  <a:gd name="T53" fmla="*/ 14 h 31"/>
                  <a:gd name="T54" fmla="*/ 14 w 53"/>
                  <a:gd name="T55" fmla="*/ 14 h 31"/>
                  <a:gd name="T56" fmla="*/ 19 w 53"/>
                  <a:gd name="T57" fmla="*/ 15 h 31"/>
                  <a:gd name="T58" fmla="*/ 27 w 53"/>
                  <a:gd name="T59" fmla="*/ 14 h 31"/>
                  <a:gd name="T60" fmla="*/ 30 w 53"/>
                  <a:gd name="T61" fmla="*/ 12 h 31"/>
                  <a:gd name="T62" fmla="*/ 27 w 53"/>
                  <a:gd name="T63" fmla="*/ 14 h 31"/>
                  <a:gd name="T64" fmla="*/ 22 w 53"/>
                  <a:gd name="T65" fmla="*/ 15 h 31"/>
                  <a:gd name="T66" fmla="*/ 24 w 53"/>
                  <a:gd name="T67" fmla="*/ 18 h 31"/>
                  <a:gd name="T68" fmla="*/ 28 w 53"/>
                  <a:gd name="T69" fmla="*/ 18 h 31"/>
                  <a:gd name="T70" fmla="*/ 27 w 53"/>
                  <a:gd name="T71" fmla="*/ 20 h 31"/>
                  <a:gd name="T72" fmla="*/ 22 w 53"/>
                  <a:gd name="T73" fmla="*/ 23 h 31"/>
                  <a:gd name="T74" fmla="*/ 24 w 53"/>
                  <a:gd name="T75" fmla="*/ 23 h 31"/>
                  <a:gd name="T76" fmla="*/ 24 w 53"/>
                  <a:gd name="T77" fmla="*/ 26 h 31"/>
                  <a:gd name="T78" fmla="*/ 27 w 53"/>
                  <a:gd name="T79" fmla="*/ 26 h 31"/>
                  <a:gd name="T80" fmla="*/ 28 w 53"/>
                  <a:gd name="T81" fmla="*/ 28 h 31"/>
                  <a:gd name="T82" fmla="*/ 30 w 53"/>
                  <a:gd name="T83" fmla="*/ 31 h 31"/>
                  <a:gd name="T84" fmla="*/ 35 w 53"/>
                  <a:gd name="T85" fmla="*/ 23 h 31"/>
                  <a:gd name="T86" fmla="*/ 38 w 53"/>
                  <a:gd name="T87" fmla="*/ 20 h 31"/>
                  <a:gd name="T88" fmla="*/ 44 w 53"/>
                  <a:gd name="T89" fmla="*/ 18 h 31"/>
                  <a:gd name="T90" fmla="*/ 53 w 53"/>
                  <a:gd name="T91" fmla="*/ 17 h 31"/>
                  <a:gd name="T92" fmla="*/ 53 w 53"/>
                  <a:gd name="T93" fmla="*/ 12 h 31"/>
                  <a:gd name="T94" fmla="*/ 50 w 53"/>
                  <a:gd name="T95" fmla="*/ 9 h 31"/>
                  <a:gd name="T96" fmla="*/ 50 w 53"/>
                  <a:gd name="T97" fmla="*/ 7 h 31"/>
                  <a:gd name="T98" fmla="*/ 53 w 53"/>
                  <a:gd name="T99" fmla="*/ 7 h 31"/>
                  <a:gd name="T100" fmla="*/ 53 w 53"/>
                  <a:gd name="T101"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3" h="31">
                    <a:moveTo>
                      <a:pt x="14" y="28"/>
                    </a:moveTo>
                    <a:lnTo>
                      <a:pt x="14" y="26"/>
                    </a:lnTo>
                    <a:lnTo>
                      <a:pt x="14" y="26"/>
                    </a:lnTo>
                    <a:lnTo>
                      <a:pt x="14" y="26"/>
                    </a:lnTo>
                    <a:lnTo>
                      <a:pt x="14" y="28"/>
                    </a:lnTo>
                    <a:lnTo>
                      <a:pt x="14" y="28"/>
                    </a:lnTo>
                    <a:lnTo>
                      <a:pt x="14" y="29"/>
                    </a:lnTo>
                    <a:lnTo>
                      <a:pt x="14" y="29"/>
                    </a:lnTo>
                    <a:lnTo>
                      <a:pt x="14" y="28"/>
                    </a:lnTo>
                    <a:lnTo>
                      <a:pt x="14" y="28"/>
                    </a:lnTo>
                    <a:close/>
                    <a:moveTo>
                      <a:pt x="11" y="26"/>
                    </a:moveTo>
                    <a:lnTo>
                      <a:pt x="11" y="26"/>
                    </a:lnTo>
                    <a:lnTo>
                      <a:pt x="11" y="26"/>
                    </a:lnTo>
                    <a:lnTo>
                      <a:pt x="11" y="26"/>
                    </a:lnTo>
                    <a:lnTo>
                      <a:pt x="10" y="28"/>
                    </a:lnTo>
                    <a:lnTo>
                      <a:pt x="10" y="28"/>
                    </a:lnTo>
                    <a:lnTo>
                      <a:pt x="10" y="28"/>
                    </a:lnTo>
                    <a:lnTo>
                      <a:pt x="10" y="28"/>
                    </a:lnTo>
                    <a:lnTo>
                      <a:pt x="10" y="29"/>
                    </a:lnTo>
                    <a:lnTo>
                      <a:pt x="11" y="29"/>
                    </a:lnTo>
                    <a:lnTo>
                      <a:pt x="11" y="28"/>
                    </a:lnTo>
                    <a:lnTo>
                      <a:pt x="13" y="28"/>
                    </a:lnTo>
                    <a:lnTo>
                      <a:pt x="11" y="26"/>
                    </a:lnTo>
                    <a:close/>
                    <a:moveTo>
                      <a:pt x="19" y="25"/>
                    </a:moveTo>
                    <a:lnTo>
                      <a:pt x="17" y="25"/>
                    </a:lnTo>
                    <a:lnTo>
                      <a:pt x="17" y="25"/>
                    </a:lnTo>
                    <a:lnTo>
                      <a:pt x="17" y="26"/>
                    </a:lnTo>
                    <a:lnTo>
                      <a:pt x="17" y="26"/>
                    </a:lnTo>
                    <a:lnTo>
                      <a:pt x="17" y="26"/>
                    </a:lnTo>
                    <a:lnTo>
                      <a:pt x="17" y="26"/>
                    </a:lnTo>
                    <a:lnTo>
                      <a:pt x="19" y="26"/>
                    </a:lnTo>
                    <a:lnTo>
                      <a:pt x="19" y="25"/>
                    </a:lnTo>
                    <a:lnTo>
                      <a:pt x="19" y="25"/>
                    </a:lnTo>
                    <a:lnTo>
                      <a:pt x="19" y="25"/>
                    </a:lnTo>
                    <a:close/>
                    <a:moveTo>
                      <a:pt x="14" y="20"/>
                    </a:moveTo>
                    <a:lnTo>
                      <a:pt x="14" y="18"/>
                    </a:lnTo>
                    <a:lnTo>
                      <a:pt x="13" y="20"/>
                    </a:lnTo>
                    <a:lnTo>
                      <a:pt x="13" y="22"/>
                    </a:lnTo>
                    <a:lnTo>
                      <a:pt x="13" y="22"/>
                    </a:lnTo>
                    <a:lnTo>
                      <a:pt x="14" y="22"/>
                    </a:lnTo>
                    <a:lnTo>
                      <a:pt x="14" y="22"/>
                    </a:lnTo>
                    <a:lnTo>
                      <a:pt x="14" y="20"/>
                    </a:lnTo>
                    <a:close/>
                    <a:moveTo>
                      <a:pt x="21" y="18"/>
                    </a:moveTo>
                    <a:lnTo>
                      <a:pt x="19" y="20"/>
                    </a:lnTo>
                    <a:lnTo>
                      <a:pt x="21" y="20"/>
                    </a:lnTo>
                    <a:lnTo>
                      <a:pt x="21" y="20"/>
                    </a:lnTo>
                    <a:lnTo>
                      <a:pt x="22" y="20"/>
                    </a:lnTo>
                    <a:lnTo>
                      <a:pt x="22" y="20"/>
                    </a:lnTo>
                    <a:lnTo>
                      <a:pt x="22" y="18"/>
                    </a:lnTo>
                    <a:lnTo>
                      <a:pt x="21" y="18"/>
                    </a:lnTo>
                    <a:close/>
                    <a:moveTo>
                      <a:pt x="13" y="14"/>
                    </a:moveTo>
                    <a:lnTo>
                      <a:pt x="10" y="14"/>
                    </a:lnTo>
                    <a:lnTo>
                      <a:pt x="11" y="15"/>
                    </a:lnTo>
                    <a:lnTo>
                      <a:pt x="11" y="15"/>
                    </a:lnTo>
                    <a:lnTo>
                      <a:pt x="13" y="17"/>
                    </a:lnTo>
                    <a:lnTo>
                      <a:pt x="13" y="14"/>
                    </a:lnTo>
                    <a:lnTo>
                      <a:pt x="13" y="14"/>
                    </a:lnTo>
                    <a:close/>
                    <a:moveTo>
                      <a:pt x="53" y="1"/>
                    </a:moveTo>
                    <a:lnTo>
                      <a:pt x="53" y="0"/>
                    </a:lnTo>
                    <a:lnTo>
                      <a:pt x="47" y="0"/>
                    </a:lnTo>
                    <a:lnTo>
                      <a:pt x="42" y="0"/>
                    </a:lnTo>
                    <a:lnTo>
                      <a:pt x="32" y="0"/>
                    </a:lnTo>
                    <a:lnTo>
                      <a:pt x="27" y="0"/>
                    </a:lnTo>
                    <a:lnTo>
                      <a:pt x="24" y="1"/>
                    </a:lnTo>
                    <a:lnTo>
                      <a:pt x="21" y="3"/>
                    </a:lnTo>
                    <a:lnTo>
                      <a:pt x="16" y="4"/>
                    </a:lnTo>
                    <a:lnTo>
                      <a:pt x="11" y="4"/>
                    </a:lnTo>
                    <a:lnTo>
                      <a:pt x="8" y="4"/>
                    </a:lnTo>
                    <a:lnTo>
                      <a:pt x="6" y="4"/>
                    </a:lnTo>
                    <a:lnTo>
                      <a:pt x="6" y="6"/>
                    </a:lnTo>
                    <a:lnTo>
                      <a:pt x="3" y="6"/>
                    </a:lnTo>
                    <a:lnTo>
                      <a:pt x="2" y="6"/>
                    </a:lnTo>
                    <a:lnTo>
                      <a:pt x="0" y="6"/>
                    </a:lnTo>
                    <a:lnTo>
                      <a:pt x="5" y="9"/>
                    </a:lnTo>
                    <a:lnTo>
                      <a:pt x="8" y="7"/>
                    </a:lnTo>
                    <a:lnTo>
                      <a:pt x="8" y="7"/>
                    </a:lnTo>
                    <a:lnTo>
                      <a:pt x="8" y="9"/>
                    </a:lnTo>
                    <a:lnTo>
                      <a:pt x="8" y="9"/>
                    </a:lnTo>
                    <a:lnTo>
                      <a:pt x="6" y="11"/>
                    </a:lnTo>
                    <a:lnTo>
                      <a:pt x="8" y="12"/>
                    </a:lnTo>
                    <a:lnTo>
                      <a:pt x="11" y="14"/>
                    </a:lnTo>
                    <a:lnTo>
                      <a:pt x="14" y="12"/>
                    </a:lnTo>
                    <a:lnTo>
                      <a:pt x="14" y="14"/>
                    </a:lnTo>
                    <a:lnTo>
                      <a:pt x="14" y="14"/>
                    </a:lnTo>
                    <a:lnTo>
                      <a:pt x="14" y="15"/>
                    </a:lnTo>
                    <a:lnTo>
                      <a:pt x="16" y="17"/>
                    </a:lnTo>
                    <a:lnTo>
                      <a:pt x="19" y="15"/>
                    </a:lnTo>
                    <a:lnTo>
                      <a:pt x="22" y="14"/>
                    </a:lnTo>
                    <a:lnTo>
                      <a:pt x="24" y="14"/>
                    </a:lnTo>
                    <a:lnTo>
                      <a:pt x="27" y="14"/>
                    </a:lnTo>
                    <a:lnTo>
                      <a:pt x="28" y="12"/>
                    </a:lnTo>
                    <a:lnTo>
                      <a:pt x="30" y="12"/>
                    </a:lnTo>
                    <a:lnTo>
                      <a:pt x="30" y="12"/>
                    </a:lnTo>
                    <a:lnTo>
                      <a:pt x="28" y="14"/>
                    </a:lnTo>
                    <a:lnTo>
                      <a:pt x="28" y="14"/>
                    </a:lnTo>
                    <a:lnTo>
                      <a:pt x="27" y="14"/>
                    </a:lnTo>
                    <a:lnTo>
                      <a:pt x="24" y="14"/>
                    </a:lnTo>
                    <a:lnTo>
                      <a:pt x="22" y="15"/>
                    </a:lnTo>
                    <a:lnTo>
                      <a:pt x="22" y="15"/>
                    </a:lnTo>
                    <a:lnTo>
                      <a:pt x="22" y="17"/>
                    </a:lnTo>
                    <a:lnTo>
                      <a:pt x="24" y="18"/>
                    </a:lnTo>
                    <a:lnTo>
                      <a:pt x="24" y="18"/>
                    </a:lnTo>
                    <a:lnTo>
                      <a:pt x="25" y="18"/>
                    </a:lnTo>
                    <a:lnTo>
                      <a:pt x="27" y="17"/>
                    </a:lnTo>
                    <a:lnTo>
                      <a:pt x="28" y="18"/>
                    </a:lnTo>
                    <a:lnTo>
                      <a:pt x="30" y="18"/>
                    </a:lnTo>
                    <a:lnTo>
                      <a:pt x="28" y="20"/>
                    </a:lnTo>
                    <a:lnTo>
                      <a:pt x="27" y="20"/>
                    </a:lnTo>
                    <a:lnTo>
                      <a:pt x="24" y="22"/>
                    </a:lnTo>
                    <a:lnTo>
                      <a:pt x="22" y="23"/>
                    </a:lnTo>
                    <a:lnTo>
                      <a:pt x="22" y="23"/>
                    </a:lnTo>
                    <a:lnTo>
                      <a:pt x="24" y="23"/>
                    </a:lnTo>
                    <a:lnTo>
                      <a:pt x="24" y="23"/>
                    </a:lnTo>
                    <a:lnTo>
                      <a:pt x="24" y="23"/>
                    </a:lnTo>
                    <a:lnTo>
                      <a:pt x="24" y="23"/>
                    </a:lnTo>
                    <a:lnTo>
                      <a:pt x="24" y="25"/>
                    </a:lnTo>
                    <a:lnTo>
                      <a:pt x="24" y="26"/>
                    </a:lnTo>
                    <a:lnTo>
                      <a:pt x="25" y="28"/>
                    </a:lnTo>
                    <a:lnTo>
                      <a:pt x="25" y="26"/>
                    </a:lnTo>
                    <a:lnTo>
                      <a:pt x="27" y="26"/>
                    </a:lnTo>
                    <a:lnTo>
                      <a:pt x="27" y="29"/>
                    </a:lnTo>
                    <a:lnTo>
                      <a:pt x="27" y="29"/>
                    </a:lnTo>
                    <a:lnTo>
                      <a:pt x="28" y="28"/>
                    </a:lnTo>
                    <a:lnTo>
                      <a:pt x="30" y="28"/>
                    </a:lnTo>
                    <a:lnTo>
                      <a:pt x="28" y="29"/>
                    </a:lnTo>
                    <a:lnTo>
                      <a:pt x="30" y="31"/>
                    </a:lnTo>
                    <a:lnTo>
                      <a:pt x="30" y="29"/>
                    </a:lnTo>
                    <a:lnTo>
                      <a:pt x="32" y="28"/>
                    </a:lnTo>
                    <a:lnTo>
                      <a:pt x="35" y="23"/>
                    </a:lnTo>
                    <a:lnTo>
                      <a:pt x="36" y="22"/>
                    </a:lnTo>
                    <a:lnTo>
                      <a:pt x="36" y="20"/>
                    </a:lnTo>
                    <a:lnTo>
                      <a:pt x="38" y="20"/>
                    </a:lnTo>
                    <a:lnTo>
                      <a:pt x="41" y="20"/>
                    </a:lnTo>
                    <a:lnTo>
                      <a:pt x="42" y="18"/>
                    </a:lnTo>
                    <a:lnTo>
                      <a:pt x="44" y="18"/>
                    </a:lnTo>
                    <a:lnTo>
                      <a:pt x="46" y="18"/>
                    </a:lnTo>
                    <a:lnTo>
                      <a:pt x="49" y="18"/>
                    </a:lnTo>
                    <a:lnTo>
                      <a:pt x="53" y="17"/>
                    </a:lnTo>
                    <a:lnTo>
                      <a:pt x="53" y="15"/>
                    </a:lnTo>
                    <a:lnTo>
                      <a:pt x="53" y="12"/>
                    </a:lnTo>
                    <a:lnTo>
                      <a:pt x="53" y="12"/>
                    </a:lnTo>
                    <a:lnTo>
                      <a:pt x="52" y="11"/>
                    </a:lnTo>
                    <a:lnTo>
                      <a:pt x="50" y="11"/>
                    </a:lnTo>
                    <a:lnTo>
                      <a:pt x="50" y="9"/>
                    </a:lnTo>
                    <a:lnTo>
                      <a:pt x="49" y="9"/>
                    </a:lnTo>
                    <a:lnTo>
                      <a:pt x="49" y="7"/>
                    </a:lnTo>
                    <a:lnTo>
                      <a:pt x="50" y="7"/>
                    </a:lnTo>
                    <a:lnTo>
                      <a:pt x="50" y="7"/>
                    </a:lnTo>
                    <a:lnTo>
                      <a:pt x="52" y="7"/>
                    </a:lnTo>
                    <a:lnTo>
                      <a:pt x="53" y="7"/>
                    </a:lnTo>
                    <a:lnTo>
                      <a:pt x="53" y="6"/>
                    </a:lnTo>
                    <a:lnTo>
                      <a:pt x="53" y="4"/>
                    </a:lnTo>
                    <a:lnTo>
                      <a:pt x="53" y="3"/>
                    </a:lnTo>
                    <a:lnTo>
                      <a:pt x="53"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1" name="Freeform 88">
                <a:extLst>
                  <a:ext uri="{FF2B5EF4-FFF2-40B4-BE49-F238E27FC236}">
                    <a16:creationId xmlns:a16="http://schemas.microsoft.com/office/drawing/2014/main" id="{A47C644C-E851-6EB4-1842-2EB4980085F3}"/>
                  </a:ext>
                </a:extLst>
              </p:cNvPr>
              <p:cNvSpPr>
                <a:spLocks/>
              </p:cNvSpPr>
              <p:nvPr/>
            </p:nvSpPr>
            <p:spPr bwMode="gray">
              <a:xfrm>
                <a:off x="1598" y="1427"/>
                <a:ext cx="86" cy="129"/>
              </a:xfrm>
              <a:custGeom>
                <a:avLst/>
                <a:gdLst>
                  <a:gd name="T0" fmla="*/ 70 w 86"/>
                  <a:gd name="T1" fmla="*/ 57 h 129"/>
                  <a:gd name="T2" fmla="*/ 73 w 86"/>
                  <a:gd name="T3" fmla="*/ 60 h 129"/>
                  <a:gd name="T4" fmla="*/ 70 w 86"/>
                  <a:gd name="T5" fmla="*/ 63 h 129"/>
                  <a:gd name="T6" fmla="*/ 62 w 86"/>
                  <a:gd name="T7" fmla="*/ 63 h 129"/>
                  <a:gd name="T8" fmla="*/ 61 w 86"/>
                  <a:gd name="T9" fmla="*/ 66 h 129"/>
                  <a:gd name="T10" fmla="*/ 61 w 86"/>
                  <a:gd name="T11" fmla="*/ 72 h 129"/>
                  <a:gd name="T12" fmla="*/ 58 w 86"/>
                  <a:gd name="T13" fmla="*/ 80 h 129"/>
                  <a:gd name="T14" fmla="*/ 66 w 86"/>
                  <a:gd name="T15" fmla="*/ 88 h 129"/>
                  <a:gd name="T16" fmla="*/ 67 w 86"/>
                  <a:gd name="T17" fmla="*/ 91 h 129"/>
                  <a:gd name="T18" fmla="*/ 72 w 86"/>
                  <a:gd name="T19" fmla="*/ 94 h 129"/>
                  <a:gd name="T20" fmla="*/ 72 w 86"/>
                  <a:gd name="T21" fmla="*/ 97 h 129"/>
                  <a:gd name="T22" fmla="*/ 75 w 86"/>
                  <a:gd name="T23" fmla="*/ 102 h 129"/>
                  <a:gd name="T24" fmla="*/ 77 w 86"/>
                  <a:gd name="T25" fmla="*/ 103 h 129"/>
                  <a:gd name="T26" fmla="*/ 78 w 86"/>
                  <a:gd name="T27" fmla="*/ 108 h 129"/>
                  <a:gd name="T28" fmla="*/ 81 w 86"/>
                  <a:gd name="T29" fmla="*/ 114 h 129"/>
                  <a:gd name="T30" fmla="*/ 84 w 86"/>
                  <a:gd name="T31" fmla="*/ 116 h 129"/>
                  <a:gd name="T32" fmla="*/ 80 w 86"/>
                  <a:gd name="T33" fmla="*/ 118 h 129"/>
                  <a:gd name="T34" fmla="*/ 75 w 86"/>
                  <a:gd name="T35" fmla="*/ 114 h 129"/>
                  <a:gd name="T36" fmla="*/ 69 w 86"/>
                  <a:gd name="T37" fmla="*/ 116 h 129"/>
                  <a:gd name="T38" fmla="*/ 62 w 86"/>
                  <a:gd name="T39" fmla="*/ 121 h 129"/>
                  <a:gd name="T40" fmla="*/ 59 w 86"/>
                  <a:gd name="T41" fmla="*/ 124 h 129"/>
                  <a:gd name="T42" fmla="*/ 55 w 86"/>
                  <a:gd name="T43" fmla="*/ 122 h 129"/>
                  <a:gd name="T44" fmla="*/ 52 w 86"/>
                  <a:gd name="T45" fmla="*/ 124 h 129"/>
                  <a:gd name="T46" fmla="*/ 50 w 86"/>
                  <a:gd name="T47" fmla="*/ 127 h 129"/>
                  <a:gd name="T48" fmla="*/ 45 w 86"/>
                  <a:gd name="T49" fmla="*/ 129 h 129"/>
                  <a:gd name="T50" fmla="*/ 39 w 86"/>
                  <a:gd name="T51" fmla="*/ 127 h 129"/>
                  <a:gd name="T52" fmla="*/ 33 w 86"/>
                  <a:gd name="T53" fmla="*/ 121 h 129"/>
                  <a:gd name="T54" fmla="*/ 30 w 86"/>
                  <a:gd name="T55" fmla="*/ 118 h 129"/>
                  <a:gd name="T56" fmla="*/ 28 w 86"/>
                  <a:gd name="T57" fmla="*/ 113 h 129"/>
                  <a:gd name="T58" fmla="*/ 23 w 86"/>
                  <a:gd name="T59" fmla="*/ 103 h 129"/>
                  <a:gd name="T60" fmla="*/ 27 w 86"/>
                  <a:gd name="T61" fmla="*/ 91 h 129"/>
                  <a:gd name="T62" fmla="*/ 30 w 86"/>
                  <a:gd name="T63" fmla="*/ 85 h 129"/>
                  <a:gd name="T64" fmla="*/ 31 w 86"/>
                  <a:gd name="T65" fmla="*/ 80 h 129"/>
                  <a:gd name="T66" fmla="*/ 28 w 86"/>
                  <a:gd name="T67" fmla="*/ 77 h 129"/>
                  <a:gd name="T68" fmla="*/ 27 w 86"/>
                  <a:gd name="T69" fmla="*/ 72 h 129"/>
                  <a:gd name="T70" fmla="*/ 22 w 86"/>
                  <a:gd name="T71" fmla="*/ 71 h 129"/>
                  <a:gd name="T72" fmla="*/ 23 w 86"/>
                  <a:gd name="T73" fmla="*/ 66 h 129"/>
                  <a:gd name="T74" fmla="*/ 22 w 86"/>
                  <a:gd name="T75" fmla="*/ 60 h 129"/>
                  <a:gd name="T76" fmla="*/ 17 w 86"/>
                  <a:gd name="T77" fmla="*/ 60 h 129"/>
                  <a:gd name="T78" fmla="*/ 8 w 86"/>
                  <a:gd name="T79" fmla="*/ 55 h 129"/>
                  <a:gd name="T80" fmla="*/ 1 w 86"/>
                  <a:gd name="T81" fmla="*/ 42 h 129"/>
                  <a:gd name="T82" fmla="*/ 3 w 86"/>
                  <a:gd name="T83" fmla="*/ 36 h 129"/>
                  <a:gd name="T84" fmla="*/ 6 w 86"/>
                  <a:gd name="T85" fmla="*/ 32 h 129"/>
                  <a:gd name="T86" fmla="*/ 11 w 86"/>
                  <a:gd name="T87" fmla="*/ 32 h 129"/>
                  <a:gd name="T88" fmla="*/ 19 w 86"/>
                  <a:gd name="T89" fmla="*/ 25 h 129"/>
                  <a:gd name="T90" fmla="*/ 14 w 86"/>
                  <a:gd name="T91" fmla="*/ 25 h 129"/>
                  <a:gd name="T92" fmla="*/ 12 w 86"/>
                  <a:gd name="T93" fmla="*/ 21 h 129"/>
                  <a:gd name="T94" fmla="*/ 14 w 86"/>
                  <a:gd name="T95" fmla="*/ 14 h 129"/>
                  <a:gd name="T96" fmla="*/ 20 w 86"/>
                  <a:gd name="T97" fmla="*/ 10 h 129"/>
                  <a:gd name="T98" fmla="*/ 27 w 86"/>
                  <a:gd name="T99" fmla="*/ 5 h 129"/>
                  <a:gd name="T100" fmla="*/ 28 w 86"/>
                  <a:gd name="T101" fmla="*/ 3 h 129"/>
                  <a:gd name="T102" fmla="*/ 37 w 86"/>
                  <a:gd name="T103" fmla="*/ 8 h 129"/>
                  <a:gd name="T104" fmla="*/ 50 w 86"/>
                  <a:gd name="T105" fmla="*/ 22 h 129"/>
                  <a:gd name="T106" fmla="*/ 47 w 86"/>
                  <a:gd name="T107" fmla="*/ 38 h 129"/>
                  <a:gd name="T108" fmla="*/ 53 w 86"/>
                  <a:gd name="T109" fmla="*/ 30 h 129"/>
                  <a:gd name="T110" fmla="*/ 66 w 86"/>
                  <a:gd name="T111" fmla="*/ 38 h 129"/>
                  <a:gd name="T112" fmla="*/ 73 w 86"/>
                  <a:gd name="T113" fmla="*/ 4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129">
                    <a:moveTo>
                      <a:pt x="73" y="53"/>
                    </a:moveTo>
                    <a:lnTo>
                      <a:pt x="72" y="53"/>
                    </a:lnTo>
                    <a:lnTo>
                      <a:pt x="72" y="55"/>
                    </a:lnTo>
                    <a:lnTo>
                      <a:pt x="72" y="57"/>
                    </a:lnTo>
                    <a:lnTo>
                      <a:pt x="70" y="57"/>
                    </a:lnTo>
                    <a:lnTo>
                      <a:pt x="72" y="58"/>
                    </a:lnTo>
                    <a:lnTo>
                      <a:pt x="72" y="58"/>
                    </a:lnTo>
                    <a:lnTo>
                      <a:pt x="72" y="58"/>
                    </a:lnTo>
                    <a:lnTo>
                      <a:pt x="73" y="58"/>
                    </a:lnTo>
                    <a:lnTo>
                      <a:pt x="73" y="60"/>
                    </a:lnTo>
                    <a:lnTo>
                      <a:pt x="72" y="60"/>
                    </a:lnTo>
                    <a:lnTo>
                      <a:pt x="72" y="60"/>
                    </a:lnTo>
                    <a:lnTo>
                      <a:pt x="70" y="61"/>
                    </a:lnTo>
                    <a:lnTo>
                      <a:pt x="70" y="61"/>
                    </a:lnTo>
                    <a:lnTo>
                      <a:pt x="70" y="63"/>
                    </a:lnTo>
                    <a:lnTo>
                      <a:pt x="69" y="63"/>
                    </a:lnTo>
                    <a:lnTo>
                      <a:pt x="67" y="63"/>
                    </a:lnTo>
                    <a:lnTo>
                      <a:pt x="66" y="63"/>
                    </a:lnTo>
                    <a:lnTo>
                      <a:pt x="64" y="63"/>
                    </a:lnTo>
                    <a:lnTo>
                      <a:pt x="62" y="63"/>
                    </a:lnTo>
                    <a:lnTo>
                      <a:pt x="62" y="64"/>
                    </a:lnTo>
                    <a:lnTo>
                      <a:pt x="61" y="64"/>
                    </a:lnTo>
                    <a:lnTo>
                      <a:pt x="61" y="64"/>
                    </a:lnTo>
                    <a:lnTo>
                      <a:pt x="61" y="66"/>
                    </a:lnTo>
                    <a:lnTo>
                      <a:pt x="61" y="66"/>
                    </a:lnTo>
                    <a:lnTo>
                      <a:pt x="61" y="68"/>
                    </a:lnTo>
                    <a:lnTo>
                      <a:pt x="61" y="69"/>
                    </a:lnTo>
                    <a:lnTo>
                      <a:pt x="61" y="71"/>
                    </a:lnTo>
                    <a:lnTo>
                      <a:pt x="61" y="71"/>
                    </a:lnTo>
                    <a:lnTo>
                      <a:pt x="61" y="72"/>
                    </a:lnTo>
                    <a:lnTo>
                      <a:pt x="59" y="74"/>
                    </a:lnTo>
                    <a:lnTo>
                      <a:pt x="59" y="75"/>
                    </a:lnTo>
                    <a:lnTo>
                      <a:pt x="58" y="77"/>
                    </a:lnTo>
                    <a:lnTo>
                      <a:pt x="58" y="78"/>
                    </a:lnTo>
                    <a:lnTo>
                      <a:pt x="58" y="80"/>
                    </a:lnTo>
                    <a:lnTo>
                      <a:pt x="61" y="83"/>
                    </a:lnTo>
                    <a:lnTo>
                      <a:pt x="61" y="83"/>
                    </a:lnTo>
                    <a:lnTo>
                      <a:pt x="62" y="86"/>
                    </a:lnTo>
                    <a:lnTo>
                      <a:pt x="64" y="88"/>
                    </a:lnTo>
                    <a:lnTo>
                      <a:pt x="66" y="88"/>
                    </a:lnTo>
                    <a:lnTo>
                      <a:pt x="66" y="89"/>
                    </a:lnTo>
                    <a:lnTo>
                      <a:pt x="66" y="91"/>
                    </a:lnTo>
                    <a:lnTo>
                      <a:pt x="66" y="91"/>
                    </a:lnTo>
                    <a:lnTo>
                      <a:pt x="67" y="91"/>
                    </a:lnTo>
                    <a:lnTo>
                      <a:pt x="67" y="91"/>
                    </a:lnTo>
                    <a:lnTo>
                      <a:pt x="69" y="91"/>
                    </a:lnTo>
                    <a:lnTo>
                      <a:pt x="69" y="91"/>
                    </a:lnTo>
                    <a:lnTo>
                      <a:pt x="72" y="91"/>
                    </a:lnTo>
                    <a:lnTo>
                      <a:pt x="72" y="91"/>
                    </a:lnTo>
                    <a:lnTo>
                      <a:pt x="72" y="94"/>
                    </a:lnTo>
                    <a:lnTo>
                      <a:pt x="72" y="94"/>
                    </a:lnTo>
                    <a:lnTo>
                      <a:pt x="72" y="96"/>
                    </a:lnTo>
                    <a:lnTo>
                      <a:pt x="72" y="96"/>
                    </a:lnTo>
                    <a:lnTo>
                      <a:pt x="72" y="96"/>
                    </a:lnTo>
                    <a:lnTo>
                      <a:pt x="72" y="97"/>
                    </a:lnTo>
                    <a:lnTo>
                      <a:pt x="73" y="99"/>
                    </a:lnTo>
                    <a:lnTo>
                      <a:pt x="73" y="100"/>
                    </a:lnTo>
                    <a:lnTo>
                      <a:pt x="73" y="100"/>
                    </a:lnTo>
                    <a:lnTo>
                      <a:pt x="73" y="100"/>
                    </a:lnTo>
                    <a:lnTo>
                      <a:pt x="75" y="102"/>
                    </a:lnTo>
                    <a:lnTo>
                      <a:pt x="75" y="102"/>
                    </a:lnTo>
                    <a:lnTo>
                      <a:pt x="75" y="102"/>
                    </a:lnTo>
                    <a:lnTo>
                      <a:pt x="75" y="103"/>
                    </a:lnTo>
                    <a:lnTo>
                      <a:pt x="75" y="103"/>
                    </a:lnTo>
                    <a:lnTo>
                      <a:pt x="77" y="103"/>
                    </a:lnTo>
                    <a:lnTo>
                      <a:pt x="77" y="105"/>
                    </a:lnTo>
                    <a:lnTo>
                      <a:pt x="77" y="105"/>
                    </a:lnTo>
                    <a:lnTo>
                      <a:pt x="77" y="107"/>
                    </a:lnTo>
                    <a:lnTo>
                      <a:pt x="78" y="107"/>
                    </a:lnTo>
                    <a:lnTo>
                      <a:pt x="78" y="108"/>
                    </a:lnTo>
                    <a:lnTo>
                      <a:pt x="78" y="110"/>
                    </a:lnTo>
                    <a:lnTo>
                      <a:pt x="80" y="110"/>
                    </a:lnTo>
                    <a:lnTo>
                      <a:pt x="80" y="111"/>
                    </a:lnTo>
                    <a:lnTo>
                      <a:pt x="81" y="113"/>
                    </a:lnTo>
                    <a:lnTo>
                      <a:pt x="81" y="114"/>
                    </a:lnTo>
                    <a:lnTo>
                      <a:pt x="83" y="114"/>
                    </a:lnTo>
                    <a:lnTo>
                      <a:pt x="84" y="114"/>
                    </a:lnTo>
                    <a:lnTo>
                      <a:pt x="84" y="116"/>
                    </a:lnTo>
                    <a:lnTo>
                      <a:pt x="86" y="116"/>
                    </a:lnTo>
                    <a:lnTo>
                      <a:pt x="84" y="116"/>
                    </a:lnTo>
                    <a:lnTo>
                      <a:pt x="84" y="116"/>
                    </a:lnTo>
                    <a:lnTo>
                      <a:pt x="83" y="116"/>
                    </a:lnTo>
                    <a:lnTo>
                      <a:pt x="81" y="116"/>
                    </a:lnTo>
                    <a:lnTo>
                      <a:pt x="81" y="118"/>
                    </a:lnTo>
                    <a:lnTo>
                      <a:pt x="80" y="118"/>
                    </a:lnTo>
                    <a:lnTo>
                      <a:pt x="77" y="116"/>
                    </a:lnTo>
                    <a:lnTo>
                      <a:pt x="77" y="116"/>
                    </a:lnTo>
                    <a:lnTo>
                      <a:pt x="75" y="116"/>
                    </a:lnTo>
                    <a:lnTo>
                      <a:pt x="75" y="114"/>
                    </a:lnTo>
                    <a:lnTo>
                      <a:pt x="75" y="114"/>
                    </a:lnTo>
                    <a:lnTo>
                      <a:pt x="73" y="116"/>
                    </a:lnTo>
                    <a:lnTo>
                      <a:pt x="72" y="116"/>
                    </a:lnTo>
                    <a:lnTo>
                      <a:pt x="70" y="116"/>
                    </a:lnTo>
                    <a:lnTo>
                      <a:pt x="70" y="116"/>
                    </a:lnTo>
                    <a:lnTo>
                      <a:pt x="69" y="116"/>
                    </a:lnTo>
                    <a:lnTo>
                      <a:pt x="67" y="119"/>
                    </a:lnTo>
                    <a:lnTo>
                      <a:pt x="67" y="119"/>
                    </a:lnTo>
                    <a:lnTo>
                      <a:pt x="66" y="121"/>
                    </a:lnTo>
                    <a:lnTo>
                      <a:pt x="64" y="121"/>
                    </a:lnTo>
                    <a:lnTo>
                      <a:pt x="62" y="121"/>
                    </a:lnTo>
                    <a:lnTo>
                      <a:pt x="61" y="121"/>
                    </a:lnTo>
                    <a:lnTo>
                      <a:pt x="59" y="121"/>
                    </a:lnTo>
                    <a:lnTo>
                      <a:pt x="59" y="121"/>
                    </a:lnTo>
                    <a:lnTo>
                      <a:pt x="59" y="122"/>
                    </a:lnTo>
                    <a:lnTo>
                      <a:pt x="59" y="124"/>
                    </a:lnTo>
                    <a:lnTo>
                      <a:pt x="58" y="124"/>
                    </a:lnTo>
                    <a:lnTo>
                      <a:pt x="58" y="124"/>
                    </a:lnTo>
                    <a:lnTo>
                      <a:pt x="56" y="124"/>
                    </a:lnTo>
                    <a:lnTo>
                      <a:pt x="56" y="122"/>
                    </a:lnTo>
                    <a:lnTo>
                      <a:pt x="55" y="122"/>
                    </a:lnTo>
                    <a:lnTo>
                      <a:pt x="55" y="122"/>
                    </a:lnTo>
                    <a:lnTo>
                      <a:pt x="53" y="122"/>
                    </a:lnTo>
                    <a:lnTo>
                      <a:pt x="53" y="122"/>
                    </a:lnTo>
                    <a:lnTo>
                      <a:pt x="53" y="122"/>
                    </a:lnTo>
                    <a:lnTo>
                      <a:pt x="52" y="124"/>
                    </a:lnTo>
                    <a:lnTo>
                      <a:pt x="52" y="124"/>
                    </a:lnTo>
                    <a:lnTo>
                      <a:pt x="50" y="124"/>
                    </a:lnTo>
                    <a:lnTo>
                      <a:pt x="50" y="125"/>
                    </a:lnTo>
                    <a:lnTo>
                      <a:pt x="50" y="127"/>
                    </a:lnTo>
                    <a:lnTo>
                      <a:pt x="50" y="127"/>
                    </a:lnTo>
                    <a:lnTo>
                      <a:pt x="50" y="127"/>
                    </a:lnTo>
                    <a:lnTo>
                      <a:pt x="48" y="127"/>
                    </a:lnTo>
                    <a:lnTo>
                      <a:pt x="47" y="127"/>
                    </a:lnTo>
                    <a:lnTo>
                      <a:pt x="45" y="129"/>
                    </a:lnTo>
                    <a:lnTo>
                      <a:pt x="45" y="129"/>
                    </a:lnTo>
                    <a:lnTo>
                      <a:pt x="44" y="129"/>
                    </a:lnTo>
                    <a:lnTo>
                      <a:pt x="44" y="129"/>
                    </a:lnTo>
                    <a:lnTo>
                      <a:pt x="42" y="129"/>
                    </a:lnTo>
                    <a:lnTo>
                      <a:pt x="42" y="127"/>
                    </a:lnTo>
                    <a:lnTo>
                      <a:pt x="39" y="127"/>
                    </a:lnTo>
                    <a:lnTo>
                      <a:pt x="37" y="125"/>
                    </a:lnTo>
                    <a:lnTo>
                      <a:pt x="36" y="124"/>
                    </a:lnTo>
                    <a:lnTo>
                      <a:pt x="36" y="124"/>
                    </a:lnTo>
                    <a:lnTo>
                      <a:pt x="34" y="124"/>
                    </a:lnTo>
                    <a:lnTo>
                      <a:pt x="33" y="121"/>
                    </a:lnTo>
                    <a:lnTo>
                      <a:pt x="31" y="121"/>
                    </a:lnTo>
                    <a:lnTo>
                      <a:pt x="31" y="121"/>
                    </a:lnTo>
                    <a:lnTo>
                      <a:pt x="30" y="119"/>
                    </a:lnTo>
                    <a:lnTo>
                      <a:pt x="30" y="119"/>
                    </a:lnTo>
                    <a:lnTo>
                      <a:pt x="30" y="118"/>
                    </a:lnTo>
                    <a:lnTo>
                      <a:pt x="30" y="118"/>
                    </a:lnTo>
                    <a:lnTo>
                      <a:pt x="28" y="118"/>
                    </a:lnTo>
                    <a:lnTo>
                      <a:pt x="28" y="116"/>
                    </a:lnTo>
                    <a:lnTo>
                      <a:pt x="28" y="116"/>
                    </a:lnTo>
                    <a:lnTo>
                      <a:pt x="28" y="113"/>
                    </a:lnTo>
                    <a:lnTo>
                      <a:pt x="28" y="110"/>
                    </a:lnTo>
                    <a:lnTo>
                      <a:pt x="27" y="110"/>
                    </a:lnTo>
                    <a:lnTo>
                      <a:pt x="25" y="108"/>
                    </a:lnTo>
                    <a:lnTo>
                      <a:pt x="25" y="105"/>
                    </a:lnTo>
                    <a:lnTo>
                      <a:pt x="23" y="103"/>
                    </a:lnTo>
                    <a:lnTo>
                      <a:pt x="23" y="102"/>
                    </a:lnTo>
                    <a:lnTo>
                      <a:pt x="25" y="97"/>
                    </a:lnTo>
                    <a:lnTo>
                      <a:pt x="25" y="96"/>
                    </a:lnTo>
                    <a:lnTo>
                      <a:pt x="27" y="93"/>
                    </a:lnTo>
                    <a:lnTo>
                      <a:pt x="27" y="91"/>
                    </a:lnTo>
                    <a:lnTo>
                      <a:pt x="27" y="91"/>
                    </a:lnTo>
                    <a:lnTo>
                      <a:pt x="27" y="89"/>
                    </a:lnTo>
                    <a:lnTo>
                      <a:pt x="27" y="88"/>
                    </a:lnTo>
                    <a:lnTo>
                      <a:pt x="28" y="86"/>
                    </a:lnTo>
                    <a:lnTo>
                      <a:pt x="30" y="85"/>
                    </a:lnTo>
                    <a:lnTo>
                      <a:pt x="30" y="85"/>
                    </a:lnTo>
                    <a:lnTo>
                      <a:pt x="31" y="83"/>
                    </a:lnTo>
                    <a:lnTo>
                      <a:pt x="31" y="82"/>
                    </a:lnTo>
                    <a:lnTo>
                      <a:pt x="31" y="82"/>
                    </a:lnTo>
                    <a:lnTo>
                      <a:pt x="31" y="80"/>
                    </a:lnTo>
                    <a:lnTo>
                      <a:pt x="31" y="80"/>
                    </a:lnTo>
                    <a:lnTo>
                      <a:pt x="31" y="80"/>
                    </a:lnTo>
                    <a:lnTo>
                      <a:pt x="30" y="77"/>
                    </a:lnTo>
                    <a:lnTo>
                      <a:pt x="28" y="77"/>
                    </a:lnTo>
                    <a:lnTo>
                      <a:pt x="28" y="77"/>
                    </a:lnTo>
                    <a:lnTo>
                      <a:pt x="28" y="75"/>
                    </a:lnTo>
                    <a:lnTo>
                      <a:pt x="30" y="74"/>
                    </a:lnTo>
                    <a:lnTo>
                      <a:pt x="30" y="74"/>
                    </a:lnTo>
                    <a:lnTo>
                      <a:pt x="28" y="72"/>
                    </a:lnTo>
                    <a:lnTo>
                      <a:pt x="27" y="72"/>
                    </a:lnTo>
                    <a:lnTo>
                      <a:pt x="25" y="72"/>
                    </a:lnTo>
                    <a:lnTo>
                      <a:pt x="25" y="71"/>
                    </a:lnTo>
                    <a:lnTo>
                      <a:pt x="23" y="71"/>
                    </a:lnTo>
                    <a:lnTo>
                      <a:pt x="22" y="71"/>
                    </a:lnTo>
                    <a:lnTo>
                      <a:pt x="22" y="71"/>
                    </a:lnTo>
                    <a:lnTo>
                      <a:pt x="22" y="71"/>
                    </a:lnTo>
                    <a:lnTo>
                      <a:pt x="22" y="69"/>
                    </a:lnTo>
                    <a:lnTo>
                      <a:pt x="22" y="69"/>
                    </a:lnTo>
                    <a:lnTo>
                      <a:pt x="23" y="68"/>
                    </a:lnTo>
                    <a:lnTo>
                      <a:pt x="23" y="66"/>
                    </a:lnTo>
                    <a:lnTo>
                      <a:pt x="23" y="64"/>
                    </a:lnTo>
                    <a:lnTo>
                      <a:pt x="23" y="63"/>
                    </a:lnTo>
                    <a:lnTo>
                      <a:pt x="23" y="61"/>
                    </a:lnTo>
                    <a:lnTo>
                      <a:pt x="22" y="60"/>
                    </a:lnTo>
                    <a:lnTo>
                      <a:pt x="22" y="60"/>
                    </a:lnTo>
                    <a:lnTo>
                      <a:pt x="22" y="58"/>
                    </a:lnTo>
                    <a:lnTo>
                      <a:pt x="20" y="58"/>
                    </a:lnTo>
                    <a:lnTo>
                      <a:pt x="20" y="58"/>
                    </a:lnTo>
                    <a:lnTo>
                      <a:pt x="17" y="60"/>
                    </a:lnTo>
                    <a:lnTo>
                      <a:pt x="17" y="60"/>
                    </a:lnTo>
                    <a:lnTo>
                      <a:pt x="16" y="60"/>
                    </a:lnTo>
                    <a:lnTo>
                      <a:pt x="14" y="60"/>
                    </a:lnTo>
                    <a:lnTo>
                      <a:pt x="12" y="58"/>
                    </a:lnTo>
                    <a:lnTo>
                      <a:pt x="11" y="60"/>
                    </a:lnTo>
                    <a:lnTo>
                      <a:pt x="8" y="55"/>
                    </a:lnTo>
                    <a:lnTo>
                      <a:pt x="3" y="50"/>
                    </a:lnTo>
                    <a:lnTo>
                      <a:pt x="0" y="47"/>
                    </a:lnTo>
                    <a:lnTo>
                      <a:pt x="0" y="46"/>
                    </a:lnTo>
                    <a:lnTo>
                      <a:pt x="1" y="44"/>
                    </a:lnTo>
                    <a:lnTo>
                      <a:pt x="1" y="42"/>
                    </a:lnTo>
                    <a:lnTo>
                      <a:pt x="3" y="42"/>
                    </a:lnTo>
                    <a:lnTo>
                      <a:pt x="5" y="41"/>
                    </a:lnTo>
                    <a:lnTo>
                      <a:pt x="3" y="38"/>
                    </a:lnTo>
                    <a:lnTo>
                      <a:pt x="3" y="38"/>
                    </a:lnTo>
                    <a:lnTo>
                      <a:pt x="3" y="36"/>
                    </a:lnTo>
                    <a:lnTo>
                      <a:pt x="3" y="35"/>
                    </a:lnTo>
                    <a:lnTo>
                      <a:pt x="3" y="33"/>
                    </a:lnTo>
                    <a:lnTo>
                      <a:pt x="3" y="33"/>
                    </a:lnTo>
                    <a:lnTo>
                      <a:pt x="5" y="33"/>
                    </a:lnTo>
                    <a:lnTo>
                      <a:pt x="6" y="32"/>
                    </a:lnTo>
                    <a:lnTo>
                      <a:pt x="8" y="32"/>
                    </a:lnTo>
                    <a:lnTo>
                      <a:pt x="8" y="32"/>
                    </a:lnTo>
                    <a:lnTo>
                      <a:pt x="8" y="32"/>
                    </a:lnTo>
                    <a:lnTo>
                      <a:pt x="9" y="32"/>
                    </a:lnTo>
                    <a:lnTo>
                      <a:pt x="11" y="32"/>
                    </a:lnTo>
                    <a:lnTo>
                      <a:pt x="12" y="32"/>
                    </a:lnTo>
                    <a:lnTo>
                      <a:pt x="14" y="30"/>
                    </a:lnTo>
                    <a:lnTo>
                      <a:pt x="17" y="28"/>
                    </a:lnTo>
                    <a:lnTo>
                      <a:pt x="17" y="27"/>
                    </a:lnTo>
                    <a:lnTo>
                      <a:pt x="19" y="25"/>
                    </a:lnTo>
                    <a:lnTo>
                      <a:pt x="19" y="25"/>
                    </a:lnTo>
                    <a:lnTo>
                      <a:pt x="17" y="25"/>
                    </a:lnTo>
                    <a:lnTo>
                      <a:pt x="17" y="25"/>
                    </a:lnTo>
                    <a:lnTo>
                      <a:pt x="16" y="25"/>
                    </a:lnTo>
                    <a:lnTo>
                      <a:pt x="14" y="25"/>
                    </a:lnTo>
                    <a:lnTo>
                      <a:pt x="14" y="25"/>
                    </a:lnTo>
                    <a:lnTo>
                      <a:pt x="12" y="24"/>
                    </a:lnTo>
                    <a:lnTo>
                      <a:pt x="12" y="24"/>
                    </a:lnTo>
                    <a:lnTo>
                      <a:pt x="12" y="22"/>
                    </a:lnTo>
                    <a:lnTo>
                      <a:pt x="12" y="21"/>
                    </a:lnTo>
                    <a:lnTo>
                      <a:pt x="11" y="19"/>
                    </a:lnTo>
                    <a:lnTo>
                      <a:pt x="11" y="17"/>
                    </a:lnTo>
                    <a:lnTo>
                      <a:pt x="12" y="17"/>
                    </a:lnTo>
                    <a:lnTo>
                      <a:pt x="12" y="16"/>
                    </a:lnTo>
                    <a:lnTo>
                      <a:pt x="14" y="14"/>
                    </a:lnTo>
                    <a:lnTo>
                      <a:pt x="14" y="13"/>
                    </a:lnTo>
                    <a:lnTo>
                      <a:pt x="17" y="13"/>
                    </a:lnTo>
                    <a:lnTo>
                      <a:pt x="17" y="13"/>
                    </a:lnTo>
                    <a:lnTo>
                      <a:pt x="19" y="11"/>
                    </a:lnTo>
                    <a:lnTo>
                      <a:pt x="20" y="10"/>
                    </a:lnTo>
                    <a:lnTo>
                      <a:pt x="23" y="10"/>
                    </a:lnTo>
                    <a:lnTo>
                      <a:pt x="23" y="6"/>
                    </a:lnTo>
                    <a:lnTo>
                      <a:pt x="25" y="6"/>
                    </a:lnTo>
                    <a:lnTo>
                      <a:pt x="27" y="5"/>
                    </a:lnTo>
                    <a:lnTo>
                      <a:pt x="27" y="5"/>
                    </a:lnTo>
                    <a:lnTo>
                      <a:pt x="27" y="5"/>
                    </a:lnTo>
                    <a:lnTo>
                      <a:pt x="23" y="0"/>
                    </a:lnTo>
                    <a:lnTo>
                      <a:pt x="23" y="0"/>
                    </a:lnTo>
                    <a:lnTo>
                      <a:pt x="27" y="3"/>
                    </a:lnTo>
                    <a:lnTo>
                      <a:pt x="28" y="3"/>
                    </a:lnTo>
                    <a:lnTo>
                      <a:pt x="28" y="3"/>
                    </a:lnTo>
                    <a:lnTo>
                      <a:pt x="28" y="3"/>
                    </a:lnTo>
                    <a:lnTo>
                      <a:pt x="30" y="3"/>
                    </a:lnTo>
                    <a:lnTo>
                      <a:pt x="33" y="5"/>
                    </a:lnTo>
                    <a:lnTo>
                      <a:pt x="37" y="8"/>
                    </a:lnTo>
                    <a:lnTo>
                      <a:pt x="45" y="14"/>
                    </a:lnTo>
                    <a:lnTo>
                      <a:pt x="47" y="17"/>
                    </a:lnTo>
                    <a:lnTo>
                      <a:pt x="48" y="17"/>
                    </a:lnTo>
                    <a:lnTo>
                      <a:pt x="50" y="21"/>
                    </a:lnTo>
                    <a:lnTo>
                      <a:pt x="50" y="22"/>
                    </a:lnTo>
                    <a:lnTo>
                      <a:pt x="50" y="27"/>
                    </a:lnTo>
                    <a:lnTo>
                      <a:pt x="48" y="30"/>
                    </a:lnTo>
                    <a:lnTo>
                      <a:pt x="48" y="33"/>
                    </a:lnTo>
                    <a:lnTo>
                      <a:pt x="48" y="36"/>
                    </a:lnTo>
                    <a:lnTo>
                      <a:pt x="47" y="38"/>
                    </a:lnTo>
                    <a:lnTo>
                      <a:pt x="48" y="38"/>
                    </a:lnTo>
                    <a:lnTo>
                      <a:pt x="48" y="35"/>
                    </a:lnTo>
                    <a:lnTo>
                      <a:pt x="50" y="32"/>
                    </a:lnTo>
                    <a:lnTo>
                      <a:pt x="52" y="30"/>
                    </a:lnTo>
                    <a:lnTo>
                      <a:pt x="53" y="30"/>
                    </a:lnTo>
                    <a:lnTo>
                      <a:pt x="56" y="30"/>
                    </a:lnTo>
                    <a:lnTo>
                      <a:pt x="58" y="30"/>
                    </a:lnTo>
                    <a:lnTo>
                      <a:pt x="59" y="32"/>
                    </a:lnTo>
                    <a:lnTo>
                      <a:pt x="62" y="35"/>
                    </a:lnTo>
                    <a:lnTo>
                      <a:pt x="66" y="38"/>
                    </a:lnTo>
                    <a:lnTo>
                      <a:pt x="67" y="39"/>
                    </a:lnTo>
                    <a:lnTo>
                      <a:pt x="70" y="41"/>
                    </a:lnTo>
                    <a:lnTo>
                      <a:pt x="72" y="42"/>
                    </a:lnTo>
                    <a:lnTo>
                      <a:pt x="73" y="44"/>
                    </a:lnTo>
                    <a:lnTo>
                      <a:pt x="73" y="47"/>
                    </a:lnTo>
                    <a:lnTo>
                      <a:pt x="73" y="53"/>
                    </a:lnTo>
                    <a:lnTo>
                      <a:pt x="73" y="5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2" name="Freeform 89">
                <a:extLst>
                  <a:ext uri="{FF2B5EF4-FFF2-40B4-BE49-F238E27FC236}">
                    <a16:creationId xmlns:a16="http://schemas.microsoft.com/office/drawing/2014/main" id="{EC0E50F2-8FE5-0C3E-A8FC-DEA0DE5B9DF0}"/>
                  </a:ext>
                </a:extLst>
              </p:cNvPr>
              <p:cNvSpPr>
                <a:spLocks noEditPoints="1"/>
              </p:cNvSpPr>
              <p:nvPr/>
            </p:nvSpPr>
            <p:spPr bwMode="gray">
              <a:xfrm>
                <a:off x="4673" y="1172"/>
                <a:ext cx="8" cy="8"/>
              </a:xfrm>
              <a:custGeom>
                <a:avLst/>
                <a:gdLst>
                  <a:gd name="T0" fmla="*/ 7 w 8"/>
                  <a:gd name="T1" fmla="*/ 5 h 8"/>
                  <a:gd name="T2" fmla="*/ 5 w 8"/>
                  <a:gd name="T3" fmla="*/ 6 h 8"/>
                  <a:gd name="T4" fmla="*/ 5 w 8"/>
                  <a:gd name="T5" fmla="*/ 6 h 8"/>
                  <a:gd name="T6" fmla="*/ 7 w 8"/>
                  <a:gd name="T7" fmla="*/ 8 h 8"/>
                  <a:gd name="T8" fmla="*/ 7 w 8"/>
                  <a:gd name="T9" fmla="*/ 6 h 8"/>
                  <a:gd name="T10" fmla="*/ 7 w 8"/>
                  <a:gd name="T11" fmla="*/ 6 h 8"/>
                  <a:gd name="T12" fmla="*/ 7 w 8"/>
                  <a:gd name="T13" fmla="*/ 6 h 8"/>
                  <a:gd name="T14" fmla="*/ 7 w 8"/>
                  <a:gd name="T15" fmla="*/ 5 h 8"/>
                  <a:gd name="T16" fmla="*/ 0 w 8"/>
                  <a:gd name="T17" fmla="*/ 6 h 8"/>
                  <a:gd name="T18" fmla="*/ 0 w 8"/>
                  <a:gd name="T19" fmla="*/ 6 h 8"/>
                  <a:gd name="T20" fmla="*/ 0 w 8"/>
                  <a:gd name="T21" fmla="*/ 6 h 8"/>
                  <a:gd name="T22" fmla="*/ 0 w 8"/>
                  <a:gd name="T23" fmla="*/ 6 h 8"/>
                  <a:gd name="T24" fmla="*/ 3 w 8"/>
                  <a:gd name="T25" fmla="*/ 6 h 8"/>
                  <a:gd name="T26" fmla="*/ 3 w 8"/>
                  <a:gd name="T27" fmla="*/ 6 h 8"/>
                  <a:gd name="T28" fmla="*/ 3 w 8"/>
                  <a:gd name="T29" fmla="*/ 5 h 8"/>
                  <a:gd name="T30" fmla="*/ 0 w 8"/>
                  <a:gd name="T31" fmla="*/ 6 h 8"/>
                  <a:gd name="T32" fmla="*/ 8 w 8"/>
                  <a:gd name="T33" fmla="*/ 3 h 8"/>
                  <a:gd name="T34" fmla="*/ 8 w 8"/>
                  <a:gd name="T35" fmla="*/ 3 h 8"/>
                  <a:gd name="T36" fmla="*/ 8 w 8"/>
                  <a:gd name="T37" fmla="*/ 2 h 8"/>
                  <a:gd name="T38" fmla="*/ 8 w 8"/>
                  <a:gd name="T39" fmla="*/ 2 h 8"/>
                  <a:gd name="T40" fmla="*/ 8 w 8"/>
                  <a:gd name="T41" fmla="*/ 0 h 8"/>
                  <a:gd name="T42" fmla="*/ 7 w 8"/>
                  <a:gd name="T43" fmla="*/ 0 h 8"/>
                  <a:gd name="T44" fmla="*/ 7 w 8"/>
                  <a:gd name="T45" fmla="*/ 0 h 8"/>
                  <a:gd name="T46" fmla="*/ 5 w 8"/>
                  <a:gd name="T47" fmla="*/ 0 h 8"/>
                  <a:gd name="T48" fmla="*/ 5 w 8"/>
                  <a:gd name="T49" fmla="*/ 0 h 8"/>
                  <a:gd name="T50" fmla="*/ 3 w 8"/>
                  <a:gd name="T51" fmla="*/ 0 h 8"/>
                  <a:gd name="T52" fmla="*/ 3 w 8"/>
                  <a:gd name="T53" fmla="*/ 2 h 8"/>
                  <a:gd name="T54" fmla="*/ 3 w 8"/>
                  <a:gd name="T55" fmla="*/ 2 h 8"/>
                  <a:gd name="T56" fmla="*/ 3 w 8"/>
                  <a:gd name="T57" fmla="*/ 2 h 8"/>
                  <a:gd name="T58" fmla="*/ 0 w 8"/>
                  <a:gd name="T59" fmla="*/ 3 h 8"/>
                  <a:gd name="T60" fmla="*/ 0 w 8"/>
                  <a:gd name="T61" fmla="*/ 3 h 8"/>
                  <a:gd name="T62" fmla="*/ 2 w 8"/>
                  <a:gd name="T63" fmla="*/ 5 h 8"/>
                  <a:gd name="T64" fmla="*/ 3 w 8"/>
                  <a:gd name="T65" fmla="*/ 3 h 8"/>
                  <a:gd name="T66" fmla="*/ 5 w 8"/>
                  <a:gd name="T67" fmla="*/ 5 h 8"/>
                  <a:gd name="T68" fmla="*/ 8 w 8"/>
                  <a:gd name="T69" fmla="*/ 5 h 8"/>
                  <a:gd name="T70" fmla="*/ 8 w 8"/>
                  <a:gd name="T71" fmla="*/ 5 h 8"/>
                  <a:gd name="T72" fmla="*/ 8 w 8"/>
                  <a:gd name="T73" fmla="*/ 5 h 8"/>
                  <a:gd name="T74" fmla="*/ 8 w 8"/>
                  <a:gd name="T75" fmla="*/ 3 h 8"/>
                  <a:gd name="T76" fmla="*/ 8 w 8"/>
                  <a:gd name="T7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 h="8">
                    <a:moveTo>
                      <a:pt x="7" y="5"/>
                    </a:moveTo>
                    <a:lnTo>
                      <a:pt x="5" y="6"/>
                    </a:lnTo>
                    <a:lnTo>
                      <a:pt x="5" y="6"/>
                    </a:lnTo>
                    <a:lnTo>
                      <a:pt x="7" y="8"/>
                    </a:lnTo>
                    <a:lnTo>
                      <a:pt x="7" y="6"/>
                    </a:lnTo>
                    <a:lnTo>
                      <a:pt x="7" y="6"/>
                    </a:lnTo>
                    <a:lnTo>
                      <a:pt x="7" y="6"/>
                    </a:lnTo>
                    <a:lnTo>
                      <a:pt x="7" y="5"/>
                    </a:lnTo>
                    <a:close/>
                    <a:moveTo>
                      <a:pt x="0" y="6"/>
                    </a:moveTo>
                    <a:lnTo>
                      <a:pt x="0" y="6"/>
                    </a:lnTo>
                    <a:lnTo>
                      <a:pt x="0" y="6"/>
                    </a:lnTo>
                    <a:lnTo>
                      <a:pt x="0" y="6"/>
                    </a:lnTo>
                    <a:lnTo>
                      <a:pt x="3" y="6"/>
                    </a:lnTo>
                    <a:lnTo>
                      <a:pt x="3" y="6"/>
                    </a:lnTo>
                    <a:lnTo>
                      <a:pt x="3" y="5"/>
                    </a:lnTo>
                    <a:lnTo>
                      <a:pt x="0" y="6"/>
                    </a:lnTo>
                    <a:close/>
                    <a:moveTo>
                      <a:pt x="8" y="3"/>
                    </a:moveTo>
                    <a:lnTo>
                      <a:pt x="8" y="3"/>
                    </a:lnTo>
                    <a:lnTo>
                      <a:pt x="8" y="2"/>
                    </a:lnTo>
                    <a:lnTo>
                      <a:pt x="8" y="2"/>
                    </a:lnTo>
                    <a:lnTo>
                      <a:pt x="8" y="0"/>
                    </a:lnTo>
                    <a:lnTo>
                      <a:pt x="7" y="0"/>
                    </a:lnTo>
                    <a:lnTo>
                      <a:pt x="7" y="0"/>
                    </a:lnTo>
                    <a:lnTo>
                      <a:pt x="5" y="0"/>
                    </a:lnTo>
                    <a:lnTo>
                      <a:pt x="5" y="0"/>
                    </a:lnTo>
                    <a:lnTo>
                      <a:pt x="3" y="0"/>
                    </a:lnTo>
                    <a:lnTo>
                      <a:pt x="3" y="2"/>
                    </a:lnTo>
                    <a:lnTo>
                      <a:pt x="3" y="2"/>
                    </a:lnTo>
                    <a:lnTo>
                      <a:pt x="3" y="2"/>
                    </a:lnTo>
                    <a:lnTo>
                      <a:pt x="0" y="3"/>
                    </a:lnTo>
                    <a:lnTo>
                      <a:pt x="0" y="3"/>
                    </a:lnTo>
                    <a:lnTo>
                      <a:pt x="2" y="5"/>
                    </a:lnTo>
                    <a:lnTo>
                      <a:pt x="3" y="3"/>
                    </a:lnTo>
                    <a:lnTo>
                      <a:pt x="5" y="5"/>
                    </a:lnTo>
                    <a:lnTo>
                      <a:pt x="8" y="5"/>
                    </a:lnTo>
                    <a:lnTo>
                      <a:pt x="8" y="5"/>
                    </a:lnTo>
                    <a:lnTo>
                      <a:pt x="8" y="5"/>
                    </a:lnTo>
                    <a:lnTo>
                      <a:pt x="8" y="3"/>
                    </a:lnTo>
                    <a:lnTo>
                      <a:pt x="8"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3" name="Freeform 90">
                <a:extLst>
                  <a:ext uri="{FF2B5EF4-FFF2-40B4-BE49-F238E27FC236}">
                    <a16:creationId xmlns:a16="http://schemas.microsoft.com/office/drawing/2014/main" id="{A5A321B7-02AD-E3ED-E66C-FD738E88DB55}"/>
                  </a:ext>
                </a:extLst>
              </p:cNvPr>
              <p:cNvSpPr>
                <a:spLocks noEditPoints="1"/>
              </p:cNvSpPr>
              <p:nvPr/>
            </p:nvSpPr>
            <p:spPr bwMode="gray">
              <a:xfrm>
                <a:off x="1107" y="1285"/>
                <a:ext cx="108" cy="64"/>
              </a:xfrm>
              <a:custGeom>
                <a:avLst/>
                <a:gdLst>
                  <a:gd name="T0" fmla="*/ 100 w 108"/>
                  <a:gd name="T1" fmla="*/ 20 h 64"/>
                  <a:gd name="T2" fmla="*/ 102 w 108"/>
                  <a:gd name="T3" fmla="*/ 23 h 64"/>
                  <a:gd name="T4" fmla="*/ 98 w 108"/>
                  <a:gd name="T5" fmla="*/ 23 h 64"/>
                  <a:gd name="T6" fmla="*/ 94 w 108"/>
                  <a:gd name="T7" fmla="*/ 20 h 64"/>
                  <a:gd name="T8" fmla="*/ 92 w 108"/>
                  <a:gd name="T9" fmla="*/ 19 h 64"/>
                  <a:gd name="T10" fmla="*/ 97 w 108"/>
                  <a:gd name="T11" fmla="*/ 19 h 64"/>
                  <a:gd name="T12" fmla="*/ 86 w 108"/>
                  <a:gd name="T13" fmla="*/ 12 h 64"/>
                  <a:gd name="T14" fmla="*/ 83 w 108"/>
                  <a:gd name="T15" fmla="*/ 11 h 64"/>
                  <a:gd name="T16" fmla="*/ 67 w 108"/>
                  <a:gd name="T17" fmla="*/ 11 h 64"/>
                  <a:gd name="T18" fmla="*/ 59 w 108"/>
                  <a:gd name="T19" fmla="*/ 9 h 64"/>
                  <a:gd name="T20" fmla="*/ 50 w 108"/>
                  <a:gd name="T21" fmla="*/ 12 h 64"/>
                  <a:gd name="T22" fmla="*/ 34 w 108"/>
                  <a:gd name="T23" fmla="*/ 12 h 64"/>
                  <a:gd name="T24" fmla="*/ 28 w 108"/>
                  <a:gd name="T25" fmla="*/ 11 h 64"/>
                  <a:gd name="T26" fmla="*/ 22 w 108"/>
                  <a:gd name="T27" fmla="*/ 14 h 64"/>
                  <a:gd name="T28" fmla="*/ 17 w 108"/>
                  <a:gd name="T29" fmla="*/ 15 h 64"/>
                  <a:gd name="T30" fmla="*/ 6 w 108"/>
                  <a:gd name="T31" fmla="*/ 25 h 64"/>
                  <a:gd name="T32" fmla="*/ 2 w 108"/>
                  <a:gd name="T33" fmla="*/ 30 h 64"/>
                  <a:gd name="T34" fmla="*/ 3 w 108"/>
                  <a:gd name="T35" fmla="*/ 34 h 64"/>
                  <a:gd name="T36" fmla="*/ 0 w 108"/>
                  <a:gd name="T37" fmla="*/ 37 h 64"/>
                  <a:gd name="T38" fmla="*/ 5 w 108"/>
                  <a:gd name="T39" fmla="*/ 39 h 64"/>
                  <a:gd name="T40" fmla="*/ 8 w 108"/>
                  <a:gd name="T41" fmla="*/ 42 h 64"/>
                  <a:gd name="T42" fmla="*/ 11 w 108"/>
                  <a:gd name="T43" fmla="*/ 45 h 64"/>
                  <a:gd name="T44" fmla="*/ 14 w 108"/>
                  <a:gd name="T45" fmla="*/ 47 h 64"/>
                  <a:gd name="T46" fmla="*/ 19 w 108"/>
                  <a:gd name="T47" fmla="*/ 47 h 64"/>
                  <a:gd name="T48" fmla="*/ 22 w 108"/>
                  <a:gd name="T49" fmla="*/ 47 h 64"/>
                  <a:gd name="T50" fmla="*/ 27 w 108"/>
                  <a:gd name="T51" fmla="*/ 47 h 64"/>
                  <a:gd name="T52" fmla="*/ 28 w 108"/>
                  <a:gd name="T53" fmla="*/ 51 h 64"/>
                  <a:gd name="T54" fmla="*/ 28 w 108"/>
                  <a:gd name="T55" fmla="*/ 55 h 64"/>
                  <a:gd name="T56" fmla="*/ 27 w 108"/>
                  <a:gd name="T57" fmla="*/ 56 h 64"/>
                  <a:gd name="T58" fmla="*/ 33 w 108"/>
                  <a:gd name="T59" fmla="*/ 56 h 64"/>
                  <a:gd name="T60" fmla="*/ 34 w 108"/>
                  <a:gd name="T61" fmla="*/ 61 h 64"/>
                  <a:gd name="T62" fmla="*/ 41 w 108"/>
                  <a:gd name="T63" fmla="*/ 62 h 64"/>
                  <a:gd name="T64" fmla="*/ 42 w 108"/>
                  <a:gd name="T65" fmla="*/ 59 h 64"/>
                  <a:gd name="T66" fmla="*/ 45 w 108"/>
                  <a:gd name="T67" fmla="*/ 58 h 64"/>
                  <a:gd name="T68" fmla="*/ 45 w 108"/>
                  <a:gd name="T69" fmla="*/ 50 h 64"/>
                  <a:gd name="T70" fmla="*/ 53 w 108"/>
                  <a:gd name="T71" fmla="*/ 50 h 64"/>
                  <a:gd name="T72" fmla="*/ 58 w 108"/>
                  <a:gd name="T73" fmla="*/ 44 h 64"/>
                  <a:gd name="T74" fmla="*/ 63 w 108"/>
                  <a:gd name="T75" fmla="*/ 48 h 64"/>
                  <a:gd name="T76" fmla="*/ 66 w 108"/>
                  <a:gd name="T77" fmla="*/ 45 h 64"/>
                  <a:gd name="T78" fmla="*/ 72 w 108"/>
                  <a:gd name="T79" fmla="*/ 39 h 64"/>
                  <a:gd name="T80" fmla="*/ 73 w 108"/>
                  <a:gd name="T81" fmla="*/ 36 h 64"/>
                  <a:gd name="T82" fmla="*/ 75 w 108"/>
                  <a:gd name="T83" fmla="*/ 34 h 64"/>
                  <a:gd name="T84" fmla="*/ 78 w 108"/>
                  <a:gd name="T85" fmla="*/ 31 h 64"/>
                  <a:gd name="T86" fmla="*/ 84 w 108"/>
                  <a:gd name="T87" fmla="*/ 34 h 64"/>
                  <a:gd name="T88" fmla="*/ 89 w 108"/>
                  <a:gd name="T89" fmla="*/ 33 h 64"/>
                  <a:gd name="T90" fmla="*/ 91 w 108"/>
                  <a:gd name="T91" fmla="*/ 33 h 64"/>
                  <a:gd name="T92" fmla="*/ 92 w 108"/>
                  <a:gd name="T93" fmla="*/ 31 h 64"/>
                  <a:gd name="T94" fmla="*/ 98 w 108"/>
                  <a:gd name="T95" fmla="*/ 30 h 64"/>
                  <a:gd name="T96" fmla="*/ 102 w 108"/>
                  <a:gd name="T97" fmla="*/ 28 h 64"/>
                  <a:gd name="T98" fmla="*/ 108 w 108"/>
                  <a:gd name="T99" fmla="*/ 26 h 64"/>
                  <a:gd name="T100" fmla="*/ 47 w 108"/>
                  <a:gd name="T101" fmla="*/ 3 h 64"/>
                  <a:gd name="T102" fmla="*/ 53 w 108"/>
                  <a:gd name="T103" fmla="*/ 1 h 64"/>
                  <a:gd name="T104" fmla="*/ 59 w 108"/>
                  <a:gd name="T105" fmla="*/ 1 h 64"/>
                  <a:gd name="T106" fmla="*/ 61 w 108"/>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64">
                    <a:moveTo>
                      <a:pt x="108" y="26"/>
                    </a:moveTo>
                    <a:lnTo>
                      <a:pt x="106" y="26"/>
                    </a:lnTo>
                    <a:lnTo>
                      <a:pt x="105" y="23"/>
                    </a:lnTo>
                    <a:lnTo>
                      <a:pt x="100" y="20"/>
                    </a:lnTo>
                    <a:lnTo>
                      <a:pt x="98" y="20"/>
                    </a:lnTo>
                    <a:lnTo>
                      <a:pt x="102" y="22"/>
                    </a:lnTo>
                    <a:lnTo>
                      <a:pt x="102" y="23"/>
                    </a:lnTo>
                    <a:lnTo>
                      <a:pt x="102" y="23"/>
                    </a:lnTo>
                    <a:lnTo>
                      <a:pt x="100" y="22"/>
                    </a:lnTo>
                    <a:lnTo>
                      <a:pt x="100" y="22"/>
                    </a:lnTo>
                    <a:lnTo>
                      <a:pt x="98" y="23"/>
                    </a:lnTo>
                    <a:lnTo>
                      <a:pt x="98" y="23"/>
                    </a:lnTo>
                    <a:lnTo>
                      <a:pt x="97" y="22"/>
                    </a:lnTo>
                    <a:lnTo>
                      <a:pt x="95" y="20"/>
                    </a:lnTo>
                    <a:lnTo>
                      <a:pt x="95" y="20"/>
                    </a:lnTo>
                    <a:lnTo>
                      <a:pt x="94" y="20"/>
                    </a:lnTo>
                    <a:lnTo>
                      <a:pt x="92" y="20"/>
                    </a:lnTo>
                    <a:lnTo>
                      <a:pt x="92" y="20"/>
                    </a:lnTo>
                    <a:lnTo>
                      <a:pt x="92" y="19"/>
                    </a:lnTo>
                    <a:lnTo>
                      <a:pt x="92" y="19"/>
                    </a:lnTo>
                    <a:lnTo>
                      <a:pt x="92" y="19"/>
                    </a:lnTo>
                    <a:lnTo>
                      <a:pt x="94" y="17"/>
                    </a:lnTo>
                    <a:lnTo>
                      <a:pt x="97" y="20"/>
                    </a:lnTo>
                    <a:lnTo>
                      <a:pt x="97" y="19"/>
                    </a:lnTo>
                    <a:lnTo>
                      <a:pt x="89" y="12"/>
                    </a:lnTo>
                    <a:lnTo>
                      <a:pt x="84" y="11"/>
                    </a:lnTo>
                    <a:lnTo>
                      <a:pt x="84" y="12"/>
                    </a:lnTo>
                    <a:lnTo>
                      <a:pt x="86" y="12"/>
                    </a:lnTo>
                    <a:lnTo>
                      <a:pt x="86" y="12"/>
                    </a:lnTo>
                    <a:lnTo>
                      <a:pt x="84" y="12"/>
                    </a:lnTo>
                    <a:lnTo>
                      <a:pt x="84" y="12"/>
                    </a:lnTo>
                    <a:lnTo>
                      <a:pt x="83" y="11"/>
                    </a:lnTo>
                    <a:lnTo>
                      <a:pt x="77" y="9"/>
                    </a:lnTo>
                    <a:lnTo>
                      <a:pt x="75" y="9"/>
                    </a:lnTo>
                    <a:lnTo>
                      <a:pt x="73" y="11"/>
                    </a:lnTo>
                    <a:lnTo>
                      <a:pt x="67" y="11"/>
                    </a:lnTo>
                    <a:lnTo>
                      <a:pt x="63" y="9"/>
                    </a:lnTo>
                    <a:lnTo>
                      <a:pt x="59" y="9"/>
                    </a:lnTo>
                    <a:lnTo>
                      <a:pt x="59" y="9"/>
                    </a:lnTo>
                    <a:lnTo>
                      <a:pt x="59" y="9"/>
                    </a:lnTo>
                    <a:lnTo>
                      <a:pt x="58" y="11"/>
                    </a:lnTo>
                    <a:lnTo>
                      <a:pt x="55" y="11"/>
                    </a:lnTo>
                    <a:lnTo>
                      <a:pt x="52" y="12"/>
                    </a:lnTo>
                    <a:lnTo>
                      <a:pt x="50" y="12"/>
                    </a:lnTo>
                    <a:lnTo>
                      <a:pt x="45" y="12"/>
                    </a:lnTo>
                    <a:lnTo>
                      <a:pt x="42" y="14"/>
                    </a:lnTo>
                    <a:lnTo>
                      <a:pt x="36" y="12"/>
                    </a:lnTo>
                    <a:lnTo>
                      <a:pt x="34" y="12"/>
                    </a:lnTo>
                    <a:lnTo>
                      <a:pt x="33" y="12"/>
                    </a:lnTo>
                    <a:lnTo>
                      <a:pt x="31" y="12"/>
                    </a:lnTo>
                    <a:lnTo>
                      <a:pt x="30" y="11"/>
                    </a:lnTo>
                    <a:lnTo>
                      <a:pt x="28" y="11"/>
                    </a:lnTo>
                    <a:lnTo>
                      <a:pt x="25" y="11"/>
                    </a:lnTo>
                    <a:lnTo>
                      <a:pt x="25" y="11"/>
                    </a:lnTo>
                    <a:lnTo>
                      <a:pt x="23" y="12"/>
                    </a:lnTo>
                    <a:lnTo>
                      <a:pt x="22" y="14"/>
                    </a:lnTo>
                    <a:lnTo>
                      <a:pt x="20" y="14"/>
                    </a:lnTo>
                    <a:lnTo>
                      <a:pt x="19" y="14"/>
                    </a:lnTo>
                    <a:lnTo>
                      <a:pt x="19" y="14"/>
                    </a:lnTo>
                    <a:lnTo>
                      <a:pt x="17" y="15"/>
                    </a:lnTo>
                    <a:lnTo>
                      <a:pt x="14" y="19"/>
                    </a:lnTo>
                    <a:lnTo>
                      <a:pt x="11" y="20"/>
                    </a:lnTo>
                    <a:lnTo>
                      <a:pt x="9" y="23"/>
                    </a:lnTo>
                    <a:lnTo>
                      <a:pt x="6" y="25"/>
                    </a:lnTo>
                    <a:lnTo>
                      <a:pt x="6" y="25"/>
                    </a:lnTo>
                    <a:lnTo>
                      <a:pt x="3" y="26"/>
                    </a:lnTo>
                    <a:lnTo>
                      <a:pt x="3" y="26"/>
                    </a:lnTo>
                    <a:lnTo>
                      <a:pt x="2" y="30"/>
                    </a:lnTo>
                    <a:lnTo>
                      <a:pt x="2" y="30"/>
                    </a:lnTo>
                    <a:lnTo>
                      <a:pt x="3" y="31"/>
                    </a:lnTo>
                    <a:lnTo>
                      <a:pt x="3" y="33"/>
                    </a:lnTo>
                    <a:lnTo>
                      <a:pt x="3" y="34"/>
                    </a:lnTo>
                    <a:lnTo>
                      <a:pt x="0" y="36"/>
                    </a:lnTo>
                    <a:lnTo>
                      <a:pt x="0" y="37"/>
                    </a:lnTo>
                    <a:lnTo>
                      <a:pt x="0" y="37"/>
                    </a:lnTo>
                    <a:lnTo>
                      <a:pt x="0" y="37"/>
                    </a:lnTo>
                    <a:lnTo>
                      <a:pt x="3" y="39"/>
                    </a:lnTo>
                    <a:lnTo>
                      <a:pt x="3" y="39"/>
                    </a:lnTo>
                    <a:lnTo>
                      <a:pt x="3" y="39"/>
                    </a:lnTo>
                    <a:lnTo>
                      <a:pt x="5" y="39"/>
                    </a:lnTo>
                    <a:lnTo>
                      <a:pt x="5" y="41"/>
                    </a:lnTo>
                    <a:lnTo>
                      <a:pt x="6" y="41"/>
                    </a:lnTo>
                    <a:lnTo>
                      <a:pt x="8" y="42"/>
                    </a:lnTo>
                    <a:lnTo>
                      <a:pt x="8" y="42"/>
                    </a:lnTo>
                    <a:lnTo>
                      <a:pt x="8" y="44"/>
                    </a:lnTo>
                    <a:lnTo>
                      <a:pt x="11" y="44"/>
                    </a:lnTo>
                    <a:lnTo>
                      <a:pt x="11" y="45"/>
                    </a:lnTo>
                    <a:lnTo>
                      <a:pt x="11" y="45"/>
                    </a:lnTo>
                    <a:lnTo>
                      <a:pt x="12" y="45"/>
                    </a:lnTo>
                    <a:lnTo>
                      <a:pt x="14" y="45"/>
                    </a:lnTo>
                    <a:lnTo>
                      <a:pt x="14" y="45"/>
                    </a:lnTo>
                    <a:lnTo>
                      <a:pt x="14" y="47"/>
                    </a:lnTo>
                    <a:lnTo>
                      <a:pt x="16" y="48"/>
                    </a:lnTo>
                    <a:lnTo>
                      <a:pt x="16" y="48"/>
                    </a:lnTo>
                    <a:lnTo>
                      <a:pt x="16" y="47"/>
                    </a:lnTo>
                    <a:lnTo>
                      <a:pt x="19" y="47"/>
                    </a:lnTo>
                    <a:lnTo>
                      <a:pt x="20" y="45"/>
                    </a:lnTo>
                    <a:lnTo>
                      <a:pt x="20" y="45"/>
                    </a:lnTo>
                    <a:lnTo>
                      <a:pt x="22" y="45"/>
                    </a:lnTo>
                    <a:lnTo>
                      <a:pt x="22" y="47"/>
                    </a:lnTo>
                    <a:lnTo>
                      <a:pt x="23" y="47"/>
                    </a:lnTo>
                    <a:lnTo>
                      <a:pt x="23" y="47"/>
                    </a:lnTo>
                    <a:lnTo>
                      <a:pt x="25" y="47"/>
                    </a:lnTo>
                    <a:lnTo>
                      <a:pt x="27" y="47"/>
                    </a:lnTo>
                    <a:lnTo>
                      <a:pt x="28" y="48"/>
                    </a:lnTo>
                    <a:lnTo>
                      <a:pt x="28" y="48"/>
                    </a:lnTo>
                    <a:lnTo>
                      <a:pt x="28" y="48"/>
                    </a:lnTo>
                    <a:lnTo>
                      <a:pt x="28" y="51"/>
                    </a:lnTo>
                    <a:lnTo>
                      <a:pt x="27" y="53"/>
                    </a:lnTo>
                    <a:lnTo>
                      <a:pt x="27" y="53"/>
                    </a:lnTo>
                    <a:lnTo>
                      <a:pt x="28" y="55"/>
                    </a:lnTo>
                    <a:lnTo>
                      <a:pt x="28" y="55"/>
                    </a:lnTo>
                    <a:lnTo>
                      <a:pt x="28" y="55"/>
                    </a:lnTo>
                    <a:lnTo>
                      <a:pt x="28" y="55"/>
                    </a:lnTo>
                    <a:lnTo>
                      <a:pt x="28" y="55"/>
                    </a:lnTo>
                    <a:lnTo>
                      <a:pt x="27" y="56"/>
                    </a:lnTo>
                    <a:lnTo>
                      <a:pt x="28" y="56"/>
                    </a:lnTo>
                    <a:lnTo>
                      <a:pt x="28" y="56"/>
                    </a:lnTo>
                    <a:lnTo>
                      <a:pt x="30" y="56"/>
                    </a:lnTo>
                    <a:lnTo>
                      <a:pt x="33" y="56"/>
                    </a:lnTo>
                    <a:lnTo>
                      <a:pt x="33" y="58"/>
                    </a:lnTo>
                    <a:lnTo>
                      <a:pt x="33" y="58"/>
                    </a:lnTo>
                    <a:lnTo>
                      <a:pt x="33" y="59"/>
                    </a:lnTo>
                    <a:lnTo>
                      <a:pt x="34" y="61"/>
                    </a:lnTo>
                    <a:lnTo>
                      <a:pt x="34" y="61"/>
                    </a:lnTo>
                    <a:lnTo>
                      <a:pt x="34" y="64"/>
                    </a:lnTo>
                    <a:lnTo>
                      <a:pt x="39" y="64"/>
                    </a:lnTo>
                    <a:lnTo>
                      <a:pt x="41" y="62"/>
                    </a:lnTo>
                    <a:lnTo>
                      <a:pt x="42" y="62"/>
                    </a:lnTo>
                    <a:lnTo>
                      <a:pt x="42" y="61"/>
                    </a:lnTo>
                    <a:lnTo>
                      <a:pt x="42" y="59"/>
                    </a:lnTo>
                    <a:lnTo>
                      <a:pt x="42" y="59"/>
                    </a:lnTo>
                    <a:lnTo>
                      <a:pt x="44" y="58"/>
                    </a:lnTo>
                    <a:lnTo>
                      <a:pt x="44" y="58"/>
                    </a:lnTo>
                    <a:lnTo>
                      <a:pt x="45" y="58"/>
                    </a:lnTo>
                    <a:lnTo>
                      <a:pt x="45" y="58"/>
                    </a:lnTo>
                    <a:lnTo>
                      <a:pt x="45" y="56"/>
                    </a:lnTo>
                    <a:lnTo>
                      <a:pt x="45" y="51"/>
                    </a:lnTo>
                    <a:lnTo>
                      <a:pt x="45" y="50"/>
                    </a:lnTo>
                    <a:lnTo>
                      <a:pt x="45" y="50"/>
                    </a:lnTo>
                    <a:lnTo>
                      <a:pt x="45" y="50"/>
                    </a:lnTo>
                    <a:lnTo>
                      <a:pt x="48" y="50"/>
                    </a:lnTo>
                    <a:lnTo>
                      <a:pt x="52" y="50"/>
                    </a:lnTo>
                    <a:lnTo>
                      <a:pt x="53" y="50"/>
                    </a:lnTo>
                    <a:lnTo>
                      <a:pt x="55" y="47"/>
                    </a:lnTo>
                    <a:lnTo>
                      <a:pt x="56" y="45"/>
                    </a:lnTo>
                    <a:lnTo>
                      <a:pt x="56" y="45"/>
                    </a:lnTo>
                    <a:lnTo>
                      <a:pt x="58" y="44"/>
                    </a:lnTo>
                    <a:lnTo>
                      <a:pt x="59" y="45"/>
                    </a:lnTo>
                    <a:lnTo>
                      <a:pt x="63" y="48"/>
                    </a:lnTo>
                    <a:lnTo>
                      <a:pt x="63" y="48"/>
                    </a:lnTo>
                    <a:lnTo>
                      <a:pt x="63" y="48"/>
                    </a:lnTo>
                    <a:lnTo>
                      <a:pt x="63" y="47"/>
                    </a:lnTo>
                    <a:lnTo>
                      <a:pt x="63" y="47"/>
                    </a:lnTo>
                    <a:lnTo>
                      <a:pt x="64" y="45"/>
                    </a:lnTo>
                    <a:lnTo>
                      <a:pt x="66" y="45"/>
                    </a:lnTo>
                    <a:lnTo>
                      <a:pt x="67" y="44"/>
                    </a:lnTo>
                    <a:lnTo>
                      <a:pt x="69" y="41"/>
                    </a:lnTo>
                    <a:lnTo>
                      <a:pt x="70" y="41"/>
                    </a:lnTo>
                    <a:lnTo>
                      <a:pt x="72" y="39"/>
                    </a:lnTo>
                    <a:lnTo>
                      <a:pt x="73" y="39"/>
                    </a:lnTo>
                    <a:lnTo>
                      <a:pt x="72" y="39"/>
                    </a:lnTo>
                    <a:lnTo>
                      <a:pt x="72" y="37"/>
                    </a:lnTo>
                    <a:lnTo>
                      <a:pt x="73" y="36"/>
                    </a:lnTo>
                    <a:lnTo>
                      <a:pt x="73" y="34"/>
                    </a:lnTo>
                    <a:lnTo>
                      <a:pt x="75" y="34"/>
                    </a:lnTo>
                    <a:lnTo>
                      <a:pt x="75" y="34"/>
                    </a:lnTo>
                    <a:lnTo>
                      <a:pt x="75" y="34"/>
                    </a:lnTo>
                    <a:lnTo>
                      <a:pt x="75" y="33"/>
                    </a:lnTo>
                    <a:lnTo>
                      <a:pt x="77" y="31"/>
                    </a:lnTo>
                    <a:lnTo>
                      <a:pt x="77" y="31"/>
                    </a:lnTo>
                    <a:lnTo>
                      <a:pt x="78" y="31"/>
                    </a:lnTo>
                    <a:lnTo>
                      <a:pt x="80" y="31"/>
                    </a:lnTo>
                    <a:lnTo>
                      <a:pt x="81" y="33"/>
                    </a:lnTo>
                    <a:lnTo>
                      <a:pt x="83" y="33"/>
                    </a:lnTo>
                    <a:lnTo>
                      <a:pt x="84" y="34"/>
                    </a:lnTo>
                    <a:lnTo>
                      <a:pt x="86" y="34"/>
                    </a:lnTo>
                    <a:lnTo>
                      <a:pt x="86" y="33"/>
                    </a:lnTo>
                    <a:lnTo>
                      <a:pt x="88" y="33"/>
                    </a:lnTo>
                    <a:lnTo>
                      <a:pt x="89" y="33"/>
                    </a:lnTo>
                    <a:lnTo>
                      <a:pt x="89" y="33"/>
                    </a:lnTo>
                    <a:lnTo>
                      <a:pt x="89" y="31"/>
                    </a:lnTo>
                    <a:lnTo>
                      <a:pt x="89" y="31"/>
                    </a:lnTo>
                    <a:lnTo>
                      <a:pt x="91" y="33"/>
                    </a:lnTo>
                    <a:lnTo>
                      <a:pt x="91" y="33"/>
                    </a:lnTo>
                    <a:lnTo>
                      <a:pt x="92" y="33"/>
                    </a:lnTo>
                    <a:lnTo>
                      <a:pt x="92" y="31"/>
                    </a:lnTo>
                    <a:lnTo>
                      <a:pt x="92" y="31"/>
                    </a:lnTo>
                    <a:lnTo>
                      <a:pt x="92" y="31"/>
                    </a:lnTo>
                    <a:lnTo>
                      <a:pt x="94" y="31"/>
                    </a:lnTo>
                    <a:lnTo>
                      <a:pt x="95" y="31"/>
                    </a:lnTo>
                    <a:lnTo>
                      <a:pt x="98" y="30"/>
                    </a:lnTo>
                    <a:lnTo>
                      <a:pt x="98" y="30"/>
                    </a:lnTo>
                    <a:lnTo>
                      <a:pt x="100" y="30"/>
                    </a:lnTo>
                    <a:lnTo>
                      <a:pt x="100" y="30"/>
                    </a:lnTo>
                    <a:lnTo>
                      <a:pt x="102" y="28"/>
                    </a:lnTo>
                    <a:lnTo>
                      <a:pt x="102" y="28"/>
                    </a:lnTo>
                    <a:lnTo>
                      <a:pt x="103" y="26"/>
                    </a:lnTo>
                    <a:lnTo>
                      <a:pt x="108" y="28"/>
                    </a:lnTo>
                    <a:lnTo>
                      <a:pt x="108" y="26"/>
                    </a:lnTo>
                    <a:close/>
                    <a:moveTo>
                      <a:pt x="53" y="1"/>
                    </a:moveTo>
                    <a:lnTo>
                      <a:pt x="50" y="1"/>
                    </a:lnTo>
                    <a:lnTo>
                      <a:pt x="48" y="3"/>
                    </a:lnTo>
                    <a:lnTo>
                      <a:pt x="47" y="3"/>
                    </a:lnTo>
                    <a:lnTo>
                      <a:pt x="48" y="3"/>
                    </a:lnTo>
                    <a:lnTo>
                      <a:pt x="52" y="1"/>
                    </a:lnTo>
                    <a:lnTo>
                      <a:pt x="53" y="1"/>
                    </a:lnTo>
                    <a:lnTo>
                      <a:pt x="53" y="1"/>
                    </a:lnTo>
                    <a:close/>
                    <a:moveTo>
                      <a:pt x="61" y="0"/>
                    </a:moveTo>
                    <a:lnTo>
                      <a:pt x="59" y="0"/>
                    </a:lnTo>
                    <a:lnTo>
                      <a:pt x="59" y="1"/>
                    </a:lnTo>
                    <a:lnTo>
                      <a:pt x="59" y="1"/>
                    </a:lnTo>
                    <a:lnTo>
                      <a:pt x="61" y="1"/>
                    </a:lnTo>
                    <a:lnTo>
                      <a:pt x="61" y="0"/>
                    </a:lnTo>
                    <a:lnTo>
                      <a:pt x="61" y="0"/>
                    </a:lnTo>
                    <a:lnTo>
                      <a:pt x="61"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4" name="Freeform 91">
                <a:extLst>
                  <a:ext uri="{FF2B5EF4-FFF2-40B4-BE49-F238E27FC236}">
                    <a16:creationId xmlns:a16="http://schemas.microsoft.com/office/drawing/2014/main" id="{E60A9734-3B23-F50C-5E5B-895F08C6555D}"/>
                  </a:ext>
                </a:extLst>
              </p:cNvPr>
              <p:cNvSpPr>
                <a:spLocks noEditPoints="1"/>
              </p:cNvSpPr>
              <p:nvPr/>
            </p:nvSpPr>
            <p:spPr bwMode="gray">
              <a:xfrm>
                <a:off x="2913" y="656"/>
                <a:ext cx="103" cy="101"/>
              </a:xfrm>
              <a:custGeom>
                <a:avLst/>
                <a:gdLst>
                  <a:gd name="T0" fmla="*/ 64 w 103"/>
                  <a:gd name="T1" fmla="*/ 89 h 101"/>
                  <a:gd name="T2" fmla="*/ 56 w 103"/>
                  <a:gd name="T3" fmla="*/ 89 h 101"/>
                  <a:gd name="T4" fmla="*/ 86 w 103"/>
                  <a:gd name="T5" fmla="*/ 98 h 101"/>
                  <a:gd name="T6" fmla="*/ 75 w 103"/>
                  <a:gd name="T7" fmla="*/ 91 h 101"/>
                  <a:gd name="T8" fmla="*/ 61 w 103"/>
                  <a:gd name="T9" fmla="*/ 87 h 101"/>
                  <a:gd name="T10" fmla="*/ 87 w 103"/>
                  <a:gd name="T11" fmla="*/ 101 h 101"/>
                  <a:gd name="T12" fmla="*/ 50 w 103"/>
                  <a:gd name="T13" fmla="*/ 83 h 101"/>
                  <a:gd name="T14" fmla="*/ 53 w 103"/>
                  <a:gd name="T15" fmla="*/ 78 h 101"/>
                  <a:gd name="T16" fmla="*/ 58 w 103"/>
                  <a:gd name="T17" fmla="*/ 80 h 101"/>
                  <a:gd name="T18" fmla="*/ 33 w 103"/>
                  <a:gd name="T19" fmla="*/ 65 h 101"/>
                  <a:gd name="T20" fmla="*/ 30 w 103"/>
                  <a:gd name="T21" fmla="*/ 62 h 101"/>
                  <a:gd name="T22" fmla="*/ 28 w 103"/>
                  <a:gd name="T23" fmla="*/ 65 h 101"/>
                  <a:gd name="T24" fmla="*/ 22 w 103"/>
                  <a:gd name="T25" fmla="*/ 47 h 101"/>
                  <a:gd name="T26" fmla="*/ 26 w 103"/>
                  <a:gd name="T27" fmla="*/ 55 h 101"/>
                  <a:gd name="T28" fmla="*/ 22 w 103"/>
                  <a:gd name="T29" fmla="*/ 44 h 101"/>
                  <a:gd name="T30" fmla="*/ 23 w 103"/>
                  <a:gd name="T31" fmla="*/ 45 h 101"/>
                  <a:gd name="T32" fmla="*/ 14 w 103"/>
                  <a:gd name="T33" fmla="*/ 37 h 101"/>
                  <a:gd name="T34" fmla="*/ 12 w 103"/>
                  <a:gd name="T35" fmla="*/ 40 h 101"/>
                  <a:gd name="T36" fmla="*/ 20 w 103"/>
                  <a:gd name="T37" fmla="*/ 36 h 101"/>
                  <a:gd name="T38" fmla="*/ 19 w 103"/>
                  <a:gd name="T39" fmla="*/ 37 h 101"/>
                  <a:gd name="T40" fmla="*/ 101 w 103"/>
                  <a:gd name="T41" fmla="*/ 33 h 101"/>
                  <a:gd name="T42" fmla="*/ 97 w 103"/>
                  <a:gd name="T43" fmla="*/ 26 h 101"/>
                  <a:gd name="T44" fmla="*/ 94 w 103"/>
                  <a:gd name="T45" fmla="*/ 17 h 101"/>
                  <a:gd name="T46" fmla="*/ 87 w 103"/>
                  <a:gd name="T47" fmla="*/ 19 h 101"/>
                  <a:gd name="T48" fmla="*/ 75 w 103"/>
                  <a:gd name="T49" fmla="*/ 19 h 101"/>
                  <a:gd name="T50" fmla="*/ 64 w 103"/>
                  <a:gd name="T51" fmla="*/ 12 h 101"/>
                  <a:gd name="T52" fmla="*/ 51 w 103"/>
                  <a:gd name="T53" fmla="*/ 1 h 101"/>
                  <a:gd name="T54" fmla="*/ 47 w 103"/>
                  <a:gd name="T55" fmla="*/ 4 h 101"/>
                  <a:gd name="T56" fmla="*/ 42 w 103"/>
                  <a:gd name="T57" fmla="*/ 6 h 101"/>
                  <a:gd name="T58" fmla="*/ 36 w 103"/>
                  <a:gd name="T59" fmla="*/ 9 h 101"/>
                  <a:gd name="T60" fmla="*/ 37 w 103"/>
                  <a:gd name="T61" fmla="*/ 14 h 101"/>
                  <a:gd name="T62" fmla="*/ 30 w 103"/>
                  <a:gd name="T63" fmla="*/ 20 h 101"/>
                  <a:gd name="T64" fmla="*/ 30 w 103"/>
                  <a:gd name="T65" fmla="*/ 25 h 101"/>
                  <a:gd name="T66" fmla="*/ 26 w 103"/>
                  <a:gd name="T67" fmla="*/ 28 h 101"/>
                  <a:gd name="T68" fmla="*/ 20 w 103"/>
                  <a:gd name="T69" fmla="*/ 26 h 101"/>
                  <a:gd name="T70" fmla="*/ 17 w 103"/>
                  <a:gd name="T71" fmla="*/ 23 h 101"/>
                  <a:gd name="T72" fmla="*/ 9 w 103"/>
                  <a:gd name="T73" fmla="*/ 26 h 101"/>
                  <a:gd name="T74" fmla="*/ 6 w 103"/>
                  <a:gd name="T75" fmla="*/ 28 h 101"/>
                  <a:gd name="T76" fmla="*/ 1 w 103"/>
                  <a:gd name="T77" fmla="*/ 36 h 101"/>
                  <a:gd name="T78" fmla="*/ 12 w 103"/>
                  <a:gd name="T79" fmla="*/ 34 h 101"/>
                  <a:gd name="T80" fmla="*/ 23 w 103"/>
                  <a:gd name="T81" fmla="*/ 39 h 101"/>
                  <a:gd name="T82" fmla="*/ 31 w 103"/>
                  <a:gd name="T83" fmla="*/ 56 h 101"/>
                  <a:gd name="T84" fmla="*/ 37 w 103"/>
                  <a:gd name="T85" fmla="*/ 67 h 101"/>
                  <a:gd name="T86" fmla="*/ 45 w 103"/>
                  <a:gd name="T87" fmla="*/ 75 h 101"/>
                  <a:gd name="T88" fmla="*/ 70 w 103"/>
                  <a:gd name="T89" fmla="*/ 89 h 101"/>
                  <a:gd name="T90" fmla="*/ 66 w 103"/>
                  <a:gd name="T91" fmla="*/ 80 h 101"/>
                  <a:gd name="T92" fmla="*/ 55 w 103"/>
                  <a:gd name="T93" fmla="*/ 67 h 101"/>
                  <a:gd name="T94" fmla="*/ 45 w 103"/>
                  <a:gd name="T95" fmla="*/ 51 h 101"/>
                  <a:gd name="T96" fmla="*/ 39 w 103"/>
                  <a:gd name="T97" fmla="*/ 34 h 101"/>
                  <a:gd name="T98" fmla="*/ 45 w 103"/>
                  <a:gd name="T99" fmla="*/ 37 h 101"/>
                  <a:gd name="T100" fmla="*/ 56 w 103"/>
                  <a:gd name="T101" fmla="*/ 34 h 101"/>
                  <a:gd name="T102" fmla="*/ 69 w 103"/>
                  <a:gd name="T103" fmla="*/ 36 h 101"/>
                  <a:gd name="T104" fmla="*/ 78 w 103"/>
                  <a:gd name="T105" fmla="*/ 36 h 101"/>
                  <a:gd name="T106" fmla="*/ 86 w 103"/>
                  <a:gd name="T107" fmla="*/ 36 h 101"/>
                  <a:gd name="T108" fmla="*/ 92 w 103"/>
                  <a:gd name="T109" fmla="*/ 40 h 101"/>
                  <a:gd name="T110" fmla="*/ 97 w 103"/>
                  <a:gd name="T111" fmla="*/ 40 h 101"/>
                  <a:gd name="T112" fmla="*/ 98 w 103"/>
                  <a:gd name="T113" fmla="*/ 3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 h="101">
                    <a:moveTo>
                      <a:pt x="70" y="92"/>
                    </a:moveTo>
                    <a:lnTo>
                      <a:pt x="67" y="92"/>
                    </a:lnTo>
                    <a:lnTo>
                      <a:pt x="67" y="92"/>
                    </a:lnTo>
                    <a:lnTo>
                      <a:pt x="67" y="92"/>
                    </a:lnTo>
                    <a:lnTo>
                      <a:pt x="73" y="95"/>
                    </a:lnTo>
                    <a:lnTo>
                      <a:pt x="70" y="92"/>
                    </a:lnTo>
                    <a:close/>
                    <a:moveTo>
                      <a:pt x="64" y="89"/>
                    </a:moveTo>
                    <a:lnTo>
                      <a:pt x="62" y="87"/>
                    </a:lnTo>
                    <a:lnTo>
                      <a:pt x="59" y="87"/>
                    </a:lnTo>
                    <a:lnTo>
                      <a:pt x="58" y="87"/>
                    </a:lnTo>
                    <a:lnTo>
                      <a:pt x="55" y="87"/>
                    </a:lnTo>
                    <a:lnTo>
                      <a:pt x="55" y="89"/>
                    </a:lnTo>
                    <a:lnTo>
                      <a:pt x="55" y="89"/>
                    </a:lnTo>
                    <a:lnTo>
                      <a:pt x="56" y="89"/>
                    </a:lnTo>
                    <a:lnTo>
                      <a:pt x="58" y="91"/>
                    </a:lnTo>
                    <a:lnTo>
                      <a:pt x="59" y="89"/>
                    </a:lnTo>
                    <a:lnTo>
                      <a:pt x="62" y="89"/>
                    </a:lnTo>
                    <a:lnTo>
                      <a:pt x="64" y="89"/>
                    </a:lnTo>
                    <a:lnTo>
                      <a:pt x="64" y="89"/>
                    </a:lnTo>
                    <a:close/>
                    <a:moveTo>
                      <a:pt x="86" y="100"/>
                    </a:moveTo>
                    <a:lnTo>
                      <a:pt x="86" y="98"/>
                    </a:lnTo>
                    <a:lnTo>
                      <a:pt x="86" y="98"/>
                    </a:lnTo>
                    <a:lnTo>
                      <a:pt x="84" y="97"/>
                    </a:lnTo>
                    <a:lnTo>
                      <a:pt x="83" y="97"/>
                    </a:lnTo>
                    <a:lnTo>
                      <a:pt x="80" y="95"/>
                    </a:lnTo>
                    <a:lnTo>
                      <a:pt x="78" y="94"/>
                    </a:lnTo>
                    <a:lnTo>
                      <a:pt x="76" y="92"/>
                    </a:lnTo>
                    <a:lnTo>
                      <a:pt x="75" y="91"/>
                    </a:lnTo>
                    <a:lnTo>
                      <a:pt x="75" y="89"/>
                    </a:lnTo>
                    <a:lnTo>
                      <a:pt x="73" y="89"/>
                    </a:lnTo>
                    <a:lnTo>
                      <a:pt x="72" y="91"/>
                    </a:lnTo>
                    <a:lnTo>
                      <a:pt x="73" y="91"/>
                    </a:lnTo>
                    <a:lnTo>
                      <a:pt x="64" y="87"/>
                    </a:lnTo>
                    <a:lnTo>
                      <a:pt x="62" y="87"/>
                    </a:lnTo>
                    <a:lnTo>
                      <a:pt x="61" y="87"/>
                    </a:lnTo>
                    <a:lnTo>
                      <a:pt x="66" y="87"/>
                    </a:lnTo>
                    <a:lnTo>
                      <a:pt x="70" y="91"/>
                    </a:lnTo>
                    <a:lnTo>
                      <a:pt x="75" y="92"/>
                    </a:lnTo>
                    <a:lnTo>
                      <a:pt x="81" y="97"/>
                    </a:lnTo>
                    <a:lnTo>
                      <a:pt x="84" y="98"/>
                    </a:lnTo>
                    <a:lnTo>
                      <a:pt x="87" y="101"/>
                    </a:lnTo>
                    <a:lnTo>
                      <a:pt x="87" y="101"/>
                    </a:lnTo>
                    <a:lnTo>
                      <a:pt x="86" y="100"/>
                    </a:lnTo>
                    <a:close/>
                    <a:moveTo>
                      <a:pt x="61" y="84"/>
                    </a:moveTo>
                    <a:lnTo>
                      <a:pt x="55" y="83"/>
                    </a:lnTo>
                    <a:lnTo>
                      <a:pt x="55" y="83"/>
                    </a:lnTo>
                    <a:lnTo>
                      <a:pt x="51" y="81"/>
                    </a:lnTo>
                    <a:lnTo>
                      <a:pt x="50" y="83"/>
                    </a:lnTo>
                    <a:lnTo>
                      <a:pt x="50" y="83"/>
                    </a:lnTo>
                    <a:lnTo>
                      <a:pt x="53" y="84"/>
                    </a:lnTo>
                    <a:lnTo>
                      <a:pt x="55" y="84"/>
                    </a:lnTo>
                    <a:lnTo>
                      <a:pt x="62" y="84"/>
                    </a:lnTo>
                    <a:lnTo>
                      <a:pt x="64" y="84"/>
                    </a:lnTo>
                    <a:lnTo>
                      <a:pt x="61" y="84"/>
                    </a:lnTo>
                    <a:close/>
                    <a:moveTo>
                      <a:pt x="58" y="80"/>
                    </a:moveTo>
                    <a:lnTo>
                      <a:pt x="53" y="78"/>
                    </a:lnTo>
                    <a:lnTo>
                      <a:pt x="50" y="78"/>
                    </a:lnTo>
                    <a:lnTo>
                      <a:pt x="50" y="80"/>
                    </a:lnTo>
                    <a:lnTo>
                      <a:pt x="50" y="80"/>
                    </a:lnTo>
                    <a:lnTo>
                      <a:pt x="51" y="81"/>
                    </a:lnTo>
                    <a:lnTo>
                      <a:pt x="53" y="81"/>
                    </a:lnTo>
                    <a:lnTo>
                      <a:pt x="56" y="81"/>
                    </a:lnTo>
                    <a:lnTo>
                      <a:pt x="58" y="80"/>
                    </a:lnTo>
                    <a:lnTo>
                      <a:pt x="58" y="80"/>
                    </a:lnTo>
                    <a:lnTo>
                      <a:pt x="58" y="80"/>
                    </a:lnTo>
                    <a:close/>
                    <a:moveTo>
                      <a:pt x="31" y="64"/>
                    </a:moveTo>
                    <a:lnTo>
                      <a:pt x="30" y="62"/>
                    </a:lnTo>
                    <a:lnTo>
                      <a:pt x="31" y="64"/>
                    </a:lnTo>
                    <a:lnTo>
                      <a:pt x="31" y="65"/>
                    </a:lnTo>
                    <a:lnTo>
                      <a:pt x="33" y="65"/>
                    </a:lnTo>
                    <a:lnTo>
                      <a:pt x="31" y="64"/>
                    </a:lnTo>
                    <a:close/>
                    <a:moveTo>
                      <a:pt x="30" y="62"/>
                    </a:moveTo>
                    <a:lnTo>
                      <a:pt x="26" y="59"/>
                    </a:lnTo>
                    <a:lnTo>
                      <a:pt x="26" y="59"/>
                    </a:lnTo>
                    <a:lnTo>
                      <a:pt x="28" y="61"/>
                    </a:lnTo>
                    <a:lnTo>
                      <a:pt x="30" y="62"/>
                    </a:lnTo>
                    <a:lnTo>
                      <a:pt x="30" y="62"/>
                    </a:lnTo>
                    <a:close/>
                    <a:moveTo>
                      <a:pt x="28" y="65"/>
                    </a:moveTo>
                    <a:lnTo>
                      <a:pt x="25" y="61"/>
                    </a:lnTo>
                    <a:lnTo>
                      <a:pt x="23" y="59"/>
                    </a:lnTo>
                    <a:lnTo>
                      <a:pt x="23" y="61"/>
                    </a:lnTo>
                    <a:lnTo>
                      <a:pt x="28" y="65"/>
                    </a:lnTo>
                    <a:lnTo>
                      <a:pt x="28" y="65"/>
                    </a:lnTo>
                    <a:lnTo>
                      <a:pt x="28" y="65"/>
                    </a:lnTo>
                    <a:lnTo>
                      <a:pt x="28" y="65"/>
                    </a:lnTo>
                    <a:lnTo>
                      <a:pt x="28" y="65"/>
                    </a:lnTo>
                    <a:close/>
                    <a:moveTo>
                      <a:pt x="26" y="53"/>
                    </a:moveTo>
                    <a:lnTo>
                      <a:pt x="25" y="50"/>
                    </a:lnTo>
                    <a:lnTo>
                      <a:pt x="23" y="48"/>
                    </a:lnTo>
                    <a:lnTo>
                      <a:pt x="23" y="48"/>
                    </a:lnTo>
                    <a:lnTo>
                      <a:pt x="22" y="47"/>
                    </a:lnTo>
                    <a:lnTo>
                      <a:pt x="20" y="47"/>
                    </a:lnTo>
                    <a:lnTo>
                      <a:pt x="20" y="47"/>
                    </a:lnTo>
                    <a:lnTo>
                      <a:pt x="23" y="50"/>
                    </a:lnTo>
                    <a:lnTo>
                      <a:pt x="23" y="51"/>
                    </a:lnTo>
                    <a:lnTo>
                      <a:pt x="25" y="53"/>
                    </a:lnTo>
                    <a:lnTo>
                      <a:pt x="26" y="53"/>
                    </a:lnTo>
                    <a:lnTo>
                      <a:pt x="26" y="55"/>
                    </a:lnTo>
                    <a:lnTo>
                      <a:pt x="28" y="56"/>
                    </a:lnTo>
                    <a:lnTo>
                      <a:pt x="28" y="55"/>
                    </a:lnTo>
                    <a:lnTo>
                      <a:pt x="30" y="55"/>
                    </a:lnTo>
                    <a:lnTo>
                      <a:pt x="30" y="55"/>
                    </a:lnTo>
                    <a:lnTo>
                      <a:pt x="26" y="53"/>
                    </a:lnTo>
                    <a:close/>
                    <a:moveTo>
                      <a:pt x="22" y="45"/>
                    </a:moveTo>
                    <a:lnTo>
                      <a:pt x="22" y="44"/>
                    </a:lnTo>
                    <a:lnTo>
                      <a:pt x="20" y="42"/>
                    </a:lnTo>
                    <a:lnTo>
                      <a:pt x="20" y="42"/>
                    </a:lnTo>
                    <a:lnTo>
                      <a:pt x="20" y="44"/>
                    </a:lnTo>
                    <a:lnTo>
                      <a:pt x="19" y="44"/>
                    </a:lnTo>
                    <a:lnTo>
                      <a:pt x="20" y="44"/>
                    </a:lnTo>
                    <a:lnTo>
                      <a:pt x="22" y="45"/>
                    </a:lnTo>
                    <a:lnTo>
                      <a:pt x="23" y="45"/>
                    </a:lnTo>
                    <a:lnTo>
                      <a:pt x="22" y="45"/>
                    </a:lnTo>
                    <a:close/>
                    <a:moveTo>
                      <a:pt x="15" y="47"/>
                    </a:moveTo>
                    <a:lnTo>
                      <a:pt x="15" y="45"/>
                    </a:lnTo>
                    <a:lnTo>
                      <a:pt x="15" y="42"/>
                    </a:lnTo>
                    <a:lnTo>
                      <a:pt x="15" y="39"/>
                    </a:lnTo>
                    <a:lnTo>
                      <a:pt x="14" y="37"/>
                    </a:lnTo>
                    <a:lnTo>
                      <a:pt x="14" y="37"/>
                    </a:lnTo>
                    <a:lnTo>
                      <a:pt x="14" y="34"/>
                    </a:lnTo>
                    <a:lnTo>
                      <a:pt x="14" y="34"/>
                    </a:lnTo>
                    <a:lnTo>
                      <a:pt x="12" y="36"/>
                    </a:lnTo>
                    <a:lnTo>
                      <a:pt x="14" y="39"/>
                    </a:lnTo>
                    <a:lnTo>
                      <a:pt x="14" y="39"/>
                    </a:lnTo>
                    <a:lnTo>
                      <a:pt x="12" y="40"/>
                    </a:lnTo>
                    <a:lnTo>
                      <a:pt x="12" y="40"/>
                    </a:lnTo>
                    <a:lnTo>
                      <a:pt x="14" y="45"/>
                    </a:lnTo>
                    <a:lnTo>
                      <a:pt x="15" y="47"/>
                    </a:lnTo>
                    <a:lnTo>
                      <a:pt x="15" y="48"/>
                    </a:lnTo>
                    <a:lnTo>
                      <a:pt x="15" y="47"/>
                    </a:lnTo>
                    <a:lnTo>
                      <a:pt x="15" y="47"/>
                    </a:lnTo>
                    <a:close/>
                    <a:moveTo>
                      <a:pt x="20" y="37"/>
                    </a:moveTo>
                    <a:lnTo>
                      <a:pt x="20" y="36"/>
                    </a:lnTo>
                    <a:lnTo>
                      <a:pt x="19" y="34"/>
                    </a:lnTo>
                    <a:lnTo>
                      <a:pt x="17" y="33"/>
                    </a:lnTo>
                    <a:lnTo>
                      <a:pt x="17" y="34"/>
                    </a:lnTo>
                    <a:lnTo>
                      <a:pt x="15" y="36"/>
                    </a:lnTo>
                    <a:lnTo>
                      <a:pt x="15" y="37"/>
                    </a:lnTo>
                    <a:lnTo>
                      <a:pt x="17" y="37"/>
                    </a:lnTo>
                    <a:lnTo>
                      <a:pt x="19" y="37"/>
                    </a:lnTo>
                    <a:lnTo>
                      <a:pt x="19" y="39"/>
                    </a:lnTo>
                    <a:lnTo>
                      <a:pt x="20" y="40"/>
                    </a:lnTo>
                    <a:lnTo>
                      <a:pt x="22" y="39"/>
                    </a:lnTo>
                    <a:lnTo>
                      <a:pt x="20" y="37"/>
                    </a:lnTo>
                    <a:close/>
                    <a:moveTo>
                      <a:pt x="101" y="33"/>
                    </a:moveTo>
                    <a:lnTo>
                      <a:pt x="101" y="33"/>
                    </a:lnTo>
                    <a:lnTo>
                      <a:pt x="101" y="33"/>
                    </a:lnTo>
                    <a:lnTo>
                      <a:pt x="101" y="33"/>
                    </a:lnTo>
                    <a:lnTo>
                      <a:pt x="100" y="31"/>
                    </a:lnTo>
                    <a:lnTo>
                      <a:pt x="97" y="29"/>
                    </a:lnTo>
                    <a:lnTo>
                      <a:pt x="95" y="28"/>
                    </a:lnTo>
                    <a:lnTo>
                      <a:pt x="95" y="26"/>
                    </a:lnTo>
                    <a:lnTo>
                      <a:pt x="95" y="26"/>
                    </a:lnTo>
                    <a:lnTo>
                      <a:pt x="97" y="26"/>
                    </a:lnTo>
                    <a:lnTo>
                      <a:pt x="97" y="25"/>
                    </a:lnTo>
                    <a:lnTo>
                      <a:pt x="95" y="25"/>
                    </a:lnTo>
                    <a:lnTo>
                      <a:pt x="94" y="23"/>
                    </a:lnTo>
                    <a:lnTo>
                      <a:pt x="95" y="22"/>
                    </a:lnTo>
                    <a:lnTo>
                      <a:pt x="94" y="20"/>
                    </a:lnTo>
                    <a:lnTo>
                      <a:pt x="92" y="19"/>
                    </a:lnTo>
                    <a:lnTo>
                      <a:pt x="94" y="17"/>
                    </a:lnTo>
                    <a:lnTo>
                      <a:pt x="94" y="15"/>
                    </a:lnTo>
                    <a:lnTo>
                      <a:pt x="94" y="15"/>
                    </a:lnTo>
                    <a:lnTo>
                      <a:pt x="94" y="15"/>
                    </a:lnTo>
                    <a:lnTo>
                      <a:pt x="92" y="15"/>
                    </a:lnTo>
                    <a:lnTo>
                      <a:pt x="91" y="15"/>
                    </a:lnTo>
                    <a:lnTo>
                      <a:pt x="89" y="15"/>
                    </a:lnTo>
                    <a:lnTo>
                      <a:pt x="87" y="19"/>
                    </a:lnTo>
                    <a:lnTo>
                      <a:pt x="87" y="19"/>
                    </a:lnTo>
                    <a:lnTo>
                      <a:pt x="86" y="20"/>
                    </a:lnTo>
                    <a:lnTo>
                      <a:pt x="84" y="20"/>
                    </a:lnTo>
                    <a:lnTo>
                      <a:pt x="83" y="20"/>
                    </a:lnTo>
                    <a:lnTo>
                      <a:pt x="83" y="20"/>
                    </a:lnTo>
                    <a:lnTo>
                      <a:pt x="76" y="20"/>
                    </a:lnTo>
                    <a:lnTo>
                      <a:pt x="75" y="19"/>
                    </a:lnTo>
                    <a:lnTo>
                      <a:pt x="73" y="19"/>
                    </a:lnTo>
                    <a:lnTo>
                      <a:pt x="72" y="17"/>
                    </a:lnTo>
                    <a:lnTo>
                      <a:pt x="70" y="15"/>
                    </a:lnTo>
                    <a:lnTo>
                      <a:pt x="70" y="15"/>
                    </a:lnTo>
                    <a:lnTo>
                      <a:pt x="67" y="15"/>
                    </a:lnTo>
                    <a:lnTo>
                      <a:pt x="66" y="14"/>
                    </a:lnTo>
                    <a:lnTo>
                      <a:pt x="64" y="12"/>
                    </a:lnTo>
                    <a:lnTo>
                      <a:pt x="62" y="11"/>
                    </a:lnTo>
                    <a:lnTo>
                      <a:pt x="61" y="9"/>
                    </a:lnTo>
                    <a:lnTo>
                      <a:pt x="59" y="8"/>
                    </a:lnTo>
                    <a:lnTo>
                      <a:pt x="58" y="4"/>
                    </a:lnTo>
                    <a:lnTo>
                      <a:pt x="56" y="3"/>
                    </a:lnTo>
                    <a:lnTo>
                      <a:pt x="53" y="1"/>
                    </a:lnTo>
                    <a:lnTo>
                      <a:pt x="51" y="1"/>
                    </a:lnTo>
                    <a:lnTo>
                      <a:pt x="50" y="0"/>
                    </a:lnTo>
                    <a:lnTo>
                      <a:pt x="48" y="0"/>
                    </a:lnTo>
                    <a:lnTo>
                      <a:pt x="48" y="0"/>
                    </a:lnTo>
                    <a:lnTo>
                      <a:pt x="47" y="1"/>
                    </a:lnTo>
                    <a:lnTo>
                      <a:pt x="47" y="1"/>
                    </a:lnTo>
                    <a:lnTo>
                      <a:pt x="47" y="1"/>
                    </a:lnTo>
                    <a:lnTo>
                      <a:pt x="47" y="4"/>
                    </a:lnTo>
                    <a:lnTo>
                      <a:pt x="47" y="4"/>
                    </a:lnTo>
                    <a:lnTo>
                      <a:pt x="47" y="4"/>
                    </a:lnTo>
                    <a:lnTo>
                      <a:pt x="45" y="4"/>
                    </a:lnTo>
                    <a:lnTo>
                      <a:pt x="44" y="4"/>
                    </a:lnTo>
                    <a:lnTo>
                      <a:pt x="44" y="4"/>
                    </a:lnTo>
                    <a:lnTo>
                      <a:pt x="44" y="4"/>
                    </a:lnTo>
                    <a:lnTo>
                      <a:pt x="42" y="6"/>
                    </a:lnTo>
                    <a:lnTo>
                      <a:pt x="42" y="6"/>
                    </a:lnTo>
                    <a:lnTo>
                      <a:pt x="42" y="6"/>
                    </a:lnTo>
                    <a:lnTo>
                      <a:pt x="42" y="6"/>
                    </a:lnTo>
                    <a:lnTo>
                      <a:pt x="40" y="8"/>
                    </a:lnTo>
                    <a:lnTo>
                      <a:pt x="39" y="8"/>
                    </a:lnTo>
                    <a:lnTo>
                      <a:pt x="37" y="8"/>
                    </a:lnTo>
                    <a:lnTo>
                      <a:pt x="36" y="9"/>
                    </a:lnTo>
                    <a:lnTo>
                      <a:pt x="36" y="9"/>
                    </a:lnTo>
                    <a:lnTo>
                      <a:pt x="36" y="9"/>
                    </a:lnTo>
                    <a:lnTo>
                      <a:pt x="36" y="11"/>
                    </a:lnTo>
                    <a:lnTo>
                      <a:pt x="36" y="11"/>
                    </a:lnTo>
                    <a:lnTo>
                      <a:pt x="36" y="11"/>
                    </a:lnTo>
                    <a:lnTo>
                      <a:pt x="37" y="12"/>
                    </a:lnTo>
                    <a:lnTo>
                      <a:pt x="37" y="14"/>
                    </a:lnTo>
                    <a:lnTo>
                      <a:pt x="37" y="15"/>
                    </a:lnTo>
                    <a:lnTo>
                      <a:pt x="36" y="17"/>
                    </a:lnTo>
                    <a:lnTo>
                      <a:pt x="36" y="19"/>
                    </a:lnTo>
                    <a:lnTo>
                      <a:pt x="36" y="19"/>
                    </a:lnTo>
                    <a:lnTo>
                      <a:pt x="34" y="19"/>
                    </a:lnTo>
                    <a:lnTo>
                      <a:pt x="33" y="19"/>
                    </a:lnTo>
                    <a:lnTo>
                      <a:pt x="30" y="20"/>
                    </a:lnTo>
                    <a:lnTo>
                      <a:pt x="30" y="20"/>
                    </a:lnTo>
                    <a:lnTo>
                      <a:pt x="31" y="22"/>
                    </a:lnTo>
                    <a:lnTo>
                      <a:pt x="31" y="23"/>
                    </a:lnTo>
                    <a:lnTo>
                      <a:pt x="30" y="23"/>
                    </a:lnTo>
                    <a:lnTo>
                      <a:pt x="30" y="23"/>
                    </a:lnTo>
                    <a:lnTo>
                      <a:pt x="30" y="25"/>
                    </a:lnTo>
                    <a:lnTo>
                      <a:pt x="30" y="25"/>
                    </a:lnTo>
                    <a:lnTo>
                      <a:pt x="31" y="26"/>
                    </a:lnTo>
                    <a:lnTo>
                      <a:pt x="31" y="26"/>
                    </a:lnTo>
                    <a:lnTo>
                      <a:pt x="31" y="26"/>
                    </a:lnTo>
                    <a:lnTo>
                      <a:pt x="30" y="28"/>
                    </a:lnTo>
                    <a:lnTo>
                      <a:pt x="30" y="28"/>
                    </a:lnTo>
                    <a:lnTo>
                      <a:pt x="26" y="28"/>
                    </a:lnTo>
                    <a:lnTo>
                      <a:pt x="26" y="28"/>
                    </a:lnTo>
                    <a:lnTo>
                      <a:pt x="25" y="26"/>
                    </a:lnTo>
                    <a:lnTo>
                      <a:pt x="23" y="26"/>
                    </a:lnTo>
                    <a:lnTo>
                      <a:pt x="23" y="26"/>
                    </a:lnTo>
                    <a:lnTo>
                      <a:pt x="22" y="26"/>
                    </a:lnTo>
                    <a:lnTo>
                      <a:pt x="22" y="26"/>
                    </a:lnTo>
                    <a:lnTo>
                      <a:pt x="22" y="26"/>
                    </a:lnTo>
                    <a:lnTo>
                      <a:pt x="20" y="26"/>
                    </a:lnTo>
                    <a:lnTo>
                      <a:pt x="20" y="26"/>
                    </a:lnTo>
                    <a:lnTo>
                      <a:pt x="19" y="25"/>
                    </a:lnTo>
                    <a:lnTo>
                      <a:pt x="19" y="23"/>
                    </a:lnTo>
                    <a:lnTo>
                      <a:pt x="19" y="22"/>
                    </a:lnTo>
                    <a:lnTo>
                      <a:pt x="17" y="22"/>
                    </a:lnTo>
                    <a:lnTo>
                      <a:pt x="17" y="23"/>
                    </a:lnTo>
                    <a:lnTo>
                      <a:pt x="17" y="23"/>
                    </a:lnTo>
                    <a:lnTo>
                      <a:pt x="17" y="23"/>
                    </a:lnTo>
                    <a:lnTo>
                      <a:pt x="15" y="26"/>
                    </a:lnTo>
                    <a:lnTo>
                      <a:pt x="14" y="26"/>
                    </a:lnTo>
                    <a:lnTo>
                      <a:pt x="14" y="26"/>
                    </a:lnTo>
                    <a:lnTo>
                      <a:pt x="12" y="26"/>
                    </a:lnTo>
                    <a:lnTo>
                      <a:pt x="11" y="26"/>
                    </a:lnTo>
                    <a:lnTo>
                      <a:pt x="9" y="26"/>
                    </a:lnTo>
                    <a:lnTo>
                      <a:pt x="9" y="26"/>
                    </a:lnTo>
                    <a:lnTo>
                      <a:pt x="8" y="26"/>
                    </a:lnTo>
                    <a:lnTo>
                      <a:pt x="8" y="26"/>
                    </a:lnTo>
                    <a:lnTo>
                      <a:pt x="8" y="26"/>
                    </a:lnTo>
                    <a:lnTo>
                      <a:pt x="8" y="26"/>
                    </a:lnTo>
                    <a:lnTo>
                      <a:pt x="6" y="28"/>
                    </a:lnTo>
                    <a:lnTo>
                      <a:pt x="6" y="28"/>
                    </a:lnTo>
                    <a:lnTo>
                      <a:pt x="6" y="28"/>
                    </a:lnTo>
                    <a:lnTo>
                      <a:pt x="1" y="26"/>
                    </a:lnTo>
                    <a:lnTo>
                      <a:pt x="0" y="26"/>
                    </a:lnTo>
                    <a:lnTo>
                      <a:pt x="0" y="26"/>
                    </a:lnTo>
                    <a:lnTo>
                      <a:pt x="0" y="33"/>
                    </a:lnTo>
                    <a:lnTo>
                      <a:pt x="1" y="34"/>
                    </a:lnTo>
                    <a:lnTo>
                      <a:pt x="1" y="36"/>
                    </a:lnTo>
                    <a:lnTo>
                      <a:pt x="3" y="39"/>
                    </a:lnTo>
                    <a:lnTo>
                      <a:pt x="5" y="42"/>
                    </a:lnTo>
                    <a:lnTo>
                      <a:pt x="6" y="44"/>
                    </a:lnTo>
                    <a:lnTo>
                      <a:pt x="8" y="42"/>
                    </a:lnTo>
                    <a:lnTo>
                      <a:pt x="8" y="40"/>
                    </a:lnTo>
                    <a:lnTo>
                      <a:pt x="9" y="39"/>
                    </a:lnTo>
                    <a:lnTo>
                      <a:pt x="12" y="34"/>
                    </a:lnTo>
                    <a:lnTo>
                      <a:pt x="12" y="31"/>
                    </a:lnTo>
                    <a:lnTo>
                      <a:pt x="12" y="29"/>
                    </a:lnTo>
                    <a:lnTo>
                      <a:pt x="14" y="29"/>
                    </a:lnTo>
                    <a:lnTo>
                      <a:pt x="17" y="31"/>
                    </a:lnTo>
                    <a:lnTo>
                      <a:pt x="19" y="33"/>
                    </a:lnTo>
                    <a:lnTo>
                      <a:pt x="23" y="37"/>
                    </a:lnTo>
                    <a:lnTo>
                      <a:pt x="23" y="39"/>
                    </a:lnTo>
                    <a:lnTo>
                      <a:pt x="23" y="44"/>
                    </a:lnTo>
                    <a:lnTo>
                      <a:pt x="23" y="45"/>
                    </a:lnTo>
                    <a:lnTo>
                      <a:pt x="25" y="48"/>
                    </a:lnTo>
                    <a:lnTo>
                      <a:pt x="30" y="55"/>
                    </a:lnTo>
                    <a:lnTo>
                      <a:pt x="31" y="55"/>
                    </a:lnTo>
                    <a:lnTo>
                      <a:pt x="33" y="56"/>
                    </a:lnTo>
                    <a:lnTo>
                      <a:pt x="31" y="56"/>
                    </a:lnTo>
                    <a:lnTo>
                      <a:pt x="30" y="56"/>
                    </a:lnTo>
                    <a:lnTo>
                      <a:pt x="30" y="56"/>
                    </a:lnTo>
                    <a:lnTo>
                      <a:pt x="28" y="56"/>
                    </a:lnTo>
                    <a:lnTo>
                      <a:pt x="28" y="58"/>
                    </a:lnTo>
                    <a:lnTo>
                      <a:pt x="28" y="59"/>
                    </a:lnTo>
                    <a:lnTo>
                      <a:pt x="34" y="65"/>
                    </a:lnTo>
                    <a:lnTo>
                      <a:pt x="37" y="67"/>
                    </a:lnTo>
                    <a:lnTo>
                      <a:pt x="39" y="70"/>
                    </a:lnTo>
                    <a:lnTo>
                      <a:pt x="42" y="72"/>
                    </a:lnTo>
                    <a:lnTo>
                      <a:pt x="42" y="73"/>
                    </a:lnTo>
                    <a:lnTo>
                      <a:pt x="42" y="73"/>
                    </a:lnTo>
                    <a:lnTo>
                      <a:pt x="42" y="75"/>
                    </a:lnTo>
                    <a:lnTo>
                      <a:pt x="44" y="75"/>
                    </a:lnTo>
                    <a:lnTo>
                      <a:pt x="45" y="75"/>
                    </a:lnTo>
                    <a:lnTo>
                      <a:pt x="47" y="75"/>
                    </a:lnTo>
                    <a:lnTo>
                      <a:pt x="50" y="75"/>
                    </a:lnTo>
                    <a:lnTo>
                      <a:pt x="53" y="76"/>
                    </a:lnTo>
                    <a:lnTo>
                      <a:pt x="59" y="78"/>
                    </a:lnTo>
                    <a:lnTo>
                      <a:pt x="62" y="83"/>
                    </a:lnTo>
                    <a:lnTo>
                      <a:pt x="66" y="84"/>
                    </a:lnTo>
                    <a:lnTo>
                      <a:pt x="70" y="89"/>
                    </a:lnTo>
                    <a:lnTo>
                      <a:pt x="70" y="89"/>
                    </a:lnTo>
                    <a:lnTo>
                      <a:pt x="72" y="89"/>
                    </a:lnTo>
                    <a:lnTo>
                      <a:pt x="72" y="87"/>
                    </a:lnTo>
                    <a:lnTo>
                      <a:pt x="72" y="87"/>
                    </a:lnTo>
                    <a:lnTo>
                      <a:pt x="72" y="86"/>
                    </a:lnTo>
                    <a:lnTo>
                      <a:pt x="67" y="83"/>
                    </a:lnTo>
                    <a:lnTo>
                      <a:pt x="66" y="80"/>
                    </a:lnTo>
                    <a:lnTo>
                      <a:pt x="66" y="80"/>
                    </a:lnTo>
                    <a:lnTo>
                      <a:pt x="66" y="76"/>
                    </a:lnTo>
                    <a:lnTo>
                      <a:pt x="64" y="76"/>
                    </a:lnTo>
                    <a:lnTo>
                      <a:pt x="62" y="75"/>
                    </a:lnTo>
                    <a:lnTo>
                      <a:pt x="59" y="72"/>
                    </a:lnTo>
                    <a:lnTo>
                      <a:pt x="55" y="69"/>
                    </a:lnTo>
                    <a:lnTo>
                      <a:pt x="55" y="67"/>
                    </a:lnTo>
                    <a:lnTo>
                      <a:pt x="53" y="65"/>
                    </a:lnTo>
                    <a:lnTo>
                      <a:pt x="51" y="62"/>
                    </a:lnTo>
                    <a:lnTo>
                      <a:pt x="50" y="62"/>
                    </a:lnTo>
                    <a:lnTo>
                      <a:pt x="48" y="61"/>
                    </a:lnTo>
                    <a:lnTo>
                      <a:pt x="47" y="58"/>
                    </a:lnTo>
                    <a:lnTo>
                      <a:pt x="45" y="55"/>
                    </a:lnTo>
                    <a:lnTo>
                      <a:pt x="45" y="51"/>
                    </a:lnTo>
                    <a:lnTo>
                      <a:pt x="45" y="50"/>
                    </a:lnTo>
                    <a:lnTo>
                      <a:pt x="44" y="50"/>
                    </a:lnTo>
                    <a:lnTo>
                      <a:pt x="40" y="47"/>
                    </a:lnTo>
                    <a:lnTo>
                      <a:pt x="37" y="45"/>
                    </a:lnTo>
                    <a:lnTo>
                      <a:pt x="37" y="42"/>
                    </a:lnTo>
                    <a:lnTo>
                      <a:pt x="39" y="39"/>
                    </a:lnTo>
                    <a:lnTo>
                      <a:pt x="39" y="34"/>
                    </a:lnTo>
                    <a:lnTo>
                      <a:pt x="39" y="34"/>
                    </a:lnTo>
                    <a:lnTo>
                      <a:pt x="39" y="34"/>
                    </a:lnTo>
                    <a:lnTo>
                      <a:pt x="40" y="33"/>
                    </a:lnTo>
                    <a:lnTo>
                      <a:pt x="42" y="34"/>
                    </a:lnTo>
                    <a:lnTo>
                      <a:pt x="44" y="34"/>
                    </a:lnTo>
                    <a:lnTo>
                      <a:pt x="45" y="37"/>
                    </a:lnTo>
                    <a:lnTo>
                      <a:pt x="45" y="37"/>
                    </a:lnTo>
                    <a:lnTo>
                      <a:pt x="47" y="37"/>
                    </a:lnTo>
                    <a:lnTo>
                      <a:pt x="48" y="39"/>
                    </a:lnTo>
                    <a:lnTo>
                      <a:pt x="48" y="37"/>
                    </a:lnTo>
                    <a:lnTo>
                      <a:pt x="50" y="34"/>
                    </a:lnTo>
                    <a:lnTo>
                      <a:pt x="51" y="34"/>
                    </a:lnTo>
                    <a:lnTo>
                      <a:pt x="51" y="33"/>
                    </a:lnTo>
                    <a:lnTo>
                      <a:pt x="56" y="34"/>
                    </a:lnTo>
                    <a:lnTo>
                      <a:pt x="59" y="31"/>
                    </a:lnTo>
                    <a:lnTo>
                      <a:pt x="62" y="34"/>
                    </a:lnTo>
                    <a:lnTo>
                      <a:pt x="64" y="34"/>
                    </a:lnTo>
                    <a:lnTo>
                      <a:pt x="66" y="34"/>
                    </a:lnTo>
                    <a:lnTo>
                      <a:pt x="66" y="34"/>
                    </a:lnTo>
                    <a:lnTo>
                      <a:pt x="69" y="36"/>
                    </a:lnTo>
                    <a:lnTo>
                      <a:pt x="69" y="36"/>
                    </a:lnTo>
                    <a:lnTo>
                      <a:pt x="70" y="36"/>
                    </a:lnTo>
                    <a:lnTo>
                      <a:pt x="72" y="34"/>
                    </a:lnTo>
                    <a:lnTo>
                      <a:pt x="72" y="34"/>
                    </a:lnTo>
                    <a:lnTo>
                      <a:pt x="75" y="37"/>
                    </a:lnTo>
                    <a:lnTo>
                      <a:pt x="75" y="37"/>
                    </a:lnTo>
                    <a:lnTo>
                      <a:pt x="76" y="36"/>
                    </a:lnTo>
                    <a:lnTo>
                      <a:pt x="78" y="36"/>
                    </a:lnTo>
                    <a:lnTo>
                      <a:pt x="78" y="36"/>
                    </a:lnTo>
                    <a:lnTo>
                      <a:pt x="80" y="36"/>
                    </a:lnTo>
                    <a:lnTo>
                      <a:pt x="81" y="36"/>
                    </a:lnTo>
                    <a:lnTo>
                      <a:pt x="83" y="36"/>
                    </a:lnTo>
                    <a:lnTo>
                      <a:pt x="84" y="36"/>
                    </a:lnTo>
                    <a:lnTo>
                      <a:pt x="86" y="36"/>
                    </a:lnTo>
                    <a:lnTo>
                      <a:pt x="86" y="36"/>
                    </a:lnTo>
                    <a:lnTo>
                      <a:pt x="89" y="37"/>
                    </a:lnTo>
                    <a:lnTo>
                      <a:pt x="89" y="37"/>
                    </a:lnTo>
                    <a:lnTo>
                      <a:pt x="91" y="37"/>
                    </a:lnTo>
                    <a:lnTo>
                      <a:pt x="92" y="39"/>
                    </a:lnTo>
                    <a:lnTo>
                      <a:pt x="92" y="40"/>
                    </a:lnTo>
                    <a:lnTo>
                      <a:pt x="92" y="40"/>
                    </a:lnTo>
                    <a:lnTo>
                      <a:pt x="92" y="40"/>
                    </a:lnTo>
                    <a:lnTo>
                      <a:pt x="92" y="42"/>
                    </a:lnTo>
                    <a:lnTo>
                      <a:pt x="94" y="42"/>
                    </a:lnTo>
                    <a:lnTo>
                      <a:pt x="95" y="42"/>
                    </a:lnTo>
                    <a:lnTo>
                      <a:pt x="95" y="40"/>
                    </a:lnTo>
                    <a:lnTo>
                      <a:pt x="95" y="40"/>
                    </a:lnTo>
                    <a:lnTo>
                      <a:pt x="97" y="40"/>
                    </a:lnTo>
                    <a:lnTo>
                      <a:pt x="97" y="40"/>
                    </a:lnTo>
                    <a:lnTo>
                      <a:pt x="97" y="40"/>
                    </a:lnTo>
                    <a:lnTo>
                      <a:pt x="97" y="39"/>
                    </a:lnTo>
                    <a:lnTo>
                      <a:pt x="97" y="36"/>
                    </a:lnTo>
                    <a:lnTo>
                      <a:pt x="98" y="34"/>
                    </a:lnTo>
                    <a:lnTo>
                      <a:pt x="98" y="34"/>
                    </a:lnTo>
                    <a:lnTo>
                      <a:pt x="98" y="34"/>
                    </a:lnTo>
                    <a:lnTo>
                      <a:pt x="98" y="34"/>
                    </a:lnTo>
                    <a:lnTo>
                      <a:pt x="100" y="34"/>
                    </a:lnTo>
                    <a:lnTo>
                      <a:pt x="101" y="34"/>
                    </a:lnTo>
                    <a:lnTo>
                      <a:pt x="103" y="34"/>
                    </a:lnTo>
                    <a:lnTo>
                      <a:pt x="103" y="33"/>
                    </a:lnTo>
                    <a:lnTo>
                      <a:pt x="101" y="3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5" name="Freeform 92">
                <a:extLst>
                  <a:ext uri="{FF2B5EF4-FFF2-40B4-BE49-F238E27FC236}">
                    <a16:creationId xmlns:a16="http://schemas.microsoft.com/office/drawing/2014/main" id="{463B909F-B3F4-388E-CBA0-9DBE794F43F5}"/>
                  </a:ext>
                </a:extLst>
              </p:cNvPr>
              <p:cNvSpPr>
                <a:spLocks noEditPoints="1"/>
              </p:cNvSpPr>
              <p:nvPr/>
            </p:nvSpPr>
            <p:spPr bwMode="gray">
              <a:xfrm>
                <a:off x="1368" y="1219"/>
                <a:ext cx="50" cy="38"/>
              </a:xfrm>
              <a:custGeom>
                <a:avLst/>
                <a:gdLst>
                  <a:gd name="T0" fmla="*/ 25 w 50"/>
                  <a:gd name="T1" fmla="*/ 22 h 38"/>
                  <a:gd name="T2" fmla="*/ 20 w 50"/>
                  <a:gd name="T3" fmla="*/ 20 h 38"/>
                  <a:gd name="T4" fmla="*/ 24 w 50"/>
                  <a:gd name="T5" fmla="*/ 24 h 38"/>
                  <a:gd name="T6" fmla="*/ 30 w 50"/>
                  <a:gd name="T7" fmla="*/ 24 h 38"/>
                  <a:gd name="T8" fmla="*/ 49 w 50"/>
                  <a:gd name="T9" fmla="*/ 17 h 38"/>
                  <a:gd name="T10" fmla="*/ 49 w 50"/>
                  <a:gd name="T11" fmla="*/ 16 h 38"/>
                  <a:gd name="T12" fmla="*/ 47 w 50"/>
                  <a:gd name="T13" fmla="*/ 14 h 38"/>
                  <a:gd name="T14" fmla="*/ 49 w 50"/>
                  <a:gd name="T15" fmla="*/ 11 h 38"/>
                  <a:gd name="T16" fmla="*/ 47 w 50"/>
                  <a:gd name="T17" fmla="*/ 8 h 38"/>
                  <a:gd name="T18" fmla="*/ 45 w 50"/>
                  <a:gd name="T19" fmla="*/ 8 h 38"/>
                  <a:gd name="T20" fmla="*/ 39 w 50"/>
                  <a:gd name="T21" fmla="*/ 6 h 38"/>
                  <a:gd name="T22" fmla="*/ 31 w 50"/>
                  <a:gd name="T23" fmla="*/ 3 h 38"/>
                  <a:gd name="T24" fmla="*/ 24 w 50"/>
                  <a:gd name="T25" fmla="*/ 3 h 38"/>
                  <a:gd name="T26" fmla="*/ 20 w 50"/>
                  <a:gd name="T27" fmla="*/ 5 h 38"/>
                  <a:gd name="T28" fmla="*/ 17 w 50"/>
                  <a:gd name="T29" fmla="*/ 6 h 38"/>
                  <a:gd name="T30" fmla="*/ 20 w 50"/>
                  <a:gd name="T31" fmla="*/ 8 h 38"/>
                  <a:gd name="T32" fmla="*/ 28 w 50"/>
                  <a:gd name="T33" fmla="*/ 11 h 38"/>
                  <a:gd name="T34" fmla="*/ 30 w 50"/>
                  <a:gd name="T35" fmla="*/ 14 h 38"/>
                  <a:gd name="T36" fmla="*/ 30 w 50"/>
                  <a:gd name="T37" fmla="*/ 17 h 38"/>
                  <a:gd name="T38" fmla="*/ 31 w 50"/>
                  <a:gd name="T39" fmla="*/ 22 h 38"/>
                  <a:gd name="T40" fmla="*/ 38 w 50"/>
                  <a:gd name="T41" fmla="*/ 27 h 38"/>
                  <a:gd name="T42" fmla="*/ 36 w 50"/>
                  <a:gd name="T43" fmla="*/ 28 h 38"/>
                  <a:gd name="T44" fmla="*/ 33 w 50"/>
                  <a:gd name="T45" fmla="*/ 28 h 38"/>
                  <a:gd name="T46" fmla="*/ 31 w 50"/>
                  <a:gd name="T47" fmla="*/ 30 h 38"/>
                  <a:gd name="T48" fmla="*/ 30 w 50"/>
                  <a:gd name="T49" fmla="*/ 30 h 38"/>
                  <a:gd name="T50" fmla="*/ 16 w 50"/>
                  <a:gd name="T51" fmla="*/ 28 h 38"/>
                  <a:gd name="T52" fmla="*/ 11 w 50"/>
                  <a:gd name="T53" fmla="*/ 28 h 38"/>
                  <a:gd name="T54" fmla="*/ 6 w 50"/>
                  <a:gd name="T55" fmla="*/ 27 h 38"/>
                  <a:gd name="T56" fmla="*/ 3 w 50"/>
                  <a:gd name="T57" fmla="*/ 27 h 38"/>
                  <a:gd name="T58" fmla="*/ 0 w 50"/>
                  <a:gd name="T59" fmla="*/ 30 h 38"/>
                  <a:gd name="T60" fmla="*/ 0 w 50"/>
                  <a:gd name="T61" fmla="*/ 31 h 38"/>
                  <a:gd name="T62" fmla="*/ 6 w 50"/>
                  <a:gd name="T63" fmla="*/ 35 h 38"/>
                  <a:gd name="T64" fmla="*/ 9 w 50"/>
                  <a:gd name="T65" fmla="*/ 38 h 38"/>
                  <a:gd name="T66" fmla="*/ 11 w 50"/>
                  <a:gd name="T67" fmla="*/ 36 h 38"/>
                  <a:gd name="T68" fmla="*/ 14 w 50"/>
                  <a:gd name="T69" fmla="*/ 35 h 38"/>
                  <a:gd name="T70" fmla="*/ 19 w 50"/>
                  <a:gd name="T71" fmla="*/ 35 h 38"/>
                  <a:gd name="T72" fmla="*/ 24 w 50"/>
                  <a:gd name="T73" fmla="*/ 35 h 38"/>
                  <a:gd name="T74" fmla="*/ 30 w 50"/>
                  <a:gd name="T75" fmla="*/ 36 h 38"/>
                  <a:gd name="T76" fmla="*/ 33 w 50"/>
                  <a:gd name="T77" fmla="*/ 35 h 38"/>
                  <a:gd name="T78" fmla="*/ 34 w 50"/>
                  <a:gd name="T79" fmla="*/ 35 h 38"/>
                  <a:gd name="T80" fmla="*/ 44 w 50"/>
                  <a:gd name="T81" fmla="*/ 35 h 38"/>
                  <a:gd name="T82" fmla="*/ 45 w 50"/>
                  <a:gd name="T83" fmla="*/ 36 h 38"/>
                  <a:gd name="T84" fmla="*/ 47 w 50"/>
                  <a:gd name="T85" fmla="*/ 35 h 38"/>
                  <a:gd name="T86" fmla="*/ 47 w 50"/>
                  <a:gd name="T87" fmla="*/ 33 h 38"/>
                  <a:gd name="T88" fmla="*/ 44 w 50"/>
                  <a:gd name="T89" fmla="*/ 30 h 38"/>
                  <a:gd name="T90" fmla="*/ 44 w 50"/>
                  <a:gd name="T91" fmla="*/ 27 h 38"/>
                  <a:gd name="T92" fmla="*/ 47 w 50"/>
                  <a:gd name="T93" fmla="*/ 27 h 38"/>
                  <a:gd name="T94" fmla="*/ 49 w 50"/>
                  <a:gd name="T95" fmla="*/ 24 h 38"/>
                  <a:gd name="T96" fmla="*/ 47 w 50"/>
                  <a:gd name="T97" fmla="*/ 22 h 38"/>
                  <a:gd name="T98" fmla="*/ 47 w 50"/>
                  <a:gd name="T99" fmla="*/ 19 h 38"/>
                  <a:gd name="T100" fmla="*/ 31 w 50"/>
                  <a:gd name="T101" fmla="*/ 0 h 38"/>
                  <a:gd name="T102" fmla="*/ 28 w 50"/>
                  <a:gd name="T103" fmla="*/ 0 h 38"/>
                  <a:gd name="T104" fmla="*/ 27 w 50"/>
                  <a:gd name="T105" fmla="*/ 0 h 38"/>
                  <a:gd name="T106" fmla="*/ 28 w 50"/>
                  <a:gd name="T107" fmla="*/ 2 h 38"/>
                  <a:gd name="T108" fmla="*/ 30 w 50"/>
                  <a:gd name="T109" fmla="*/ 2 h 38"/>
                  <a:gd name="T110" fmla="*/ 33 w 50"/>
                  <a:gd name="T111"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38">
                    <a:moveTo>
                      <a:pt x="27" y="22"/>
                    </a:moveTo>
                    <a:lnTo>
                      <a:pt x="25" y="22"/>
                    </a:lnTo>
                    <a:lnTo>
                      <a:pt x="22" y="20"/>
                    </a:lnTo>
                    <a:lnTo>
                      <a:pt x="20" y="20"/>
                    </a:lnTo>
                    <a:lnTo>
                      <a:pt x="20" y="22"/>
                    </a:lnTo>
                    <a:lnTo>
                      <a:pt x="24" y="24"/>
                    </a:lnTo>
                    <a:lnTo>
                      <a:pt x="28" y="25"/>
                    </a:lnTo>
                    <a:lnTo>
                      <a:pt x="30" y="24"/>
                    </a:lnTo>
                    <a:lnTo>
                      <a:pt x="27" y="22"/>
                    </a:lnTo>
                    <a:close/>
                    <a:moveTo>
                      <a:pt x="49" y="17"/>
                    </a:moveTo>
                    <a:lnTo>
                      <a:pt x="50" y="17"/>
                    </a:lnTo>
                    <a:lnTo>
                      <a:pt x="49" y="16"/>
                    </a:lnTo>
                    <a:lnTo>
                      <a:pt x="47" y="14"/>
                    </a:lnTo>
                    <a:lnTo>
                      <a:pt x="47" y="14"/>
                    </a:lnTo>
                    <a:lnTo>
                      <a:pt x="49" y="13"/>
                    </a:lnTo>
                    <a:lnTo>
                      <a:pt x="49" y="11"/>
                    </a:lnTo>
                    <a:lnTo>
                      <a:pt x="49" y="11"/>
                    </a:lnTo>
                    <a:lnTo>
                      <a:pt x="47" y="8"/>
                    </a:lnTo>
                    <a:lnTo>
                      <a:pt x="47" y="6"/>
                    </a:lnTo>
                    <a:lnTo>
                      <a:pt x="45" y="8"/>
                    </a:lnTo>
                    <a:lnTo>
                      <a:pt x="44" y="6"/>
                    </a:lnTo>
                    <a:lnTo>
                      <a:pt x="39" y="6"/>
                    </a:lnTo>
                    <a:lnTo>
                      <a:pt x="36" y="5"/>
                    </a:lnTo>
                    <a:lnTo>
                      <a:pt x="31" y="3"/>
                    </a:lnTo>
                    <a:lnTo>
                      <a:pt x="28" y="3"/>
                    </a:lnTo>
                    <a:lnTo>
                      <a:pt x="24" y="3"/>
                    </a:lnTo>
                    <a:lnTo>
                      <a:pt x="22" y="3"/>
                    </a:lnTo>
                    <a:lnTo>
                      <a:pt x="20" y="5"/>
                    </a:lnTo>
                    <a:lnTo>
                      <a:pt x="19" y="5"/>
                    </a:lnTo>
                    <a:lnTo>
                      <a:pt x="17" y="6"/>
                    </a:lnTo>
                    <a:lnTo>
                      <a:pt x="19" y="8"/>
                    </a:lnTo>
                    <a:lnTo>
                      <a:pt x="20" y="8"/>
                    </a:lnTo>
                    <a:lnTo>
                      <a:pt x="25" y="9"/>
                    </a:lnTo>
                    <a:lnTo>
                      <a:pt x="28" y="11"/>
                    </a:lnTo>
                    <a:lnTo>
                      <a:pt x="31" y="13"/>
                    </a:lnTo>
                    <a:lnTo>
                      <a:pt x="30" y="14"/>
                    </a:lnTo>
                    <a:lnTo>
                      <a:pt x="30" y="16"/>
                    </a:lnTo>
                    <a:lnTo>
                      <a:pt x="30" y="17"/>
                    </a:lnTo>
                    <a:lnTo>
                      <a:pt x="28" y="19"/>
                    </a:lnTo>
                    <a:lnTo>
                      <a:pt x="31" y="22"/>
                    </a:lnTo>
                    <a:lnTo>
                      <a:pt x="34" y="25"/>
                    </a:lnTo>
                    <a:lnTo>
                      <a:pt x="38" y="27"/>
                    </a:lnTo>
                    <a:lnTo>
                      <a:pt x="38" y="27"/>
                    </a:lnTo>
                    <a:lnTo>
                      <a:pt x="36" y="28"/>
                    </a:lnTo>
                    <a:lnTo>
                      <a:pt x="36" y="28"/>
                    </a:lnTo>
                    <a:lnTo>
                      <a:pt x="33" y="28"/>
                    </a:lnTo>
                    <a:lnTo>
                      <a:pt x="31" y="28"/>
                    </a:lnTo>
                    <a:lnTo>
                      <a:pt x="31" y="30"/>
                    </a:lnTo>
                    <a:lnTo>
                      <a:pt x="30" y="30"/>
                    </a:lnTo>
                    <a:lnTo>
                      <a:pt x="30" y="30"/>
                    </a:lnTo>
                    <a:lnTo>
                      <a:pt x="27" y="30"/>
                    </a:lnTo>
                    <a:lnTo>
                      <a:pt x="16" y="28"/>
                    </a:lnTo>
                    <a:lnTo>
                      <a:pt x="14" y="28"/>
                    </a:lnTo>
                    <a:lnTo>
                      <a:pt x="11" y="28"/>
                    </a:lnTo>
                    <a:lnTo>
                      <a:pt x="8" y="27"/>
                    </a:lnTo>
                    <a:lnTo>
                      <a:pt x="6" y="27"/>
                    </a:lnTo>
                    <a:lnTo>
                      <a:pt x="5" y="27"/>
                    </a:lnTo>
                    <a:lnTo>
                      <a:pt x="3" y="27"/>
                    </a:lnTo>
                    <a:lnTo>
                      <a:pt x="2" y="27"/>
                    </a:lnTo>
                    <a:lnTo>
                      <a:pt x="0" y="30"/>
                    </a:lnTo>
                    <a:lnTo>
                      <a:pt x="0" y="31"/>
                    </a:lnTo>
                    <a:lnTo>
                      <a:pt x="0" y="31"/>
                    </a:lnTo>
                    <a:lnTo>
                      <a:pt x="5" y="33"/>
                    </a:lnTo>
                    <a:lnTo>
                      <a:pt x="6" y="35"/>
                    </a:lnTo>
                    <a:lnTo>
                      <a:pt x="8" y="36"/>
                    </a:lnTo>
                    <a:lnTo>
                      <a:pt x="9" y="38"/>
                    </a:lnTo>
                    <a:lnTo>
                      <a:pt x="11" y="38"/>
                    </a:lnTo>
                    <a:lnTo>
                      <a:pt x="11" y="36"/>
                    </a:lnTo>
                    <a:lnTo>
                      <a:pt x="13" y="35"/>
                    </a:lnTo>
                    <a:lnTo>
                      <a:pt x="14" y="35"/>
                    </a:lnTo>
                    <a:lnTo>
                      <a:pt x="17" y="35"/>
                    </a:lnTo>
                    <a:lnTo>
                      <a:pt x="19" y="35"/>
                    </a:lnTo>
                    <a:lnTo>
                      <a:pt x="20" y="35"/>
                    </a:lnTo>
                    <a:lnTo>
                      <a:pt x="24" y="35"/>
                    </a:lnTo>
                    <a:lnTo>
                      <a:pt x="28" y="36"/>
                    </a:lnTo>
                    <a:lnTo>
                      <a:pt x="30" y="36"/>
                    </a:lnTo>
                    <a:lnTo>
                      <a:pt x="31" y="35"/>
                    </a:lnTo>
                    <a:lnTo>
                      <a:pt x="33" y="35"/>
                    </a:lnTo>
                    <a:lnTo>
                      <a:pt x="33" y="35"/>
                    </a:lnTo>
                    <a:lnTo>
                      <a:pt x="34" y="35"/>
                    </a:lnTo>
                    <a:lnTo>
                      <a:pt x="42" y="35"/>
                    </a:lnTo>
                    <a:lnTo>
                      <a:pt x="44" y="35"/>
                    </a:lnTo>
                    <a:lnTo>
                      <a:pt x="44" y="35"/>
                    </a:lnTo>
                    <a:lnTo>
                      <a:pt x="45" y="36"/>
                    </a:lnTo>
                    <a:lnTo>
                      <a:pt x="47" y="38"/>
                    </a:lnTo>
                    <a:lnTo>
                      <a:pt x="47" y="35"/>
                    </a:lnTo>
                    <a:lnTo>
                      <a:pt x="47" y="33"/>
                    </a:lnTo>
                    <a:lnTo>
                      <a:pt x="47" y="33"/>
                    </a:lnTo>
                    <a:lnTo>
                      <a:pt x="45" y="31"/>
                    </a:lnTo>
                    <a:lnTo>
                      <a:pt x="44" y="30"/>
                    </a:lnTo>
                    <a:lnTo>
                      <a:pt x="44" y="28"/>
                    </a:lnTo>
                    <a:lnTo>
                      <a:pt x="44" y="27"/>
                    </a:lnTo>
                    <a:lnTo>
                      <a:pt x="45" y="27"/>
                    </a:lnTo>
                    <a:lnTo>
                      <a:pt x="47" y="27"/>
                    </a:lnTo>
                    <a:lnTo>
                      <a:pt x="47" y="25"/>
                    </a:lnTo>
                    <a:lnTo>
                      <a:pt x="49" y="24"/>
                    </a:lnTo>
                    <a:lnTo>
                      <a:pt x="49" y="22"/>
                    </a:lnTo>
                    <a:lnTo>
                      <a:pt x="47" y="22"/>
                    </a:lnTo>
                    <a:lnTo>
                      <a:pt x="47" y="20"/>
                    </a:lnTo>
                    <a:lnTo>
                      <a:pt x="47" y="19"/>
                    </a:lnTo>
                    <a:lnTo>
                      <a:pt x="49" y="17"/>
                    </a:lnTo>
                    <a:close/>
                    <a:moveTo>
                      <a:pt x="31" y="0"/>
                    </a:moveTo>
                    <a:lnTo>
                      <a:pt x="30" y="0"/>
                    </a:lnTo>
                    <a:lnTo>
                      <a:pt x="28" y="0"/>
                    </a:lnTo>
                    <a:lnTo>
                      <a:pt x="27" y="0"/>
                    </a:lnTo>
                    <a:lnTo>
                      <a:pt x="27" y="0"/>
                    </a:lnTo>
                    <a:lnTo>
                      <a:pt x="27" y="2"/>
                    </a:lnTo>
                    <a:lnTo>
                      <a:pt x="28" y="2"/>
                    </a:lnTo>
                    <a:lnTo>
                      <a:pt x="28" y="2"/>
                    </a:lnTo>
                    <a:lnTo>
                      <a:pt x="30" y="2"/>
                    </a:lnTo>
                    <a:lnTo>
                      <a:pt x="31" y="2"/>
                    </a:lnTo>
                    <a:lnTo>
                      <a:pt x="33" y="2"/>
                    </a:lnTo>
                    <a:lnTo>
                      <a:pt x="31"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6" name="Freeform 93">
                <a:extLst>
                  <a:ext uri="{FF2B5EF4-FFF2-40B4-BE49-F238E27FC236}">
                    <a16:creationId xmlns:a16="http://schemas.microsoft.com/office/drawing/2014/main" id="{6A36FF19-2482-D82B-13CC-D9B6AD08457F}"/>
                  </a:ext>
                </a:extLst>
              </p:cNvPr>
              <p:cNvSpPr>
                <a:spLocks/>
              </p:cNvSpPr>
              <p:nvPr/>
            </p:nvSpPr>
            <p:spPr bwMode="gray">
              <a:xfrm>
                <a:off x="2957" y="604"/>
                <a:ext cx="120" cy="72"/>
              </a:xfrm>
              <a:custGeom>
                <a:avLst/>
                <a:gdLst>
                  <a:gd name="T0" fmla="*/ 109 w 120"/>
                  <a:gd name="T1" fmla="*/ 3 h 72"/>
                  <a:gd name="T2" fmla="*/ 109 w 120"/>
                  <a:gd name="T3" fmla="*/ 6 h 72"/>
                  <a:gd name="T4" fmla="*/ 114 w 120"/>
                  <a:gd name="T5" fmla="*/ 11 h 72"/>
                  <a:gd name="T6" fmla="*/ 117 w 120"/>
                  <a:gd name="T7" fmla="*/ 11 h 72"/>
                  <a:gd name="T8" fmla="*/ 118 w 120"/>
                  <a:gd name="T9" fmla="*/ 14 h 72"/>
                  <a:gd name="T10" fmla="*/ 115 w 120"/>
                  <a:gd name="T11" fmla="*/ 19 h 72"/>
                  <a:gd name="T12" fmla="*/ 111 w 120"/>
                  <a:gd name="T13" fmla="*/ 20 h 72"/>
                  <a:gd name="T14" fmla="*/ 108 w 120"/>
                  <a:gd name="T15" fmla="*/ 24 h 72"/>
                  <a:gd name="T16" fmla="*/ 104 w 120"/>
                  <a:gd name="T17" fmla="*/ 30 h 72"/>
                  <a:gd name="T18" fmla="*/ 100 w 120"/>
                  <a:gd name="T19" fmla="*/ 36 h 72"/>
                  <a:gd name="T20" fmla="*/ 98 w 120"/>
                  <a:gd name="T21" fmla="*/ 41 h 72"/>
                  <a:gd name="T22" fmla="*/ 95 w 120"/>
                  <a:gd name="T23" fmla="*/ 47 h 72"/>
                  <a:gd name="T24" fmla="*/ 92 w 120"/>
                  <a:gd name="T25" fmla="*/ 52 h 72"/>
                  <a:gd name="T26" fmla="*/ 90 w 120"/>
                  <a:gd name="T27" fmla="*/ 56 h 72"/>
                  <a:gd name="T28" fmla="*/ 87 w 120"/>
                  <a:gd name="T29" fmla="*/ 60 h 72"/>
                  <a:gd name="T30" fmla="*/ 82 w 120"/>
                  <a:gd name="T31" fmla="*/ 61 h 72"/>
                  <a:gd name="T32" fmla="*/ 78 w 120"/>
                  <a:gd name="T33" fmla="*/ 61 h 72"/>
                  <a:gd name="T34" fmla="*/ 72 w 120"/>
                  <a:gd name="T35" fmla="*/ 63 h 72"/>
                  <a:gd name="T36" fmla="*/ 62 w 120"/>
                  <a:gd name="T37" fmla="*/ 61 h 72"/>
                  <a:gd name="T38" fmla="*/ 59 w 120"/>
                  <a:gd name="T39" fmla="*/ 64 h 72"/>
                  <a:gd name="T40" fmla="*/ 54 w 120"/>
                  <a:gd name="T41" fmla="*/ 66 h 72"/>
                  <a:gd name="T42" fmla="*/ 51 w 120"/>
                  <a:gd name="T43" fmla="*/ 67 h 72"/>
                  <a:gd name="T44" fmla="*/ 48 w 120"/>
                  <a:gd name="T45" fmla="*/ 67 h 72"/>
                  <a:gd name="T46" fmla="*/ 43 w 120"/>
                  <a:gd name="T47" fmla="*/ 71 h 72"/>
                  <a:gd name="T48" fmla="*/ 39 w 120"/>
                  <a:gd name="T49" fmla="*/ 72 h 72"/>
                  <a:gd name="T50" fmla="*/ 28 w 120"/>
                  <a:gd name="T51" fmla="*/ 69 h 72"/>
                  <a:gd name="T52" fmla="*/ 22 w 120"/>
                  <a:gd name="T53" fmla="*/ 66 h 72"/>
                  <a:gd name="T54" fmla="*/ 15 w 120"/>
                  <a:gd name="T55" fmla="*/ 60 h 72"/>
                  <a:gd name="T56" fmla="*/ 7 w 120"/>
                  <a:gd name="T57" fmla="*/ 53 h 72"/>
                  <a:gd name="T58" fmla="*/ 6 w 120"/>
                  <a:gd name="T59" fmla="*/ 49 h 72"/>
                  <a:gd name="T60" fmla="*/ 4 w 120"/>
                  <a:gd name="T61" fmla="*/ 44 h 72"/>
                  <a:gd name="T62" fmla="*/ 4 w 120"/>
                  <a:gd name="T63" fmla="*/ 41 h 72"/>
                  <a:gd name="T64" fmla="*/ 7 w 120"/>
                  <a:gd name="T65" fmla="*/ 39 h 72"/>
                  <a:gd name="T66" fmla="*/ 6 w 120"/>
                  <a:gd name="T67" fmla="*/ 36 h 72"/>
                  <a:gd name="T68" fmla="*/ 6 w 120"/>
                  <a:gd name="T69" fmla="*/ 31 h 72"/>
                  <a:gd name="T70" fmla="*/ 9 w 120"/>
                  <a:gd name="T71" fmla="*/ 28 h 72"/>
                  <a:gd name="T72" fmla="*/ 6 w 120"/>
                  <a:gd name="T73" fmla="*/ 24 h 72"/>
                  <a:gd name="T74" fmla="*/ 9 w 120"/>
                  <a:gd name="T75" fmla="*/ 20 h 72"/>
                  <a:gd name="T76" fmla="*/ 12 w 120"/>
                  <a:gd name="T77" fmla="*/ 22 h 72"/>
                  <a:gd name="T78" fmla="*/ 17 w 120"/>
                  <a:gd name="T79" fmla="*/ 22 h 72"/>
                  <a:gd name="T80" fmla="*/ 17 w 120"/>
                  <a:gd name="T81" fmla="*/ 17 h 72"/>
                  <a:gd name="T82" fmla="*/ 20 w 120"/>
                  <a:gd name="T83" fmla="*/ 14 h 72"/>
                  <a:gd name="T84" fmla="*/ 25 w 120"/>
                  <a:gd name="T85" fmla="*/ 17 h 72"/>
                  <a:gd name="T86" fmla="*/ 37 w 120"/>
                  <a:gd name="T87" fmla="*/ 20 h 72"/>
                  <a:gd name="T88" fmla="*/ 48 w 120"/>
                  <a:gd name="T89" fmla="*/ 17 h 72"/>
                  <a:gd name="T90" fmla="*/ 50 w 120"/>
                  <a:gd name="T91" fmla="*/ 13 h 72"/>
                  <a:gd name="T92" fmla="*/ 61 w 120"/>
                  <a:gd name="T93" fmla="*/ 8 h 72"/>
                  <a:gd name="T94" fmla="*/ 67 w 120"/>
                  <a:gd name="T95" fmla="*/ 11 h 72"/>
                  <a:gd name="T96" fmla="*/ 78 w 120"/>
                  <a:gd name="T97" fmla="*/ 2 h 72"/>
                  <a:gd name="T98" fmla="*/ 86 w 120"/>
                  <a:gd name="T99" fmla="*/ 0 h 72"/>
                  <a:gd name="T100" fmla="*/ 95 w 120"/>
                  <a:gd name="T101" fmla="*/ 0 h 72"/>
                  <a:gd name="T102" fmla="*/ 98 w 120"/>
                  <a:gd name="T103" fmla="*/ 3 h 72"/>
                  <a:gd name="T104" fmla="*/ 100 w 120"/>
                  <a:gd name="T105"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 h="72">
                    <a:moveTo>
                      <a:pt x="106" y="3"/>
                    </a:moveTo>
                    <a:lnTo>
                      <a:pt x="108" y="3"/>
                    </a:lnTo>
                    <a:lnTo>
                      <a:pt x="108" y="3"/>
                    </a:lnTo>
                    <a:lnTo>
                      <a:pt x="109" y="3"/>
                    </a:lnTo>
                    <a:lnTo>
                      <a:pt x="109" y="5"/>
                    </a:lnTo>
                    <a:lnTo>
                      <a:pt x="109" y="5"/>
                    </a:lnTo>
                    <a:lnTo>
                      <a:pt x="109" y="6"/>
                    </a:lnTo>
                    <a:lnTo>
                      <a:pt x="109" y="6"/>
                    </a:lnTo>
                    <a:lnTo>
                      <a:pt x="111" y="8"/>
                    </a:lnTo>
                    <a:lnTo>
                      <a:pt x="112" y="8"/>
                    </a:lnTo>
                    <a:lnTo>
                      <a:pt x="114" y="10"/>
                    </a:lnTo>
                    <a:lnTo>
                      <a:pt x="114" y="11"/>
                    </a:lnTo>
                    <a:lnTo>
                      <a:pt x="115" y="11"/>
                    </a:lnTo>
                    <a:lnTo>
                      <a:pt x="115" y="11"/>
                    </a:lnTo>
                    <a:lnTo>
                      <a:pt x="117" y="11"/>
                    </a:lnTo>
                    <a:lnTo>
                      <a:pt x="117" y="11"/>
                    </a:lnTo>
                    <a:lnTo>
                      <a:pt x="118" y="11"/>
                    </a:lnTo>
                    <a:lnTo>
                      <a:pt x="118" y="13"/>
                    </a:lnTo>
                    <a:lnTo>
                      <a:pt x="118" y="14"/>
                    </a:lnTo>
                    <a:lnTo>
                      <a:pt x="118" y="14"/>
                    </a:lnTo>
                    <a:lnTo>
                      <a:pt x="118" y="16"/>
                    </a:lnTo>
                    <a:lnTo>
                      <a:pt x="120" y="16"/>
                    </a:lnTo>
                    <a:lnTo>
                      <a:pt x="118" y="16"/>
                    </a:lnTo>
                    <a:lnTo>
                      <a:pt x="115" y="19"/>
                    </a:lnTo>
                    <a:lnTo>
                      <a:pt x="115" y="20"/>
                    </a:lnTo>
                    <a:lnTo>
                      <a:pt x="114" y="20"/>
                    </a:lnTo>
                    <a:lnTo>
                      <a:pt x="112" y="20"/>
                    </a:lnTo>
                    <a:lnTo>
                      <a:pt x="111" y="20"/>
                    </a:lnTo>
                    <a:lnTo>
                      <a:pt x="111" y="20"/>
                    </a:lnTo>
                    <a:lnTo>
                      <a:pt x="109" y="22"/>
                    </a:lnTo>
                    <a:lnTo>
                      <a:pt x="109" y="22"/>
                    </a:lnTo>
                    <a:lnTo>
                      <a:pt x="108" y="24"/>
                    </a:lnTo>
                    <a:lnTo>
                      <a:pt x="106" y="25"/>
                    </a:lnTo>
                    <a:lnTo>
                      <a:pt x="104" y="27"/>
                    </a:lnTo>
                    <a:lnTo>
                      <a:pt x="104" y="27"/>
                    </a:lnTo>
                    <a:lnTo>
                      <a:pt x="104" y="30"/>
                    </a:lnTo>
                    <a:lnTo>
                      <a:pt x="103" y="31"/>
                    </a:lnTo>
                    <a:lnTo>
                      <a:pt x="103" y="31"/>
                    </a:lnTo>
                    <a:lnTo>
                      <a:pt x="101" y="33"/>
                    </a:lnTo>
                    <a:lnTo>
                      <a:pt x="100" y="36"/>
                    </a:lnTo>
                    <a:lnTo>
                      <a:pt x="100" y="38"/>
                    </a:lnTo>
                    <a:lnTo>
                      <a:pt x="98" y="39"/>
                    </a:lnTo>
                    <a:lnTo>
                      <a:pt x="98" y="39"/>
                    </a:lnTo>
                    <a:lnTo>
                      <a:pt x="98" y="41"/>
                    </a:lnTo>
                    <a:lnTo>
                      <a:pt x="97" y="44"/>
                    </a:lnTo>
                    <a:lnTo>
                      <a:pt x="95" y="46"/>
                    </a:lnTo>
                    <a:lnTo>
                      <a:pt x="95" y="47"/>
                    </a:lnTo>
                    <a:lnTo>
                      <a:pt x="95" y="47"/>
                    </a:lnTo>
                    <a:lnTo>
                      <a:pt x="93" y="49"/>
                    </a:lnTo>
                    <a:lnTo>
                      <a:pt x="93" y="50"/>
                    </a:lnTo>
                    <a:lnTo>
                      <a:pt x="92" y="50"/>
                    </a:lnTo>
                    <a:lnTo>
                      <a:pt x="92" y="52"/>
                    </a:lnTo>
                    <a:lnTo>
                      <a:pt x="90" y="53"/>
                    </a:lnTo>
                    <a:lnTo>
                      <a:pt x="92" y="55"/>
                    </a:lnTo>
                    <a:lnTo>
                      <a:pt x="92" y="55"/>
                    </a:lnTo>
                    <a:lnTo>
                      <a:pt x="90" y="56"/>
                    </a:lnTo>
                    <a:lnTo>
                      <a:pt x="89" y="56"/>
                    </a:lnTo>
                    <a:lnTo>
                      <a:pt x="89" y="58"/>
                    </a:lnTo>
                    <a:lnTo>
                      <a:pt x="89" y="58"/>
                    </a:lnTo>
                    <a:lnTo>
                      <a:pt x="87" y="60"/>
                    </a:lnTo>
                    <a:lnTo>
                      <a:pt x="84" y="60"/>
                    </a:lnTo>
                    <a:lnTo>
                      <a:pt x="82" y="60"/>
                    </a:lnTo>
                    <a:lnTo>
                      <a:pt x="82" y="60"/>
                    </a:lnTo>
                    <a:lnTo>
                      <a:pt x="82" y="61"/>
                    </a:lnTo>
                    <a:lnTo>
                      <a:pt x="81" y="61"/>
                    </a:lnTo>
                    <a:lnTo>
                      <a:pt x="81" y="63"/>
                    </a:lnTo>
                    <a:lnTo>
                      <a:pt x="79" y="63"/>
                    </a:lnTo>
                    <a:lnTo>
                      <a:pt x="78" y="61"/>
                    </a:lnTo>
                    <a:lnTo>
                      <a:pt x="73" y="63"/>
                    </a:lnTo>
                    <a:lnTo>
                      <a:pt x="73" y="63"/>
                    </a:lnTo>
                    <a:lnTo>
                      <a:pt x="73" y="63"/>
                    </a:lnTo>
                    <a:lnTo>
                      <a:pt x="72" y="63"/>
                    </a:lnTo>
                    <a:lnTo>
                      <a:pt x="68" y="61"/>
                    </a:lnTo>
                    <a:lnTo>
                      <a:pt x="67" y="63"/>
                    </a:lnTo>
                    <a:lnTo>
                      <a:pt x="64" y="61"/>
                    </a:lnTo>
                    <a:lnTo>
                      <a:pt x="62" y="61"/>
                    </a:lnTo>
                    <a:lnTo>
                      <a:pt x="61" y="61"/>
                    </a:lnTo>
                    <a:lnTo>
                      <a:pt x="59" y="63"/>
                    </a:lnTo>
                    <a:lnTo>
                      <a:pt x="59" y="64"/>
                    </a:lnTo>
                    <a:lnTo>
                      <a:pt x="59" y="64"/>
                    </a:lnTo>
                    <a:lnTo>
                      <a:pt x="57" y="64"/>
                    </a:lnTo>
                    <a:lnTo>
                      <a:pt x="56" y="66"/>
                    </a:lnTo>
                    <a:lnTo>
                      <a:pt x="54" y="66"/>
                    </a:lnTo>
                    <a:lnTo>
                      <a:pt x="54" y="66"/>
                    </a:lnTo>
                    <a:lnTo>
                      <a:pt x="53" y="66"/>
                    </a:lnTo>
                    <a:lnTo>
                      <a:pt x="53" y="66"/>
                    </a:lnTo>
                    <a:lnTo>
                      <a:pt x="53" y="66"/>
                    </a:lnTo>
                    <a:lnTo>
                      <a:pt x="51" y="67"/>
                    </a:lnTo>
                    <a:lnTo>
                      <a:pt x="50" y="67"/>
                    </a:lnTo>
                    <a:lnTo>
                      <a:pt x="50" y="67"/>
                    </a:lnTo>
                    <a:lnTo>
                      <a:pt x="50" y="67"/>
                    </a:lnTo>
                    <a:lnTo>
                      <a:pt x="48" y="67"/>
                    </a:lnTo>
                    <a:lnTo>
                      <a:pt x="47" y="67"/>
                    </a:lnTo>
                    <a:lnTo>
                      <a:pt x="45" y="67"/>
                    </a:lnTo>
                    <a:lnTo>
                      <a:pt x="43" y="71"/>
                    </a:lnTo>
                    <a:lnTo>
                      <a:pt x="43" y="71"/>
                    </a:lnTo>
                    <a:lnTo>
                      <a:pt x="42" y="72"/>
                    </a:lnTo>
                    <a:lnTo>
                      <a:pt x="40" y="72"/>
                    </a:lnTo>
                    <a:lnTo>
                      <a:pt x="39" y="72"/>
                    </a:lnTo>
                    <a:lnTo>
                      <a:pt x="39" y="72"/>
                    </a:lnTo>
                    <a:lnTo>
                      <a:pt x="32" y="72"/>
                    </a:lnTo>
                    <a:lnTo>
                      <a:pt x="31" y="71"/>
                    </a:lnTo>
                    <a:lnTo>
                      <a:pt x="29" y="71"/>
                    </a:lnTo>
                    <a:lnTo>
                      <a:pt x="28" y="69"/>
                    </a:lnTo>
                    <a:lnTo>
                      <a:pt x="26" y="67"/>
                    </a:lnTo>
                    <a:lnTo>
                      <a:pt x="26" y="67"/>
                    </a:lnTo>
                    <a:lnTo>
                      <a:pt x="23" y="67"/>
                    </a:lnTo>
                    <a:lnTo>
                      <a:pt x="22" y="66"/>
                    </a:lnTo>
                    <a:lnTo>
                      <a:pt x="20" y="64"/>
                    </a:lnTo>
                    <a:lnTo>
                      <a:pt x="18" y="63"/>
                    </a:lnTo>
                    <a:lnTo>
                      <a:pt x="17" y="61"/>
                    </a:lnTo>
                    <a:lnTo>
                      <a:pt x="15" y="60"/>
                    </a:lnTo>
                    <a:lnTo>
                      <a:pt x="14" y="56"/>
                    </a:lnTo>
                    <a:lnTo>
                      <a:pt x="12" y="55"/>
                    </a:lnTo>
                    <a:lnTo>
                      <a:pt x="9" y="53"/>
                    </a:lnTo>
                    <a:lnTo>
                      <a:pt x="7" y="53"/>
                    </a:lnTo>
                    <a:lnTo>
                      <a:pt x="7" y="52"/>
                    </a:lnTo>
                    <a:lnTo>
                      <a:pt x="6" y="50"/>
                    </a:lnTo>
                    <a:lnTo>
                      <a:pt x="6" y="50"/>
                    </a:lnTo>
                    <a:lnTo>
                      <a:pt x="6" y="49"/>
                    </a:lnTo>
                    <a:lnTo>
                      <a:pt x="6" y="47"/>
                    </a:lnTo>
                    <a:lnTo>
                      <a:pt x="4" y="47"/>
                    </a:lnTo>
                    <a:lnTo>
                      <a:pt x="4" y="46"/>
                    </a:lnTo>
                    <a:lnTo>
                      <a:pt x="4" y="44"/>
                    </a:lnTo>
                    <a:lnTo>
                      <a:pt x="4" y="44"/>
                    </a:lnTo>
                    <a:lnTo>
                      <a:pt x="0" y="44"/>
                    </a:lnTo>
                    <a:lnTo>
                      <a:pt x="3" y="41"/>
                    </a:lnTo>
                    <a:lnTo>
                      <a:pt x="4" y="41"/>
                    </a:lnTo>
                    <a:lnTo>
                      <a:pt x="6" y="41"/>
                    </a:lnTo>
                    <a:lnTo>
                      <a:pt x="7" y="39"/>
                    </a:lnTo>
                    <a:lnTo>
                      <a:pt x="7" y="39"/>
                    </a:lnTo>
                    <a:lnTo>
                      <a:pt x="7" y="39"/>
                    </a:lnTo>
                    <a:lnTo>
                      <a:pt x="7" y="38"/>
                    </a:lnTo>
                    <a:lnTo>
                      <a:pt x="7" y="38"/>
                    </a:lnTo>
                    <a:lnTo>
                      <a:pt x="7" y="36"/>
                    </a:lnTo>
                    <a:lnTo>
                      <a:pt x="6" y="36"/>
                    </a:lnTo>
                    <a:lnTo>
                      <a:pt x="6" y="35"/>
                    </a:lnTo>
                    <a:lnTo>
                      <a:pt x="6" y="33"/>
                    </a:lnTo>
                    <a:lnTo>
                      <a:pt x="7" y="33"/>
                    </a:lnTo>
                    <a:lnTo>
                      <a:pt x="6" y="31"/>
                    </a:lnTo>
                    <a:lnTo>
                      <a:pt x="6" y="30"/>
                    </a:lnTo>
                    <a:lnTo>
                      <a:pt x="7" y="30"/>
                    </a:lnTo>
                    <a:lnTo>
                      <a:pt x="9" y="30"/>
                    </a:lnTo>
                    <a:lnTo>
                      <a:pt x="9" y="28"/>
                    </a:lnTo>
                    <a:lnTo>
                      <a:pt x="11" y="28"/>
                    </a:lnTo>
                    <a:lnTo>
                      <a:pt x="11" y="27"/>
                    </a:lnTo>
                    <a:lnTo>
                      <a:pt x="11" y="25"/>
                    </a:lnTo>
                    <a:lnTo>
                      <a:pt x="6" y="24"/>
                    </a:lnTo>
                    <a:lnTo>
                      <a:pt x="6" y="22"/>
                    </a:lnTo>
                    <a:lnTo>
                      <a:pt x="7" y="22"/>
                    </a:lnTo>
                    <a:lnTo>
                      <a:pt x="7" y="22"/>
                    </a:lnTo>
                    <a:lnTo>
                      <a:pt x="9" y="20"/>
                    </a:lnTo>
                    <a:lnTo>
                      <a:pt x="9" y="20"/>
                    </a:lnTo>
                    <a:lnTo>
                      <a:pt x="11" y="20"/>
                    </a:lnTo>
                    <a:lnTo>
                      <a:pt x="12" y="22"/>
                    </a:lnTo>
                    <a:lnTo>
                      <a:pt x="12" y="22"/>
                    </a:lnTo>
                    <a:lnTo>
                      <a:pt x="14" y="22"/>
                    </a:lnTo>
                    <a:lnTo>
                      <a:pt x="14" y="22"/>
                    </a:lnTo>
                    <a:lnTo>
                      <a:pt x="15" y="22"/>
                    </a:lnTo>
                    <a:lnTo>
                      <a:pt x="17" y="22"/>
                    </a:lnTo>
                    <a:lnTo>
                      <a:pt x="17" y="20"/>
                    </a:lnTo>
                    <a:lnTo>
                      <a:pt x="17" y="19"/>
                    </a:lnTo>
                    <a:lnTo>
                      <a:pt x="17" y="19"/>
                    </a:lnTo>
                    <a:lnTo>
                      <a:pt x="17" y="17"/>
                    </a:lnTo>
                    <a:lnTo>
                      <a:pt x="18" y="17"/>
                    </a:lnTo>
                    <a:lnTo>
                      <a:pt x="18" y="16"/>
                    </a:lnTo>
                    <a:lnTo>
                      <a:pt x="18" y="14"/>
                    </a:lnTo>
                    <a:lnTo>
                      <a:pt x="20" y="14"/>
                    </a:lnTo>
                    <a:lnTo>
                      <a:pt x="22" y="14"/>
                    </a:lnTo>
                    <a:lnTo>
                      <a:pt x="22" y="14"/>
                    </a:lnTo>
                    <a:lnTo>
                      <a:pt x="22" y="14"/>
                    </a:lnTo>
                    <a:lnTo>
                      <a:pt x="25" y="17"/>
                    </a:lnTo>
                    <a:lnTo>
                      <a:pt x="28" y="19"/>
                    </a:lnTo>
                    <a:lnTo>
                      <a:pt x="29" y="20"/>
                    </a:lnTo>
                    <a:lnTo>
                      <a:pt x="32" y="20"/>
                    </a:lnTo>
                    <a:lnTo>
                      <a:pt x="37" y="20"/>
                    </a:lnTo>
                    <a:lnTo>
                      <a:pt x="42" y="20"/>
                    </a:lnTo>
                    <a:lnTo>
                      <a:pt x="47" y="20"/>
                    </a:lnTo>
                    <a:lnTo>
                      <a:pt x="47" y="19"/>
                    </a:lnTo>
                    <a:lnTo>
                      <a:pt x="48" y="17"/>
                    </a:lnTo>
                    <a:lnTo>
                      <a:pt x="47" y="17"/>
                    </a:lnTo>
                    <a:lnTo>
                      <a:pt x="47" y="16"/>
                    </a:lnTo>
                    <a:lnTo>
                      <a:pt x="48" y="14"/>
                    </a:lnTo>
                    <a:lnTo>
                      <a:pt x="50" y="13"/>
                    </a:lnTo>
                    <a:lnTo>
                      <a:pt x="56" y="13"/>
                    </a:lnTo>
                    <a:lnTo>
                      <a:pt x="59" y="11"/>
                    </a:lnTo>
                    <a:lnTo>
                      <a:pt x="61" y="10"/>
                    </a:lnTo>
                    <a:lnTo>
                      <a:pt x="61" y="8"/>
                    </a:lnTo>
                    <a:lnTo>
                      <a:pt x="62" y="8"/>
                    </a:lnTo>
                    <a:lnTo>
                      <a:pt x="64" y="10"/>
                    </a:lnTo>
                    <a:lnTo>
                      <a:pt x="65" y="10"/>
                    </a:lnTo>
                    <a:lnTo>
                      <a:pt x="67" y="11"/>
                    </a:lnTo>
                    <a:lnTo>
                      <a:pt x="68" y="11"/>
                    </a:lnTo>
                    <a:lnTo>
                      <a:pt x="72" y="8"/>
                    </a:lnTo>
                    <a:lnTo>
                      <a:pt x="75" y="6"/>
                    </a:lnTo>
                    <a:lnTo>
                      <a:pt x="78" y="2"/>
                    </a:lnTo>
                    <a:lnTo>
                      <a:pt x="78" y="0"/>
                    </a:lnTo>
                    <a:lnTo>
                      <a:pt x="81" y="0"/>
                    </a:lnTo>
                    <a:lnTo>
                      <a:pt x="84" y="0"/>
                    </a:lnTo>
                    <a:lnTo>
                      <a:pt x="86" y="0"/>
                    </a:lnTo>
                    <a:lnTo>
                      <a:pt x="87" y="2"/>
                    </a:lnTo>
                    <a:lnTo>
                      <a:pt x="90" y="0"/>
                    </a:lnTo>
                    <a:lnTo>
                      <a:pt x="93" y="0"/>
                    </a:lnTo>
                    <a:lnTo>
                      <a:pt x="95" y="0"/>
                    </a:lnTo>
                    <a:lnTo>
                      <a:pt x="95" y="0"/>
                    </a:lnTo>
                    <a:lnTo>
                      <a:pt x="97" y="2"/>
                    </a:lnTo>
                    <a:lnTo>
                      <a:pt x="97" y="2"/>
                    </a:lnTo>
                    <a:lnTo>
                      <a:pt x="98" y="3"/>
                    </a:lnTo>
                    <a:lnTo>
                      <a:pt x="98" y="3"/>
                    </a:lnTo>
                    <a:lnTo>
                      <a:pt x="98" y="5"/>
                    </a:lnTo>
                    <a:lnTo>
                      <a:pt x="100" y="5"/>
                    </a:lnTo>
                    <a:lnTo>
                      <a:pt x="100" y="5"/>
                    </a:lnTo>
                    <a:lnTo>
                      <a:pt x="106" y="3"/>
                    </a:lnTo>
                    <a:lnTo>
                      <a:pt x="106"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7" name="Freeform 94">
                <a:extLst>
                  <a:ext uri="{FF2B5EF4-FFF2-40B4-BE49-F238E27FC236}">
                    <a16:creationId xmlns:a16="http://schemas.microsoft.com/office/drawing/2014/main" id="{54E4A8C5-5CFB-5BF2-0051-4B5D9F3AD434}"/>
                  </a:ext>
                </a:extLst>
              </p:cNvPr>
              <p:cNvSpPr>
                <a:spLocks noEditPoints="1"/>
              </p:cNvSpPr>
              <p:nvPr/>
            </p:nvSpPr>
            <p:spPr bwMode="gray">
              <a:xfrm>
                <a:off x="4347" y="1474"/>
                <a:ext cx="802" cy="294"/>
              </a:xfrm>
              <a:custGeom>
                <a:avLst/>
                <a:gdLst>
                  <a:gd name="T0" fmla="*/ 143 w 802"/>
                  <a:gd name="T1" fmla="*/ 107 h 294"/>
                  <a:gd name="T2" fmla="*/ 81 w 802"/>
                  <a:gd name="T3" fmla="*/ 50 h 294"/>
                  <a:gd name="T4" fmla="*/ 36 w 802"/>
                  <a:gd name="T5" fmla="*/ 49 h 294"/>
                  <a:gd name="T6" fmla="*/ 159 w 802"/>
                  <a:gd name="T7" fmla="*/ 202 h 294"/>
                  <a:gd name="T8" fmla="*/ 398 w 802"/>
                  <a:gd name="T9" fmla="*/ 71 h 294"/>
                  <a:gd name="T10" fmla="*/ 376 w 802"/>
                  <a:gd name="T11" fmla="*/ 27 h 294"/>
                  <a:gd name="T12" fmla="*/ 342 w 802"/>
                  <a:gd name="T13" fmla="*/ 67 h 294"/>
                  <a:gd name="T14" fmla="*/ 275 w 802"/>
                  <a:gd name="T15" fmla="*/ 85 h 294"/>
                  <a:gd name="T16" fmla="*/ 247 w 802"/>
                  <a:gd name="T17" fmla="*/ 118 h 294"/>
                  <a:gd name="T18" fmla="*/ 320 w 802"/>
                  <a:gd name="T19" fmla="*/ 158 h 294"/>
                  <a:gd name="T20" fmla="*/ 372 w 802"/>
                  <a:gd name="T21" fmla="*/ 136 h 294"/>
                  <a:gd name="T22" fmla="*/ 223 w 802"/>
                  <a:gd name="T23" fmla="*/ 33 h 294"/>
                  <a:gd name="T24" fmla="*/ 193 w 802"/>
                  <a:gd name="T25" fmla="*/ 47 h 294"/>
                  <a:gd name="T26" fmla="*/ 583 w 802"/>
                  <a:gd name="T27" fmla="*/ 58 h 294"/>
                  <a:gd name="T28" fmla="*/ 575 w 802"/>
                  <a:gd name="T29" fmla="*/ 80 h 294"/>
                  <a:gd name="T30" fmla="*/ 583 w 802"/>
                  <a:gd name="T31" fmla="*/ 96 h 294"/>
                  <a:gd name="T32" fmla="*/ 450 w 802"/>
                  <a:gd name="T33" fmla="*/ 82 h 294"/>
                  <a:gd name="T34" fmla="*/ 414 w 802"/>
                  <a:gd name="T35" fmla="*/ 163 h 294"/>
                  <a:gd name="T36" fmla="*/ 453 w 802"/>
                  <a:gd name="T37" fmla="*/ 150 h 294"/>
                  <a:gd name="T38" fmla="*/ 475 w 802"/>
                  <a:gd name="T39" fmla="*/ 161 h 294"/>
                  <a:gd name="T40" fmla="*/ 470 w 802"/>
                  <a:gd name="T41" fmla="*/ 118 h 294"/>
                  <a:gd name="T42" fmla="*/ 512 w 802"/>
                  <a:gd name="T43" fmla="*/ 94 h 294"/>
                  <a:gd name="T44" fmla="*/ 126 w 802"/>
                  <a:gd name="T45" fmla="*/ 86 h 294"/>
                  <a:gd name="T46" fmla="*/ 142 w 802"/>
                  <a:gd name="T47" fmla="*/ 85 h 294"/>
                  <a:gd name="T48" fmla="*/ 564 w 802"/>
                  <a:gd name="T49" fmla="*/ 92 h 294"/>
                  <a:gd name="T50" fmla="*/ 56 w 802"/>
                  <a:gd name="T51" fmla="*/ 103 h 294"/>
                  <a:gd name="T52" fmla="*/ 143 w 802"/>
                  <a:gd name="T53" fmla="*/ 108 h 294"/>
                  <a:gd name="T54" fmla="*/ 802 w 802"/>
                  <a:gd name="T55" fmla="*/ 230 h 294"/>
                  <a:gd name="T56" fmla="*/ 695 w 802"/>
                  <a:gd name="T57" fmla="*/ 157 h 294"/>
                  <a:gd name="T58" fmla="*/ 627 w 802"/>
                  <a:gd name="T59" fmla="*/ 128 h 294"/>
                  <a:gd name="T60" fmla="*/ 655 w 802"/>
                  <a:gd name="T61" fmla="*/ 158 h 294"/>
                  <a:gd name="T62" fmla="*/ 709 w 802"/>
                  <a:gd name="T63" fmla="*/ 182 h 294"/>
                  <a:gd name="T64" fmla="*/ 763 w 802"/>
                  <a:gd name="T65" fmla="*/ 230 h 294"/>
                  <a:gd name="T66" fmla="*/ 620 w 802"/>
                  <a:gd name="T67" fmla="*/ 110 h 294"/>
                  <a:gd name="T68" fmla="*/ 627 w 802"/>
                  <a:gd name="T69" fmla="*/ 119 h 294"/>
                  <a:gd name="T70" fmla="*/ 494 w 802"/>
                  <a:gd name="T71" fmla="*/ 124 h 294"/>
                  <a:gd name="T72" fmla="*/ 192 w 802"/>
                  <a:gd name="T73" fmla="*/ 136 h 294"/>
                  <a:gd name="T74" fmla="*/ 240 w 802"/>
                  <a:gd name="T75" fmla="*/ 132 h 294"/>
                  <a:gd name="T76" fmla="*/ 612 w 802"/>
                  <a:gd name="T77" fmla="*/ 139 h 294"/>
                  <a:gd name="T78" fmla="*/ 81 w 802"/>
                  <a:gd name="T79" fmla="*/ 144 h 294"/>
                  <a:gd name="T80" fmla="*/ 89 w 802"/>
                  <a:gd name="T81" fmla="*/ 158 h 294"/>
                  <a:gd name="T82" fmla="*/ 591 w 802"/>
                  <a:gd name="T83" fmla="*/ 160 h 294"/>
                  <a:gd name="T84" fmla="*/ 541 w 802"/>
                  <a:gd name="T85" fmla="*/ 158 h 294"/>
                  <a:gd name="T86" fmla="*/ 587 w 802"/>
                  <a:gd name="T87" fmla="*/ 164 h 294"/>
                  <a:gd name="T88" fmla="*/ 491 w 802"/>
                  <a:gd name="T89" fmla="*/ 186 h 294"/>
                  <a:gd name="T90" fmla="*/ 469 w 802"/>
                  <a:gd name="T91" fmla="*/ 191 h 294"/>
                  <a:gd name="T92" fmla="*/ 684 w 802"/>
                  <a:gd name="T93" fmla="*/ 204 h 294"/>
                  <a:gd name="T94" fmla="*/ 339 w 802"/>
                  <a:gd name="T95" fmla="*/ 255 h 294"/>
                  <a:gd name="T96" fmla="*/ 250 w 802"/>
                  <a:gd name="T97" fmla="*/ 222 h 294"/>
                  <a:gd name="T98" fmla="*/ 181 w 802"/>
                  <a:gd name="T99" fmla="*/ 222 h 294"/>
                  <a:gd name="T100" fmla="*/ 684 w 802"/>
                  <a:gd name="T101" fmla="*/ 211 h 294"/>
                  <a:gd name="T102" fmla="*/ 353 w 802"/>
                  <a:gd name="T103" fmla="*/ 226 h 294"/>
                  <a:gd name="T104" fmla="*/ 641 w 802"/>
                  <a:gd name="T105" fmla="*/ 229 h 294"/>
                  <a:gd name="T106" fmla="*/ 566 w 802"/>
                  <a:gd name="T107" fmla="*/ 235 h 294"/>
                  <a:gd name="T108" fmla="*/ 348 w 802"/>
                  <a:gd name="T109" fmla="*/ 254 h 294"/>
                  <a:gd name="T110" fmla="*/ 392 w 802"/>
                  <a:gd name="T111" fmla="*/ 251 h 294"/>
                  <a:gd name="T112" fmla="*/ 625 w 802"/>
                  <a:gd name="T113" fmla="*/ 247 h 294"/>
                  <a:gd name="T114" fmla="*/ 441 w 802"/>
                  <a:gd name="T115" fmla="*/ 257 h 294"/>
                  <a:gd name="T116" fmla="*/ 419 w 802"/>
                  <a:gd name="T117" fmla="*/ 246 h 294"/>
                  <a:gd name="T118" fmla="*/ 503 w 802"/>
                  <a:gd name="T119" fmla="*/ 247 h 294"/>
                  <a:gd name="T120" fmla="*/ 423 w 802"/>
                  <a:gd name="T121" fmla="*/ 254 h 294"/>
                  <a:gd name="T122" fmla="*/ 498 w 802"/>
                  <a:gd name="T123" fmla="*/ 276 h 294"/>
                  <a:gd name="T124" fmla="*/ 417 w 802"/>
                  <a:gd name="T125"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2" h="294">
                    <a:moveTo>
                      <a:pt x="1" y="0"/>
                    </a:moveTo>
                    <a:lnTo>
                      <a:pt x="0" y="0"/>
                    </a:lnTo>
                    <a:lnTo>
                      <a:pt x="0" y="0"/>
                    </a:lnTo>
                    <a:lnTo>
                      <a:pt x="0" y="0"/>
                    </a:lnTo>
                    <a:lnTo>
                      <a:pt x="0" y="2"/>
                    </a:lnTo>
                    <a:lnTo>
                      <a:pt x="1" y="2"/>
                    </a:lnTo>
                    <a:lnTo>
                      <a:pt x="1" y="2"/>
                    </a:lnTo>
                    <a:lnTo>
                      <a:pt x="1" y="0"/>
                    </a:lnTo>
                    <a:lnTo>
                      <a:pt x="1" y="0"/>
                    </a:lnTo>
                    <a:close/>
                    <a:moveTo>
                      <a:pt x="187" y="163"/>
                    </a:moveTo>
                    <a:lnTo>
                      <a:pt x="189" y="160"/>
                    </a:lnTo>
                    <a:lnTo>
                      <a:pt x="189" y="160"/>
                    </a:lnTo>
                    <a:lnTo>
                      <a:pt x="189" y="158"/>
                    </a:lnTo>
                    <a:lnTo>
                      <a:pt x="189" y="157"/>
                    </a:lnTo>
                    <a:lnTo>
                      <a:pt x="187" y="154"/>
                    </a:lnTo>
                    <a:lnTo>
                      <a:pt x="181" y="146"/>
                    </a:lnTo>
                    <a:lnTo>
                      <a:pt x="179" y="146"/>
                    </a:lnTo>
                    <a:lnTo>
                      <a:pt x="178" y="144"/>
                    </a:lnTo>
                    <a:lnTo>
                      <a:pt x="176" y="144"/>
                    </a:lnTo>
                    <a:lnTo>
                      <a:pt x="172" y="144"/>
                    </a:lnTo>
                    <a:lnTo>
                      <a:pt x="170" y="144"/>
                    </a:lnTo>
                    <a:lnTo>
                      <a:pt x="170" y="144"/>
                    </a:lnTo>
                    <a:lnTo>
                      <a:pt x="168" y="146"/>
                    </a:lnTo>
                    <a:lnTo>
                      <a:pt x="167" y="147"/>
                    </a:lnTo>
                    <a:lnTo>
                      <a:pt x="165" y="149"/>
                    </a:lnTo>
                    <a:lnTo>
                      <a:pt x="165" y="149"/>
                    </a:lnTo>
                    <a:lnTo>
                      <a:pt x="164" y="147"/>
                    </a:lnTo>
                    <a:lnTo>
                      <a:pt x="165" y="146"/>
                    </a:lnTo>
                    <a:lnTo>
                      <a:pt x="165" y="144"/>
                    </a:lnTo>
                    <a:lnTo>
                      <a:pt x="167" y="143"/>
                    </a:lnTo>
                    <a:lnTo>
                      <a:pt x="168" y="143"/>
                    </a:lnTo>
                    <a:lnTo>
                      <a:pt x="168" y="141"/>
                    </a:lnTo>
                    <a:lnTo>
                      <a:pt x="168" y="139"/>
                    </a:lnTo>
                    <a:lnTo>
                      <a:pt x="167" y="138"/>
                    </a:lnTo>
                    <a:lnTo>
                      <a:pt x="165" y="138"/>
                    </a:lnTo>
                    <a:lnTo>
                      <a:pt x="164" y="136"/>
                    </a:lnTo>
                    <a:lnTo>
                      <a:pt x="162" y="135"/>
                    </a:lnTo>
                    <a:lnTo>
                      <a:pt x="162" y="133"/>
                    </a:lnTo>
                    <a:lnTo>
                      <a:pt x="162" y="132"/>
                    </a:lnTo>
                    <a:lnTo>
                      <a:pt x="161" y="127"/>
                    </a:lnTo>
                    <a:lnTo>
                      <a:pt x="161" y="125"/>
                    </a:lnTo>
                    <a:lnTo>
                      <a:pt x="161" y="122"/>
                    </a:lnTo>
                    <a:lnTo>
                      <a:pt x="159" y="121"/>
                    </a:lnTo>
                    <a:lnTo>
                      <a:pt x="158" y="121"/>
                    </a:lnTo>
                    <a:lnTo>
                      <a:pt x="158" y="121"/>
                    </a:lnTo>
                    <a:lnTo>
                      <a:pt x="154" y="121"/>
                    </a:lnTo>
                    <a:lnTo>
                      <a:pt x="153" y="121"/>
                    </a:lnTo>
                    <a:lnTo>
                      <a:pt x="148" y="119"/>
                    </a:lnTo>
                    <a:lnTo>
                      <a:pt x="147" y="118"/>
                    </a:lnTo>
                    <a:lnTo>
                      <a:pt x="145" y="116"/>
                    </a:lnTo>
                    <a:lnTo>
                      <a:pt x="143" y="113"/>
                    </a:lnTo>
                    <a:lnTo>
                      <a:pt x="143" y="113"/>
                    </a:lnTo>
                    <a:lnTo>
                      <a:pt x="145" y="111"/>
                    </a:lnTo>
                    <a:lnTo>
                      <a:pt x="145" y="110"/>
                    </a:lnTo>
                    <a:lnTo>
                      <a:pt x="143" y="110"/>
                    </a:lnTo>
                    <a:lnTo>
                      <a:pt x="143" y="108"/>
                    </a:lnTo>
                    <a:lnTo>
                      <a:pt x="143" y="107"/>
                    </a:lnTo>
                    <a:lnTo>
                      <a:pt x="143" y="107"/>
                    </a:lnTo>
                    <a:lnTo>
                      <a:pt x="147" y="103"/>
                    </a:lnTo>
                    <a:lnTo>
                      <a:pt x="148" y="103"/>
                    </a:lnTo>
                    <a:lnTo>
                      <a:pt x="150" y="102"/>
                    </a:lnTo>
                    <a:lnTo>
                      <a:pt x="148" y="100"/>
                    </a:lnTo>
                    <a:lnTo>
                      <a:pt x="148" y="97"/>
                    </a:lnTo>
                    <a:lnTo>
                      <a:pt x="147" y="96"/>
                    </a:lnTo>
                    <a:lnTo>
                      <a:pt x="143" y="94"/>
                    </a:lnTo>
                    <a:lnTo>
                      <a:pt x="143" y="94"/>
                    </a:lnTo>
                    <a:lnTo>
                      <a:pt x="142" y="94"/>
                    </a:lnTo>
                    <a:lnTo>
                      <a:pt x="140" y="94"/>
                    </a:lnTo>
                    <a:lnTo>
                      <a:pt x="137" y="96"/>
                    </a:lnTo>
                    <a:lnTo>
                      <a:pt x="136" y="97"/>
                    </a:lnTo>
                    <a:lnTo>
                      <a:pt x="134" y="99"/>
                    </a:lnTo>
                    <a:lnTo>
                      <a:pt x="132" y="99"/>
                    </a:lnTo>
                    <a:lnTo>
                      <a:pt x="128" y="99"/>
                    </a:lnTo>
                    <a:lnTo>
                      <a:pt x="132" y="97"/>
                    </a:lnTo>
                    <a:lnTo>
                      <a:pt x="136" y="96"/>
                    </a:lnTo>
                    <a:lnTo>
                      <a:pt x="137" y="94"/>
                    </a:lnTo>
                    <a:lnTo>
                      <a:pt x="136" y="92"/>
                    </a:lnTo>
                    <a:lnTo>
                      <a:pt x="136" y="91"/>
                    </a:lnTo>
                    <a:lnTo>
                      <a:pt x="132" y="91"/>
                    </a:lnTo>
                    <a:lnTo>
                      <a:pt x="128" y="89"/>
                    </a:lnTo>
                    <a:lnTo>
                      <a:pt x="126" y="89"/>
                    </a:lnTo>
                    <a:lnTo>
                      <a:pt x="125" y="88"/>
                    </a:lnTo>
                    <a:lnTo>
                      <a:pt x="123" y="86"/>
                    </a:lnTo>
                    <a:lnTo>
                      <a:pt x="122" y="85"/>
                    </a:lnTo>
                    <a:lnTo>
                      <a:pt x="122" y="83"/>
                    </a:lnTo>
                    <a:lnTo>
                      <a:pt x="122" y="82"/>
                    </a:lnTo>
                    <a:lnTo>
                      <a:pt x="120" y="80"/>
                    </a:lnTo>
                    <a:lnTo>
                      <a:pt x="118" y="78"/>
                    </a:lnTo>
                    <a:lnTo>
                      <a:pt x="114" y="75"/>
                    </a:lnTo>
                    <a:lnTo>
                      <a:pt x="112" y="74"/>
                    </a:lnTo>
                    <a:lnTo>
                      <a:pt x="111" y="74"/>
                    </a:lnTo>
                    <a:lnTo>
                      <a:pt x="109" y="74"/>
                    </a:lnTo>
                    <a:lnTo>
                      <a:pt x="107" y="72"/>
                    </a:lnTo>
                    <a:lnTo>
                      <a:pt x="107" y="71"/>
                    </a:lnTo>
                    <a:lnTo>
                      <a:pt x="106" y="67"/>
                    </a:lnTo>
                    <a:lnTo>
                      <a:pt x="104" y="66"/>
                    </a:lnTo>
                    <a:lnTo>
                      <a:pt x="101" y="63"/>
                    </a:lnTo>
                    <a:lnTo>
                      <a:pt x="100" y="63"/>
                    </a:lnTo>
                    <a:lnTo>
                      <a:pt x="98" y="63"/>
                    </a:lnTo>
                    <a:lnTo>
                      <a:pt x="98" y="64"/>
                    </a:lnTo>
                    <a:lnTo>
                      <a:pt x="98" y="64"/>
                    </a:lnTo>
                    <a:lnTo>
                      <a:pt x="98" y="66"/>
                    </a:lnTo>
                    <a:lnTo>
                      <a:pt x="98" y="67"/>
                    </a:lnTo>
                    <a:lnTo>
                      <a:pt x="98" y="69"/>
                    </a:lnTo>
                    <a:lnTo>
                      <a:pt x="98" y="67"/>
                    </a:lnTo>
                    <a:lnTo>
                      <a:pt x="95" y="66"/>
                    </a:lnTo>
                    <a:lnTo>
                      <a:pt x="93" y="66"/>
                    </a:lnTo>
                    <a:lnTo>
                      <a:pt x="92" y="64"/>
                    </a:lnTo>
                    <a:lnTo>
                      <a:pt x="92" y="63"/>
                    </a:lnTo>
                    <a:lnTo>
                      <a:pt x="90" y="63"/>
                    </a:lnTo>
                    <a:lnTo>
                      <a:pt x="89" y="61"/>
                    </a:lnTo>
                    <a:lnTo>
                      <a:pt x="89" y="60"/>
                    </a:lnTo>
                    <a:lnTo>
                      <a:pt x="86" y="56"/>
                    </a:lnTo>
                    <a:lnTo>
                      <a:pt x="84" y="55"/>
                    </a:lnTo>
                    <a:lnTo>
                      <a:pt x="82" y="52"/>
                    </a:lnTo>
                    <a:lnTo>
                      <a:pt x="81" y="50"/>
                    </a:lnTo>
                    <a:lnTo>
                      <a:pt x="78" y="47"/>
                    </a:lnTo>
                    <a:lnTo>
                      <a:pt x="75" y="46"/>
                    </a:lnTo>
                    <a:lnTo>
                      <a:pt x="68" y="41"/>
                    </a:lnTo>
                    <a:lnTo>
                      <a:pt x="64" y="38"/>
                    </a:lnTo>
                    <a:lnTo>
                      <a:pt x="62" y="38"/>
                    </a:lnTo>
                    <a:lnTo>
                      <a:pt x="61" y="36"/>
                    </a:lnTo>
                    <a:lnTo>
                      <a:pt x="61" y="35"/>
                    </a:lnTo>
                    <a:lnTo>
                      <a:pt x="59" y="35"/>
                    </a:lnTo>
                    <a:lnTo>
                      <a:pt x="57" y="33"/>
                    </a:lnTo>
                    <a:lnTo>
                      <a:pt x="53" y="31"/>
                    </a:lnTo>
                    <a:lnTo>
                      <a:pt x="53" y="30"/>
                    </a:lnTo>
                    <a:lnTo>
                      <a:pt x="53" y="27"/>
                    </a:lnTo>
                    <a:lnTo>
                      <a:pt x="53" y="25"/>
                    </a:lnTo>
                    <a:lnTo>
                      <a:pt x="48" y="22"/>
                    </a:lnTo>
                    <a:lnTo>
                      <a:pt x="48" y="22"/>
                    </a:lnTo>
                    <a:lnTo>
                      <a:pt x="48" y="19"/>
                    </a:lnTo>
                    <a:lnTo>
                      <a:pt x="46" y="17"/>
                    </a:lnTo>
                    <a:lnTo>
                      <a:pt x="43" y="14"/>
                    </a:lnTo>
                    <a:lnTo>
                      <a:pt x="40" y="13"/>
                    </a:lnTo>
                    <a:lnTo>
                      <a:pt x="40" y="13"/>
                    </a:lnTo>
                    <a:lnTo>
                      <a:pt x="39" y="11"/>
                    </a:lnTo>
                    <a:lnTo>
                      <a:pt x="39" y="11"/>
                    </a:lnTo>
                    <a:lnTo>
                      <a:pt x="34" y="13"/>
                    </a:lnTo>
                    <a:lnTo>
                      <a:pt x="32" y="11"/>
                    </a:lnTo>
                    <a:lnTo>
                      <a:pt x="29" y="11"/>
                    </a:lnTo>
                    <a:lnTo>
                      <a:pt x="28" y="11"/>
                    </a:lnTo>
                    <a:lnTo>
                      <a:pt x="23" y="11"/>
                    </a:lnTo>
                    <a:lnTo>
                      <a:pt x="21" y="11"/>
                    </a:lnTo>
                    <a:lnTo>
                      <a:pt x="17" y="11"/>
                    </a:lnTo>
                    <a:lnTo>
                      <a:pt x="15" y="11"/>
                    </a:lnTo>
                    <a:lnTo>
                      <a:pt x="14" y="10"/>
                    </a:lnTo>
                    <a:lnTo>
                      <a:pt x="11" y="6"/>
                    </a:lnTo>
                    <a:lnTo>
                      <a:pt x="9" y="5"/>
                    </a:lnTo>
                    <a:lnTo>
                      <a:pt x="6" y="5"/>
                    </a:lnTo>
                    <a:lnTo>
                      <a:pt x="4" y="5"/>
                    </a:lnTo>
                    <a:lnTo>
                      <a:pt x="3" y="5"/>
                    </a:lnTo>
                    <a:lnTo>
                      <a:pt x="0" y="5"/>
                    </a:lnTo>
                    <a:lnTo>
                      <a:pt x="0" y="6"/>
                    </a:lnTo>
                    <a:lnTo>
                      <a:pt x="0" y="6"/>
                    </a:lnTo>
                    <a:lnTo>
                      <a:pt x="0" y="8"/>
                    </a:lnTo>
                    <a:lnTo>
                      <a:pt x="0" y="8"/>
                    </a:lnTo>
                    <a:lnTo>
                      <a:pt x="0" y="10"/>
                    </a:lnTo>
                    <a:lnTo>
                      <a:pt x="0" y="11"/>
                    </a:lnTo>
                    <a:lnTo>
                      <a:pt x="3" y="16"/>
                    </a:lnTo>
                    <a:lnTo>
                      <a:pt x="3" y="17"/>
                    </a:lnTo>
                    <a:lnTo>
                      <a:pt x="4" y="21"/>
                    </a:lnTo>
                    <a:lnTo>
                      <a:pt x="6" y="22"/>
                    </a:lnTo>
                    <a:lnTo>
                      <a:pt x="12" y="28"/>
                    </a:lnTo>
                    <a:lnTo>
                      <a:pt x="17" y="31"/>
                    </a:lnTo>
                    <a:lnTo>
                      <a:pt x="18" y="33"/>
                    </a:lnTo>
                    <a:lnTo>
                      <a:pt x="20" y="36"/>
                    </a:lnTo>
                    <a:lnTo>
                      <a:pt x="21" y="38"/>
                    </a:lnTo>
                    <a:lnTo>
                      <a:pt x="26" y="38"/>
                    </a:lnTo>
                    <a:lnTo>
                      <a:pt x="29" y="39"/>
                    </a:lnTo>
                    <a:lnTo>
                      <a:pt x="29" y="41"/>
                    </a:lnTo>
                    <a:lnTo>
                      <a:pt x="34" y="46"/>
                    </a:lnTo>
                    <a:lnTo>
                      <a:pt x="36" y="47"/>
                    </a:lnTo>
                    <a:lnTo>
                      <a:pt x="36" y="49"/>
                    </a:lnTo>
                    <a:lnTo>
                      <a:pt x="37" y="50"/>
                    </a:lnTo>
                    <a:lnTo>
                      <a:pt x="40" y="53"/>
                    </a:lnTo>
                    <a:lnTo>
                      <a:pt x="42" y="55"/>
                    </a:lnTo>
                    <a:lnTo>
                      <a:pt x="42" y="56"/>
                    </a:lnTo>
                    <a:lnTo>
                      <a:pt x="42" y="60"/>
                    </a:lnTo>
                    <a:lnTo>
                      <a:pt x="43" y="61"/>
                    </a:lnTo>
                    <a:lnTo>
                      <a:pt x="45" y="63"/>
                    </a:lnTo>
                    <a:lnTo>
                      <a:pt x="46" y="63"/>
                    </a:lnTo>
                    <a:lnTo>
                      <a:pt x="48" y="64"/>
                    </a:lnTo>
                    <a:lnTo>
                      <a:pt x="50" y="64"/>
                    </a:lnTo>
                    <a:lnTo>
                      <a:pt x="57" y="69"/>
                    </a:lnTo>
                    <a:lnTo>
                      <a:pt x="59" y="71"/>
                    </a:lnTo>
                    <a:lnTo>
                      <a:pt x="61" y="74"/>
                    </a:lnTo>
                    <a:lnTo>
                      <a:pt x="62" y="77"/>
                    </a:lnTo>
                    <a:lnTo>
                      <a:pt x="64" y="85"/>
                    </a:lnTo>
                    <a:lnTo>
                      <a:pt x="67" y="91"/>
                    </a:lnTo>
                    <a:lnTo>
                      <a:pt x="67" y="96"/>
                    </a:lnTo>
                    <a:lnTo>
                      <a:pt x="68" y="97"/>
                    </a:lnTo>
                    <a:lnTo>
                      <a:pt x="70" y="99"/>
                    </a:lnTo>
                    <a:lnTo>
                      <a:pt x="72" y="99"/>
                    </a:lnTo>
                    <a:lnTo>
                      <a:pt x="76" y="102"/>
                    </a:lnTo>
                    <a:lnTo>
                      <a:pt x="78" y="102"/>
                    </a:lnTo>
                    <a:lnTo>
                      <a:pt x="78" y="103"/>
                    </a:lnTo>
                    <a:lnTo>
                      <a:pt x="81" y="108"/>
                    </a:lnTo>
                    <a:lnTo>
                      <a:pt x="82" y="110"/>
                    </a:lnTo>
                    <a:lnTo>
                      <a:pt x="84" y="111"/>
                    </a:lnTo>
                    <a:lnTo>
                      <a:pt x="84" y="113"/>
                    </a:lnTo>
                    <a:lnTo>
                      <a:pt x="89" y="118"/>
                    </a:lnTo>
                    <a:lnTo>
                      <a:pt x="89" y="118"/>
                    </a:lnTo>
                    <a:lnTo>
                      <a:pt x="90" y="122"/>
                    </a:lnTo>
                    <a:lnTo>
                      <a:pt x="92" y="125"/>
                    </a:lnTo>
                    <a:lnTo>
                      <a:pt x="98" y="136"/>
                    </a:lnTo>
                    <a:lnTo>
                      <a:pt x="98" y="141"/>
                    </a:lnTo>
                    <a:lnTo>
                      <a:pt x="98" y="143"/>
                    </a:lnTo>
                    <a:lnTo>
                      <a:pt x="100" y="144"/>
                    </a:lnTo>
                    <a:lnTo>
                      <a:pt x="103" y="149"/>
                    </a:lnTo>
                    <a:lnTo>
                      <a:pt x="104" y="149"/>
                    </a:lnTo>
                    <a:lnTo>
                      <a:pt x="106" y="150"/>
                    </a:lnTo>
                    <a:lnTo>
                      <a:pt x="107" y="152"/>
                    </a:lnTo>
                    <a:lnTo>
                      <a:pt x="107" y="154"/>
                    </a:lnTo>
                    <a:lnTo>
                      <a:pt x="111" y="158"/>
                    </a:lnTo>
                    <a:lnTo>
                      <a:pt x="112" y="160"/>
                    </a:lnTo>
                    <a:lnTo>
                      <a:pt x="115" y="161"/>
                    </a:lnTo>
                    <a:lnTo>
                      <a:pt x="120" y="166"/>
                    </a:lnTo>
                    <a:lnTo>
                      <a:pt x="122" y="168"/>
                    </a:lnTo>
                    <a:lnTo>
                      <a:pt x="125" y="172"/>
                    </a:lnTo>
                    <a:lnTo>
                      <a:pt x="128" y="175"/>
                    </a:lnTo>
                    <a:lnTo>
                      <a:pt x="134" y="182"/>
                    </a:lnTo>
                    <a:lnTo>
                      <a:pt x="139" y="183"/>
                    </a:lnTo>
                    <a:lnTo>
                      <a:pt x="140" y="185"/>
                    </a:lnTo>
                    <a:lnTo>
                      <a:pt x="142" y="186"/>
                    </a:lnTo>
                    <a:lnTo>
                      <a:pt x="143" y="186"/>
                    </a:lnTo>
                    <a:lnTo>
                      <a:pt x="150" y="191"/>
                    </a:lnTo>
                    <a:lnTo>
                      <a:pt x="150" y="191"/>
                    </a:lnTo>
                    <a:lnTo>
                      <a:pt x="154" y="197"/>
                    </a:lnTo>
                    <a:lnTo>
                      <a:pt x="156" y="199"/>
                    </a:lnTo>
                    <a:lnTo>
                      <a:pt x="158" y="200"/>
                    </a:lnTo>
                    <a:lnTo>
                      <a:pt x="159" y="202"/>
                    </a:lnTo>
                    <a:lnTo>
                      <a:pt x="162" y="205"/>
                    </a:lnTo>
                    <a:lnTo>
                      <a:pt x="164" y="207"/>
                    </a:lnTo>
                    <a:lnTo>
                      <a:pt x="164" y="207"/>
                    </a:lnTo>
                    <a:lnTo>
                      <a:pt x="165" y="207"/>
                    </a:lnTo>
                    <a:lnTo>
                      <a:pt x="165" y="205"/>
                    </a:lnTo>
                    <a:lnTo>
                      <a:pt x="164" y="202"/>
                    </a:lnTo>
                    <a:lnTo>
                      <a:pt x="164" y="200"/>
                    </a:lnTo>
                    <a:lnTo>
                      <a:pt x="164" y="199"/>
                    </a:lnTo>
                    <a:lnTo>
                      <a:pt x="170" y="202"/>
                    </a:lnTo>
                    <a:lnTo>
                      <a:pt x="172" y="204"/>
                    </a:lnTo>
                    <a:lnTo>
                      <a:pt x="172" y="204"/>
                    </a:lnTo>
                    <a:lnTo>
                      <a:pt x="173" y="204"/>
                    </a:lnTo>
                    <a:lnTo>
                      <a:pt x="176" y="200"/>
                    </a:lnTo>
                    <a:lnTo>
                      <a:pt x="176" y="200"/>
                    </a:lnTo>
                    <a:lnTo>
                      <a:pt x="179" y="202"/>
                    </a:lnTo>
                    <a:lnTo>
                      <a:pt x="181" y="202"/>
                    </a:lnTo>
                    <a:lnTo>
                      <a:pt x="181" y="204"/>
                    </a:lnTo>
                    <a:lnTo>
                      <a:pt x="181" y="204"/>
                    </a:lnTo>
                    <a:lnTo>
                      <a:pt x="183" y="205"/>
                    </a:lnTo>
                    <a:lnTo>
                      <a:pt x="184" y="205"/>
                    </a:lnTo>
                    <a:lnTo>
                      <a:pt x="186" y="204"/>
                    </a:lnTo>
                    <a:lnTo>
                      <a:pt x="186" y="202"/>
                    </a:lnTo>
                    <a:lnTo>
                      <a:pt x="186" y="191"/>
                    </a:lnTo>
                    <a:lnTo>
                      <a:pt x="186" y="186"/>
                    </a:lnTo>
                    <a:lnTo>
                      <a:pt x="187" y="185"/>
                    </a:lnTo>
                    <a:lnTo>
                      <a:pt x="186" y="183"/>
                    </a:lnTo>
                    <a:lnTo>
                      <a:pt x="186" y="175"/>
                    </a:lnTo>
                    <a:lnTo>
                      <a:pt x="186" y="175"/>
                    </a:lnTo>
                    <a:lnTo>
                      <a:pt x="187" y="171"/>
                    </a:lnTo>
                    <a:lnTo>
                      <a:pt x="187" y="169"/>
                    </a:lnTo>
                    <a:lnTo>
                      <a:pt x="187" y="169"/>
                    </a:lnTo>
                    <a:lnTo>
                      <a:pt x="186" y="168"/>
                    </a:lnTo>
                    <a:lnTo>
                      <a:pt x="186" y="166"/>
                    </a:lnTo>
                    <a:lnTo>
                      <a:pt x="186" y="163"/>
                    </a:lnTo>
                    <a:lnTo>
                      <a:pt x="187" y="163"/>
                    </a:lnTo>
                    <a:close/>
                    <a:moveTo>
                      <a:pt x="555" y="27"/>
                    </a:moveTo>
                    <a:lnTo>
                      <a:pt x="555" y="25"/>
                    </a:lnTo>
                    <a:lnTo>
                      <a:pt x="553" y="24"/>
                    </a:lnTo>
                    <a:lnTo>
                      <a:pt x="553" y="24"/>
                    </a:lnTo>
                    <a:lnTo>
                      <a:pt x="552" y="25"/>
                    </a:lnTo>
                    <a:lnTo>
                      <a:pt x="552" y="27"/>
                    </a:lnTo>
                    <a:lnTo>
                      <a:pt x="553" y="28"/>
                    </a:lnTo>
                    <a:lnTo>
                      <a:pt x="553" y="28"/>
                    </a:lnTo>
                    <a:lnTo>
                      <a:pt x="553" y="30"/>
                    </a:lnTo>
                    <a:lnTo>
                      <a:pt x="552" y="31"/>
                    </a:lnTo>
                    <a:lnTo>
                      <a:pt x="552" y="33"/>
                    </a:lnTo>
                    <a:lnTo>
                      <a:pt x="553" y="33"/>
                    </a:lnTo>
                    <a:lnTo>
                      <a:pt x="553" y="33"/>
                    </a:lnTo>
                    <a:lnTo>
                      <a:pt x="555" y="30"/>
                    </a:lnTo>
                    <a:lnTo>
                      <a:pt x="556" y="28"/>
                    </a:lnTo>
                    <a:lnTo>
                      <a:pt x="555" y="27"/>
                    </a:lnTo>
                    <a:close/>
                    <a:moveTo>
                      <a:pt x="415" y="85"/>
                    </a:moveTo>
                    <a:lnTo>
                      <a:pt x="414" y="83"/>
                    </a:lnTo>
                    <a:lnTo>
                      <a:pt x="411" y="80"/>
                    </a:lnTo>
                    <a:lnTo>
                      <a:pt x="408" y="78"/>
                    </a:lnTo>
                    <a:lnTo>
                      <a:pt x="401" y="74"/>
                    </a:lnTo>
                    <a:lnTo>
                      <a:pt x="400" y="74"/>
                    </a:lnTo>
                    <a:lnTo>
                      <a:pt x="398" y="71"/>
                    </a:lnTo>
                    <a:lnTo>
                      <a:pt x="397" y="69"/>
                    </a:lnTo>
                    <a:lnTo>
                      <a:pt x="397" y="67"/>
                    </a:lnTo>
                    <a:lnTo>
                      <a:pt x="395" y="67"/>
                    </a:lnTo>
                    <a:lnTo>
                      <a:pt x="397" y="67"/>
                    </a:lnTo>
                    <a:lnTo>
                      <a:pt x="397" y="66"/>
                    </a:lnTo>
                    <a:lnTo>
                      <a:pt x="398" y="66"/>
                    </a:lnTo>
                    <a:lnTo>
                      <a:pt x="400" y="64"/>
                    </a:lnTo>
                    <a:lnTo>
                      <a:pt x="400" y="63"/>
                    </a:lnTo>
                    <a:lnTo>
                      <a:pt x="400" y="63"/>
                    </a:lnTo>
                    <a:lnTo>
                      <a:pt x="400" y="61"/>
                    </a:lnTo>
                    <a:lnTo>
                      <a:pt x="397" y="58"/>
                    </a:lnTo>
                    <a:lnTo>
                      <a:pt x="395" y="56"/>
                    </a:lnTo>
                    <a:lnTo>
                      <a:pt x="395" y="55"/>
                    </a:lnTo>
                    <a:lnTo>
                      <a:pt x="395" y="55"/>
                    </a:lnTo>
                    <a:lnTo>
                      <a:pt x="394" y="53"/>
                    </a:lnTo>
                    <a:lnTo>
                      <a:pt x="392" y="53"/>
                    </a:lnTo>
                    <a:lnTo>
                      <a:pt x="394" y="53"/>
                    </a:lnTo>
                    <a:lnTo>
                      <a:pt x="394" y="52"/>
                    </a:lnTo>
                    <a:lnTo>
                      <a:pt x="392" y="52"/>
                    </a:lnTo>
                    <a:lnTo>
                      <a:pt x="392" y="52"/>
                    </a:lnTo>
                    <a:lnTo>
                      <a:pt x="392" y="52"/>
                    </a:lnTo>
                    <a:lnTo>
                      <a:pt x="392" y="50"/>
                    </a:lnTo>
                    <a:lnTo>
                      <a:pt x="392" y="49"/>
                    </a:lnTo>
                    <a:lnTo>
                      <a:pt x="392" y="49"/>
                    </a:lnTo>
                    <a:lnTo>
                      <a:pt x="390" y="49"/>
                    </a:lnTo>
                    <a:lnTo>
                      <a:pt x="389" y="47"/>
                    </a:lnTo>
                    <a:lnTo>
                      <a:pt x="387" y="47"/>
                    </a:lnTo>
                    <a:lnTo>
                      <a:pt x="387" y="46"/>
                    </a:lnTo>
                    <a:lnTo>
                      <a:pt x="389" y="44"/>
                    </a:lnTo>
                    <a:lnTo>
                      <a:pt x="387" y="42"/>
                    </a:lnTo>
                    <a:lnTo>
                      <a:pt x="384" y="41"/>
                    </a:lnTo>
                    <a:lnTo>
                      <a:pt x="384" y="39"/>
                    </a:lnTo>
                    <a:lnTo>
                      <a:pt x="383" y="39"/>
                    </a:lnTo>
                    <a:lnTo>
                      <a:pt x="384" y="39"/>
                    </a:lnTo>
                    <a:lnTo>
                      <a:pt x="386" y="39"/>
                    </a:lnTo>
                    <a:lnTo>
                      <a:pt x="389" y="39"/>
                    </a:lnTo>
                    <a:lnTo>
                      <a:pt x="390" y="39"/>
                    </a:lnTo>
                    <a:lnTo>
                      <a:pt x="390" y="38"/>
                    </a:lnTo>
                    <a:lnTo>
                      <a:pt x="392" y="39"/>
                    </a:lnTo>
                    <a:lnTo>
                      <a:pt x="392" y="39"/>
                    </a:lnTo>
                    <a:lnTo>
                      <a:pt x="394" y="39"/>
                    </a:lnTo>
                    <a:lnTo>
                      <a:pt x="395" y="39"/>
                    </a:lnTo>
                    <a:lnTo>
                      <a:pt x="395" y="38"/>
                    </a:lnTo>
                    <a:lnTo>
                      <a:pt x="394" y="38"/>
                    </a:lnTo>
                    <a:lnTo>
                      <a:pt x="394" y="36"/>
                    </a:lnTo>
                    <a:lnTo>
                      <a:pt x="392" y="35"/>
                    </a:lnTo>
                    <a:lnTo>
                      <a:pt x="392" y="35"/>
                    </a:lnTo>
                    <a:lnTo>
                      <a:pt x="392" y="33"/>
                    </a:lnTo>
                    <a:lnTo>
                      <a:pt x="389" y="31"/>
                    </a:lnTo>
                    <a:lnTo>
                      <a:pt x="390" y="31"/>
                    </a:lnTo>
                    <a:lnTo>
                      <a:pt x="392" y="30"/>
                    </a:lnTo>
                    <a:lnTo>
                      <a:pt x="392" y="30"/>
                    </a:lnTo>
                    <a:lnTo>
                      <a:pt x="390" y="30"/>
                    </a:lnTo>
                    <a:lnTo>
                      <a:pt x="389" y="30"/>
                    </a:lnTo>
                    <a:lnTo>
                      <a:pt x="386" y="28"/>
                    </a:lnTo>
                    <a:lnTo>
                      <a:pt x="383" y="27"/>
                    </a:lnTo>
                    <a:lnTo>
                      <a:pt x="378" y="27"/>
                    </a:lnTo>
                    <a:lnTo>
                      <a:pt x="376" y="27"/>
                    </a:lnTo>
                    <a:lnTo>
                      <a:pt x="375" y="27"/>
                    </a:lnTo>
                    <a:lnTo>
                      <a:pt x="375" y="27"/>
                    </a:lnTo>
                    <a:lnTo>
                      <a:pt x="373" y="27"/>
                    </a:lnTo>
                    <a:lnTo>
                      <a:pt x="373" y="27"/>
                    </a:lnTo>
                    <a:lnTo>
                      <a:pt x="372" y="28"/>
                    </a:lnTo>
                    <a:lnTo>
                      <a:pt x="370" y="27"/>
                    </a:lnTo>
                    <a:lnTo>
                      <a:pt x="370" y="27"/>
                    </a:lnTo>
                    <a:lnTo>
                      <a:pt x="369" y="27"/>
                    </a:lnTo>
                    <a:lnTo>
                      <a:pt x="367" y="27"/>
                    </a:lnTo>
                    <a:lnTo>
                      <a:pt x="364" y="28"/>
                    </a:lnTo>
                    <a:lnTo>
                      <a:pt x="362" y="27"/>
                    </a:lnTo>
                    <a:lnTo>
                      <a:pt x="361" y="27"/>
                    </a:lnTo>
                    <a:lnTo>
                      <a:pt x="361" y="27"/>
                    </a:lnTo>
                    <a:lnTo>
                      <a:pt x="361" y="27"/>
                    </a:lnTo>
                    <a:lnTo>
                      <a:pt x="361" y="28"/>
                    </a:lnTo>
                    <a:lnTo>
                      <a:pt x="358" y="30"/>
                    </a:lnTo>
                    <a:lnTo>
                      <a:pt x="358" y="30"/>
                    </a:lnTo>
                    <a:lnTo>
                      <a:pt x="358" y="31"/>
                    </a:lnTo>
                    <a:lnTo>
                      <a:pt x="356" y="33"/>
                    </a:lnTo>
                    <a:lnTo>
                      <a:pt x="356" y="35"/>
                    </a:lnTo>
                    <a:lnTo>
                      <a:pt x="356" y="38"/>
                    </a:lnTo>
                    <a:lnTo>
                      <a:pt x="356" y="38"/>
                    </a:lnTo>
                    <a:lnTo>
                      <a:pt x="356" y="39"/>
                    </a:lnTo>
                    <a:lnTo>
                      <a:pt x="356" y="42"/>
                    </a:lnTo>
                    <a:lnTo>
                      <a:pt x="356" y="42"/>
                    </a:lnTo>
                    <a:lnTo>
                      <a:pt x="356" y="42"/>
                    </a:lnTo>
                    <a:lnTo>
                      <a:pt x="356" y="42"/>
                    </a:lnTo>
                    <a:lnTo>
                      <a:pt x="356" y="44"/>
                    </a:lnTo>
                    <a:lnTo>
                      <a:pt x="356" y="44"/>
                    </a:lnTo>
                    <a:lnTo>
                      <a:pt x="355" y="47"/>
                    </a:lnTo>
                    <a:lnTo>
                      <a:pt x="355" y="47"/>
                    </a:lnTo>
                    <a:lnTo>
                      <a:pt x="355" y="49"/>
                    </a:lnTo>
                    <a:lnTo>
                      <a:pt x="355" y="50"/>
                    </a:lnTo>
                    <a:lnTo>
                      <a:pt x="353" y="50"/>
                    </a:lnTo>
                    <a:lnTo>
                      <a:pt x="351" y="50"/>
                    </a:lnTo>
                    <a:lnTo>
                      <a:pt x="351" y="50"/>
                    </a:lnTo>
                    <a:lnTo>
                      <a:pt x="350" y="50"/>
                    </a:lnTo>
                    <a:lnTo>
                      <a:pt x="350" y="52"/>
                    </a:lnTo>
                    <a:lnTo>
                      <a:pt x="348" y="52"/>
                    </a:lnTo>
                    <a:lnTo>
                      <a:pt x="348" y="53"/>
                    </a:lnTo>
                    <a:lnTo>
                      <a:pt x="348" y="55"/>
                    </a:lnTo>
                    <a:lnTo>
                      <a:pt x="348" y="55"/>
                    </a:lnTo>
                    <a:lnTo>
                      <a:pt x="348" y="55"/>
                    </a:lnTo>
                    <a:lnTo>
                      <a:pt x="348" y="56"/>
                    </a:lnTo>
                    <a:lnTo>
                      <a:pt x="348" y="56"/>
                    </a:lnTo>
                    <a:lnTo>
                      <a:pt x="348" y="58"/>
                    </a:lnTo>
                    <a:lnTo>
                      <a:pt x="350" y="58"/>
                    </a:lnTo>
                    <a:lnTo>
                      <a:pt x="350" y="60"/>
                    </a:lnTo>
                    <a:lnTo>
                      <a:pt x="350" y="60"/>
                    </a:lnTo>
                    <a:lnTo>
                      <a:pt x="348" y="60"/>
                    </a:lnTo>
                    <a:lnTo>
                      <a:pt x="348" y="60"/>
                    </a:lnTo>
                    <a:lnTo>
                      <a:pt x="345" y="61"/>
                    </a:lnTo>
                    <a:lnTo>
                      <a:pt x="344" y="63"/>
                    </a:lnTo>
                    <a:lnTo>
                      <a:pt x="342" y="64"/>
                    </a:lnTo>
                    <a:lnTo>
                      <a:pt x="342" y="64"/>
                    </a:lnTo>
                    <a:lnTo>
                      <a:pt x="342" y="64"/>
                    </a:lnTo>
                    <a:lnTo>
                      <a:pt x="342" y="66"/>
                    </a:lnTo>
                    <a:lnTo>
                      <a:pt x="342" y="67"/>
                    </a:lnTo>
                    <a:lnTo>
                      <a:pt x="344" y="67"/>
                    </a:lnTo>
                    <a:lnTo>
                      <a:pt x="344" y="69"/>
                    </a:lnTo>
                    <a:lnTo>
                      <a:pt x="344" y="69"/>
                    </a:lnTo>
                    <a:lnTo>
                      <a:pt x="344" y="71"/>
                    </a:lnTo>
                    <a:lnTo>
                      <a:pt x="342" y="71"/>
                    </a:lnTo>
                    <a:lnTo>
                      <a:pt x="340" y="71"/>
                    </a:lnTo>
                    <a:lnTo>
                      <a:pt x="340" y="71"/>
                    </a:lnTo>
                    <a:lnTo>
                      <a:pt x="340" y="71"/>
                    </a:lnTo>
                    <a:lnTo>
                      <a:pt x="340" y="74"/>
                    </a:lnTo>
                    <a:lnTo>
                      <a:pt x="340" y="74"/>
                    </a:lnTo>
                    <a:lnTo>
                      <a:pt x="340" y="75"/>
                    </a:lnTo>
                    <a:lnTo>
                      <a:pt x="339" y="75"/>
                    </a:lnTo>
                    <a:lnTo>
                      <a:pt x="339" y="77"/>
                    </a:lnTo>
                    <a:lnTo>
                      <a:pt x="339" y="77"/>
                    </a:lnTo>
                    <a:lnTo>
                      <a:pt x="337" y="77"/>
                    </a:lnTo>
                    <a:lnTo>
                      <a:pt x="336" y="77"/>
                    </a:lnTo>
                    <a:lnTo>
                      <a:pt x="334" y="77"/>
                    </a:lnTo>
                    <a:lnTo>
                      <a:pt x="331" y="77"/>
                    </a:lnTo>
                    <a:lnTo>
                      <a:pt x="329" y="77"/>
                    </a:lnTo>
                    <a:lnTo>
                      <a:pt x="328" y="78"/>
                    </a:lnTo>
                    <a:lnTo>
                      <a:pt x="326" y="78"/>
                    </a:lnTo>
                    <a:lnTo>
                      <a:pt x="326" y="78"/>
                    </a:lnTo>
                    <a:lnTo>
                      <a:pt x="326" y="78"/>
                    </a:lnTo>
                    <a:lnTo>
                      <a:pt x="325" y="80"/>
                    </a:lnTo>
                    <a:lnTo>
                      <a:pt x="323" y="82"/>
                    </a:lnTo>
                    <a:lnTo>
                      <a:pt x="322" y="82"/>
                    </a:lnTo>
                    <a:lnTo>
                      <a:pt x="320" y="80"/>
                    </a:lnTo>
                    <a:lnTo>
                      <a:pt x="319" y="80"/>
                    </a:lnTo>
                    <a:lnTo>
                      <a:pt x="317" y="80"/>
                    </a:lnTo>
                    <a:lnTo>
                      <a:pt x="314" y="78"/>
                    </a:lnTo>
                    <a:lnTo>
                      <a:pt x="312" y="78"/>
                    </a:lnTo>
                    <a:lnTo>
                      <a:pt x="311" y="78"/>
                    </a:lnTo>
                    <a:lnTo>
                      <a:pt x="311" y="77"/>
                    </a:lnTo>
                    <a:lnTo>
                      <a:pt x="311" y="77"/>
                    </a:lnTo>
                    <a:lnTo>
                      <a:pt x="311" y="75"/>
                    </a:lnTo>
                    <a:lnTo>
                      <a:pt x="311" y="75"/>
                    </a:lnTo>
                    <a:lnTo>
                      <a:pt x="311" y="75"/>
                    </a:lnTo>
                    <a:lnTo>
                      <a:pt x="301" y="75"/>
                    </a:lnTo>
                    <a:lnTo>
                      <a:pt x="300" y="77"/>
                    </a:lnTo>
                    <a:lnTo>
                      <a:pt x="298" y="77"/>
                    </a:lnTo>
                    <a:lnTo>
                      <a:pt x="297" y="78"/>
                    </a:lnTo>
                    <a:lnTo>
                      <a:pt x="297" y="78"/>
                    </a:lnTo>
                    <a:lnTo>
                      <a:pt x="297" y="78"/>
                    </a:lnTo>
                    <a:lnTo>
                      <a:pt x="297" y="80"/>
                    </a:lnTo>
                    <a:lnTo>
                      <a:pt x="297" y="80"/>
                    </a:lnTo>
                    <a:lnTo>
                      <a:pt x="297" y="82"/>
                    </a:lnTo>
                    <a:lnTo>
                      <a:pt x="295" y="83"/>
                    </a:lnTo>
                    <a:lnTo>
                      <a:pt x="292" y="83"/>
                    </a:lnTo>
                    <a:lnTo>
                      <a:pt x="290" y="85"/>
                    </a:lnTo>
                    <a:lnTo>
                      <a:pt x="290" y="86"/>
                    </a:lnTo>
                    <a:lnTo>
                      <a:pt x="289" y="85"/>
                    </a:lnTo>
                    <a:lnTo>
                      <a:pt x="287" y="85"/>
                    </a:lnTo>
                    <a:lnTo>
                      <a:pt x="286" y="86"/>
                    </a:lnTo>
                    <a:lnTo>
                      <a:pt x="284" y="86"/>
                    </a:lnTo>
                    <a:lnTo>
                      <a:pt x="281" y="85"/>
                    </a:lnTo>
                    <a:lnTo>
                      <a:pt x="278" y="85"/>
                    </a:lnTo>
                    <a:lnTo>
                      <a:pt x="276" y="85"/>
                    </a:lnTo>
                    <a:lnTo>
                      <a:pt x="275" y="85"/>
                    </a:lnTo>
                    <a:lnTo>
                      <a:pt x="270" y="88"/>
                    </a:lnTo>
                    <a:lnTo>
                      <a:pt x="267" y="88"/>
                    </a:lnTo>
                    <a:lnTo>
                      <a:pt x="267" y="88"/>
                    </a:lnTo>
                    <a:lnTo>
                      <a:pt x="265" y="86"/>
                    </a:lnTo>
                    <a:lnTo>
                      <a:pt x="264" y="86"/>
                    </a:lnTo>
                    <a:lnTo>
                      <a:pt x="261" y="82"/>
                    </a:lnTo>
                    <a:lnTo>
                      <a:pt x="259" y="82"/>
                    </a:lnTo>
                    <a:lnTo>
                      <a:pt x="259" y="80"/>
                    </a:lnTo>
                    <a:lnTo>
                      <a:pt x="258" y="80"/>
                    </a:lnTo>
                    <a:lnTo>
                      <a:pt x="258" y="80"/>
                    </a:lnTo>
                    <a:lnTo>
                      <a:pt x="256" y="78"/>
                    </a:lnTo>
                    <a:lnTo>
                      <a:pt x="256" y="78"/>
                    </a:lnTo>
                    <a:lnTo>
                      <a:pt x="254" y="77"/>
                    </a:lnTo>
                    <a:lnTo>
                      <a:pt x="253" y="75"/>
                    </a:lnTo>
                    <a:lnTo>
                      <a:pt x="253" y="72"/>
                    </a:lnTo>
                    <a:lnTo>
                      <a:pt x="253" y="72"/>
                    </a:lnTo>
                    <a:lnTo>
                      <a:pt x="251" y="72"/>
                    </a:lnTo>
                    <a:lnTo>
                      <a:pt x="251" y="71"/>
                    </a:lnTo>
                    <a:lnTo>
                      <a:pt x="250" y="71"/>
                    </a:lnTo>
                    <a:lnTo>
                      <a:pt x="251" y="67"/>
                    </a:lnTo>
                    <a:lnTo>
                      <a:pt x="251" y="67"/>
                    </a:lnTo>
                    <a:lnTo>
                      <a:pt x="248" y="69"/>
                    </a:lnTo>
                    <a:lnTo>
                      <a:pt x="247" y="71"/>
                    </a:lnTo>
                    <a:lnTo>
                      <a:pt x="245" y="74"/>
                    </a:lnTo>
                    <a:lnTo>
                      <a:pt x="243" y="75"/>
                    </a:lnTo>
                    <a:lnTo>
                      <a:pt x="242" y="77"/>
                    </a:lnTo>
                    <a:lnTo>
                      <a:pt x="242" y="78"/>
                    </a:lnTo>
                    <a:lnTo>
                      <a:pt x="242" y="82"/>
                    </a:lnTo>
                    <a:lnTo>
                      <a:pt x="242" y="82"/>
                    </a:lnTo>
                    <a:lnTo>
                      <a:pt x="242" y="82"/>
                    </a:lnTo>
                    <a:lnTo>
                      <a:pt x="243" y="82"/>
                    </a:lnTo>
                    <a:lnTo>
                      <a:pt x="242" y="82"/>
                    </a:lnTo>
                    <a:lnTo>
                      <a:pt x="242" y="82"/>
                    </a:lnTo>
                    <a:lnTo>
                      <a:pt x="240" y="83"/>
                    </a:lnTo>
                    <a:lnTo>
                      <a:pt x="239" y="86"/>
                    </a:lnTo>
                    <a:lnTo>
                      <a:pt x="239" y="89"/>
                    </a:lnTo>
                    <a:lnTo>
                      <a:pt x="240" y="94"/>
                    </a:lnTo>
                    <a:lnTo>
                      <a:pt x="240" y="97"/>
                    </a:lnTo>
                    <a:lnTo>
                      <a:pt x="242" y="99"/>
                    </a:lnTo>
                    <a:lnTo>
                      <a:pt x="243" y="100"/>
                    </a:lnTo>
                    <a:lnTo>
                      <a:pt x="243" y="100"/>
                    </a:lnTo>
                    <a:lnTo>
                      <a:pt x="245" y="102"/>
                    </a:lnTo>
                    <a:lnTo>
                      <a:pt x="245" y="102"/>
                    </a:lnTo>
                    <a:lnTo>
                      <a:pt x="245" y="102"/>
                    </a:lnTo>
                    <a:lnTo>
                      <a:pt x="245" y="103"/>
                    </a:lnTo>
                    <a:lnTo>
                      <a:pt x="243" y="105"/>
                    </a:lnTo>
                    <a:lnTo>
                      <a:pt x="243" y="107"/>
                    </a:lnTo>
                    <a:lnTo>
                      <a:pt x="243" y="108"/>
                    </a:lnTo>
                    <a:lnTo>
                      <a:pt x="243" y="110"/>
                    </a:lnTo>
                    <a:lnTo>
                      <a:pt x="243" y="111"/>
                    </a:lnTo>
                    <a:lnTo>
                      <a:pt x="243" y="111"/>
                    </a:lnTo>
                    <a:lnTo>
                      <a:pt x="245" y="113"/>
                    </a:lnTo>
                    <a:lnTo>
                      <a:pt x="248" y="114"/>
                    </a:lnTo>
                    <a:lnTo>
                      <a:pt x="248" y="114"/>
                    </a:lnTo>
                    <a:lnTo>
                      <a:pt x="247" y="114"/>
                    </a:lnTo>
                    <a:lnTo>
                      <a:pt x="245" y="116"/>
                    </a:lnTo>
                    <a:lnTo>
                      <a:pt x="245" y="118"/>
                    </a:lnTo>
                    <a:lnTo>
                      <a:pt x="247" y="118"/>
                    </a:lnTo>
                    <a:lnTo>
                      <a:pt x="247" y="118"/>
                    </a:lnTo>
                    <a:lnTo>
                      <a:pt x="250" y="118"/>
                    </a:lnTo>
                    <a:lnTo>
                      <a:pt x="253" y="119"/>
                    </a:lnTo>
                    <a:lnTo>
                      <a:pt x="254" y="121"/>
                    </a:lnTo>
                    <a:lnTo>
                      <a:pt x="256" y="122"/>
                    </a:lnTo>
                    <a:lnTo>
                      <a:pt x="258" y="124"/>
                    </a:lnTo>
                    <a:lnTo>
                      <a:pt x="258" y="125"/>
                    </a:lnTo>
                    <a:lnTo>
                      <a:pt x="259" y="127"/>
                    </a:lnTo>
                    <a:lnTo>
                      <a:pt x="259" y="130"/>
                    </a:lnTo>
                    <a:lnTo>
                      <a:pt x="259" y="132"/>
                    </a:lnTo>
                    <a:lnTo>
                      <a:pt x="258" y="133"/>
                    </a:lnTo>
                    <a:lnTo>
                      <a:pt x="258" y="135"/>
                    </a:lnTo>
                    <a:lnTo>
                      <a:pt x="259" y="136"/>
                    </a:lnTo>
                    <a:lnTo>
                      <a:pt x="261" y="138"/>
                    </a:lnTo>
                    <a:lnTo>
                      <a:pt x="261" y="143"/>
                    </a:lnTo>
                    <a:lnTo>
                      <a:pt x="262" y="150"/>
                    </a:lnTo>
                    <a:lnTo>
                      <a:pt x="262" y="154"/>
                    </a:lnTo>
                    <a:lnTo>
                      <a:pt x="264" y="155"/>
                    </a:lnTo>
                    <a:lnTo>
                      <a:pt x="264" y="155"/>
                    </a:lnTo>
                    <a:lnTo>
                      <a:pt x="265" y="155"/>
                    </a:lnTo>
                    <a:lnTo>
                      <a:pt x="265" y="154"/>
                    </a:lnTo>
                    <a:lnTo>
                      <a:pt x="269" y="154"/>
                    </a:lnTo>
                    <a:lnTo>
                      <a:pt x="270" y="155"/>
                    </a:lnTo>
                    <a:lnTo>
                      <a:pt x="272" y="155"/>
                    </a:lnTo>
                    <a:lnTo>
                      <a:pt x="272" y="155"/>
                    </a:lnTo>
                    <a:lnTo>
                      <a:pt x="273" y="154"/>
                    </a:lnTo>
                    <a:lnTo>
                      <a:pt x="275" y="154"/>
                    </a:lnTo>
                    <a:lnTo>
                      <a:pt x="273" y="155"/>
                    </a:lnTo>
                    <a:lnTo>
                      <a:pt x="273" y="155"/>
                    </a:lnTo>
                    <a:lnTo>
                      <a:pt x="273" y="157"/>
                    </a:lnTo>
                    <a:lnTo>
                      <a:pt x="275" y="157"/>
                    </a:lnTo>
                    <a:lnTo>
                      <a:pt x="276" y="157"/>
                    </a:lnTo>
                    <a:lnTo>
                      <a:pt x="281" y="155"/>
                    </a:lnTo>
                    <a:lnTo>
                      <a:pt x="283" y="154"/>
                    </a:lnTo>
                    <a:lnTo>
                      <a:pt x="284" y="155"/>
                    </a:lnTo>
                    <a:lnTo>
                      <a:pt x="287" y="155"/>
                    </a:lnTo>
                    <a:lnTo>
                      <a:pt x="287" y="154"/>
                    </a:lnTo>
                    <a:lnTo>
                      <a:pt x="289" y="154"/>
                    </a:lnTo>
                    <a:lnTo>
                      <a:pt x="289" y="154"/>
                    </a:lnTo>
                    <a:lnTo>
                      <a:pt x="290" y="155"/>
                    </a:lnTo>
                    <a:lnTo>
                      <a:pt x="290" y="157"/>
                    </a:lnTo>
                    <a:lnTo>
                      <a:pt x="290" y="161"/>
                    </a:lnTo>
                    <a:lnTo>
                      <a:pt x="290" y="163"/>
                    </a:lnTo>
                    <a:lnTo>
                      <a:pt x="290" y="164"/>
                    </a:lnTo>
                    <a:lnTo>
                      <a:pt x="292" y="164"/>
                    </a:lnTo>
                    <a:lnTo>
                      <a:pt x="292" y="164"/>
                    </a:lnTo>
                    <a:lnTo>
                      <a:pt x="294" y="164"/>
                    </a:lnTo>
                    <a:lnTo>
                      <a:pt x="297" y="161"/>
                    </a:lnTo>
                    <a:lnTo>
                      <a:pt x="298" y="161"/>
                    </a:lnTo>
                    <a:lnTo>
                      <a:pt x="301" y="161"/>
                    </a:lnTo>
                    <a:lnTo>
                      <a:pt x="304" y="163"/>
                    </a:lnTo>
                    <a:lnTo>
                      <a:pt x="308" y="161"/>
                    </a:lnTo>
                    <a:lnTo>
                      <a:pt x="311" y="158"/>
                    </a:lnTo>
                    <a:lnTo>
                      <a:pt x="312" y="154"/>
                    </a:lnTo>
                    <a:lnTo>
                      <a:pt x="317" y="160"/>
                    </a:lnTo>
                    <a:lnTo>
                      <a:pt x="317" y="160"/>
                    </a:lnTo>
                    <a:lnTo>
                      <a:pt x="319" y="160"/>
                    </a:lnTo>
                    <a:lnTo>
                      <a:pt x="320" y="158"/>
                    </a:lnTo>
                    <a:lnTo>
                      <a:pt x="322" y="158"/>
                    </a:lnTo>
                    <a:lnTo>
                      <a:pt x="322" y="158"/>
                    </a:lnTo>
                    <a:lnTo>
                      <a:pt x="322" y="160"/>
                    </a:lnTo>
                    <a:lnTo>
                      <a:pt x="322" y="161"/>
                    </a:lnTo>
                    <a:lnTo>
                      <a:pt x="322" y="163"/>
                    </a:lnTo>
                    <a:lnTo>
                      <a:pt x="323" y="163"/>
                    </a:lnTo>
                    <a:lnTo>
                      <a:pt x="325" y="163"/>
                    </a:lnTo>
                    <a:lnTo>
                      <a:pt x="328" y="163"/>
                    </a:lnTo>
                    <a:lnTo>
                      <a:pt x="329" y="160"/>
                    </a:lnTo>
                    <a:lnTo>
                      <a:pt x="331" y="160"/>
                    </a:lnTo>
                    <a:lnTo>
                      <a:pt x="331" y="161"/>
                    </a:lnTo>
                    <a:lnTo>
                      <a:pt x="333" y="161"/>
                    </a:lnTo>
                    <a:lnTo>
                      <a:pt x="333" y="161"/>
                    </a:lnTo>
                    <a:lnTo>
                      <a:pt x="334" y="161"/>
                    </a:lnTo>
                    <a:lnTo>
                      <a:pt x="334" y="160"/>
                    </a:lnTo>
                    <a:lnTo>
                      <a:pt x="334" y="161"/>
                    </a:lnTo>
                    <a:lnTo>
                      <a:pt x="334" y="163"/>
                    </a:lnTo>
                    <a:lnTo>
                      <a:pt x="334" y="163"/>
                    </a:lnTo>
                    <a:lnTo>
                      <a:pt x="336" y="163"/>
                    </a:lnTo>
                    <a:lnTo>
                      <a:pt x="337" y="164"/>
                    </a:lnTo>
                    <a:lnTo>
                      <a:pt x="337" y="161"/>
                    </a:lnTo>
                    <a:lnTo>
                      <a:pt x="339" y="164"/>
                    </a:lnTo>
                    <a:lnTo>
                      <a:pt x="339" y="168"/>
                    </a:lnTo>
                    <a:lnTo>
                      <a:pt x="340" y="175"/>
                    </a:lnTo>
                    <a:lnTo>
                      <a:pt x="340" y="175"/>
                    </a:lnTo>
                    <a:lnTo>
                      <a:pt x="340" y="175"/>
                    </a:lnTo>
                    <a:lnTo>
                      <a:pt x="351" y="171"/>
                    </a:lnTo>
                    <a:lnTo>
                      <a:pt x="364" y="166"/>
                    </a:lnTo>
                    <a:lnTo>
                      <a:pt x="364" y="164"/>
                    </a:lnTo>
                    <a:lnTo>
                      <a:pt x="364" y="163"/>
                    </a:lnTo>
                    <a:lnTo>
                      <a:pt x="365" y="161"/>
                    </a:lnTo>
                    <a:lnTo>
                      <a:pt x="367" y="160"/>
                    </a:lnTo>
                    <a:lnTo>
                      <a:pt x="367" y="158"/>
                    </a:lnTo>
                    <a:lnTo>
                      <a:pt x="367" y="158"/>
                    </a:lnTo>
                    <a:lnTo>
                      <a:pt x="369" y="158"/>
                    </a:lnTo>
                    <a:lnTo>
                      <a:pt x="367" y="155"/>
                    </a:lnTo>
                    <a:lnTo>
                      <a:pt x="367" y="155"/>
                    </a:lnTo>
                    <a:lnTo>
                      <a:pt x="367" y="154"/>
                    </a:lnTo>
                    <a:lnTo>
                      <a:pt x="369" y="155"/>
                    </a:lnTo>
                    <a:lnTo>
                      <a:pt x="369" y="155"/>
                    </a:lnTo>
                    <a:lnTo>
                      <a:pt x="370" y="154"/>
                    </a:lnTo>
                    <a:lnTo>
                      <a:pt x="370" y="152"/>
                    </a:lnTo>
                    <a:lnTo>
                      <a:pt x="370" y="150"/>
                    </a:lnTo>
                    <a:lnTo>
                      <a:pt x="370" y="147"/>
                    </a:lnTo>
                    <a:lnTo>
                      <a:pt x="369" y="149"/>
                    </a:lnTo>
                    <a:lnTo>
                      <a:pt x="370" y="147"/>
                    </a:lnTo>
                    <a:lnTo>
                      <a:pt x="370" y="147"/>
                    </a:lnTo>
                    <a:lnTo>
                      <a:pt x="372" y="147"/>
                    </a:lnTo>
                    <a:lnTo>
                      <a:pt x="372" y="147"/>
                    </a:lnTo>
                    <a:lnTo>
                      <a:pt x="373" y="147"/>
                    </a:lnTo>
                    <a:lnTo>
                      <a:pt x="373" y="146"/>
                    </a:lnTo>
                    <a:lnTo>
                      <a:pt x="373" y="143"/>
                    </a:lnTo>
                    <a:lnTo>
                      <a:pt x="373" y="141"/>
                    </a:lnTo>
                    <a:lnTo>
                      <a:pt x="372" y="141"/>
                    </a:lnTo>
                    <a:lnTo>
                      <a:pt x="370" y="141"/>
                    </a:lnTo>
                    <a:lnTo>
                      <a:pt x="370" y="141"/>
                    </a:lnTo>
                    <a:lnTo>
                      <a:pt x="372" y="139"/>
                    </a:lnTo>
                    <a:lnTo>
                      <a:pt x="372" y="136"/>
                    </a:lnTo>
                    <a:lnTo>
                      <a:pt x="372" y="135"/>
                    </a:lnTo>
                    <a:lnTo>
                      <a:pt x="372" y="135"/>
                    </a:lnTo>
                    <a:lnTo>
                      <a:pt x="370" y="135"/>
                    </a:lnTo>
                    <a:lnTo>
                      <a:pt x="369" y="135"/>
                    </a:lnTo>
                    <a:lnTo>
                      <a:pt x="369" y="133"/>
                    </a:lnTo>
                    <a:lnTo>
                      <a:pt x="370" y="133"/>
                    </a:lnTo>
                    <a:lnTo>
                      <a:pt x="372" y="132"/>
                    </a:lnTo>
                    <a:lnTo>
                      <a:pt x="373" y="130"/>
                    </a:lnTo>
                    <a:lnTo>
                      <a:pt x="373" y="130"/>
                    </a:lnTo>
                    <a:lnTo>
                      <a:pt x="373" y="128"/>
                    </a:lnTo>
                    <a:lnTo>
                      <a:pt x="375" y="128"/>
                    </a:lnTo>
                    <a:lnTo>
                      <a:pt x="376" y="127"/>
                    </a:lnTo>
                    <a:lnTo>
                      <a:pt x="376" y="125"/>
                    </a:lnTo>
                    <a:lnTo>
                      <a:pt x="378" y="125"/>
                    </a:lnTo>
                    <a:lnTo>
                      <a:pt x="378" y="124"/>
                    </a:lnTo>
                    <a:lnTo>
                      <a:pt x="376" y="124"/>
                    </a:lnTo>
                    <a:lnTo>
                      <a:pt x="376" y="122"/>
                    </a:lnTo>
                    <a:lnTo>
                      <a:pt x="376" y="121"/>
                    </a:lnTo>
                    <a:lnTo>
                      <a:pt x="378" y="122"/>
                    </a:lnTo>
                    <a:lnTo>
                      <a:pt x="378" y="124"/>
                    </a:lnTo>
                    <a:lnTo>
                      <a:pt x="380" y="124"/>
                    </a:lnTo>
                    <a:lnTo>
                      <a:pt x="380" y="124"/>
                    </a:lnTo>
                    <a:lnTo>
                      <a:pt x="381" y="124"/>
                    </a:lnTo>
                    <a:lnTo>
                      <a:pt x="383" y="122"/>
                    </a:lnTo>
                    <a:lnTo>
                      <a:pt x="384" y="121"/>
                    </a:lnTo>
                    <a:lnTo>
                      <a:pt x="386" y="119"/>
                    </a:lnTo>
                    <a:lnTo>
                      <a:pt x="387" y="118"/>
                    </a:lnTo>
                    <a:lnTo>
                      <a:pt x="390" y="118"/>
                    </a:lnTo>
                    <a:lnTo>
                      <a:pt x="392" y="116"/>
                    </a:lnTo>
                    <a:lnTo>
                      <a:pt x="392" y="116"/>
                    </a:lnTo>
                    <a:lnTo>
                      <a:pt x="390" y="114"/>
                    </a:lnTo>
                    <a:lnTo>
                      <a:pt x="390" y="113"/>
                    </a:lnTo>
                    <a:lnTo>
                      <a:pt x="389" y="108"/>
                    </a:lnTo>
                    <a:lnTo>
                      <a:pt x="389" y="107"/>
                    </a:lnTo>
                    <a:lnTo>
                      <a:pt x="390" y="99"/>
                    </a:lnTo>
                    <a:lnTo>
                      <a:pt x="390" y="97"/>
                    </a:lnTo>
                    <a:lnTo>
                      <a:pt x="395" y="91"/>
                    </a:lnTo>
                    <a:lnTo>
                      <a:pt x="395" y="89"/>
                    </a:lnTo>
                    <a:lnTo>
                      <a:pt x="397" y="89"/>
                    </a:lnTo>
                    <a:lnTo>
                      <a:pt x="398" y="88"/>
                    </a:lnTo>
                    <a:lnTo>
                      <a:pt x="398" y="88"/>
                    </a:lnTo>
                    <a:lnTo>
                      <a:pt x="398" y="86"/>
                    </a:lnTo>
                    <a:lnTo>
                      <a:pt x="398" y="85"/>
                    </a:lnTo>
                    <a:lnTo>
                      <a:pt x="397" y="83"/>
                    </a:lnTo>
                    <a:lnTo>
                      <a:pt x="400" y="85"/>
                    </a:lnTo>
                    <a:lnTo>
                      <a:pt x="401" y="86"/>
                    </a:lnTo>
                    <a:lnTo>
                      <a:pt x="403" y="88"/>
                    </a:lnTo>
                    <a:lnTo>
                      <a:pt x="405" y="88"/>
                    </a:lnTo>
                    <a:lnTo>
                      <a:pt x="408" y="89"/>
                    </a:lnTo>
                    <a:lnTo>
                      <a:pt x="412" y="88"/>
                    </a:lnTo>
                    <a:lnTo>
                      <a:pt x="414" y="88"/>
                    </a:lnTo>
                    <a:lnTo>
                      <a:pt x="417" y="86"/>
                    </a:lnTo>
                    <a:lnTo>
                      <a:pt x="415" y="85"/>
                    </a:lnTo>
                    <a:close/>
                    <a:moveTo>
                      <a:pt x="231" y="33"/>
                    </a:moveTo>
                    <a:lnTo>
                      <a:pt x="228" y="30"/>
                    </a:lnTo>
                    <a:lnTo>
                      <a:pt x="228" y="30"/>
                    </a:lnTo>
                    <a:lnTo>
                      <a:pt x="226" y="30"/>
                    </a:lnTo>
                    <a:lnTo>
                      <a:pt x="223" y="33"/>
                    </a:lnTo>
                    <a:lnTo>
                      <a:pt x="223" y="33"/>
                    </a:lnTo>
                    <a:lnTo>
                      <a:pt x="225" y="35"/>
                    </a:lnTo>
                    <a:lnTo>
                      <a:pt x="225" y="36"/>
                    </a:lnTo>
                    <a:lnTo>
                      <a:pt x="228" y="36"/>
                    </a:lnTo>
                    <a:lnTo>
                      <a:pt x="228" y="36"/>
                    </a:lnTo>
                    <a:lnTo>
                      <a:pt x="228" y="38"/>
                    </a:lnTo>
                    <a:lnTo>
                      <a:pt x="226" y="38"/>
                    </a:lnTo>
                    <a:lnTo>
                      <a:pt x="225" y="38"/>
                    </a:lnTo>
                    <a:lnTo>
                      <a:pt x="226" y="39"/>
                    </a:lnTo>
                    <a:lnTo>
                      <a:pt x="229" y="39"/>
                    </a:lnTo>
                    <a:lnTo>
                      <a:pt x="231" y="36"/>
                    </a:lnTo>
                    <a:lnTo>
                      <a:pt x="231" y="35"/>
                    </a:lnTo>
                    <a:lnTo>
                      <a:pt x="231" y="33"/>
                    </a:lnTo>
                    <a:close/>
                    <a:moveTo>
                      <a:pt x="398" y="31"/>
                    </a:moveTo>
                    <a:lnTo>
                      <a:pt x="397" y="30"/>
                    </a:lnTo>
                    <a:lnTo>
                      <a:pt x="395" y="30"/>
                    </a:lnTo>
                    <a:lnTo>
                      <a:pt x="394" y="30"/>
                    </a:lnTo>
                    <a:lnTo>
                      <a:pt x="392" y="31"/>
                    </a:lnTo>
                    <a:lnTo>
                      <a:pt x="395" y="33"/>
                    </a:lnTo>
                    <a:lnTo>
                      <a:pt x="398" y="31"/>
                    </a:lnTo>
                    <a:lnTo>
                      <a:pt x="398" y="31"/>
                    </a:lnTo>
                    <a:close/>
                    <a:moveTo>
                      <a:pt x="552" y="33"/>
                    </a:moveTo>
                    <a:lnTo>
                      <a:pt x="550" y="33"/>
                    </a:lnTo>
                    <a:lnTo>
                      <a:pt x="552" y="35"/>
                    </a:lnTo>
                    <a:lnTo>
                      <a:pt x="552" y="36"/>
                    </a:lnTo>
                    <a:lnTo>
                      <a:pt x="552" y="35"/>
                    </a:lnTo>
                    <a:lnTo>
                      <a:pt x="553" y="35"/>
                    </a:lnTo>
                    <a:lnTo>
                      <a:pt x="552" y="33"/>
                    </a:lnTo>
                    <a:close/>
                    <a:moveTo>
                      <a:pt x="553" y="36"/>
                    </a:moveTo>
                    <a:lnTo>
                      <a:pt x="553" y="36"/>
                    </a:lnTo>
                    <a:lnTo>
                      <a:pt x="553" y="36"/>
                    </a:lnTo>
                    <a:lnTo>
                      <a:pt x="553" y="36"/>
                    </a:lnTo>
                    <a:lnTo>
                      <a:pt x="555" y="38"/>
                    </a:lnTo>
                    <a:lnTo>
                      <a:pt x="555" y="38"/>
                    </a:lnTo>
                    <a:lnTo>
                      <a:pt x="555" y="36"/>
                    </a:lnTo>
                    <a:lnTo>
                      <a:pt x="555" y="36"/>
                    </a:lnTo>
                    <a:lnTo>
                      <a:pt x="553" y="36"/>
                    </a:lnTo>
                    <a:close/>
                    <a:moveTo>
                      <a:pt x="533" y="42"/>
                    </a:moveTo>
                    <a:lnTo>
                      <a:pt x="533" y="41"/>
                    </a:lnTo>
                    <a:lnTo>
                      <a:pt x="531" y="39"/>
                    </a:lnTo>
                    <a:lnTo>
                      <a:pt x="530" y="38"/>
                    </a:lnTo>
                    <a:lnTo>
                      <a:pt x="530" y="39"/>
                    </a:lnTo>
                    <a:lnTo>
                      <a:pt x="530" y="39"/>
                    </a:lnTo>
                    <a:lnTo>
                      <a:pt x="531" y="41"/>
                    </a:lnTo>
                    <a:lnTo>
                      <a:pt x="531" y="41"/>
                    </a:lnTo>
                    <a:lnTo>
                      <a:pt x="531" y="42"/>
                    </a:lnTo>
                    <a:lnTo>
                      <a:pt x="533" y="44"/>
                    </a:lnTo>
                    <a:lnTo>
                      <a:pt x="533" y="42"/>
                    </a:lnTo>
                    <a:lnTo>
                      <a:pt x="533" y="42"/>
                    </a:lnTo>
                    <a:close/>
                    <a:moveTo>
                      <a:pt x="392" y="42"/>
                    </a:moveTo>
                    <a:lnTo>
                      <a:pt x="390" y="42"/>
                    </a:lnTo>
                    <a:lnTo>
                      <a:pt x="390" y="44"/>
                    </a:lnTo>
                    <a:lnTo>
                      <a:pt x="392" y="46"/>
                    </a:lnTo>
                    <a:lnTo>
                      <a:pt x="392" y="46"/>
                    </a:lnTo>
                    <a:lnTo>
                      <a:pt x="394" y="46"/>
                    </a:lnTo>
                    <a:lnTo>
                      <a:pt x="394" y="44"/>
                    </a:lnTo>
                    <a:lnTo>
                      <a:pt x="392" y="42"/>
                    </a:lnTo>
                    <a:close/>
                    <a:moveTo>
                      <a:pt x="193" y="47"/>
                    </a:moveTo>
                    <a:lnTo>
                      <a:pt x="192" y="47"/>
                    </a:lnTo>
                    <a:lnTo>
                      <a:pt x="192" y="47"/>
                    </a:lnTo>
                    <a:lnTo>
                      <a:pt x="192" y="49"/>
                    </a:lnTo>
                    <a:lnTo>
                      <a:pt x="193" y="49"/>
                    </a:lnTo>
                    <a:lnTo>
                      <a:pt x="193" y="47"/>
                    </a:lnTo>
                    <a:lnTo>
                      <a:pt x="193" y="47"/>
                    </a:lnTo>
                    <a:close/>
                    <a:moveTo>
                      <a:pt x="186" y="50"/>
                    </a:moveTo>
                    <a:lnTo>
                      <a:pt x="184" y="50"/>
                    </a:lnTo>
                    <a:lnTo>
                      <a:pt x="184" y="50"/>
                    </a:lnTo>
                    <a:lnTo>
                      <a:pt x="184" y="50"/>
                    </a:lnTo>
                    <a:lnTo>
                      <a:pt x="183" y="50"/>
                    </a:lnTo>
                    <a:lnTo>
                      <a:pt x="183" y="50"/>
                    </a:lnTo>
                    <a:lnTo>
                      <a:pt x="183" y="50"/>
                    </a:lnTo>
                    <a:lnTo>
                      <a:pt x="183" y="52"/>
                    </a:lnTo>
                    <a:lnTo>
                      <a:pt x="183" y="52"/>
                    </a:lnTo>
                    <a:lnTo>
                      <a:pt x="184" y="53"/>
                    </a:lnTo>
                    <a:lnTo>
                      <a:pt x="184" y="53"/>
                    </a:lnTo>
                    <a:lnTo>
                      <a:pt x="186" y="52"/>
                    </a:lnTo>
                    <a:lnTo>
                      <a:pt x="186" y="50"/>
                    </a:lnTo>
                    <a:lnTo>
                      <a:pt x="186" y="50"/>
                    </a:lnTo>
                    <a:close/>
                    <a:moveTo>
                      <a:pt x="239" y="50"/>
                    </a:moveTo>
                    <a:lnTo>
                      <a:pt x="237" y="52"/>
                    </a:lnTo>
                    <a:lnTo>
                      <a:pt x="239" y="53"/>
                    </a:lnTo>
                    <a:lnTo>
                      <a:pt x="239" y="52"/>
                    </a:lnTo>
                    <a:lnTo>
                      <a:pt x="239" y="50"/>
                    </a:lnTo>
                    <a:lnTo>
                      <a:pt x="239" y="50"/>
                    </a:lnTo>
                    <a:close/>
                    <a:moveTo>
                      <a:pt x="21" y="61"/>
                    </a:moveTo>
                    <a:lnTo>
                      <a:pt x="20" y="60"/>
                    </a:lnTo>
                    <a:lnTo>
                      <a:pt x="20" y="60"/>
                    </a:lnTo>
                    <a:lnTo>
                      <a:pt x="17" y="56"/>
                    </a:lnTo>
                    <a:lnTo>
                      <a:pt x="15" y="55"/>
                    </a:lnTo>
                    <a:lnTo>
                      <a:pt x="15" y="55"/>
                    </a:lnTo>
                    <a:lnTo>
                      <a:pt x="12" y="55"/>
                    </a:lnTo>
                    <a:lnTo>
                      <a:pt x="11" y="52"/>
                    </a:lnTo>
                    <a:lnTo>
                      <a:pt x="9" y="52"/>
                    </a:lnTo>
                    <a:lnTo>
                      <a:pt x="9" y="53"/>
                    </a:lnTo>
                    <a:lnTo>
                      <a:pt x="7" y="53"/>
                    </a:lnTo>
                    <a:lnTo>
                      <a:pt x="7" y="55"/>
                    </a:lnTo>
                    <a:lnTo>
                      <a:pt x="9" y="56"/>
                    </a:lnTo>
                    <a:lnTo>
                      <a:pt x="11" y="56"/>
                    </a:lnTo>
                    <a:lnTo>
                      <a:pt x="12" y="58"/>
                    </a:lnTo>
                    <a:lnTo>
                      <a:pt x="14" y="58"/>
                    </a:lnTo>
                    <a:lnTo>
                      <a:pt x="18" y="61"/>
                    </a:lnTo>
                    <a:lnTo>
                      <a:pt x="18" y="61"/>
                    </a:lnTo>
                    <a:lnTo>
                      <a:pt x="20" y="61"/>
                    </a:lnTo>
                    <a:lnTo>
                      <a:pt x="21" y="61"/>
                    </a:lnTo>
                    <a:lnTo>
                      <a:pt x="21" y="61"/>
                    </a:lnTo>
                    <a:close/>
                    <a:moveTo>
                      <a:pt x="530" y="55"/>
                    </a:moveTo>
                    <a:lnTo>
                      <a:pt x="530" y="55"/>
                    </a:lnTo>
                    <a:lnTo>
                      <a:pt x="528" y="53"/>
                    </a:lnTo>
                    <a:lnTo>
                      <a:pt x="528" y="55"/>
                    </a:lnTo>
                    <a:lnTo>
                      <a:pt x="528" y="56"/>
                    </a:lnTo>
                    <a:lnTo>
                      <a:pt x="530" y="56"/>
                    </a:lnTo>
                    <a:lnTo>
                      <a:pt x="530" y="55"/>
                    </a:lnTo>
                    <a:lnTo>
                      <a:pt x="530" y="55"/>
                    </a:lnTo>
                    <a:close/>
                    <a:moveTo>
                      <a:pt x="584" y="58"/>
                    </a:moveTo>
                    <a:lnTo>
                      <a:pt x="584" y="58"/>
                    </a:lnTo>
                    <a:lnTo>
                      <a:pt x="583" y="58"/>
                    </a:lnTo>
                    <a:lnTo>
                      <a:pt x="580" y="60"/>
                    </a:lnTo>
                    <a:lnTo>
                      <a:pt x="578" y="63"/>
                    </a:lnTo>
                    <a:lnTo>
                      <a:pt x="580" y="66"/>
                    </a:lnTo>
                    <a:lnTo>
                      <a:pt x="580" y="67"/>
                    </a:lnTo>
                    <a:lnTo>
                      <a:pt x="583" y="67"/>
                    </a:lnTo>
                    <a:lnTo>
                      <a:pt x="584" y="66"/>
                    </a:lnTo>
                    <a:lnTo>
                      <a:pt x="586" y="64"/>
                    </a:lnTo>
                    <a:lnTo>
                      <a:pt x="586" y="60"/>
                    </a:lnTo>
                    <a:lnTo>
                      <a:pt x="584" y="58"/>
                    </a:lnTo>
                    <a:close/>
                    <a:moveTo>
                      <a:pt x="36" y="66"/>
                    </a:moveTo>
                    <a:lnTo>
                      <a:pt x="36" y="64"/>
                    </a:lnTo>
                    <a:lnTo>
                      <a:pt x="36" y="64"/>
                    </a:lnTo>
                    <a:lnTo>
                      <a:pt x="32" y="64"/>
                    </a:lnTo>
                    <a:lnTo>
                      <a:pt x="32" y="64"/>
                    </a:lnTo>
                    <a:lnTo>
                      <a:pt x="34" y="66"/>
                    </a:lnTo>
                    <a:lnTo>
                      <a:pt x="36" y="67"/>
                    </a:lnTo>
                    <a:lnTo>
                      <a:pt x="36" y="67"/>
                    </a:lnTo>
                    <a:lnTo>
                      <a:pt x="36" y="66"/>
                    </a:lnTo>
                    <a:close/>
                    <a:moveTo>
                      <a:pt x="589" y="99"/>
                    </a:moveTo>
                    <a:lnTo>
                      <a:pt x="589" y="97"/>
                    </a:lnTo>
                    <a:lnTo>
                      <a:pt x="587" y="97"/>
                    </a:lnTo>
                    <a:lnTo>
                      <a:pt x="586" y="97"/>
                    </a:lnTo>
                    <a:lnTo>
                      <a:pt x="586" y="96"/>
                    </a:lnTo>
                    <a:lnTo>
                      <a:pt x="586" y="94"/>
                    </a:lnTo>
                    <a:lnTo>
                      <a:pt x="586" y="94"/>
                    </a:lnTo>
                    <a:lnTo>
                      <a:pt x="581" y="92"/>
                    </a:lnTo>
                    <a:lnTo>
                      <a:pt x="580" y="89"/>
                    </a:lnTo>
                    <a:lnTo>
                      <a:pt x="580" y="89"/>
                    </a:lnTo>
                    <a:lnTo>
                      <a:pt x="580" y="88"/>
                    </a:lnTo>
                    <a:lnTo>
                      <a:pt x="581" y="88"/>
                    </a:lnTo>
                    <a:lnTo>
                      <a:pt x="583" y="86"/>
                    </a:lnTo>
                    <a:lnTo>
                      <a:pt x="586" y="85"/>
                    </a:lnTo>
                    <a:lnTo>
                      <a:pt x="587" y="83"/>
                    </a:lnTo>
                    <a:lnTo>
                      <a:pt x="587" y="78"/>
                    </a:lnTo>
                    <a:lnTo>
                      <a:pt x="586" y="77"/>
                    </a:lnTo>
                    <a:lnTo>
                      <a:pt x="587" y="77"/>
                    </a:lnTo>
                    <a:lnTo>
                      <a:pt x="586" y="75"/>
                    </a:lnTo>
                    <a:lnTo>
                      <a:pt x="584" y="75"/>
                    </a:lnTo>
                    <a:lnTo>
                      <a:pt x="581" y="77"/>
                    </a:lnTo>
                    <a:lnTo>
                      <a:pt x="578" y="78"/>
                    </a:lnTo>
                    <a:lnTo>
                      <a:pt x="577" y="80"/>
                    </a:lnTo>
                    <a:lnTo>
                      <a:pt x="577" y="82"/>
                    </a:lnTo>
                    <a:lnTo>
                      <a:pt x="578" y="83"/>
                    </a:lnTo>
                    <a:lnTo>
                      <a:pt x="577" y="83"/>
                    </a:lnTo>
                    <a:lnTo>
                      <a:pt x="575" y="83"/>
                    </a:lnTo>
                    <a:lnTo>
                      <a:pt x="573" y="85"/>
                    </a:lnTo>
                    <a:lnTo>
                      <a:pt x="573" y="86"/>
                    </a:lnTo>
                    <a:lnTo>
                      <a:pt x="573" y="88"/>
                    </a:lnTo>
                    <a:lnTo>
                      <a:pt x="572" y="88"/>
                    </a:lnTo>
                    <a:lnTo>
                      <a:pt x="572" y="88"/>
                    </a:lnTo>
                    <a:lnTo>
                      <a:pt x="570" y="88"/>
                    </a:lnTo>
                    <a:lnTo>
                      <a:pt x="569" y="88"/>
                    </a:lnTo>
                    <a:lnTo>
                      <a:pt x="569" y="86"/>
                    </a:lnTo>
                    <a:lnTo>
                      <a:pt x="569" y="86"/>
                    </a:lnTo>
                    <a:lnTo>
                      <a:pt x="569" y="85"/>
                    </a:lnTo>
                    <a:lnTo>
                      <a:pt x="572" y="83"/>
                    </a:lnTo>
                    <a:lnTo>
                      <a:pt x="575" y="80"/>
                    </a:lnTo>
                    <a:lnTo>
                      <a:pt x="575" y="80"/>
                    </a:lnTo>
                    <a:lnTo>
                      <a:pt x="575" y="77"/>
                    </a:lnTo>
                    <a:lnTo>
                      <a:pt x="575" y="75"/>
                    </a:lnTo>
                    <a:lnTo>
                      <a:pt x="575" y="74"/>
                    </a:lnTo>
                    <a:lnTo>
                      <a:pt x="573" y="72"/>
                    </a:lnTo>
                    <a:lnTo>
                      <a:pt x="572" y="71"/>
                    </a:lnTo>
                    <a:lnTo>
                      <a:pt x="572" y="69"/>
                    </a:lnTo>
                    <a:lnTo>
                      <a:pt x="573" y="69"/>
                    </a:lnTo>
                    <a:lnTo>
                      <a:pt x="575" y="66"/>
                    </a:lnTo>
                    <a:lnTo>
                      <a:pt x="575" y="66"/>
                    </a:lnTo>
                    <a:lnTo>
                      <a:pt x="575" y="64"/>
                    </a:lnTo>
                    <a:lnTo>
                      <a:pt x="573" y="64"/>
                    </a:lnTo>
                    <a:lnTo>
                      <a:pt x="573" y="66"/>
                    </a:lnTo>
                    <a:lnTo>
                      <a:pt x="570" y="69"/>
                    </a:lnTo>
                    <a:lnTo>
                      <a:pt x="569" y="71"/>
                    </a:lnTo>
                    <a:lnTo>
                      <a:pt x="567" y="74"/>
                    </a:lnTo>
                    <a:lnTo>
                      <a:pt x="567" y="74"/>
                    </a:lnTo>
                    <a:lnTo>
                      <a:pt x="566" y="75"/>
                    </a:lnTo>
                    <a:lnTo>
                      <a:pt x="567" y="77"/>
                    </a:lnTo>
                    <a:lnTo>
                      <a:pt x="564" y="82"/>
                    </a:lnTo>
                    <a:lnTo>
                      <a:pt x="564" y="83"/>
                    </a:lnTo>
                    <a:lnTo>
                      <a:pt x="566" y="86"/>
                    </a:lnTo>
                    <a:lnTo>
                      <a:pt x="567" y="88"/>
                    </a:lnTo>
                    <a:lnTo>
                      <a:pt x="567" y="89"/>
                    </a:lnTo>
                    <a:lnTo>
                      <a:pt x="567" y="89"/>
                    </a:lnTo>
                    <a:lnTo>
                      <a:pt x="567" y="91"/>
                    </a:lnTo>
                    <a:lnTo>
                      <a:pt x="567" y="92"/>
                    </a:lnTo>
                    <a:lnTo>
                      <a:pt x="567" y="94"/>
                    </a:lnTo>
                    <a:lnTo>
                      <a:pt x="567" y="96"/>
                    </a:lnTo>
                    <a:lnTo>
                      <a:pt x="569" y="97"/>
                    </a:lnTo>
                    <a:lnTo>
                      <a:pt x="569" y="97"/>
                    </a:lnTo>
                    <a:lnTo>
                      <a:pt x="569" y="100"/>
                    </a:lnTo>
                    <a:lnTo>
                      <a:pt x="569" y="102"/>
                    </a:lnTo>
                    <a:lnTo>
                      <a:pt x="569" y="105"/>
                    </a:lnTo>
                    <a:lnTo>
                      <a:pt x="569" y="107"/>
                    </a:lnTo>
                    <a:lnTo>
                      <a:pt x="569" y="107"/>
                    </a:lnTo>
                    <a:lnTo>
                      <a:pt x="570" y="108"/>
                    </a:lnTo>
                    <a:lnTo>
                      <a:pt x="572" y="110"/>
                    </a:lnTo>
                    <a:lnTo>
                      <a:pt x="572" y="110"/>
                    </a:lnTo>
                    <a:lnTo>
                      <a:pt x="575" y="114"/>
                    </a:lnTo>
                    <a:lnTo>
                      <a:pt x="575" y="116"/>
                    </a:lnTo>
                    <a:lnTo>
                      <a:pt x="578" y="116"/>
                    </a:lnTo>
                    <a:lnTo>
                      <a:pt x="580" y="118"/>
                    </a:lnTo>
                    <a:lnTo>
                      <a:pt x="583" y="119"/>
                    </a:lnTo>
                    <a:lnTo>
                      <a:pt x="580" y="118"/>
                    </a:lnTo>
                    <a:lnTo>
                      <a:pt x="580" y="116"/>
                    </a:lnTo>
                    <a:lnTo>
                      <a:pt x="577" y="111"/>
                    </a:lnTo>
                    <a:lnTo>
                      <a:pt x="573" y="107"/>
                    </a:lnTo>
                    <a:lnTo>
                      <a:pt x="572" y="102"/>
                    </a:lnTo>
                    <a:lnTo>
                      <a:pt x="573" y="100"/>
                    </a:lnTo>
                    <a:lnTo>
                      <a:pt x="573" y="99"/>
                    </a:lnTo>
                    <a:lnTo>
                      <a:pt x="572" y="97"/>
                    </a:lnTo>
                    <a:lnTo>
                      <a:pt x="573" y="97"/>
                    </a:lnTo>
                    <a:lnTo>
                      <a:pt x="573" y="96"/>
                    </a:lnTo>
                    <a:lnTo>
                      <a:pt x="575" y="94"/>
                    </a:lnTo>
                    <a:lnTo>
                      <a:pt x="577" y="96"/>
                    </a:lnTo>
                    <a:lnTo>
                      <a:pt x="578" y="96"/>
                    </a:lnTo>
                    <a:lnTo>
                      <a:pt x="580" y="96"/>
                    </a:lnTo>
                    <a:lnTo>
                      <a:pt x="583" y="96"/>
                    </a:lnTo>
                    <a:lnTo>
                      <a:pt x="584" y="97"/>
                    </a:lnTo>
                    <a:lnTo>
                      <a:pt x="591" y="99"/>
                    </a:lnTo>
                    <a:lnTo>
                      <a:pt x="589" y="99"/>
                    </a:lnTo>
                    <a:close/>
                    <a:moveTo>
                      <a:pt x="114" y="67"/>
                    </a:moveTo>
                    <a:lnTo>
                      <a:pt x="114" y="67"/>
                    </a:lnTo>
                    <a:lnTo>
                      <a:pt x="112" y="66"/>
                    </a:lnTo>
                    <a:lnTo>
                      <a:pt x="111" y="67"/>
                    </a:lnTo>
                    <a:lnTo>
                      <a:pt x="109" y="67"/>
                    </a:lnTo>
                    <a:lnTo>
                      <a:pt x="107" y="67"/>
                    </a:lnTo>
                    <a:lnTo>
                      <a:pt x="107" y="69"/>
                    </a:lnTo>
                    <a:lnTo>
                      <a:pt x="109" y="72"/>
                    </a:lnTo>
                    <a:lnTo>
                      <a:pt x="109" y="72"/>
                    </a:lnTo>
                    <a:lnTo>
                      <a:pt x="111" y="74"/>
                    </a:lnTo>
                    <a:lnTo>
                      <a:pt x="114" y="72"/>
                    </a:lnTo>
                    <a:lnTo>
                      <a:pt x="114" y="71"/>
                    </a:lnTo>
                    <a:lnTo>
                      <a:pt x="114" y="69"/>
                    </a:lnTo>
                    <a:lnTo>
                      <a:pt x="114" y="67"/>
                    </a:lnTo>
                    <a:close/>
                    <a:moveTo>
                      <a:pt x="525" y="74"/>
                    </a:moveTo>
                    <a:lnTo>
                      <a:pt x="523" y="74"/>
                    </a:lnTo>
                    <a:lnTo>
                      <a:pt x="522" y="74"/>
                    </a:lnTo>
                    <a:lnTo>
                      <a:pt x="520" y="74"/>
                    </a:lnTo>
                    <a:lnTo>
                      <a:pt x="519" y="75"/>
                    </a:lnTo>
                    <a:lnTo>
                      <a:pt x="519" y="77"/>
                    </a:lnTo>
                    <a:lnTo>
                      <a:pt x="517" y="78"/>
                    </a:lnTo>
                    <a:lnTo>
                      <a:pt x="516" y="78"/>
                    </a:lnTo>
                    <a:lnTo>
                      <a:pt x="516" y="78"/>
                    </a:lnTo>
                    <a:lnTo>
                      <a:pt x="514" y="80"/>
                    </a:lnTo>
                    <a:lnTo>
                      <a:pt x="514" y="82"/>
                    </a:lnTo>
                    <a:lnTo>
                      <a:pt x="511" y="82"/>
                    </a:lnTo>
                    <a:lnTo>
                      <a:pt x="509" y="85"/>
                    </a:lnTo>
                    <a:lnTo>
                      <a:pt x="503" y="88"/>
                    </a:lnTo>
                    <a:lnTo>
                      <a:pt x="501" y="88"/>
                    </a:lnTo>
                    <a:lnTo>
                      <a:pt x="492" y="86"/>
                    </a:lnTo>
                    <a:lnTo>
                      <a:pt x="487" y="86"/>
                    </a:lnTo>
                    <a:lnTo>
                      <a:pt x="487" y="86"/>
                    </a:lnTo>
                    <a:lnTo>
                      <a:pt x="486" y="86"/>
                    </a:lnTo>
                    <a:lnTo>
                      <a:pt x="484" y="88"/>
                    </a:lnTo>
                    <a:lnTo>
                      <a:pt x="484" y="88"/>
                    </a:lnTo>
                    <a:lnTo>
                      <a:pt x="483" y="88"/>
                    </a:lnTo>
                    <a:lnTo>
                      <a:pt x="481" y="86"/>
                    </a:lnTo>
                    <a:lnTo>
                      <a:pt x="480" y="86"/>
                    </a:lnTo>
                    <a:lnTo>
                      <a:pt x="476" y="85"/>
                    </a:lnTo>
                    <a:lnTo>
                      <a:pt x="472" y="85"/>
                    </a:lnTo>
                    <a:lnTo>
                      <a:pt x="467" y="85"/>
                    </a:lnTo>
                    <a:lnTo>
                      <a:pt x="462" y="85"/>
                    </a:lnTo>
                    <a:lnTo>
                      <a:pt x="461" y="85"/>
                    </a:lnTo>
                    <a:lnTo>
                      <a:pt x="461" y="83"/>
                    </a:lnTo>
                    <a:lnTo>
                      <a:pt x="459" y="83"/>
                    </a:lnTo>
                    <a:lnTo>
                      <a:pt x="459" y="82"/>
                    </a:lnTo>
                    <a:lnTo>
                      <a:pt x="459" y="82"/>
                    </a:lnTo>
                    <a:lnTo>
                      <a:pt x="458" y="82"/>
                    </a:lnTo>
                    <a:lnTo>
                      <a:pt x="456" y="82"/>
                    </a:lnTo>
                    <a:lnTo>
                      <a:pt x="455" y="82"/>
                    </a:lnTo>
                    <a:lnTo>
                      <a:pt x="453" y="80"/>
                    </a:lnTo>
                    <a:lnTo>
                      <a:pt x="451" y="80"/>
                    </a:lnTo>
                    <a:lnTo>
                      <a:pt x="451" y="80"/>
                    </a:lnTo>
                    <a:lnTo>
                      <a:pt x="450" y="80"/>
                    </a:lnTo>
                    <a:lnTo>
                      <a:pt x="450" y="82"/>
                    </a:lnTo>
                    <a:lnTo>
                      <a:pt x="448" y="83"/>
                    </a:lnTo>
                    <a:lnTo>
                      <a:pt x="447" y="85"/>
                    </a:lnTo>
                    <a:lnTo>
                      <a:pt x="447" y="86"/>
                    </a:lnTo>
                    <a:lnTo>
                      <a:pt x="445" y="86"/>
                    </a:lnTo>
                    <a:lnTo>
                      <a:pt x="445" y="88"/>
                    </a:lnTo>
                    <a:lnTo>
                      <a:pt x="445" y="88"/>
                    </a:lnTo>
                    <a:lnTo>
                      <a:pt x="444" y="89"/>
                    </a:lnTo>
                    <a:lnTo>
                      <a:pt x="442" y="88"/>
                    </a:lnTo>
                    <a:lnTo>
                      <a:pt x="441" y="88"/>
                    </a:lnTo>
                    <a:lnTo>
                      <a:pt x="441" y="86"/>
                    </a:lnTo>
                    <a:lnTo>
                      <a:pt x="439" y="86"/>
                    </a:lnTo>
                    <a:lnTo>
                      <a:pt x="439" y="86"/>
                    </a:lnTo>
                    <a:lnTo>
                      <a:pt x="437" y="88"/>
                    </a:lnTo>
                    <a:lnTo>
                      <a:pt x="437" y="89"/>
                    </a:lnTo>
                    <a:lnTo>
                      <a:pt x="436" y="89"/>
                    </a:lnTo>
                    <a:lnTo>
                      <a:pt x="436" y="91"/>
                    </a:lnTo>
                    <a:lnTo>
                      <a:pt x="434" y="92"/>
                    </a:lnTo>
                    <a:lnTo>
                      <a:pt x="434" y="94"/>
                    </a:lnTo>
                    <a:lnTo>
                      <a:pt x="433" y="96"/>
                    </a:lnTo>
                    <a:lnTo>
                      <a:pt x="431" y="99"/>
                    </a:lnTo>
                    <a:lnTo>
                      <a:pt x="431" y="100"/>
                    </a:lnTo>
                    <a:lnTo>
                      <a:pt x="431" y="102"/>
                    </a:lnTo>
                    <a:lnTo>
                      <a:pt x="431" y="103"/>
                    </a:lnTo>
                    <a:lnTo>
                      <a:pt x="431" y="103"/>
                    </a:lnTo>
                    <a:lnTo>
                      <a:pt x="430" y="103"/>
                    </a:lnTo>
                    <a:lnTo>
                      <a:pt x="430" y="105"/>
                    </a:lnTo>
                    <a:lnTo>
                      <a:pt x="430" y="111"/>
                    </a:lnTo>
                    <a:lnTo>
                      <a:pt x="431" y="114"/>
                    </a:lnTo>
                    <a:lnTo>
                      <a:pt x="431" y="116"/>
                    </a:lnTo>
                    <a:lnTo>
                      <a:pt x="431" y="118"/>
                    </a:lnTo>
                    <a:lnTo>
                      <a:pt x="431" y="116"/>
                    </a:lnTo>
                    <a:lnTo>
                      <a:pt x="430" y="114"/>
                    </a:lnTo>
                    <a:lnTo>
                      <a:pt x="428" y="116"/>
                    </a:lnTo>
                    <a:lnTo>
                      <a:pt x="425" y="119"/>
                    </a:lnTo>
                    <a:lnTo>
                      <a:pt x="423" y="125"/>
                    </a:lnTo>
                    <a:lnTo>
                      <a:pt x="422" y="127"/>
                    </a:lnTo>
                    <a:lnTo>
                      <a:pt x="422" y="128"/>
                    </a:lnTo>
                    <a:lnTo>
                      <a:pt x="422" y="130"/>
                    </a:lnTo>
                    <a:lnTo>
                      <a:pt x="422" y="132"/>
                    </a:lnTo>
                    <a:lnTo>
                      <a:pt x="423" y="135"/>
                    </a:lnTo>
                    <a:lnTo>
                      <a:pt x="422" y="136"/>
                    </a:lnTo>
                    <a:lnTo>
                      <a:pt x="420" y="138"/>
                    </a:lnTo>
                    <a:lnTo>
                      <a:pt x="420" y="141"/>
                    </a:lnTo>
                    <a:lnTo>
                      <a:pt x="419" y="143"/>
                    </a:lnTo>
                    <a:lnTo>
                      <a:pt x="419" y="144"/>
                    </a:lnTo>
                    <a:lnTo>
                      <a:pt x="419" y="146"/>
                    </a:lnTo>
                    <a:lnTo>
                      <a:pt x="415" y="149"/>
                    </a:lnTo>
                    <a:lnTo>
                      <a:pt x="415" y="149"/>
                    </a:lnTo>
                    <a:lnTo>
                      <a:pt x="414" y="149"/>
                    </a:lnTo>
                    <a:lnTo>
                      <a:pt x="414" y="150"/>
                    </a:lnTo>
                    <a:lnTo>
                      <a:pt x="412" y="150"/>
                    </a:lnTo>
                    <a:lnTo>
                      <a:pt x="412" y="150"/>
                    </a:lnTo>
                    <a:lnTo>
                      <a:pt x="414" y="152"/>
                    </a:lnTo>
                    <a:lnTo>
                      <a:pt x="414" y="154"/>
                    </a:lnTo>
                    <a:lnTo>
                      <a:pt x="414" y="157"/>
                    </a:lnTo>
                    <a:lnTo>
                      <a:pt x="414" y="158"/>
                    </a:lnTo>
                    <a:lnTo>
                      <a:pt x="414" y="160"/>
                    </a:lnTo>
                    <a:lnTo>
                      <a:pt x="414" y="163"/>
                    </a:lnTo>
                    <a:lnTo>
                      <a:pt x="415" y="164"/>
                    </a:lnTo>
                    <a:lnTo>
                      <a:pt x="417" y="164"/>
                    </a:lnTo>
                    <a:lnTo>
                      <a:pt x="420" y="163"/>
                    </a:lnTo>
                    <a:lnTo>
                      <a:pt x="423" y="163"/>
                    </a:lnTo>
                    <a:lnTo>
                      <a:pt x="423" y="163"/>
                    </a:lnTo>
                    <a:lnTo>
                      <a:pt x="425" y="164"/>
                    </a:lnTo>
                    <a:lnTo>
                      <a:pt x="425" y="164"/>
                    </a:lnTo>
                    <a:lnTo>
                      <a:pt x="425" y="166"/>
                    </a:lnTo>
                    <a:lnTo>
                      <a:pt x="425" y="168"/>
                    </a:lnTo>
                    <a:lnTo>
                      <a:pt x="425" y="168"/>
                    </a:lnTo>
                    <a:lnTo>
                      <a:pt x="425" y="169"/>
                    </a:lnTo>
                    <a:lnTo>
                      <a:pt x="428" y="172"/>
                    </a:lnTo>
                    <a:lnTo>
                      <a:pt x="428" y="174"/>
                    </a:lnTo>
                    <a:lnTo>
                      <a:pt x="428" y="180"/>
                    </a:lnTo>
                    <a:lnTo>
                      <a:pt x="426" y="182"/>
                    </a:lnTo>
                    <a:lnTo>
                      <a:pt x="426" y="183"/>
                    </a:lnTo>
                    <a:lnTo>
                      <a:pt x="425" y="186"/>
                    </a:lnTo>
                    <a:lnTo>
                      <a:pt x="426" y="188"/>
                    </a:lnTo>
                    <a:lnTo>
                      <a:pt x="425" y="191"/>
                    </a:lnTo>
                    <a:lnTo>
                      <a:pt x="423" y="194"/>
                    </a:lnTo>
                    <a:lnTo>
                      <a:pt x="423" y="196"/>
                    </a:lnTo>
                    <a:lnTo>
                      <a:pt x="423" y="197"/>
                    </a:lnTo>
                    <a:lnTo>
                      <a:pt x="425" y="199"/>
                    </a:lnTo>
                    <a:lnTo>
                      <a:pt x="426" y="200"/>
                    </a:lnTo>
                    <a:lnTo>
                      <a:pt x="430" y="202"/>
                    </a:lnTo>
                    <a:lnTo>
                      <a:pt x="430" y="202"/>
                    </a:lnTo>
                    <a:lnTo>
                      <a:pt x="431" y="202"/>
                    </a:lnTo>
                    <a:lnTo>
                      <a:pt x="433" y="200"/>
                    </a:lnTo>
                    <a:lnTo>
                      <a:pt x="433" y="200"/>
                    </a:lnTo>
                    <a:lnTo>
                      <a:pt x="436" y="200"/>
                    </a:lnTo>
                    <a:lnTo>
                      <a:pt x="437" y="200"/>
                    </a:lnTo>
                    <a:lnTo>
                      <a:pt x="439" y="200"/>
                    </a:lnTo>
                    <a:lnTo>
                      <a:pt x="439" y="200"/>
                    </a:lnTo>
                    <a:lnTo>
                      <a:pt x="442" y="200"/>
                    </a:lnTo>
                    <a:lnTo>
                      <a:pt x="442" y="199"/>
                    </a:lnTo>
                    <a:lnTo>
                      <a:pt x="441" y="197"/>
                    </a:lnTo>
                    <a:lnTo>
                      <a:pt x="439" y="193"/>
                    </a:lnTo>
                    <a:lnTo>
                      <a:pt x="439" y="193"/>
                    </a:lnTo>
                    <a:lnTo>
                      <a:pt x="439" y="190"/>
                    </a:lnTo>
                    <a:lnTo>
                      <a:pt x="441" y="185"/>
                    </a:lnTo>
                    <a:lnTo>
                      <a:pt x="442" y="183"/>
                    </a:lnTo>
                    <a:lnTo>
                      <a:pt x="441" y="180"/>
                    </a:lnTo>
                    <a:lnTo>
                      <a:pt x="441" y="174"/>
                    </a:lnTo>
                    <a:lnTo>
                      <a:pt x="441" y="171"/>
                    </a:lnTo>
                    <a:lnTo>
                      <a:pt x="442" y="168"/>
                    </a:lnTo>
                    <a:lnTo>
                      <a:pt x="442" y="168"/>
                    </a:lnTo>
                    <a:lnTo>
                      <a:pt x="441" y="161"/>
                    </a:lnTo>
                    <a:lnTo>
                      <a:pt x="441" y="160"/>
                    </a:lnTo>
                    <a:lnTo>
                      <a:pt x="439" y="158"/>
                    </a:lnTo>
                    <a:lnTo>
                      <a:pt x="439" y="157"/>
                    </a:lnTo>
                    <a:lnTo>
                      <a:pt x="439" y="155"/>
                    </a:lnTo>
                    <a:lnTo>
                      <a:pt x="441" y="154"/>
                    </a:lnTo>
                    <a:lnTo>
                      <a:pt x="444" y="150"/>
                    </a:lnTo>
                    <a:lnTo>
                      <a:pt x="445" y="149"/>
                    </a:lnTo>
                    <a:lnTo>
                      <a:pt x="448" y="149"/>
                    </a:lnTo>
                    <a:lnTo>
                      <a:pt x="450" y="149"/>
                    </a:lnTo>
                    <a:lnTo>
                      <a:pt x="451" y="149"/>
                    </a:lnTo>
                    <a:lnTo>
                      <a:pt x="453" y="150"/>
                    </a:lnTo>
                    <a:lnTo>
                      <a:pt x="453" y="154"/>
                    </a:lnTo>
                    <a:lnTo>
                      <a:pt x="453" y="155"/>
                    </a:lnTo>
                    <a:lnTo>
                      <a:pt x="453" y="158"/>
                    </a:lnTo>
                    <a:lnTo>
                      <a:pt x="453" y="158"/>
                    </a:lnTo>
                    <a:lnTo>
                      <a:pt x="450" y="163"/>
                    </a:lnTo>
                    <a:lnTo>
                      <a:pt x="450" y="163"/>
                    </a:lnTo>
                    <a:lnTo>
                      <a:pt x="450" y="164"/>
                    </a:lnTo>
                    <a:lnTo>
                      <a:pt x="450" y="164"/>
                    </a:lnTo>
                    <a:lnTo>
                      <a:pt x="458" y="171"/>
                    </a:lnTo>
                    <a:lnTo>
                      <a:pt x="459" y="172"/>
                    </a:lnTo>
                    <a:lnTo>
                      <a:pt x="461" y="172"/>
                    </a:lnTo>
                    <a:lnTo>
                      <a:pt x="462" y="174"/>
                    </a:lnTo>
                    <a:lnTo>
                      <a:pt x="462" y="175"/>
                    </a:lnTo>
                    <a:lnTo>
                      <a:pt x="462" y="177"/>
                    </a:lnTo>
                    <a:lnTo>
                      <a:pt x="461" y="177"/>
                    </a:lnTo>
                    <a:lnTo>
                      <a:pt x="461" y="177"/>
                    </a:lnTo>
                    <a:lnTo>
                      <a:pt x="461" y="183"/>
                    </a:lnTo>
                    <a:lnTo>
                      <a:pt x="461" y="185"/>
                    </a:lnTo>
                    <a:lnTo>
                      <a:pt x="462" y="186"/>
                    </a:lnTo>
                    <a:lnTo>
                      <a:pt x="462" y="186"/>
                    </a:lnTo>
                    <a:lnTo>
                      <a:pt x="466" y="186"/>
                    </a:lnTo>
                    <a:lnTo>
                      <a:pt x="467" y="188"/>
                    </a:lnTo>
                    <a:lnTo>
                      <a:pt x="470" y="188"/>
                    </a:lnTo>
                    <a:lnTo>
                      <a:pt x="470" y="186"/>
                    </a:lnTo>
                    <a:lnTo>
                      <a:pt x="470" y="185"/>
                    </a:lnTo>
                    <a:lnTo>
                      <a:pt x="470" y="183"/>
                    </a:lnTo>
                    <a:lnTo>
                      <a:pt x="472" y="182"/>
                    </a:lnTo>
                    <a:lnTo>
                      <a:pt x="473" y="182"/>
                    </a:lnTo>
                    <a:lnTo>
                      <a:pt x="478" y="180"/>
                    </a:lnTo>
                    <a:lnTo>
                      <a:pt x="480" y="180"/>
                    </a:lnTo>
                    <a:lnTo>
                      <a:pt x="481" y="180"/>
                    </a:lnTo>
                    <a:lnTo>
                      <a:pt x="481" y="180"/>
                    </a:lnTo>
                    <a:lnTo>
                      <a:pt x="481" y="180"/>
                    </a:lnTo>
                    <a:lnTo>
                      <a:pt x="481" y="179"/>
                    </a:lnTo>
                    <a:lnTo>
                      <a:pt x="484" y="180"/>
                    </a:lnTo>
                    <a:lnTo>
                      <a:pt x="484" y="180"/>
                    </a:lnTo>
                    <a:lnTo>
                      <a:pt x="484" y="179"/>
                    </a:lnTo>
                    <a:lnTo>
                      <a:pt x="484" y="177"/>
                    </a:lnTo>
                    <a:lnTo>
                      <a:pt x="484" y="175"/>
                    </a:lnTo>
                    <a:lnTo>
                      <a:pt x="484" y="175"/>
                    </a:lnTo>
                    <a:lnTo>
                      <a:pt x="484" y="174"/>
                    </a:lnTo>
                    <a:lnTo>
                      <a:pt x="483" y="174"/>
                    </a:lnTo>
                    <a:lnTo>
                      <a:pt x="483" y="174"/>
                    </a:lnTo>
                    <a:lnTo>
                      <a:pt x="483" y="174"/>
                    </a:lnTo>
                    <a:lnTo>
                      <a:pt x="481" y="174"/>
                    </a:lnTo>
                    <a:lnTo>
                      <a:pt x="481" y="174"/>
                    </a:lnTo>
                    <a:lnTo>
                      <a:pt x="480" y="172"/>
                    </a:lnTo>
                    <a:lnTo>
                      <a:pt x="480" y="171"/>
                    </a:lnTo>
                    <a:lnTo>
                      <a:pt x="480" y="171"/>
                    </a:lnTo>
                    <a:lnTo>
                      <a:pt x="478" y="171"/>
                    </a:lnTo>
                    <a:lnTo>
                      <a:pt x="476" y="168"/>
                    </a:lnTo>
                    <a:lnTo>
                      <a:pt x="476" y="168"/>
                    </a:lnTo>
                    <a:lnTo>
                      <a:pt x="475" y="168"/>
                    </a:lnTo>
                    <a:lnTo>
                      <a:pt x="475" y="168"/>
                    </a:lnTo>
                    <a:lnTo>
                      <a:pt x="473" y="166"/>
                    </a:lnTo>
                    <a:lnTo>
                      <a:pt x="473" y="166"/>
                    </a:lnTo>
                    <a:lnTo>
                      <a:pt x="473" y="164"/>
                    </a:lnTo>
                    <a:lnTo>
                      <a:pt x="475" y="161"/>
                    </a:lnTo>
                    <a:lnTo>
                      <a:pt x="475" y="160"/>
                    </a:lnTo>
                    <a:lnTo>
                      <a:pt x="476" y="158"/>
                    </a:lnTo>
                    <a:lnTo>
                      <a:pt x="476" y="158"/>
                    </a:lnTo>
                    <a:lnTo>
                      <a:pt x="475" y="157"/>
                    </a:lnTo>
                    <a:lnTo>
                      <a:pt x="475" y="155"/>
                    </a:lnTo>
                    <a:lnTo>
                      <a:pt x="475" y="155"/>
                    </a:lnTo>
                    <a:lnTo>
                      <a:pt x="475" y="154"/>
                    </a:lnTo>
                    <a:lnTo>
                      <a:pt x="470" y="150"/>
                    </a:lnTo>
                    <a:lnTo>
                      <a:pt x="470" y="149"/>
                    </a:lnTo>
                    <a:lnTo>
                      <a:pt x="469" y="147"/>
                    </a:lnTo>
                    <a:lnTo>
                      <a:pt x="467" y="144"/>
                    </a:lnTo>
                    <a:lnTo>
                      <a:pt x="466" y="143"/>
                    </a:lnTo>
                    <a:lnTo>
                      <a:pt x="464" y="141"/>
                    </a:lnTo>
                    <a:lnTo>
                      <a:pt x="462" y="141"/>
                    </a:lnTo>
                    <a:lnTo>
                      <a:pt x="462" y="141"/>
                    </a:lnTo>
                    <a:lnTo>
                      <a:pt x="461" y="138"/>
                    </a:lnTo>
                    <a:lnTo>
                      <a:pt x="459" y="138"/>
                    </a:lnTo>
                    <a:lnTo>
                      <a:pt x="458" y="136"/>
                    </a:lnTo>
                    <a:lnTo>
                      <a:pt x="458" y="136"/>
                    </a:lnTo>
                    <a:lnTo>
                      <a:pt x="459" y="135"/>
                    </a:lnTo>
                    <a:lnTo>
                      <a:pt x="461" y="136"/>
                    </a:lnTo>
                    <a:lnTo>
                      <a:pt x="462" y="136"/>
                    </a:lnTo>
                    <a:lnTo>
                      <a:pt x="462" y="136"/>
                    </a:lnTo>
                    <a:lnTo>
                      <a:pt x="464" y="135"/>
                    </a:lnTo>
                    <a:lnTo>
                      <a:pt x="466" y="133"/>
                    </a:lnTo>
                    <a:lnTo>
                      <a:pt x="467" y="133"/>
                    </a:lnTo>
                    <a:lnTo>
                      <a:pt x="472" y="130"/>
                    </a:lnTo>
                    <a:lnTo>
                      <a:pt x="473" y="130"/>
                    </a:lnTo>
                    <a:lnTo>
                      <a:pt x="475" y="128"/>
                    </a:lnTo>
                    <a:lnTo>
                      <a:pt x="478" y="127"/>
                    </a:lnTo>
                    <a:lnTo>
                      <a:pt x="481" y="124"/>
                    </a:lnTo>
                    <a:lnTo>
                      <a:pt x="483" y="122"/>
                    </a:lnTo>
                    <a:lnTo>
                      <a:pt x="483" y="119"/>
                    </a:lnTo>
                    <a:lnTo>
                      <a:pt x="484" y="119"/>
                    </a:lnTo>
                    <a:lnTo>
                      <a:pt x="486" y="119"/>
                    </a:lnTo>
                    <a:lnTo>
                      <a:pt x="487" y="118"/>
                    </a:lnTo>
                    <a:lnTo>
                      <a:pt x="489" y="119"/>
                    </a:lnTo>
                    <a:lnTo>
                      <a:pt x="491" y="121"/>
                    </a:lnTo>
                    <a:lnTo>
                      <a:pt x="492" y="121"/>
                    </a:lnTo>
                    <a:lnTo>
                      <a:pt x="494" y="121"/>
                    </a:lnTo>
                    <a:lnTo>
                      <a:pt x="494" y="119"/>
                    </a:lnTo>
                    <a:lnTo>
                      <a:pt x="494" y="116"/>
                    </a:lnTo>
                    <a:lnTo>
                      <a:pt x="494" y="116"/>
                    </a:lnTo>
                    <a:lnTo>
                      <a:pt x="494" y="114"/>
                    </a:lnTo>
                    <a:lnTo>
                      <a:pt x="492" y="113"/>
                    </a:lnTo>
                    <a:lnTo>
                      <a:pt x="491" y="113"/>
                    </a:lnTo>
                    <a:lnTo>
                      <a:pt x="487" y="113"/>
                    </a:lnTo>
                    <a:lnTo>
                      <a:pt x="484" y="114"/>
                    </a:lnTo>
                    <a:lnTo>
                      <a:pt x="484" y="114"/>
                    </a:lnTo>
                    <a:lnTo>
                      <a:pt x="484" y="114"/>
                    </a:lnTo>
                    <a:lnTo>
                      <a:pt x="484" y="116"/>
                    </a:lnTo>
                    <a:lnTo>
                      <a:pt x="484" y="116"/>
                    </a:lnTo>
                    <a:lnTo>
                      <a:pt x="481" y="116"/>
                    </a:lnTo>
                    <a:lnTo>
                      <a:pt x="478" y="116"/>
                    </a:lnTo>
                    <a:lnTo>
                      <a:pt x="475" y="116"/>
                    </a:lnTo>
                    <a:lnTo>
                      <a:pt x="472" y="118"/>
                    </a:lnTo>
                    <a:lnTo>
                      <a:pt x="472" y="118"/>
                    </a:lnTo>
                    <a:lnTo>
                      <a:pt x="470" y="118"/>
                    </a:lnTo>
                    <a:lnTo>
                      <a:pt x="469" y="119"/>
                    </a:lnTo>
                    <a:lnTo>
                      <a:pt x="467" y="119"/>
                    </a:lnTo>
                    <a:lnTo>
                      <a:pt x="464" y="119"/>
                    </a:lnTo>
                    <a:lnTo>
                      <a:pt x="464" y="119"/>
                    </a:lnTo>
                    <a:lnTo>
                      <a:pt x="462" y="118"/>
                    </a:lnTo>
                    <a:lnTo>
                      <a:pt x="462" y="118"/>
                    </a:lnTo>
                    <a:lnTo>
                      <a:pt x="461" y="118"/>
                    </a:lnTo>
                    <a:lnTo>
                      <a:pt x="459" y="119"/>
                    </a:lnTo>
                    <a:lnTo>
                      <a:pt x="456" y="122"/>
                    </a:lnTo>
                    <a:lnTo>
                      <a:pt x="456" y="124"/>
                    </a:lnTo>
                    <a:lnTo>
                      <a:pt x="455" y="127"/>
                    </a:lnTo>
                    <a:lnTo>
                      <a:pt x="453" y="127"/>
                    </a:lnTo>
                    <a:lnTo>
                      <a:pt x="450" y="127"/>
                    </a:lnTo>
                    <a:lnTo>
                      <a:pt x="448" y="127"/>
                    </a:lnTo>
                    <a:lnTo>
                      <a:pt x="447" y="127"/>
                    </a:lnTo>
                    <a:lnTo>
                      <a:pt x="445" y="127"/>
                    </a:lnTo>
                    <a:lnTo>
                      <a:pt x="445" y="125"/>
                    </a:lnTo>
                    <a:lnTo>
                      <a:pt x="444" y="121"/>
                    </a:lnTo>
                    <a:lnTo>
                      <a:pt x="442" y="119"/>
                    </a:lnTo>
                    <a:lnTo>
                      <a:pt x="439" y="119"/>
                    </a:lnTo>
                    <a:lnTo>
                      <a:pt x="439" y="118"/>
                    </a:lnTo>
                    <a:lnTo>
                      <a:pt x="436" y="114"/>
                    </a:lnTo>
                    <a:lnTo>
                      <a:pt x="436" y="113"/>
                    </a:lnTo>
                    <a:lnTo>
                      <a:pt x="434" y="111"/>
                    </a:lnTo>
                    <a:lnTo>
                      <a:pt x="434" y="108"/>
                    </a:lnTo>
                    <a:lnTo>
                      <a:pt x="434" y="107"/>
                    </a:lnTo>
                    <a:lnTo>
                      <a:pt x="434" y="105"/>
                    </a:lnTo>
                    <a:lnTo>
                      <a:pt x="436" y="102"/>
                    </a:lnTo>
                    <a:lnTo>
                      <a:pt x="436" y="100"/>
                    </a:lnTo>
                    <a:lnTo>
                      <a:pt x="437" y="99"/>
                    </a:lnTo>
                    <a:lnTo>
                      <a:pt x="439" y="96"/>
                    </a:lnTo>
                    <a:lnTo>
                      <a:pt x="441" y="96"/>
                    </a:lnTo>
                    <a:lnTo>
                      <a:pt x="442" y="94"/>
                    </a:lnTo>
                    <a:lnTo>
                      <a:pt x="444" y="94"/>
                    </a:lnTo>
                    <a:lnTo>
                      <a:pt x="447" y="94"/>
                    </a:lnTo>
                    <a:lnTo>
                      <a:pt x="450" y="96"/>
                    </a:lnTo>
                    <a:lnTo>
                      <a:pt x="451" y="96"/>
                    </a:lnTo>
                    <a:lnTo>
                      <a:pt x="459" y="94"/>
                    </a:lnTo>
                    <a:lnTo>
                      <a:pt x="461" y="94"/>
                    </a:lnTo>
                    <a:lnTo>
                      <a:pt x="462" y="94"/>
                    </a:lnTo>
                    <a:lnTo>
                      <a:pt x="464" y="96"/>
                    </a:lnTo>
                    <a:lnTo>
                      <a:pt x="467" y="96"/>
                    </a:lnTo>
                    <a:lnTo>
                      <a:pt x="470" y="94"/>
                    </a:lnTo>
                    <a:lnTo>
                      <a:pt x="475" y="94"/>
                    </a:lnTo>
                    <a:lnTo>
                      <a:pt x="486" y="94"/>
                    </a:lnTo>
                    <a:lnTo>
                      <a:pt x="487" y="94"/>
                    </a:lnTo>
                    <a:lnTo>
                      <a:pt x="489" y="94"/>
                    </a:lnTo>
                    <a:lnTo>
                      <a:pt x="491" y="96"/>
                    </a:lnTo>
                    <a:lnTo>
                      <a:pt x="492" y="97"/>
                    </a:lnTo>
                    <a:lnTo>
                      <a:pt x="492" y="97"/>
                    </a:lnTo>
                    <a:lnTo>
                      <a:pt x="495" y="97"/>
                    </a:lnTo>
                    <a:lnTo>
                      <a:pt x="498" y="97"/>
                    </a:lnTo>
                    <a:lnTo>
                      <a:pt x="500" y="97"/>
                    </a:lnTo>
                    <a:lnTo>
                      <a:pt x="506" y="97"/>
                    </a:lnTo>
                    <a:lnTo>
                      <a:pt x="508" y="96"/>
                    </a:lnTo>
                    <a:lnTo>
                      <a:pt x="509" y="96"/>
                    </a:lnTo>
                    <a:lnTo>
                      <a:pt x="511" y="96"/>
                    </a:lnTo>
                    <a:lnTo>
                      <a:pt x="512" y="94"/>
                    </a:lnTo>
                    <a:lnTo>
                      <a:pt x="514" y="92"/>
                    </a:lnTo>
                    <a:lnTo>
                      <a:pt x="514" y="91"/>
                    </a:lnTo>
                    <a:lnTo>
                      <a:pt x="516" y="89"/>
                    </a:lnTo>
                    <a:lnTo>
                      <a:pt x="517" y="88"/>
                    </a:lnTo>
                    <a:lnTo>
                      <a:pt x="520" y="86"/>
                    </a:lnTo>
                    <a:lnTo>
                      <a:pt x="522" y="85"/>
                    </a:lnTo>
                    <a:lnTo>
                      <a:pt x="522" y="83"/>
                    </a:lnTo>
                    <a:lnTo>
                      <a:pt x="523" y="78"/>
                    </a:lnTo>
                    <a:lnTo>
                      <a:pt x="525" y="78"/>
                    </a:lnTo>
                    <a:lnTo>
                      <a:pt x="526" y="77"/>
                    </a:lnTo>
                    <a:lnTo>
                      <a:pt x="526" y="77"/>
                    </a:lnTo>
                    <a:lnTo>
                      <a:pt x="525" y="74"/>
                    </a:lnTo>
                    <a:close/>
                    <a:moveTo>
                      <a:pt x="126" y="77"/>
                    </a:moveTo>
                    <a:lnTo>
                      <a:pt x="126" y="77"/>
                    </a:lnTo>
                    <a:lnTo>
                      <a:pt x="118" y="75"/>
                    </a:lnTo>
                    <a:lnTo>
                      <a:pt x="118" y="75"/>
                    </a:lnTo>
                    <a:lnTo>
                      <a:pt x="118" y="75"/>
                    </a:lnTo>
                    <a:lnTo>
                      <a:pt x="118" y="75"/>
                    </a:lnTo>
                    <a:lnTo>
                      <a:pt x="120" y="77"/>
                    </a:lnTo>
                    <a:lnTo>
                      <a:pt x="122" y="77"/>
                    </a:lnTo>
                    <a:lnTo>
                      <a:pt x="123" y="77"/>
                    </a:lnTo>
                    <a:lnTo>
                      <a:pt x="125" y="78"/>
                    </a:lnTo>
                    <a:lnTo>
                      <a:pt x="126" y="78"/>
                    </a:lnTo>
                    <a:lnTo>
                      <a:pt x="126" y="80"/>
                    </a:lnTo>
                    <a:lnTo>
                      <a:pt x="126" y="77"/>
                    </a:lnTo>
                    <a:close/>
                    <a:moveTo>
                      <a:pt x="46" y="85"/>
                    </a:moveTo>
                    <a:lnTo>
                      <a:pt x="45" y="83"/>
                    </a:lnTo>
                    <a:lnTo>
                      <a:pt x="43" y="82"/>
                    </a:lnTo>
                    <a:lnTo>
                      <a:pt x="39" y="77"/>
                    </a:lnTo>
                    <a:lnTo>
                      <a:pt x="37" y="77"/>
                    </a:lnTo>
                    <a:lnTo>
                      <a:pt x="37" y="77"/>
                    </a:lnTo>
                    <a:lnTo>
                      <a:pt x="36" y="77"/>
                    </a:lnTo>
                    <a:lnTo>
                      <a:pt x="34" y="78"/>
                    </a:lnTo>
                    <a:lnTo>
                      <a:pt x="32" y="78"/>
                    </a:lnTo>
                    <a:lnTo>
                      <a:pt x="36" y="82"/>
                    </a:lnTo>
                    <a:lnTo>
                      <a:pt x="37" y="85"/>
                    </a:lnTo>
                    <a:lnTo>
                      <a:pt x="37" y="86"/>
                    </a:lnTo>
                    <a:lnTo>
                      <a:pt x="39" y="86"/>
                    </a:lnTo>
                    <a:lnTo>
                      <a:pt x="40" y="88"/>
                    </a:lnTo>
                    <a:lnTo>
                      <a:pt x="42" y="92"/>
                    </a:lnTo>
                    <a:lnTo>
                      <a:pt x="42" y="92"/>
                    </a:lnTo>
                    <a:lnTo>
                      <a:pt x="45" y="92"/>
                    </a:lnTo>
                    <a:lnTo>
                      <a:pt x="46" y="92"/>
                    </a:lnTo>
                    <a:lnTo>
                      <a:pt x="46" y="88"/>
                    </a:lnTo>
                    <a:lnTo>
                      <a:pt x="46" y="86"/>
                    </a:lnTo>
                    <a:lnTo>
                      <a:pt x="46" y="85"/>
                    </a:lnTo>
                    <a:close/>
                    <a:moveTo>
                      <a:pt x="126" y="82"/>
                    </a:moveTo>
                    <a:lnTo>
                      <a:pt x="125" y="82"/>
                    </a:lnTo>
                    <a:lnTo>
                      <a:pt x="125" y="80"/>
                    </a:lnTo>
                    <a:lnTo>
                      <a:pt x="123" y="78"/>
                    </a:lnTo>
                    <a:lnTo>
                      <a:pt x="123" y="78"/>
                    </a:lnTo>
                    <a:lnTo>
                      <a:pt x="122" y="80"/>
                    </a:lnTo>
                    <a:lnTo>
                      <a:pt x="122" y="82"/>
                    </a:lnTo>
                    <a:lnTo>
                      <a:pt x="123" y="83"/>
                    </a:lnTo>
                    <a:lnTo>
                      <a:pt x="123" y="85"/>
                    </a:lnTo>
                    <a:lnTo>
                      <a:pt x="123" y="85"/>
                    </a:lnTo>
                    <a:lnTo>
                      <a:pt x="125" y="86"/>
                    </a:lnTo>
                    <a:lnTo>
                      <a:pt x="126" y="86"/>
                    </a:lnTo>
                    <a:lnTo>
                      <a:pt x="126" y="85"/>
                    </a:lnTo>
                    <a:lnTo>
                      <a:pt x="126" y="83"/>
                    </a:lnTo>
                    <a:lnTo>
                      <a:pt x="126" y="82"/>
                    </a:lnTo>
                    <a:close/>
                    <a:moveTo>
                      <a:pt x="165" y="83"/>
                    </a:moveTo>
                    <a:lnTo>
                      <a:pt x="164" y="83"/>
                    </a:lnTo>
                    <a:lnTo>
                      <a:pt x="164" y="82"/>
                    </a:lnTo>
                    <a:lnTo>
                      <a:pt x="162" y="83"/>
                    </a:lnTo>
                    <a:lnTo>
                      <a:pt x="161" y="82"/>
                    </a:lnTo>
                    <a:lnTo>
                      <a:pt x="159" y="83"/>
                    </a:lnTo>
                    <a:lnTo>
                      <a:pt x="158" y="83"/>
                    </a:lnTo>
                    <a:lnTo>
                      <a:pt x="158" y="85"/>
                    </a:lnTo>
                    <a:lnTo>
                      <a:pt x="158" y="85"/>
                    </a:lnTo>
                    <a:lnTo>
                      <a:pt x="159" y="85"/>
                    </a:lnTo>
                    <a:lnTo>
                      <a:pt x="161" y="85"/>
                    </a:lnTo>
                    <a:lnTo>
                      <a:pt x="162" y="86"/>
                    </a:lnTo>
                    <a:lnTo>
                      <a:pt x="161" y="86"/>
                    </a:lnTo>
                    <a:lnTo>
                      <a:pt x="162" y="86"/>
                    </a:lnTo>
                    <a:lnTo>
                      <a:pt x="162" y="86"/>
                    </a:lnTo>
                    <a:lnTo>
                      <a:pt x="162" y="88"/>
                    </a:lnTo>
                    <a:lnTo>
                      <a:pt x="162" y="88"/>
                    </a:lnTo>
                    <a:lnTo>
                      <a:pt x="164" y="88"/>
                    </a:lnTo>
                    <a:lnTo>
                      <a:pt x="164" y="88"/>
                    </a:lnTo>
                    <a:lnTo>
                      <a:pt x="165" y="86"/>
                    </a:lnTo>
                    <a:lnTo>
                      <a:pt x="165" y="85"/>
                    </a:lnTo>
                    <a:lnTo>
                      <a:pt x="165" y="83"/>
                    </a:lnTo>
                    <a:close/>
                    <a:moveTo>
                      <a:pt x="154" y="83"/>
                    </a:moveTo>
                    <a:lnTo>
                      <a:pt x="154" y="83"/>
                    </a:lnTo>
                    <a:lnTo>
                      <a:pt x="153" y="83"/>
                    </a:lnTo>
                    <a:lnTo>
                      <a:pt x="153" y="83"/>
                    </a:lnTo>
                    <a:lnTo>
                      <a:pt x="153" y="85"/>
                    </a:lnTo>
                    <a:lnTo>
                      <a:pt x="153" y="85"/>
                    </a:lnTo>
                    <a:lnTo>
                      <a:pt x="153" y="85"/>
                    </a:lnTo>
                    <a:lnTo>
                      <a:pt x="153" y="85"/>
                    </a:lnTo>
                    <a:lnTo>
                      <a:pt x="154" y="86"/>
                    </a:lnTo>
                    <a:lnTo>
                      <a:pt x="156" y="85"/>
                    </a:lnTo>
                    <a:lnTo>
                      <a:pt x="156" y="83"/>
                    </a:lnTo>
                    <a:lnTo>
                      <a:pt x="156" y="83"/>
                    </a:lnTo>
                    <a:lnTo>
                      <a:pt x="154" y="83"/>
                    </a:lnTo>
                    <a:close/>
                    <a:moveTo>
                      <a:pt x="137" y="85"/>
                    </a:moveTo>
                    <a:lnTo>
                      <a:pt x="136" y="85"/>
                    </a:lnTo>
                    <a:lnTo>
                      <a:pt x="132" y="83"/>
                    </a:lnTo>
                    <a:lnTo>
                      <a:pt x="131" y="83"/>
                    </a:lnTo>
                    <a:lnTo>
                      <a:pt x="131" y="85"/>
                    </a:lnTo>
                    <a:lnTo>
                      <a:pt x="131" y="85"/>
                    </a:lnTo>
                    <a:lnTo>
                      <a:pt x="132" y="85"/>
                    </a:lnTo>
                    <a:lnTo>
                      <a:pt x="134" y="86"/>
                    </a:lnTo>
                    <a:lnTo>
                      <a:pt x="136" y="86"/>
                    </a:lnTo>
                    <a:lnTo>
                      <a:pt x="136" y="88"/>
                    </a:lnTo>
                    <a:lnTo>
                      <a:pt x="137" y="88"/>
                    </a:lnTo>
                    <a:lnTo>
                      <a:pt x="139" y="88"/>
                    </a:lnTo>
                    <a:lnTo>
                      <a:pt x="139" y="88"/>
                    </a:lnTo>
                    <a:lnTo>
                      <a:pt x="137" y="85"/>
                    </a:lnTo>
                    <a:close/>
                    <a:moveTo>
                      <a:pt x="143" y="85"/>
                    </a:moveTo>
                    <a:lnTo>
                      <a:pt x="143" y="85"/>
                    </a:lnTo>
                    <a:lnTo>
                      <a:pt x="142" y="83"/>
                    </a:lnTo>
                    <a:lnTo>
                      <a:pt x="142" y="83"/>
                    </a:lnTo>
                    <a:lnTo>
                      <a:pt x="142" y="85"/>
                    </a:lnTo>
                    <a:lnTo>
                      <a:pt x="142" y="85"/>
                    </a:lnTo>
                    <a:lnTo>
                      <a:pt x="143" y="86"/>
                    </a:lnTo>
                    <a:lnTo>
                      <a:pt x="143" y="85"/>
                    </a:lnTo>
                    <a:close/>
                    <a:moveTo>
                      <a:pt x="136" y="88"/>
                    </a:moveTo>
                    <a:lnTo>
                      <a:pt x="134" y="88"/>
                    </a:lnTo>
                    <a:lnTo>
                      <a:pt x="132" y="86"/>
                    </a:lnTo>
                    <a:lnTo>
                      <a:pt x="131" y="86"/>
                    </a:lnTo>
                    <a:lnTo>
                      <a:pt x="129" y="85"/>
                    </a:lnTo>
                    <a:lnTo>
                      <a:pt x="128" y="83"/>
                    </a:lnTo>
                    <a:lnTo>
                      <a:pt x="128" y="85"/>
                    </a:lnTo>
                    <a:lnTo>
                      <a:pt x="126" y="86"/>
                    </a:lnTo>
                    <a:lnTo>
                      <a:pt x="126" y="86"/>
                    </a:lnTo>
                    <a:lnTo>
                      <a:pt x="126" y="88"/>
                    </a:lnTo>
                    <a:lnTo>
                      <a:pt x="126" y="88"/>
                    </a:lnTo>
                    <a:lnTo>
                      <a:pt x="128" y="88"/>
                    </a:lnTo>
                    <a:lnTo>
                      <a:pt x="131" y="89"/>
                    </a:lnTo>
                    <a:lnTo>
                      <a:pt x="132" y="89"/>
                    </a:lnTo>
                    <a:lnTo>
                      <a:pt x="136" y="89"/>
                    </a:lnTo>
                    <a:lnTo>
                      <a:pt x="136" y="91"/>
                    </a:lnTo>
                    <a:lnTo>
                      <a:pt x="136" y="89"/>
                    </a:lnTo>
                    <a:lnTo>
                      <a:pt x="136" y="88"/>
                    </a:lnTo>
                    <a:close/>
                    <a:moveTo>
                      <a:pt x="158" y="88"/>
                    </a:moveTo>
                    <a:lnTo>
                      <a:pt x="156" y="88"/>
                    </a:lnTo>
                    <a:lnTo>
                      <a:pt x="156" y="86"/>
                    </a:lnTo>
                    <a:lnTo>
                      <a:pt x="156" y="86"/>
                    </a:lnTo>
                    <a:lnTo>
                      <a:pt x="154" y="86"/>
                    </a:lnTo>
                    <a:lnTo>
                      <a:pt x="154" y="88"/>
                    </a:lnTo>
                    <a:lnTo>
                      <a:pt x="156" y="89"/>
                    </a:lnTo>
                    <a:lnTo>
                      <a:pt x="158" y="88"/>
                    </a:lnTo>
                    <a:lnTo>
                      <a:pt x="158" y="88"/>
                    </a:lnTo>
                    <a:close/>
                    <a:moveTo>
                      <a:pt x="150" y="89"/>
                    </a:moveTo>
                    <a:lnTo>
                      <a:pt x="150" y="88"/>
                    </a:lnTo>
                    <a:lnTo>
                      <a:pt x="150" y="88"/>
                    </a:lnTo>
                    <a:lnTo>
                      <a:pt x="148" y="88"/>
                    </a:lnTo>
                    <a:lnTo>
                      <a:pt x="148" y="88"/>
                    </a:lnTo>
                    <a:lnTo>
                      <a:pt x="150" y="89"/>
                    </a:lnTo>
                    <a:lnTo>
                      <a:pt x="150" y="89"/>
                    </a:lnTo>
                    <a:close/>
                    <a:moveTo>
                      <a:pt x="143" y="89"/>
                    </a:moveTo>
                    <a:lnTo>
                      <a:pt x="143" y="88"/>
                    </a:lnTo>
                    <a:lnTo>
                      <a:pt x="142" y="88"/>
                    </a:lnTo>
                    <a:lnTo>
                      <a:pt x="142" y="88"/>
                    </a:lnTo>
                    <a:lnTo>
                      <a:pt x="142" y="89"/>
                    </a:lnTo>
                    <a:lnTo>
                      <a:pt x="143" y="91"/>
                    </a:lnTo>
                    <a:lnTo>
                      <a:pt x="143" y="91"/>
                    </a:lnTo>
                    <a:lnTo>
                      <a:pt x="145" y="91"/>
                    </a:lnTo>
                    <a:lnTo>
                      <a:pt x="143" y="89"/>
                    </a:lnTo>
                    <a:close/>
                    <a:moveTo>
                      <a:pt x="562" y="88"/>
                    </a:moveTo>
                    <a:lnTo>
                      <a:pt x="562" y="88"/>
                    </a:lnTo>
                    <a:lnTo>
                      <a:pt x="562" y="88"/>
                    </a:lnTo>
                    <a:lnTo>
                      <a:pt x="562" y="89"/>
                    </a:lnTo>
                    <a:lnTo>
                      <a:pt x="562" y="89"/>
                    </a:lnTo>
                    <a:lnTo>
                      <a:pt x="562" y="89"/>
                    </a:lnTo>
                    <a:lnTo>
                      <a:pt x="564" y="89"/>
                    </a:lnTo>
                    <a:lnTo>
                      <a:pt x="562" y="88"/>
                    </a:lnTo>
                    <a:close/>
                    <a:moveTo>
                      <a:pt x="564" y="91"/>
                    </a:moveTo>
                    <a:lnTo>
                      <a:pt x="564" y="89"/>
                    </a:lnTo>
                    <a:lnTo>
                      <a:pt x="564" y="89"/>
                    </a:lnTo>
                    <a:lnTo>
                      <a:pt x="564" y="91"/>
                    </a:lnTo>
                    <a:lnTo>
                      <a:pt x="564" y="92"/>
                    </a:lnTo>
                    <a:lnTo>
                      <a:pt x="564" y="92"/>
                    </a:lnTo>
                    <a:lnTo>
                      <a:pt x="564" y="92"/>
                    </a:lnTo>
                    <a:lnTo>
                      <a:pt x="566" y="91"/>
                    </a:lnTo>
                    <a:lnTo>
                      <a:pt x="564" y="91"/>
                    </a:lnTo>
                    <a:close/>
                    <a:moveTo>
                      <a:pt x="140" y="91"/>
                    </a:moveTo>
                    <a:lnTo>
                      <a:pt x="139" y="91"/>
                    </a:lnTo>
                    <a:lnTo>
                      <a:pt x="139" y="92"/>
                    </a:lnTo>
                    <a:lnTo>
                      <a:pt x="139" y="94"/>
                    </a:lnTo>
                    <a:lnTo>
                      <a:pt x="139" y="94"/>
                    </a:lnTo>
                    <a:lnTo>
                      <a:pt x="140" y="94"/>
                    </a:lnTo>
                    <a:lnTo>
                      <a:pt x="140" y="92"/>
                    </a:lnTo>
                    <a:lnTo>
                      <a:pt x="140" y="91"/>
                    </a:lnTo>
                    <a:close/>
                    <a:moveTo>
                      <a:pt x="165" y="102"/>
                    </a:moveTo>
                    <a:lnTo>
                      <a:pt x="165" y="102"/>
                    </a:lnTo>
                    <a:lnTo>
                      <a:pt x="162" y="99"/>
                    </a:lnTo>
                    <a:lnTo>
                      <a:pt x="162" y="99"/>
                    </a:lnTo>
                    <a:lnTo>
                      <a:pt x="164" y="102"/>
                    </a:lnTo>
                    <a:lnTo>
                      <a:pt x="164" y="102"/>
                    </a:lnTo>
                    <a:lnTo>
                      <a:pt x="165" y="102"/>
                    </a:lnTo>
                    <a:lnTo>
                      <a:pt x="165" y="102"/>
                    </a:lnTo>
                    <a:lnTo>
                      <a:pt x="165" y="102"/>
                    </a:lnTo>
                    <a:close/>
                    <a:moveTo>
                      <a:pt x="566" y="102"/>
                    </a:moveTo>
                    <a:lnTo>
                      <a:pt x="564" y="100"/>
                    </a:lnTo>
                    <a:lnTo>
                      <a:pt x="564" y="100"/>
                    </a:lnTo>
                    <a:lnTo>
                      <a:pt x="564" y="102"/>
                    </a:lnTo>
                    <a:lnTo>
                      <a:pt x="564" y="103"/>
                    </a:lnTo>
                    <a:lnTo>
                      <a:pt x="566" y="103"/>
                    </a:lnTo>
                    <a:lnTo>
                      <a:pt x="566" y="103"/>
                    </a:lnTo>
                    <a:lnTo>
                      <a:pt x="566" y="102"/>
                    </a:lnTo>
                    <a:close/>
                    <a:moveTo>
                      <a:pt x="602" y="105"/>
                    </a:moveTo>
                    <a:lnTo>
                      <a:pt x="597" y="102"/>
                    </a:lnTo>
                    <a:lnTo>
                      <a:pt x="598" y="103"/>
                    </a:lnTo>
                    <a:lnTo>
                      <a:pt x="600" y="105"/>
                    </a:lnTo>
                    <a:lnTo>
                      <a:pt x="602" y="107"/>
                    </a:lnTo>
                    <a:lnTo>
                      <a:pt x="602" y="107"/>
                    </a:lnTo>
                    <a:lnTo>
                      <a:pt x="602" y="105"/>
                    </a:lnTo>
                    <a:close/>
                    <a:moveTo>
                      <a:pt x="170" y="107"/>
                    </a:moveTo>
                    <a:lnTo>
                      <a:pt x="170" y="107"/>
                    </a:lnTo>
                    <a:lnTo>
                      <a:pt x="168" y="105"/>
                    </a:lnTo>
                    <a:lnTo>
                      <a:pt x="167" y="107"/>
                    </a:lnTo>
                    <a:lnTo>
                      <a:pt x="167" y="107"/>
                    </a:lnTo>
                    <a:lnTo>
                      <a:pt x="165" y="105"/>
                    </a:lnTo>
                    <a:lnTo>
                      <a:pt x="165" y="105"/>
                    </a:lnTo>
                    <a:lnTo>
                      <a:pt x="165" y="103"/>
                    </a:lnTo>
                    <a:lnTo>
                      <a:pt x="164" y="103"/>
                    </a:lnTo>
                    <a:lnTo>
                      <a:pt x="162" y="102"/>
                    </a:lnTo>
                    <a:lnTo>
                      <a:pt x="162" y="105"/>
                    </a:lnTo>
                    <a:lnTo>
                      <a:pt x="161" y="107"/>
                    </a:lnTo>
                    <a:lnTo>
                      <a:pt x="162" y="107"/>
                    </a:lnTo>
                    <a:lnTo>
                      <a:pt x="164" y="107"/>
                    </a:lnTo>
                    <a:lnTo>
                      <a:pt x="165" y="107"/>
                    </a:lnTo>
                    <a:lnTo>
                      <a:pt x="170" y="108"/>
                    </a:lnTo>
                    <a:lnTo>
                      <a:pt x="170" y="108"/>
                    </a:lnTo>
                    <a:lnTo>
                      <a:pt x="170" y="108"/>
                    </a:lnTo>
                    <a:lnTo>
                      <a:pt x="172" y="108"/>
                    </a:lnTo>
                    <a:lnTo>
                      <a:pt x="170" y="107"/>
                    </a:lnTo>
                    <a:close/>
                    <a:moveTo>
                      <a:pt x="56" y="107"/>
                    </a:moveTo>
                    <a:lnTo>
                      <a:pt x="56" y="103"/>
                    </a:lnTo>
                    <a:lnTo>
                      <a:pt x="54" y="103"/>
                    </a:lnTo>
                    <a:lnTo>
                      <a:pt x="54" y="103"/>
                    </a:lnTo>
                    <a:lnTo>
                      <a:pt x="56" y="107"/>
                    </a:lnTo>
                    <a:lnTo>
                      <a:pt x="56" y="108"/>
                    </a:lnTo>
                    <a:lnTo>
                      <a:pt x="54" y="110"/>
                    </a:lnTo>
                    <a:lnTo>
                      <a:pt x="54" y="111"/>
                    </a:lnTo>
                    <a:lnTo>
                      <a:pt x="53" y="113"/>
                    </a:lnTo>
                    <a:lnTo>
                      <a:pt x="54" y="113"/>
                    </a:lnTo>
                    <a:lnTo>
                      <a:pt x="56" y="113"/>
                    </a:lnTo>
                    <a:lnTo>
                      <a:pt x="57" y="110"/>
                    </a:lnTo>
                    <a:lnTo>
                      <a:pt x="57" y="108"/>
                    </a:lnTo>
                    <a:lnTo>
                      <a:pt x="56" y="107"/>
                    </a:lnTo>
                    <a:close/>
                    <a:moveTo>
                      <a:pt x="633" y="107"/>
                    </a:moveTo>
                    <a:lnTo>
                      <a:pt x="633" y="107"/>
                    </a:lnTo>
                    <a:lnTo>
                      <a:pt x="633" y="105"/>
                    </a:lnTo>
                    <a:lnTo>
                      <a:pt x="628" y="103"/>
                    </a:lnTo>
                    <a:lnTo>
                      <a:pt x="627" y="103"/>
                    </a:lnTo>
                    <a:lnTo>
                      <a:pt x="623" y="103"/>
                    </a:lnTo>
                    <a:lnTo>
                      <a:pt x="622" y="103"/>
                    </a:lnTo>
                    <a:lnTo>
                      <a:pt x="620" y="103"/>
                    </a:lnTo>
                    <a:lnTo>
                      <a:pt x="619" y="103"/>
                    </a:lnTo>
                    <a:lnTo>
                      <a:pt x="619" y="103"/>
                    </a:lnTo>
                    <a:lnTo>
                      <a:pt x="617" y="105"/>
                    </a:lnTo>
                    <a:lnTo>
                      <a:pt x="616" y="103"/>
                    </a:lnTo>
                    <a:lnTo>
                      <a:pt x="614" y="105"/>
                    </a:lnTo>
                    <a:lnTo>
                      <a:pt x="614" y="105"/>
                    </a:lnTo>
                    <a:lnTo>
                      <a:pt x="614" y="107"/>
                    </a:lnTo>
                    <a:lnTo>
                      <a:pt x="616" y="108"/>
                    </a:lnTo>
                    <a:lnTo>
                      <a:pt x="619" y="108"/>
                    </a:lnTo>
                    <a:lnTo>
                      <a:pt x="619" y="110"/>
                    </a:lnTo>
                    <a:lnTo>
                      <a:pt x="620" y="110"/>
                    </a:lnTo>
                    <a:lnTo>
                      <a:pt x="620" y="108"/>
                    </a:lnTo>
                    <a:lnTo>
                      <a:pt x="622" y="108"/>
                    </a:lnTo>
                    <a:lnTo>
                      <a:pt x="622" y="110"/>
                    </a:lnTo>
                    <a:lnTo>
                      <a:pt x="623" y="111"/>
                    </a:lnTo>
                    <a:lnTo>
                      <a:pt x="625" y="110"/>
                    </a:lnTo>
                    <a:lnTo>
                      <a:pt x="625" y="110"/>
                    </a:lnTo>
                    <a:lnTo>
                      <a:pt x="625" y="108"/>
                    </a:lnTo>
                    <a:lnTo>
                      <a:pt x="623" y="108"/>
                    </a:lnTo>
                    <a:lnTo>
                      <a:pt x="623" y="108"/>
                    </a:lnTo>
                    <a:lnTo>
                      <a:pt x="622" y="107"/>
                    </a:lnTo>
                    <a:lnTo>
                      <a:pt x="620" y="105"/>
                    </a:lnTo>
                    <a:lnTo>
                      <a:pt x="620" y="105"/>
                    </a:lnTo>
                    <a:lnTo>
                      <a:pt x="622" y="105"/>
                    </a:lnTo>
                    <a:lnTo>
                      <a:pt x="623" y="107"/>
                    </a:lnTo>
                    <a:lnTo>
                      <a:pt x="625" y="108"/>
                    </a:lnTo>
                    <a:lnTo>
                      <a:pt x="627" y="108"/>
                    </a:lnTo>
                    <a:lnTo>
                      <a:pt x="627" y="110"/>
                    </a:lnTo>
                    <a:lnTo>
                      <a:pt x="628" y="108"/>
                    </a:lnTo>
                    <a:lnTo>
                      <a:pt x="630" y="110"/>
                    </a:lnTo>
                    <a:lnTo>
                      <a:pt x="631" y="110"/>
                    </a:lnTo>
                    <a:lnTo>
                      <a:pt x="631" y="110"/>
                    </a:lnTo>
                    <a:lnTo>
                      <a:pt x="633" y="108"/>
                    </a:lnTo>
                    <a:lnTo>
                      <a:pt x="633" y="107"/>
                    </a:lnTo>
                    <a:close/>
                    <a:moveTo>
                      <a:pt x="148" y="108"/>
                    </a:moveTo>
                    <a:lnTo>
                      <a:pt x="147" y="107"/>
                    </a:lnTo>
                    <a:lnTo>
                      <a:pt x="145" y="107"/>
                    </a:lnTo>
                    <a:lnTo>
                      <a:pt x="143" y="108"/>
                    </a:lnTo>
                    <a:lnTo>
                      <a:pt x="143" y="110"/>
                    </a:lnTo>
                    <a:lnTo>
                      <a:pt x="147" y="110"/>
                    </a:lnTo>
                    <a:lnTo>
                      <a:pt x="148" y="110"/>
                    </a:lnTo>
                    <a:lnTo>
                      <a:pt x="150" y="108"/>
                    </a:lnTo>
                    <a:lnTo>
                      <a:pt x="148" y="108"/>
                    </a:lnTo>
                    <a:close/>
                    <a:moveTo>
                      <a:pt x="562" y="108"/>
                    </a:moveTo>
                    <a:lnTo>
                      <a:pt x="561" y="108"/>
                    </a:lnTo>
                    <a:lnTo>
                      <a:pt x="559" y="108"/>
                    </a:lnTo>
                    <a:lnTo>
                      <a:pt x="559" y="110"/>
                    </a:lnTo>
                    <a:lnTo>
                      <a:pt x="559" y="111"/>
                    </a:lnTo>
                    <a:lnTo>
                      <a:pt x="561" y="111"/>
                    </a:lnTo>
                    <a:lnTo>
                      <a:pt x="561" y="111"/>
                    </a:lnTo>
                    <a:lnTo>
                      <a:pt x="562" y="110"/>
                    </a:lnTo>
                    <a:lnTo>
                      <a:pt x="561" y="108"/>
                    </a:lnTo>
                    <a:lnTo>
                      <a:pt x="562" y="108"/>
                    </a:lnTo>
                    <a:close/>
                    <a:moveTo>
                      <a:pt x="572" y="116"/>
                    </a:moveTo>
                    <a:lnTo>
                      <a:pt x="572" y="116"/>
                    </a:lnTo>
                    <a:lnTo>
                      <a:pt x="572" y="114"/>
                    </a:lnTo>
                    <a:lnTo>
                      <a:pt x="569" y="114"/>
                    </a:lnTo>
                    <a:lnTo>
                      <a:pt x="567" y="113"/>
                    </a:lnTo>
                    <a:lnTo>
                      <a:pt x="569" y="111"/>
                    </a:lnTo>
                    <a:lnTo>
                      <a:pt x="567" y="108"/>
                    </a:lnTo>
                    <a:lnTo>
                      <a:pt x="566" y="108"/>
                    </a:lnTo>
                    <a:lnTo>
                      <a:pt x="566" y="108"/>
                    </a:lnTo>
                    <a:lnTo>
                      <a:pt x="566" y="110"/>
                    </a:lnTo>
                    <a:lnTo>
                      <a:pt x="564" y="108"/>
                    </a:lnTo>
                    <a:lnTo>
                      <a:pt x="562" y="108"/>
                    </a:lnTo>
                    <a:lnTo>
                      <a:pt x="562" y="110"/>
                    </a:lnTo>
                    <a:lnTo>
                      <a:pt x="562" y="111"/>
                    </a:lnTo>
                    <a:lnTo>
                      <a:pt x="562" y="111"/>
                    </a:lnTo>
                    <a:lnTo>
                      <a:pt x="564" y="113"/>
                    </a:lnTo>
                    <a:lnTo>
                      <a:pt x="566" y="114"/>
                    </a:lnTo>
                    <a:lnTo>
                      <a:pt x="564" y="116"/>
                    </a:lnTo>
                    <a:lnTo>
                      <a:pt x="566" y="118"/>
                    </a:lnTo>
                    <a:lnTo>
                      <a:pt x="566" y="118"/>
                    </a:lnTo>
                    <a:lnTo>
                      <a:pt x="567" y="116"/>
                    </a:lnTo>
                    <a:lnTo>
                      <a:pt x="569" y="116"/>
                    </a:lnTo>
                    <a:lnTo>
                      <a:pt x="569" y="118"/>
                    </a:lnTo>
                    <a:lnTo>
                      <a:pt x="570" y="119"/>
                    </a:lnTo>
                    <a:lnTo>
                      <a:pt x="572" y="118"/>
                    </a:lnTo>
                    <a:lnTo>
                      <a:pt x="572" y="118"/>
                    </a:lnTo>
                    <a:lnTo>
                      <a:pt x="572" y="116"/>
                    </a:lnTo>
                    <a:close/>
                    <a:moveTo>
                      <a:pt x="164" y="111"/>
                    </a:moveTo>
                    <a:lnTo>
                      <a:pt x="162" y="108"/>
                    </a:lnTo>
                    <a:lnTo>
                      <a:pt x="159" y="110"/>
                    </a:lnTo>
                    <a:lnTo>
                      <a:pt x="159" y="110"/>
                    </a:lnTo>
                    <a:lnTo>
                      <a:pt x="159" y="110"/>
                    </a:lnTo>
                    <a:lnTo>
                      <a:pt x="159" y="110"/>
                    </a:lnTo>
                    <a:lnTo>
                      <a:pt x="158" y="111"/>
                    </a:lnTo>
                    <a:lnTo>
                      <a:pt x="159" y="113"/>
                    </a:lnTo>
                    <a:lnTo>
                      <a:pt x="159" y="114"/>
                    </a:lnTo>
                    <a:lnTo>
                      <a:pt x="161" y="113"/>
                    </a:lnTo>
                    <a:lnTo>
                      <a:pt x="162" y="114"/>
                    </a:lnTo>
                    <a:lnTo>
                      <a:pt x="162" y="113"/>
                    </a:lnTo>
                    <a:lnTo>
                      <a:pt x="162" y="111"/>
                    </a:lnTo>
                    <a:lnTo>
                      <a:pt x="164" y="111"/>
                    </a:lnTo>
                    <a:lnTo>
                      <a:pt x="164" y="111"/>
                    </a:lnTo>
                    <a:close/>
                    <a:moveTo>
                      <a:pt x="802" y="230"/>
                    </a:moveTo>
                    <a:lnTo>
                      <a:pt x="802" y="224"/>
                    </a:lnTo>
                    <a:lnTo>
                      <a:pt x="802" y="222"/>
                    </a:lnTo>
                    <a:lnTo>
                      <a:pt x="800" y="221"/>
                    </a:lnTo>
                    <a:lnTo>
                      <a:pt x="800" y="219"/>
                    </a:lnTo>
                    <a:lnTo>
                      <a:pt x="802" y="216"/>
                    </a:lnTo>
                    <a:lnTo>
                      <a:pt x="802" y="215"/>
                    </a:lnTo>
                    <a:lnTo>
                      <a:pt x="802" y="149"/>
                    </a:lnTo>
                    <a:lnTo>
                      <a:pt x="799" y="149"/>
                    </a:lnTo>
                    <a:lnTo>
                      <a:pt x="799" y="147"/>
                    </a:lnTo>
                    <a:lnTo>
                      <a:pt x="797" y="146"/>
                    </a:lnTo>
                    <a:lnTo>
                      <a:pt x="795" y="146"/>
                    </a:lnTo>
                    <a:lnTo>
                      <a:pt x="791" y="146"/>
                    </a:lnTo>
                    <a:lnTo>
                      <a:pt x="789" y="146"/>
                    </a:lnTo>
                    <a:lnTo>
                      <a:pt x="789" y="144"/>
                    </a:lnTo>
                    <a:lnTo>
                      <a:pt x="788" y="144"/>
                    </a:lnTo>
                    <a:lnTo>
                      <a:pt x="783" y="144"/>
                    </a:lnTo>
                    <a:lnTo>
                      <a:pt x="781" y="144"/>
                    </a:lnTo>
                    <a:lnTo>
                      <a:pt x="777" y="141"/>
                    </a:lnTo>
                    <a:lnTo>
                      <a:pt x="772" y="139"/>
                    </a:lnTo>
                    <a:lnTo>
                      <a:pt x="770" y="138"/>
                    </a:lnTo>
                    <a:lnTo>
                      <a:pt x="769" y="138"/>
                    </a:lnTo>
                    <a:lnTo>
                      <a:pt x="766" y="138"/>
                    </a:lnTo>
                    <a:lnTo>
                      <a:pt x="764" y="136"/>
                    </a:lnTo>
                    <a:lnTo>
                      <a:pt x="763" y="135"/>
                    </a:lnTo>
                    <a:lnTo>
                      <a:pt x="761" y="135"/>
                    </a:lnTo>
                    <a:lnTo>
                      <a:pt x="752" y="132"/>
                    </a:lnTo>
                    <a:lnTo>
                      <a:pt x="750" y="130"/>
                    </a:lnTo>
                    <a:lnTo>
                      <a:pt x="749" y="128"/>
                    </a:lnTo>
                    <a:lnTo>
                      <a:pt x="747" y="128"/>
                    </a:lnTo>
                    <a:lnTo>
                      <a:pt x="744" y="130"/>
                    </a:lnTo>
                    <a:lnTo>
                      <a:pt x="739" y="132"/>
                    </a:lnTo>
                    <a:lnTo>
                      <a:pt x="736" y="135"/>
                    </a:lnTo>
                    <a:lnTo>
                      <a:pt x="734" y="135"/>
                    </a:lnTo>
                    <a:lnTo>
                      <a:pt x="734" y="136"/>
                    </a:lnTo>
                    <a:lnTo>
                      <a:pt x="736" y="138"/>
                    </a:lnTo>
                    <a:lnTo>
                      <a:pt x="736" y="138"/>
                    </a:lnTo>
                    <a:lnTo>
                      <a:pt x="734" y="139"/>
                    </a:lnTo>
                    <a:lnTo>
                      <a:pt x="730" y="141"/>
                    </a:lnTo>
                    <a:lnTo>
                      <a:pt x="725" y="141"/>
                    </a:lnTo>
                    <a:lnTo>
                      <a:pt x="722" y="143"/>
                    </a:lnTo>
                    <a:lnTo>
                      <a:pt x="720" y="144"/>
                    </a:lnTo>
                    <a:lnTo>
                      <a:pt x="720" y="146"/>
                    </a:lnTo>
                    <a:lnTo>
                      <a:pt x="720" y="147"/>
                    </a:lnTo>
                    <a:lnTo>
                      <a:pt x="719" y="149"/>
                    </a:lnTo>
                    <a:lnTo>
                      <a:pt x="716" y="150"/>
                    </a:lnTo>
                    <a:lnTo>
                      <a:pt x="714" y="152"/>
                    </a:lnTo>
                    <a:lnTo>
                      <a:pt x="714" y="154"/>
                    </a:lnTo>
                    <a:lnTo>
                      <a:pt x="713" y="155"/>
                    </a:lnTo>
                    <a:lnTo>
                      <a:pt x="708" y="158"/>
                    </a:lnTo>
                    <a:lnTo>
                      <a:pt x="708" y="160"/>
                    </a:lnTo>
                    <a:lnTo>
                      <a:pt x="706" y="161"/>
                    </a:lnTo>
                    <a:lnTo>
                      <a:pt x="703" y="161"/>
                    </a:lnTo>
                    <a:lnTo>
                      <a:pt x="702" y="161"/>
                    </a:lnTo>
                    <a:lnTo>
                      <a:pt x="698" y="161"/>
                    </a:lnTo>
                    <a:lnTo>
                      <a:pt x="698" y="161"/>
                    </a:lnTo>
                    <a:lnTo>
                      <a:pt x="695" y="160"/>
                    </a:lnTo>
                    <a:lnTo>
                      <a:pt x="695" y="158"/>
                    </a:lnTo>
                    <a:lnTo>
                      <a:pt x="695" y="157"/>
                    </a:lnTo>
                    <a:lnTo>
                      <a:pt x="695" y="155"/>
                    </a:lnTo>
                    <a:lnTo>
                      <a:pt x="695" y="154"/>
                    </a:lnTo>
                    <a:lnTo>
                      <a:pt x="694" y="155"/>
                    </a:lnTo>
                    <a:lnTo>
                      <a:pt x="692" y="154"/>
                    </a:lnTo>
                    <a:lnTo>
                      <a:pt x="691" y="150"/>
                    </a:lnTo>
                    <a:lnTo>
                      <a:pt x="691" y="149"/>
                    </a:lnTo>
                    <a:lnTo>
                      <a:pt x="691" y="147"/>
                    </a:lnTo>
                    <a:lnTo>
                      <a:pt x="689" y="147"/>
                    </a:lnTo>
                    <a:lnTo>
                      <a:pt x="689" y="147"/>
                    </a:lnTo>
                    <a:lnTo>
                      <a:pt x="688" y="147"/>
                    </a:lnTo>
                    <a:lnTo>
                      <a:pt x="689" y="150"/>
                    </a:lnTo>
                    <a:lnTo>
                      <a:pt x="688" y="152"/>
                    </a:lnTo>
                    <a:lnTo>
                      <a:pt x="686" y="149"/>
                    </a:lnTo>
                    <a:lnTo>
                      <a:pt x="683" y="143"/>
                    </a:lnTo>
                    <a:lnTo>
                      <a:pt x="683" y="141"/>
                    </a:lnTo>
                    <a:lnTo>
                      <a:pt x="683" y="139"/>
                    </a:lnTo>
                    <a:lnTo>
                      <a:pt x="683" y="138"/>
                    </a:lnTo>
                    <a:lnTo>
                      <a:pt x="683" y="135"/>
                    </a:lnTo>
                    <a:lnTo>
                      <a:pt x="681" y="133"/>
                    </a:lnTo>
                    <a:lnTo>
                      <a:pt x="683" y="132"/>
                    </a:lnTo>
                    <a:lnTo>
                      <a:pt x="684" y="130"/>
                    </a:lnTo>
                    <a:lnTo>
                      <a:pt x="684" y="128"/>
                    </a:lnTo>
                    <a:lnTo>
                      <a:pt x="684" y="127"/>
                    </a:lnTo>
                    <a:lnTo>
                      <a:pt x="684" y="125"/>
                    </a:lnTo>
                    <a:lnTo>
                      <a:pt x="683" y="124"/>
                    </a:lnTo>
                    <a:lnTo>
                      <a:pt x="681" y="122"/>
                    </a:lnTo>
                    <a:lnTo>
                      <a:pt x="681" y="121"/>
                    </a:lnTo>
                    <a:lnTo>
                      <a:pt x="681" y="119"/>
                    </a:lnTo>
                    <a:lnTo>
                      <a:pt x="681" y="118"/>
                    </a:lnTo>
                    <a:lnTo>
                      <a:pt x="680" y="116"/>
                    </a:lnTo>
                    <a:lnTo>
                      <a:pt x="680" y="116"/>
                    </a:lnTo>
                    <a:lnTo>
                      <a:pt x="677" y="116"/>
                    </a:lnTo>
                    <a:lnTo>
                      <a:pt x="675" y="116"/>
                    </a:lnTo>
                    <a:lnTo>
                      <a:pt x="670" y="116"/>
                    </a:lnTo>
                    <a:lnTo>
                      <a:pt x="667" y="114"/>
                    </a:lnTo>
                    <a:lnTo>
                      <a:pt x="664" y="111"/>
                    </a:lnTo>
                    <a:lnTo>
                      <a:pt x="659" y="110"/>
                    </a:lnTo>
                    <a:lnTo>
                      <a:pt x="656" y="110"/>
                    </a:lnTo>
                    <a:lnTo>
                      <a:pt x="653" y="110"/>
                    </a:lnTo>
                    <a:lnTo>
                      <a:pt x="652" y="110"/>
                    </a:lnTo>
                    <a:lnTo>
                      <a:pt x="647" y="111"/>
                    </a:lnTo>
                    <a:lnTo>
                      <a:pt x="647" y="111"/>
                    </a:lnTo>
                    <a:lnTo>
                      <a:pt x="645" y="113"/>
                    </a:lnTo>
                    <a:lnTo>
                      <a:pt x="644" y="113"/>
                    </a:lnTo>
                    <a:lnTo>
                      <a:pt x="642" y="114"/>
                    </a:lnTo>
                    <a:lnTo>
                      <a:pt x="641" y="116"/>
                    </a:lnTo>
                    <a:lnTo>
                      <a:pt x="636" y="116"/>
                    </a:lnTo>
                    <a:lnTo>
                      <a:pt x="633" y="118"/>
                    </a:lnTo>
                    <a:lnTo>
                      <a:pt x="631" y="118"/>
                    </a:lnTo>
                    <a:lnTo>
                      <a:pt x="631" y="119"/>
                    </a:lnTo>
                    <a:lnTo>
                      <a:pt x="631" y="119"/>
                    </a:lnTo>
                    <a:lnTo>
                      <a:pt x="631" y="121"/>
                    </a:lnTo>
                    <a:lnTo>
                      <a:pt x="631" y="124"/>
                    </a:lnTo>
                    <a:lnTo>
                      <a:pt x="630" y="124"/>
                    </a:lnTo>
                    <a:lnTo>
                      <a:pt x="628" y="125"/>
                    </a:lnTo>
                    <a:lnTo>
                      <a:pt x="628" y="125"/>
                    </a:lnTo>
                    <a:lnTo>
                      <a:pt x="627" y="127"/>
                    </a:lnTo>
                    <a:lnTo>
                      <a:pt x="627" y="128"/>
                    </a:lnTo>
                    <a:lnTo>
                      <a:pt x="628" y="128"/>
                    </a:lnTo>
                    <a:lnTo>
                      <a:pt x="630" y="128"/>
                    </a:lnTo>
                    <a:lnTo>
                      <a:pt x="630" y="128"/>
                    </a:lnTo>
                    <a:lnTo>
                      <a:pt x="631" y="128"/>
                    </a:lnTo>
                    <a:lnTo>
                      <a:pt x="633" y="127"/>
                    </a:lnTo>
                    <a:lnTo>
                      <a:pt x="641" y="130"/>
                    </a:lnTo>
                    <a:lnTo>
                      <a:pt x="642" y="130"/>
                    </a:lnTo>
                    <a:lnTo>
                      <a:pt x="644" y="130"/>
                    </a:lnTo>
                    <a:lnTo>
                      <a:pt x="644" y="133"/>
                    </a:lnTo>
                    <a:lnTo>
                      <a:pt x="645" y="136"/>
                    </a:lnTo>
                    <a:lnTo>
                      <a:pt x="645" y="138"/>
                    </a:lnTo>
                    <a:lnTo>
                      <a:pt x="647" y="138"/>
                    </a:lnTo>
                    <a:lnTo>
                      <a:pt x="647" y="139"/>
                    </a:lnTo>
                    <a:lnTo>
                      <a:pt x="648" y="141"/>
                    </a:lnTo>
                    <a:lnTo>
                      <a:pt x="650" y="143"/>
                    </a:lnTo>
                    <a:lnTo>
                      <a:pt x="652" y="143"/>
                    </a:lnTo>
                    <a:lnTo>
                      <a:pt x="653" y="141"/>
                    </a:lnTo>
                    <a:lnTo>
                      <a:pt x="656" y="143"/>
                    </a:lnTo>
                    <a:lnTo>
                      <a:pt x="659" y="143"/>
                    </a:lnTo>
                    <a:lnTo>
                      <a:pt x="661" y="143"/>
                    </a:lnTo>
                    <a:lnTo>
                      <a:pt x="666" y="141"/>
                    </a:lnTo>
                    <a:lnTo>
                      <a:pt x="669" y="141"/>
                    </a:lnTo>
                    <a:lnTo>
                      <a:pt x="670" y="143"/>
                    </a:lnTo>
                    <a:lnTo>
                      <a:pt x="675" y="141"/>
                    </a:lnTo>
                    <a:lnTo>
                      <a:pt x="678" y="139"/>
                    </a:lnTo>
                    <a:lnTo>
                      <a:pt x="678" y="141"/>
                    </a:lnTo>
                    <a:lnTo>
                      <a:pt x="678" y="141"/>
                    </a:lnTo>
                    <a:lnTo>
                      <a:pt x="677" y="141"/>
                    </a:lnTo>
                    <a:lnTo>
                      <a:pt x="677" y="143"/>
                    </a:lnTo>
                    <a:lnTo>
                      <a:pt x="678" y="143"/>
                    </a:lnTo>
                    <a:lnTo>
                      <a:pt x="678" y="144"/>
                    </a:lnTo>
                    <a:lnTo>
                      <a:pt x="678" y="146"/>
                    </a:lnTo>
                    <a:lnTo>
                      <a:pt x="677" y="146"/>
                    </a:lnTo>
                    <a:lnTo>
                      <a:pt x="675" y="146"/>
                    </a:lnTo>
                    <a:lnTo>
                      <a:pt x="675" y="147"/>
                    </a:lnTo>
                    <a:lnTo>
                      <a:pt x="675" y="149"/>
                    </a:lnTo>
                    <a:lnTo>
                      <a:pt x="673" y="149"/>
                    </a:lnTo>
                    <a:lnTo>
                      <a:pt x="673" y="147"/>
                    </a:lnTo>
                    <a:lnTo>
                      <a:pt x="672" y="147"/>
                    </a:lnTo>
                    <a:lnTo>
                      <a:pt x="669" y="147"/>
                    </a:lnTo>
                    <a:lnTo>
                      <a:pt x="667" y="146"/>
                    </a:lnTo>
                    <a:lnTo>
                      <a:pt x="666" y="146"/>
                    </a:lnTo>
                    <a:lnTo>
                      <a:pt x="664" y="146"/>
                    </a:lnTo>
                    <a:lnTo>
                      <a:pt x="663" y="146"/>
                    </a:lnTo>
                    <a:lnTo>
                      <a:pt x="661" y="149"/>
                    </a:lnTo>
                    <a:lnTo>
                      <a:pt x="658" y="152"/>
                    </a:lnTo>
                    <a:lnTo>
                      <a:pt x="656" y="152"/>
                    </a:lnTo>
                    <a:lnTo>
                      <a:pt x="655" y="150"/>
                    </a:lnTo>
                    <a:lnTo>
                      <a:pt x="650" y="150"/>
                    </a:lnTo>
                    <a:lnTo>
                      <a:pt x="648" y="150"/>
                    </a:lnTo>
                    <a:lnTo>
                      <a:pt x="645" y="150"/>
                    </a:lnTo>
                    <a:lnTo>
                      <a:pt x="644" y="152"/>
                    </a:lnTo>
                    <a:lnTo>
                      <a:pt x="645" y="154"/>
                    </a:lnTo>
                    <a:lnTo>
                      <a:pt x="645" y="154"/>
                    </a:lnTo>
                    <a:lnTo>
                      <a:pt x="647" y="154"/>
                    </a:lnTo>
                    <a:lnTo>
                      <a:pt x="648" y="155"/>
                    </a:lnTo>
                    <a:lnTo>
                      <a:pt x="652" y="155"/>
                    </a:lnTo>
                    <a:lnTo>
                      <a:pt x="655" y="158"/>
                    </a:lnTo>
                    <a:lnTo>
                      <a:pt x="658" y="160"/>
                    </a:lnTo>
                    <a:lnTo>
                      <a:pt x="659" y="163"/>
                    </a:lnTo>
                    <a:lnTo>
                      <a:pt x="659" y="164"/>
                    </a:lnTo>
                    <a:lnTo>
                      <a:pt x="658" y="168"/>
                    </a:lnTo>
                    <a:lnTo>
                      <a:pt x="659" y="169"/>
                    </a:lnTo>
                    <a:lnTo>
                      <a:pt x="659" y="172"/>
                    </a:lnTo>
                    <a:lnTo>
                      <a:pt x="659" y="172"/>
                    </a:lnTo>
                    <a:lnTo>
                      <a:pt x="661" y="174"/>
                    </a:lnTo>
                    <a:lnTo>
                      <a:pt x="663" y="174"/>
                    </a:lnTo>
                    <a:lnTo>
                      <a:pt x="664" y="174"/>
                    </a:lnTo>
                    <a:lnTo>
                      <a:pt x="666" y="174"/>
                    </a:lnTo>
                    <a:lnTo>
                      <a:pt x="667" y="174"/>
                    </a:lnTo>
                    <a:lnTo>
                      <a:pt x="669" y="171"/>
                    </a:lnTo>
                    <a:lnTo>
                      <a:pt x="670" y="171"/>
                    </a:lnTo>
                    <a:lnTo>
                      <a:pt x="669" y="169"/>
                    </a:lnTo>
                    <a:lnTo>
                      <a:pt x="670" y="168"/>
                    </a:lnTo>
                    <a:lnTo>
                      <a:pt x="672" y="166"/>
                    </a:lnTo>
                    <a:lnTo>
                      <a:pt x="672" y="164"/>
                    </a:lnTo>
                    <a:lnTo>
                      <a:pt x="672" y="163"/>
                    </a:lnTo>
                    <a:lnTo>
                      <a:pt x="673" y="163"/>
                    </a:lnTo>
                    <a:lnTo>
                      <a:pt x="673" y="161"/>
                    </a:lnTo>
                    <a:lnTo>
                      <a:pt x="673" y="158"/>
                    </a:lnTo>
                    <a:lnTo>
                      <a:pt x="673" y="158"/>
                    </a:lnTo>
                    <a:lnTo>
                      <a:pt x="675" y="157"/>
                    </a:lnTo>
                    <a:lnTo>
                      <a:pt x="675" y="157"/>
                    </a:lnTo>
                    <a:lnTo>
                      <a:pt x="677" y="157"/>
                    </a:lnTo>
                    <a:lnTo>
                      <a:pt x="677" y="158"/>
                    </a:lnTo>
                    <a:lnTo>
                      <a:pt x="675" y="160"/>
                    </a:lnTo>
                    <a:lnTo>
                      <a:pt x="675" y="161"/>
                    </a:lnTo>
                    <a:lnTo>
                      <a:pt x="673" y="164"/>
                    </a:lnTo>
                    <a:lnTo>
                      <a:pt x="675" y="166"/>
                    </a:lnTo>
                    <a:lnTo>
                      <a:pt x="677" y="166"/>
                    </a:lnTo>
                    <a:lnTo>
                      <a:pt x="678" y="168"/>
                    </a:lnTo>
                    <a:lnTo>
                      <a:pt x="678" y="168"/>
                    </a:lnTo>
                    <a:lnTo>
                      <a:pt x="678" y="169"/>
                    </a:lnTo>
                    <a:lnTo>
                      <a:pt x="680" y="169"/>
                    </a:lnTo>
                    <a:lnTo>
                      <a:pt x="680" y="169"/>
                    </a:lnTo>
                    <a:lnTo>
                      <a:pt x="681" y="169"/>
                    </a:lnTo>
                    <a:lnTo>
                      <a:pt x="683" y="169"/>
                    </a:lnTo>
                    <a:lnTo>
                      <a:pt x="683" y="169"/>
                    </a:lnTo>
                    <a:lnTo>
                      <a:pt x="683" y="171"/>
                    </a:lnTo>
                    <a:lnTo>
                      <a:pt x="684" y="172"/>
                    </a:lnTo>
                    <a:lnTo>
                      <a:pt x="686" y="171"/>
                    </a:lnTo>
                    <a:lnTo>
                      <a:pt x="688" y="172"/>
                    </a:lnTo>
                    <a:lnTo>
                      <a:pt x="689" y="172"/>
                    </a:lnTo>
                    <a:lnTo>
                      <a:pt x="691" y="172"/>
                    </a:lnTo>
                    <a:lnTo>
                      <a:pt x="692" y="172"/>
                    </a:lnTo>
                    <a:lnTo>
                      <a:pt x="694" y="171"/>
                    </a:lnTo>
                    <a:lnTo>
                      <a:pt x="695" y="172"/>
                    </a:lnTo>
                    <a:lnTo>
                      <a:pt x="692" y="172"/>
                    </a:lnTo>
                    <a:lnTo>
                      <a:pt x="692" y="172"/>
                    </a:lnTo>
                    <a:lnTo>
                      <a:pt x="692" y="174"/>
                    </a:lnTo>
                    <a:lnTo>
                      <a:pt x="694" y="177"/>
                    </a:lnTo>
                    <a:lnTo>
                      <a:pt x="700" y="180"/>
                    </a:lnTo>
                    <a:lnTo>
                      <a:pt x="702" y="180"/>
                    </a:lnTo>
                    <a:lnTo>
                      <a:pt x="703" y="180"/>
                    </a:lnTo>
                    <a:lnTo>
                      <a:pt x="705" y="180"/>
                    </a:lnTo>
                    <a:lnTo>
                      <a:pt x="709" y="182"/>
                    </a:lnTo>
                    <a:lnTo>
                      <a:pt x="714" y="182"/>
                    </a:lnTo>
                    <a:lnTo>
                      <a:pt x="717" y="183"/>
                    </a:lnTo>
                    <a:lnTo>
                      <a:pt x="719" y="185"/>
                    </a:lnTo>
                    <a:lnTo>
                      <a:pt x="722" y="185"/>
                    </a:lnTo>
                    <a:lnTo>
                      <a:pt x="725" y="186"/>
                    </a:lnTo>
                    <a:lnTo>
                      <a:pt x="730" y="188"/>
                    </a:lnTo>
                    <a:lnTo>
                      <a:pt x="731" y="188"/>
                    </a:lnTo>
                    <a:lnTo>
                      <a:pt x="731" y="188"/>
                    </a:lnTo>
                    <a:lnTo>
                      <a:pt x="733" y="190"/>
                    </a:lnTo>
                    <a:lnTo>
                      <a:pt x="734" y="190"/>
                    </a:lnTo>
                    <a:lnTo>
                      <a:pt x="734" y="190"/>
                    </a:lnTo>
                    <a:lnTo>
                      <a:pt x="736" y="190"/>
                    </a:lnTo>
                    <a:lnTo>
                      <a:pt x="736" y="190"/>
                    </a:lnTo>
                    <a:lnTo>
                      <a:pt x="738" y="190"/>
                    </a:lnTo>
                    <a:lnTo>
                      <a:pt x="738" y="191"/>
                    </a:lnTo>
                    <a:lnTo>
                      <a:pt x="745" y="194"/>
                    </a:lnTo>
                    <a:lnTo>
                      <a:pt x="747" y="196"/>
                    </a:lnTo>
                    <a:lnTo>
                      <a:pt x="747" y="196"/>
                    </a:lnTo>
                    <a:lnTo>
                      <a:pt x="749" y="196"/>
                    </a:lnTo>
                    <a:lnTo>
                      <a:pt x="749" y="197"/>
                    </a:lnTo>
                    <a:lnTo>
                      <a:pt x="750" y="197"/>
                    </a:lnTo>
                    <a:lnTo>
                      <a:pt x="752" y="199"/>
                    </a:lnTo>
                    <a:lnTo>
                      <a:pt x="752" y="200"/>
                    </a:lnTo>
                    <a:lnTo>
                      <a:pt x="752" y="202"/>
                    </a:lnTo>
                    <a:lnTo>
                      <a:pt x="752" y="202"/>
                    </a:lnTo>
                    <a:lnTo>
                      <a:pt x="752" y="202"/>
                    </a:lnTo>
                    <a:lnTo>
                      <a:pt x="752" y="204"/>
                    </a:lnTo>
                    <a:lnTo>
                      <a:pt x="753" y="202"/>
                    </a:lnTo>
                    <a:lnTo>
                      <a:pt x="755" y="202"/>
                    </a:lnTo>
                    <a:lnTo>
                      <a:pt x="756" y="202"/>
                    </a:lnTo>
                    <a:lnTo>
                      <a:pt x="755" y="204"/>
                    </a:lnTo>
                    <a:lnTo>
                      <a:pt x="753" y="205"/>
                    </a:lnTo>
                    <a:lnTo>
                      <a:pt x="755" y="205"/>
                    </a:lnTo>
                    <a:lnTo>
                      <a:pt x="756" y="205"/>
                    </a:lnTo>
                    <a:lnTo>
                      <a:pt x="756" y="205"/>
                    </a:lnTo>
                    <a:lnTo>
                      <a:pt x="755" y="207"/>
                    </a:lnTo>
                    <a:lnTo>
                      <a:pt x="756" y="210"/>
                    </a:lnTo>
                    <a:lnTo>
                      <a:pt x="758" y="215"/>
                    </a:lnTo>
                    <a:lnTo>
                      <a:pt x="759" y="216"/>
                    </a:lnTo>
                    <a:lnTo>
                      <a:pt x="761" y="218"/>
                    </a:lnTo>
                    <a:lnTo>
                      <a:pt x="763" y="219"/>
                    </a:lnTo>
                    <a:lnTo>
                      <a:pt x="763" y="221"/>
                    </a:lnTo>
                    <a:lnTo>
                      <a:pt x="764" y="222"/>
                    </a:lnTo>
                    <a:lnTo>
                      <a:pt x="766" y="222"/>
                    </a:lnTo>
                    <a:lnTo>
                      <a:pt x="763" y="224"/>
                    </a:lnTo>
                    <a:lnTo>
                      <a:pt x="761" y="224"/>
                    </a:lnTo>
                    <a:lnTo>
                      <a:pt x="761" y="224"/>
                    </a:lnTo>
                    <a:lnTo>
                      <a:pt x="763" y="227"/>
                    </a:lnTo>
                    <a:lnTo>
                      <a:pt x="764" y="227"/>
                    </a:lnTo>
                    <a:lnTo>
                      <a:pt x="769" y="229"/>
                    </a:lnTo>
                    <a:lnTo>
                      <a:pt x="769" y="229"/>
                    </a:lnTo>
                    <a:lnTo>
                      <a:pt x="770" y="229"/>
                    </a:lnTo>
                    <a:lnTo>
                      <a:pt x="769" y="229"/>
                    </a:lnTo>
                    <a:lnTo>
                      <a:pt x="767" y="229"/>
                    </a:lnTo>
                    <a:lnTo>
                      <a:pt x="766" y="229"/>
                    </a:lnTo>
                    <a:lnTo>
                      <a:pt x="766" y="229"/>
                    </a:lnTo>
                    <a:lnTo>
                      <a:pt x="764" y="229"/>
                    </a:lnTo>
                    <a:lnTo>
                      <a:pt x="763" y="230"/>
                    </a:lnTo>
                    <a:lnTo>
                      <a:pt x="764" y="230"/>
                    </a:lnTo>
                    <a:lnTo>
                      <a:pt x="766" y="232"/>
                    </a:lnTo>
                    <a:lnTo>
                      <a:pt x="766" y="232"/>
                    </a:lnTo>
                    <a:lnTo>
                      <a:pt x="767" y="233"/>
                    </a:lnTo>
                    <a:lnTo>
                      <a:pt x="767" y="235"/>
                    </a:lnTo>
                    <a:lnTo>
                      <a:pt x="769" y="235"/>
                    </a:lnTo>
                    <a:lnTo>
                      <a:pt x="769" y="236"/>
                    </a:lnTo>
                    <a:lnTo>
                      <a:pt x="769" y="236"/>
                    </a:lnTo>
                    <a:lnTo>
                      <a:pt x="769" y="238"/>
                    </a:lnTo>
                    <a:lnTo>
                      <a:pt x="767" y="240"/>
                    </a:lnTo>
                    <a:lnTo>
                      <a:pt x="766" y="241"/>
                    </a:lnTo>
                    <a:lnTo>
                      <a:pt x="766" y="244"/>
                    </a:lnTo>
                    <a:lnTo>
                      <a:pt x="766" y="244"/>
                    </a:lnTo>
                    <a:lnTo>
                      <a:pt x="766" y="246"/>
                    </a:lnTo>
                    <a:lnTo>
                      <a:pt x="766" y="246"/>
                    </a:lnTo>
                    <a:lnTo>
                      <a:pt x="766" y="247"/>
                    </a:lnTo>
                    <a:lnTo>
                      <a:pt x="766" y="247"/>
                    </a:lnTo>
                    <a:lnTo>
                      <a:pt x="769" y="246"/>
                    </a:lnTo>
                    <a:lnTo>
                      <a:pt x="770" y="244"/>
                    </a:lnTo>
                    <a:lnTo>
                      <a:pt x="772" y="243"/>
                    </a:lnTo>
                    <a:lnTo>
                      <a:pt x="772" y="244"/>
                    </a:lnTo>
                    <a:lnTo>
                      <a:pt x="772" y="244"/>
                    </a:lnTo>
                    <a:lnTo>
                      <a:pt x="774" y="246"/>
                    </a:lnTo>
                    <a:lnTo>
                      <a:pt x="775" y="246"/>
                    </a:lnTo>
                    <a:lnTo>
                      <a:pt x="777" y="246"/>
                    </a:lnTo>
                    <a:lnTo>
                      <a:pt x="778" y="246"/>
                    </a:lnTo>
                    <a:lnTo>
                      <a:pt x="781" y="244"/>
                    </a:lnTo>
                    <a:lnTo>
                      <a:pt x="784" y="244"/>
                    </a:lnTo>
                    <a:lnTo>
                      <a:pt x="786" y="243"/>
                    </a:lnTo>
                    <a:lnTo>
                      <a:pt x="788" y="241"/>
                    </a:lnTo>
                    <a:lnTo>
                      <a:pt x="786" y="244"/>
                    </a:lnTo>
                    <a:lnTo>
                      <a:pt x="784" y="246"/>
                    </a:lnTo>
                    <a:lnTo>
                      <a:pt x="784" y="246"/>
                    </a:lnTo>
                    <a:lnTo>
                      <a:pt x="784" y="246"/>
                    </a:lnTo>
                    <a:lnTo>
                      <a:pt x="788" y="249"/>
                    </a:lnTo>
                    <a:lnTo>
                      <a:pt x="794" y="254"/>
                    </a:lnTo>
                    <a:lnTo>
                      <a:pt x="795" y="255"/>
                    </a:lnTo>
                    <a:lnTo>
                      <a:pt x="797" y="258"/>
                    </a:lnTo>
                    <a:lnTo>
                      <a:pt x="799" y="260"/>
                    </a:lnTo>
                    <a:lnTo>
                      <a:pt x="802" y="261"/>
                    </a:lnTo>
                    <a:lnTo>
                      <a:pt x="802" y="263"/>
                    </a:lnTo>
                    <a:lnTo>
                      <a:pt x="802" y="233"/>
                    </a:lnTo>
                    <a:lnTo>
                      <a:pt x="802" y="230"/>
                    </a:lnTo>
                    <a:close/>
                    <a:moveTo>
                      <a:pt x="467" y="110"/>
                    </a:moveTo>
                    <a:lnTo>
                      <a:pt x="466" y="110"/>
                    </a:lnTo>
                    <a:lnTo>
                      <a:pt x="466" y="110"/>
                    </a:lnTo>
                    <a:lnTo>
                      <a:pt x="464" y="111"/>
                    </a:lnTo>
                    <a:lnTo>
                      <a:pt x="462" y="113"/>
                    </a:lnTo>
                    <a:lnTo>
                      <a:pt x="464" y="113"/>
                    </a:lnTo>
                    <a:lnTo>
                      <a:pt x="464" y="111"/>
                    </a:lnTo>
                    <a:lnTo>
                      <a:pt x="466" y="111"/>
                    </a:lnTo>
                    <a:lnTo>
                      <a:pt x="467" y="111"/>
                    </a:lnTo>
                    <a:lnTo>
                      <a:pt x="467" y="111"/>
                    </a:lnTo>
                    <a:lnTo>
                      <a:pt x="467" y="111"/>
                    </a:lnTo>
                    <a:lnTo>
                      <a:pt x="467" y="110"/>
                    </a:lnTo>
                    <a:close/>
                    <a:moveTo>
                      <a:pt x="622" y="111"/>
                    </a:moveTo>
                    <a:lnTo>
                      <a:pt x="620" y="110"/>
                    </a:lnTo>
                    <a:lnTo>
                      <a:pt x="620" y="110"/>
                    </a:lnTo>
                    <a:lnTo>
                      <a:pt x="620" y="111"/>
                    </a:lnTo>
                    <a:lnTo>
                      <a:pt x="619" y="111"/>
                    </a:lnTo>
                    <a:lnTo>
                      <a:pt x="617" y="111"/>
                    </a:lnTo>
                    <a:lnTo>
                      <a:pt x="620" y="113"/>
                    </a:lnTo>
                    <a:lnTo>
                      <a:pt x="620" y="113"/>
                    </a:lnTo>
                    <a:lnTo>
                      <a:pt x="622" y="111"/>
                    </a:lnTo>
                    <a:lnTo>
                      <a:pt x="622" y="111"/>
                    </a:lnTo>
                    <a:close/>
                    <a:moveTo>
                      <a:pt x="561" y="114"/>
                    </a:moveTo>
                    <a:lnTo>
                      <a:pt x="561" y="114"/>
                    </a:lnTo>
                    <a:lnTo>
                      <a:pt x="559" y="116"/>
                    </a:lnTo>
                    <a:lnTo>
                      <a:pt x="561" y="116"/>
                    </a:lnTo>
                    <a:lnTo>
                      <a:pt x="562" y="118"/>
                    </a:lnTo>
                    <a:lnTo>
                      <a:pt x="562" y="116"/>
                    </a:lnTo>
                    <a:lnTo>
                      <a:pt x="562" y="116"/>
                    </a:lnTo>
                    <a:lnTo>
                      <a:pt x="561" y="114"/>
                    </a:lnTo>
                    <a:close/>
                    <a:moveTo>
                      <a:pt x="720" y="122"/>
                    </a:moveTo>
                    <a:lnTo>
                      <a:pt x="717" y="121"/>
                    </a:lnTo>
                    <a:lnTo>
                      <a:pt x="716" y="118"/>
                    </a:lnTo>
                    <a:lnTo>
                      <a:pt x="713" y="116"/>
                    </a:lnTo>
                    <a:lnTo>
                      <a:pt x="713" y="116"/>
                    </a:lnTo>
                    <a:lnTo>
                      <a:pt x="711" y="116"/>
                    </a:lnTo>
                    <a:lnTo>
                      <a:pt x="709" y="114"/>
                    </a:lnTo>
                    <a:lnTo>
                      <a:pt x="708" y="114"/>
                    </a:lnTo>
                    <a:lnTo>
                      <a:pt x="705" y="114"/>
                    </a:lnTo>
                    <a:lnTo>
                      <a:pt x="705" y="116"/>
                    </a:lnTo>
                    <a:lnTo>
                      <a:pt x="705" y="116"/>
                    </a:lnTo>
                    <a:lnTo>
                      <a:pt x="706" y="118"/>
                    </a:lnTo>
                    <a:lnTo>
                      <a:pt x="706" y="116"/>
                    </a:lnTo>
                    <a:lnTo>
                      <a:pt x="706" y="116"/>
                    </a:lnTo>
                    <a:lnTo>
                      <a:pt x="709" y="119"/>
                    </a:lnTo>
                    <a:lnTo>
                      <a:pt x="711" y="118"/>
                    </a:lnTo>
                    <a:lnTo>
                      <a:pt x="713" y="121"/>
                    </a:lnTo>
                    <a:lnTo>
                      <a:pt x="713" y="122"/>
                    </a:lnTo>
                    <a:lnTo>
                      <a:pt x="714" y="124"/>
                    </a:lnTo>
                    <a:lnTo>
                      <a:pt x="716" y="124"/>
                    </a:lnTo>
                    <a:lnTo>
                      <a:pt x="717" y="124"/>
                    </a:lnTo>
                    <a:lnTo>
                      <a:pt x="717" y="124"/>
                    </a:lnTo>
                    <a:lnTo>
                      <a:pt x="720" y="124"/>
                    </a:lnTo>
                    <a:lnTo>
                      <a:pt x="722" y="122"/>
                    </a:lnTo>
                    <a:lnTo>
                      <a:pt x="720" y="122"/>
                    </a:lnTo>
                    <a:close/>
                    <a:moveTo>
                      <a:pt x="623" y="116"/>
                    </a:moveTo>
                    <a:lnTo>
                      <a:pt x="623" y="118"/>
                    </a:lnTo>
                    <a:lnTo>
                      <a:pt x="622" y="118"/>
                    </a:lnTo>
                    <a:lnTo>
                      <a:pt x="620" y="118"/>
                    </a:lnTo>
                    <a:lnTo>
                      <a:pt x="620" y="118"/>
                    </a:lnTo>
                    <a:lnTo>
                      <a:pt x="620" y="118"/>
                    </a:lnTo>
                    <a:lnTo>
                      <a:pt x="619" y="118"/>
                    </a:lnTo>
                    <a:lnTo>
                      <a:pt x="619" y="118"/>
                    </a:lnTo>
                    <a:lnTo>
                      <a:pt x="619" y="118"/>
                    </a:lnTo>
                    <a:lnTo>
                      <a:pt x="617" y="118"/>
                    </a:lnTo>
                    <a:lnTo>
                      <a:pt x="617" y="119"/>
                    </a:lnTo>
                    <a:lnTo>
                      <a:pt x="617" y="119"/>
                    </a:lnTo>
                    <a:lnTo>
                      <a:pt x="625" y="118"/>
                    </a:lnTo>
                    <a:lnTo>
                      <a:pt x="625" y="118"/>
                    </a:lnTo>
                    <a:lnTo>
                      <a:pt x="625" y="116"/>
                    </a:lnTo>
                    <a:lnTo>
                      <a:pt x="623" y="116"/>
                    </a:lnTo>
                    <a:close/>
                    <a:moveTo>
                      <a:pt x="628" y="119"/>
                    </a:moveTo>
                    <a:lnTo>
                      <a:pt x="627" y="119"/>
                    </a:lnTo>
                    <a:lnTo>
                      <a:pt x="625" y="119"/>
                    </a:lnTo>
                    <a:lnTo>
                      <a:pt x="622" y="119"/>
                    </a:lnTo>
                    <a:lnTo>
                      <a:pt x="622" y="121"/>
                    </a:lnTo>
                    <a:lnTo>
                      <a:pt x="622" y="121"/>
                    </a:lnTo>
                    <a:lnTo>
                      <a:pt x="622" y="122"/>
                    </a:lnTo>
                    <a:lnTo>
                      <a:pt x="622" y="124"/>
                    </a:lnTo>
                    <a:lnTo>
                      <a:pt x="623" y="125"/>
                    </a:lnTo>
                    <a:lnTo>
                      <a:pt x="625" y="125"/>
                    </a:lnTo>
                    <a:lnTo>
                      <a:pt x="627" y="127"/>
                    </a:lnTo>
                    <a:lnTo>
                      <a:pt x="627" y="125"/>
                    </a:lnTo>
                    <a:lnTo>
                      <a:pt x="628" y="124"/>
                    </a:lnTo>
                    <a:lnTo>
                      <a:pt x="628" y="119"/>
                    </a:lnTo>
                    <a:lnTo>
                      <a:pt x="628" y="119"/>
                    </a:lnTo>
                    <a:close/>
                    <a:moveTo>
                      <a:pt x="70" y="132"/>
                    </a:moveTo>
                    <a:lnTo>
                      <a:pt x="70" y="130"/>
                    </a:lnTo>
                    <a:lnTo>
                      <a:pt x="68" y="128"/>
                    </a:lnTo>
                    <a:lnTo>
                      <a:pt x="68" y="127"/>
                    </a:lnTo>
                    <a:lnTo>
                      <a:pt x="68" y="127"/>
                    </a:lnTo>
                    <a:lnTo>
                      <a:pt x="67" y="127"/>
                    </a:lnTo>
                    <a:lnTo>
                      <a:pt x="67" y="125"/>
                    </a:lnTo>
                    <a:lnTo>
                      <a:pt x="65" y="121"/>
                    </a:lnTo>
                    <a:lnTo>
                      <a:pt x="64" y="119"/>
                    </a:lnTo>
                    <a:lnTo>
                      <a:pt x="64" y="119"/>
                    </a:lnTo>
                    <a:lnTo>
                      <a:pt x="61" y="121"/>
                    </a:lnTo>
                    <a:lnTo>
                      <a:pt x="59" y="124"/>
                    </a:lnTo>
                    <a:lnTo>
                      <a:pt x="59" y="125"/>
                    </a:lnTo>
                    <a:lnTo>
                      <a:pt x="62" y="130"/>
                    </a:lnTo>
                    <a:lnTo>
                      <a:pt x="62" y="132"/>
                    </a:lnTo>
                    <a:lnTo>
                      <a:pt x="64" y="132"/>
                    </a:lnTo>
                    <a:lnTo>
                      <a:pt x="67" y="135"/>
                    </a:lnTo>
                    <a:lnTo>
                      <a:pt x="68" y="135"/>
                    </a:lnTo>
                    <a:lnTo>
                      <a:pt x="70" y="133"/>
                    </a:lnTo>
                    <a:lnTo>
                      <a:pt x="70" y="132"/>
                    </a:lnTo>
                    <a:close/>
                    <a:moveTo>
                      <a:pt x="697" y="121"/>
                    </a:moveTo>
                    <a:lnTo>
                      <a:pt x="697" y="121"/>
                    </a:lnTo>
                    <a:lnTo>
                      <a:pt x="695" y="119"/>
                    </a:lnTo>
                    <a:lnTo>
                      <a:pt x="694" y="121"/>
                    </a:lnTo>
                    <a:lnTo>
                      <a:pt x="694" y="121"/>
                    </a:lnTo>
                    <a:lnTo>
                      <a:pt x="695" y="122"/>
                    </a:lnTo>
                    <a:lnTo>
                      <a:pt x="695" y="122"/>
                    </a:lnTo>
                    <a:lnTo>
                      <a:pt x="697" y="122"/>
                    </a:lnTo>
                    <a:lnTo>
                      <a:pt x="697" y="121"/>
                    </a:lnTo>
                    <a:lnTo>
                      <a:pt x="697" y="121"/>
                    </a:lnTo>
                    <a:close/>
                    <a:moveTo>
                      <a:pt x="254" y="121"/>
                    </a:moveTo>
                    <a:lnTo>
                      <a:pt x="253" y="121"/>
                    </a:lnTo>
                    <a:lnTo>
                      <a:pt x="251" y="121"/>
                    </a:lnTo>
                    <a:lnTo>
                      <a:pt x="250" y="121"/>
                    </a:lnTo>
                    <a:lnTo>
                      <a:pt x="248" y="121"/>
                    </a:lnTo>
                    <a:lnTo>
                      <a:pt x="248" y="125"/>
                    </a:lnTo>
                    <a:lnTo>
                      <a:pt x="250" y="125"/>
                    </a:lnTo>
                    <a:lnTo>
                      <a:pt x="250" y="125"/>
                    </a:lnTo>
                    <a:lnTo>
                      <a:pt x="253" y="124"/>
                    </a:lnTo>
                    <a:lnTo>
                      <a:pt x="254" y="122"/>
                    </a:lnTo>
                    <a:lnTo>
                      <a:pt x="254" y="122"/>
                    </a:lnTo>
                    <a:lnTo>
                      <a:pt x="254" y="121"/>
                    </a:lnTo>
                    <a:close/>
                    <a:moveTo>
                      <a:pt x="497" y="125"/>
                    </a:moveTo>
                    <a:lnTo>
                      <a:pt x="495" y="125"/>
                    </a:lnTo>
                    <a:lnTo>
                      <a:pt x="494" y="124"/>
                    </a:lnTo>
                    <a:lnTo>
                      <a:pt x="492" y="125"/>
                    </a:lnTo>
                    <a:lnTo>
                      <a:pt x="491" y="127"/>
                    </a:lnTo>
                    <a:lnTo>
                      <a:pt x="491" y="125"/>
                    </a:lnTo>
                    <a:lnTo>
                      <a:pt x="491" y="124"/>
                    </a:lnTo>
                    <a:lnTo>
                      <a:pt x="491" y="124"/>
                    </a:lnTo>
                    <a:lnTo>
                      <a:pt x="489" y="124"/>
                    </a:lnTo>
                    <a:lnTo>
                      <a:pt x="486" y="124"/>
                    </a:lnTo>
                    <a:lnTo>
                      <a:pt x="486" y="124"/>
                    </a:lnTo>
                    <a:lnTo>
                      <a:pt x="484" y="125"/>
                    </a:lnTo>
                    <a:lnTo>
                      <a:pt x="483" y="128"/>
                    </a:lnTo>
                    <a:lnTo>
                      <a:pt x="484" y="130"/>
                    </a:lnTo>
                    <a:lnTo>
                      <a:pt x="484" y="130"/>
                    </a:lnTo>
                    <a:lnTo>
                      <a:pt x="486" y="130"/>
                    </a:lnTo>
                    <a:lnTo>
                      <a:pt x="489" y="127"/>
                    </a:lnTo>
                    <a:lnTo>
                      <a:pt x="489" y="125"/>
                    </a:lnTo>
                    <a:lnTo>
                      <a:pt x="491" y="128"/>
                    </a:lnTo>
                    <a:lnTo>
                      <a:pt x="489" y="130"/>
                    </a:lnTo>
                    <a:lnTo>
                      <a:pt x="489" y="130"/>
                    </a:lnTo>
                    <a:lnTo>
                      <a:pt x="491" y="132"/>
                    </a:lnTo>
                    <a:lnTo>
                      <a:pt x="491" y="132"/>
                    </a:lnTo>
                    <a:lnTo>
                      <a:pt x="491" y="130"/>
                    </a:lnTo>
                    <a:lnTo>
                      <a:pt x="492" y="128"/>
                    </a:lnTo>
                    <a:lnTo>
                      <a:pt x="492" y="128"/>
                    </a:lnTo>
                    <a:lnTo>
                      <a:pt x="494" y="128"/>
                    </a:lnTo>
                    <a:lnTo>
                      <a:pt x="495" y="128"/>
                    </a:lnTo>
                    <a:lnTo>
                      <a:pt x="495" y="128"/>
                    </a:lnTo>
                    <a:lnTo>
                      <a:pt x="497" y="127"/>
                    </a:lnTo>
                    <a:lnTo>
                      <a:pt x="497" y="125"/>
                    </a:lnTo>
                    <a:close/>
                    <a:moveTo>
                      <a:pt x="577" y="132"/>
                    </a:moveTo>
                    <a:lnTo>
                      <a:pt x="575" y="130"/>
                    </a:lnTo>
                    <a:lnTo>
                      <a:pt x="573" y="128"/>
                    </a:lnTo>
                    <a:lnTo>
                      <a:pt x="570" y="127"/>
                    </a:lnTo>
                    <a:lnTo>
                      <a:pt x="569" y="127"/>
                    </a:lnTo>
                    <a:lnTo>
                      <a:pt x="567" y="127"/>
                    </a:lnTo>
                    <a:lnTo>
                      <a:pt x="566" y="128"/>
                    </a:lnTo>
                    <a:lnTo>
                      <a:pt x="564" y="130"/>
                    </a:lnTo>
                    <a:lnTo>
                      <a:pt x="564" y="132"/>
                    </a:lnTo>
                    <a:lnTo>
                      <a:pt x="566" y="133"/>
                    </a:lnTo>
                    <a:lnTo>
                      <a:pt x="567" y="133"/>
                    </a:lnTo>
                    <a:lnTo>
                      <a:pt x="570" y="133"/>
                    </a:lnTo>
                    <a:lnTo>
                      <a:pt x="573" y="132"/>
                    </a:lnTo>
                    <a:lnTo>
                      <a:pt x="575" y="133"/>
                    </a:lnTo>
                    <a:lnTo>
                      <a:pt x="577" y="133"/>
                    </a:lnTo>
                    <a:lnTo>
                      <a:pt x="577" y="132"/>
                    </a:lnTo>
                    <a:lnTo>
                      <a:pt x="577" y="132"/>
                    </a:lnTo>
                    <a:close/>
                    <a:moveTo>
                      <a:pt x="497" y="130"/>
                    </a:moveTo>
                    <a:lnTo>
                      <a:pt x="497" y="130"/>
                    </a:lnTo>
                    <a:lnTo>
                      <a:pt x="497" y="130"/>
                    </a:lnTo>
                    <a:lnTo>
                      <a:pt x="497" y="128"/>
                    </a:lnTo>
                    <a:lnTo>
                      <a:pt x="495" y="130"/>
                    </a:lnTo>
                    <a:lnTo>
                      <a:pt x="495" y="132"/>
                    </a:lnTo>
                    <a:lnTo>
                      <a:pt x="497" y="133"/>
                    </a:lnTo>
                    <a:lnTo>
                      <a:pt x="497" y="133"/>
                    </a:lnTo>
                    <a:lnTo>
                      <a:pt x="498" y="132"/>
                    </a:lnTo>
                    <a:lnTo>
                      <a:pt x="497" y="130"/>
                    </a:lnTo>
                    <a:close/>
                    <a:moveTo>
                      <a:pt x="195" y="146"/>
                    </a:moveTo>
                    <a:lnTo>
                      <a:pt x="192" y="141"/>
                    </a:lnTo>
                    <a:lnTo>
                      <a:pt x="192" y="136"/>
                    </a:lnTo>
                    <a:lnTo>
                      <a:pt x="190" y="135"/>
                    </a:lnTo>
                    <a:lnTo>
                      <a:pt x="190" y="133"/>
                    </a:lnTo>
                    <a:lnTo>
                      <a:pt x="189" y="132"/>
                    </a:lnTo>
                    <a:lnTo>
                      <a:pt x="189" y="130"/>
                    </a:lnTo>
                    <a:lnTo>
                      <a:pt x="189" y="130"/>
                    </a:lnTo>
                    <a:lnTo>
                      <a:pt x="187" y="128"/>
                    </a:lnTo>
                    <a:lnTo>
                      <a:pt x="186" y="128"/>
                    </a:lnTo>
                    <a:lnTo>
                      <a:pt x="184" y="130"/>
                    </a:lnTo>
                    <a:lnTo>
                      <a:pt x="184" y="132"/>
                    </a:lnTo>
                    <a:lnTo>
                      <a:pt x="183" y="133"/>
                    </a:lnTo>
                    <a:lnTo>
                      <a:pt x="183" y="132"/>
                    </a:lnTo>
                    <a:lnTo>
                      <a:pt x="183" y="132"/>
                    </a:lnTo>
                    <a:lnTo>
                      <a:pt x="181" y="130"/>
                    </a:lnTo>
                    <a:lnTo>
                      <a:pt x="179" y="130"/>
                    </a:lnTo>
                    <a:lnTo>
                      <a:pt x="178" y="132"/>
                    </a:lnTo>
                    <a:lnTo>
                      <a:pt x="178" y="132"/>
                    </a:lnTo>
                    <a:lnTo>
                      <a:pt x="178" y="133"/>
                    </a:lnTo>
                    <a:lnTo>
                      <a:pt x="178" y="133"/>
                    </a:lnTo>
                    <a:lnTo>
                      <a:pt x="178" y="135"/>
                    </a:lnTo>
                    <a:lnTo>
                      <a:pt x="176" y="135"/>
                    </a:lnTo>
                    <a:lnTo>
                      <a:pt x="175" y="136"/>
                    </a:lnTo>
                    <a:lnTo>
                      <a:pt x="173" y="138"/>
                    </a:lnTo>
                    <a:lnTo>
                      <a:pt x="173" y="138"/>
                    </a:lnTo>
                    <a:lnTo>
                      <a:pt x="175" y="139"/>
                    </a:lnTo>
                    <a:lnTo>
                      <a:pt x="176" y="139"/>
                    </a:lnTo>
                    <a:lnTo>
                      <a:pt x="176" y="139"/>
                    </a:lnTo>
                    <a:lnTo>
                      <a:pt x="181" y="139"/>
                    </a:lnTo>
                    <a:lnTo>
                      <a:pt x="181" y="139"/>
                    </a:lnTo>
                    <a:lnTo>
                      <a:pt x="183" y="139"/>
                    </a:lnTo>
                    <a:lnTo>
                      <a:pt x="184" y="141"/>
                    </a:lnTo>
                    <a:lnTo>
                      <a:pt x="186" y="143"/>
                    </a:lnTo>
                    <a:lnTo>
                      <a:pt x="186" y="146"/>
                    </a:lnTo>
                    <a:lnTo>
                      <a:pt x="187" y="146"/>
                    </a:lnTo>
                    <a:lnTo>
                      <a:pt x="187" y="147"/>
                    </a:lnTo>
                    <a:lnTo>
                      <a:pt x="187" y="149"/>
                    </a:lnTo>
                    <a:lnTo>
                      <a:pt x="187" y="150"/>
                    </a:lnTo>
                    <a:lnTo>
                      <a:pt x="189" y="152"/>
                    </a:lnTo>
                    <a:lnTo>
                      <a:pt x="190" y="154"/>
                    </a:lnTo>
                    <a:lnTo>
                      <a:pt x="193" y="154"/>
                    </a:lnTo>
                    <a:lnTo>
                      <a:pt x="195" y="155"/>
                    </a:lnTo>
                    <a:lnTo>
                      <a:pt x="195" y="155"/>
                    </a:lnTo>
                    <a:lnTo>
                      <a:pt x="197" y="155"/>
                    </a:lnTo>
                    <a:lnTo>
                      <a:pt x="197" y="155"/>
                    </a:lnTo>
                    <a:lnTo>
                      <a:pt x="198" y="157"/>
                    </a:lnTo>
                    <a:lnTo>
                      <a:pt x="200" y="157"/>
                    </a:lnTo>
                    <a:lnTo>
                      <a:pt x="200" y="157"/>
                    </a:lnTo>
                    <a:lnTo>
                      <a:pt x="200" y="155"/>
                    </a:lnTo>
                    <a:lnTo>
                      <a:pt x="200" y="154"/>
                    </a:lnTo>
                    <a:lnTo>
                      <a:pt x="200" y="154"/>
                    </a:lnTo>
                    <a:lnTo>
                      <a:pt x="200" y="150"/>
                    </a:lnTo>
                    <a:lnTo>
                      <a:pt x="201" y="149"/>
                    </a:lnTo>
                    <a:lnTo>
                      <a:pt x="201" y="149"/>
                    </a:lnTo>
                    <a:lnTo>
                      <a:pt x="203" y="147"/>
                    </a:lnTo>
                    <a:lnTo>
                      <a:pt x="195" y="146"/>
                    </a:lnTo>
                    <a:close/>
                    <a:moveTo>
                      <a:pt x="239" y="130"/>
                    </a:moveTo>
                    <a:lnTo>
                      <a:pt x="237" y="130"/>
                    </a:lnTo>
                    <a:lnTo>
                      <a:pt x="239" y="132"/>
                    </a:lnTo>
                    <a:lnTo>
                      <a:pt x="240" y="132"/>
                    </a:lnTo>
                    <a:lnTo>
                      <a:pt x="240" y="130"/>
                    </a:lnTo>
                    <a:lnTo>
                      <a:pt x="239" y="130"/>
                    </a:lnTo>
                    <a:close/>
                    <a:moveTo>
                      <a:pt x="730" y="133"/>
                    </a:moveTo>
                    <a:lnTo>
                      <a:pt x="728" y="133"/>
                    </a:lnTo>
                    <a:lnTo>
                      <a:pt x="722" y="133"/>
                    </a:lnTo>
                    <a:lnTo>
                      <a:pt x="719" y="132"/>
                    </a:lnTo>
                    <a:lnTo>
                      <a:pt x="714" y="132"/>
                    </a:lnTo>
                    <a:lnTo>
                      <a:pt x="713" y="132"/>
                    </a:lnTo>
                    <a:lnTo>
                      <a:pt x="706" y="130"/>
                    </a:lnTo>
                    <a:lnTo>
                      <a:pt x="706" y="132"/>
                    </a:lnTo>
                    <a:lnTo>
                      <a:pt x="706" y="132"/>
                    </a:lnTo>
                    <a:lnTo>
                      <a:pt x="713" y="133"/>
                    </a:lnTo>
                    <a:lnTo>
                      <a:pt x="716" y="135"/>
                    </a:lnTo>
                    <a:lnTo>
                      <a:pt x="719" y="135"/>
                    </a:lnTo>
                    <a:lnTo>
                      <a:pt x="719" y="136"/>
                    </a:lnTo>
                    <a:lnTo>
                      <a:pt x="720" y="136"/>
                    </a:lnTo>
                    <a:lnTo>
                      <a:pt x="723" y="136"/>
                    </a:lnTo>
                    <a:lnTo>
                      <a:pt x="727" y="136"/>
                    </a:lnTo>
                    <a:lnTo>
                      <a:pt x="727" y="135"/>
                    </a:lnTo>
                    <a:lnTo>
                      <a:pt x="731" y="135"/>
                    </a:lnTo>
                    <a:lnTo>
                      <a:pt x="730" y="133"/>
                    </a:lnTo>
                    <a:close/>
                    <a:moveTo>
                      <a:pt x="526" y="135"/>
                    </a:moveTo>
                    <a:lnTo>
                      <a:pt x="526" y="133"/>
                    </a:lnTo>
                    <a:lnTo>
                      <a:pt x="525" y="135"/>
                    </a:lnTo>
                    <a:lnTo>
                      <a:pt x="525" y="133"/>
                    </a:lnTo>
                    <a:lnTo>
                      <a:pt x="525" y="133"/>
                    </a:lnTo>
                    <a:lnTo>
                      <a:pt x="523" y="133"/>
                    </a:lnTo>
                    <a:lnTo>
                      <a:pt x="523" y="133"/>
                    </a:lnTo>
                    <a:lnTo>
                      <a:pt x="523" y="133"/>
                    </a:lnTo>
                    <a:lnTo>
                      <a:pt x="522" y="133"/>
                    </a:lnTo>
                    <a:lnTo>
                      <a:pt x="516" y="132"/>
                    </a:lnTo>
                    <a:lnTo>
                      <a:pt x="512" y="132"/>
                    </a:lnTo>
                    <a:lnTo>
                      <a:pt x="512" y="132"/>
                    </a:lnTo>
                    <a:lnTo>
                      <a:pt x="511" y="133"/>
                    </a:lnTo>
                    <a:lnTo>
                      <a:pt x="511" y="135"/>
                    </a:lnTo>
                    <a:lnTo>
                      <a:pt x="512" y="138"/>
                    </a:lnTo>
                    <a:lnTo>
                      <a:pt x="514" y="138"/>
                    </a:lnTo>
                    <a:lnTo>
                      <a:pt x="516" y="138"/>
                    </a:lnTo>
                    <a:lnTo>
                      <a:pt x="519" y="136"/>
                    </a:lnTo>
                    <a:lnTo>
                      <a:pt x="522" y="136"/>
                    </a:lnTo>
                    <a:lnTo>
                      <a:pt x="525" y="136"/>
                    </a:lnTo>
                    <a:lnTo>
                      <a:pt x="528" y="136"/>
                    </a:lnTo>
                    <a:lnTo>
                      <a:pt x="528" y="135"/>
                    </a:lnTo>
                    <a:lnTo>
                      <a:pt x="526" y="135"/>
                    </a:lnTo>
                    <a:close/>
                    <a:moveTo>
                      <a:pt x="616" y="136"/>
                    </a:moveTo>
                    <a:lnTo>
                      <a:pt x="617" y="136"/>
                    </a:lnTo>
                    <a:lnTo>
                      <a:pt x="617" y="135"/>
                    </a:lnTo>
                    <a:lnTo>
                      <a:pt x="616" y="133"/>
                    </a:lnTo>
                    <a:lnTo>
                      <a:pt x="616" y="133"/>
                    </a:lnTo>
                    <a:lnTo>
                      <a:pt x="616" y="133"/>
                    </a:lnTo>
                    <a:lnTo>
                      <a:pt x="612" y="133"/>
                    </a:lnTo>
                    <a:lnTo>
                      <a:pt x="611" y="133"/>
                    </a:lnTo>
                    <a:lnTo>
                      <a:pt x="609" y="133"/>
                    </a:lnTo>
                    <a:lnTo>
                      <a:pt x="605" y="136"/>
                    </a:lnTo>
                    <a:lnTo>
                      <a:pt x="605" y="136"/>
                    </a:lnTo>
                    <a:lnTo>
                      <a:pt x="608" y="138"/>
                    </a:lnTo>
                    <a:lnTo>
                      <a:pt x="611" y="138"/>
                    </a:lnTo>
                    <a:lnTo>
                      <a:pt x="612" y="139"/>
                    </a:lnTo>
                    <a:lnTo>
                      <a:pt x="614" y="139"/>
                    </a:lnTo>
                    <a:lnTo>
                      <a:pt x="614" y="138"/>
                    </a:lnTo>
                    <a:lnTo>
                      <a:pt x="616" y="138"/>
                    </a:lnTo>
                    <a:lnTo>
                      <a:pt x="616" y="138"/>
                    </a:lnTo>
                    <a:lnTo>
                      <a:pt x="617" y="138"/>
                    </a:lnTo>
                    <a:lnTo>
                      <a:pt x="617" y="136"/>
                    </a:lnTo>
                    <a:lnTo>
                      <a:pt x="616" y="136"/>
                    </a:lnTo>
                    <a:close/>
                    <a:moveTo>
                      <a:pt x="489" y="133"/>
                    </a:moveTo>
                    <a:lnTo>
                      <a:pt x="489" y="135"/>
                    </a:lnTo>
                    <a:lnTo>
                      <a:pt x="489" y="135"/>
                    </a:lnTo>
                    <a:lnTo>
                      <a:pt x="487" y="135"/>
                    </a:lnTo>
                    <a:lnTo>
                      <a:pt x="487" y="136"/>
                    </a:lnTo>
                    <a:lnTo>
                      <a:pt x="489" y="135"/>
                    </a:lnTo>
                    <a:lnTo>
                      <a:pt x="489" y="133"/>
                    </a:lnTo>
                    <a:close/>
                    <a:moveTo>
                      <a:pt x="541" y="135"/>
                    </a:moveTo>
                    <a:lnTo>
                      <a:pt x="534" y="135"/>
                    </a:lnTo>
                    <a:lnTo>
                      <a:pt x="531" y="135"/>
                    </a:lnTo>
                    <a:lnTo>
                      <a:pt x="530" y="135"/>
                    </a:lnTo>
                    <a:lnTo>
                      <a:pt x="528" y="135"/>
                    </a:lnTo>
                    <a:lnTo>
                      <a:pt x="530" y="136"/>
                    </a:lnTo>
                    <a:lnTo>
                      <a:pt x="530" y="136"/>
                    </a:lnTo>
                    <a:lnTo>
                      <a:pt x="530" y="136"/>
                    </a:lnTo>
                    <a:lnTo>
                      <a:pt x="536" y="136"/>
                    </a:lnTo>
                    <a:lnTo>
                      <a:pt x="539" y="136"/>
                    </a:lnTo>
                    <a:lnTo>
                      <a:pt x="545" y="135"/>
                    </a:lnTo>
                    <a:lnTo>
                      <a:pt x="545" y="135"/>
                    </a:lnTo>
                    <a:lnTo>
                      <a:pt x="541" y="135"/>
                    </a:lnTo>
                    <a:close/>
                    <a:moveTo>
                      <a:pt x="501" y="136"/>
                    </a:moveTo>
                    <a:lnTo>
                      <a:pt x="500" y="136"/>
                    </a:lnTo>
                    <a:lnTo>
                      <a:pt x="500" y="136"/>
                    </a:lnTo>
                    <a:lnTo>
                      <a:pt x="501" y="138"/>
                    </a:lnTo>
                    <a:lnTo>
                      <a:pt x="501" y="138"/>
                    </a:lnTo>
                    <a:lnTo>
                      <a:pt x="501" y="136"/>
                    </a:lnTo>
                    <a:close/>
                    <a:moveTo>
                      <a:pt x="539" y="141"/>
                    </a:moveTo>
                    <a:lnTo>
                      <a:pt x="539" y="138"/>
                    </a:lnTo>
                    <a:lnTo>
                      <a:pt x="539" y="138"/>
                    </a:lnTo>
                    <a:lnTo>
                      <a:pt x="537" y="138"/>
                    </a:lnTo>
                    <a:lnTo>
                      <a:pt x="537" y="138"/>
                    </a:lnTo>
                    <a:lnTo>
                      <a:pt x="537" y="139"/>
                    </a:lnTo>
                    <a:lnTo>
                      <a:pt x="537" y="141"/>
                    </a:lnTo>
                    <a:lnTo>
                      <a:pt x="539" y="143"/>
                    </a:lnTo>
                    <a:lnTo>
                      <a:pt x="539" y="146"/>
                    </a:lnTo>
                    <a:lnTo>
                      <a:pt x="541" y="146"/>
                    </a:lnTo>
                    <a:lnTo>
                      <a:pt x="541" y="146"/>
                    </a:lnTo>
                    <a:lnTo>
                      <a:pt x="541" y="144"/>
                    </a:lnTo>
                    <a:lnTo>
                      <a:pt x="539" y="141"/>
                    </a:lnTo>
                    <a:close/>
                    <a:moveTo>
                      <a:pt x="81" y="144"/>
                    </a:moveTo>
                    <a:lnTo>
                      <a:pt x="79" y="143"/>
                    </a:lnTo>
                    <a:lnTo>
                      <a:pt x="78" y="141"/>
                    </a:lnTo>
                    <a:lnTo>
                      <a:pt x="78" y="139"/>
                    </a:lnTo>
                    <a:lnTo>
                      <a:pt x="76" y="138"/>
                    </a:lnTo>
                    <a:lnTo>
                      <a:pt x="76" y="138"/>
                    </a:lnTo>
                    <a:lnTo>
                      <a:pt x="75" y="139"/>
                    </a:lnTo>
                    <a:lnTo>
                      <a:pt x="75" y="139"/>
                    </a:lnTo>
                    <a:lnTo>
                      <a:pt x="75" y="141"/>
                    </a:lnTo>
                    <a:lnTo>
                      <a:pt x="76" y="143"/>
                    </a:lnTo>
                    <a:lnTo>
                      <a:pt x="78" y="143"/>
                    </a:lnTo>
                    <a:lnTo>
                      <a:pt x="81" y="144"/>
                    </a:lnTo>
                    <a:lnTo>
                      <a:pt x="81" y="144"/>
                    </a:lnTo>
                    <a:close/>
                    <a:moveTo>
                      <a:pt x="686" y="138"/>
                    </a:moveTo>
                    <a:lnTo>
                      <a:pt x="686" y="138"/>
                    </a:lnTo>
                    <a:lnTo>
                      <a:pt x="686" y="138"/>
                    </a:lnTo>
                    <a:lnTo>
                      <a:pt x="686" y="139"/>
                    </a:lnTo>
                    <a:lnTo>
                      <a:pt x="686" y="141"/>
                    </a:lnTo>
                    <a:lnTo>
                      <a:pt x="686" y="139"/>
                    </a:lnTo>
                    <a:lnTo>
                      <a:pt x="688" y="139"/>
                    </a:lnTo>
                    <a:lnTo>
                      <a:pt x="686" y="138"/>
                    </a:lnTo>
                    <a:close/>
                    <a:moveTo>
                      <a:pt x="84" y="147"/>
                    </a:moveTo>
                    <a:lnTo>
                      <a:pt x="82" y="147"/>
                    </a:lnTo>
                    <a:lnTo>
                      <a:pt x="82" y="149"/>
                    </a:lnTo>
                    <a:lnTo>
                      <a:pt x="82" y="149"/>
                    </a:lnTo>
                    <a:lnTo>
                      <a:pt x="82" y="149"/>
                    </a:lnTo>
                    <a:lnTo>
                      <a:pt x="82" y="152"/>
                    </a:lnTo>
                    <a:lnTo>
                      <a:pt x="84" y="152"/>
                    </a:lnTo>
                    <a:lnTo>
                      <a:pt x="86" y="152"/>
                    </a:lnTo>
                    <a:lnTo>
                      <a:pt x="87" y="150"/>
                    </a:lnTo>
                    <a:lnTo>
                      <a:pt x="87" y="150"/>
                    </a:lnTo>
                    <a:lnTo>
                      <a:pt x="84" y="147"/>
                    </a:lnTo>
                    <a:close/>
                    <a:moveTo>
                      <a:pt x="228" y="150"/>
                    </a:moveTo>
                    <a:lnTo>
                      <a:pt x="225" y="149"/>
                    </a:lnTo>
                    <a:lnTo>
                      <a:pt x="222" y="147"/>
                    </a:lnTo>
                    <a:lnTo>
                      <a:pt x="220" y="147"/>
                    </a:lnTo>
                    <a:lnTo>
                      <a:pt x="217" y="147"/>
                    </a:lnTo>
                    <a:lnTo>
                      <a:pt x="217" y="150"/>
                    </a:lnTo>
                    <a:lnTo>
                      <a:pt x="217" y="152"/>
                    </a:lnTo>
                    <a:lnTo>
                      <a:pt x="217" y="154"/>
                    </a:lnTo>
                    <a:lnTo>
                      <a:pt x="215" y="154"/>
                    </a:lnTo>
                    <a:lnTo>
                      <a:pt x="217" y="154"/>
                    </a:lnTo>
                    <a:lnTo>
                      <a:pt x="217" y="155"/>
                    </a:lnTo>
                    <a:lnTo>
                      <a:pt x="217" y="157"/>
                    </a:lnTo>
                    <a:lnTo>
                      <a:pt x="217" y="158"/>
                    </a:lnTo>
                    <a:lnTo>
                      <a:pt x="217" y="158"/>
                    </a:lnTo>
                    <a:lnTo>
                      <a:pt x="217" y="158"/>
                    </a:lnTo>
                    <a:lnTo>
                      <a:pt x="220" y="158"/>
                    </a:lnTo>
                    <a:lnTo>
                      <a:pt x="220" y="157"/>
                    </a:lnTo>
                    <a:lnTo>
                      <a:pt x="222" y="157"/>
                    </a:lnTo>
                    <a:lnTo>
                      <a:pt x="223" y="158"/>
                    </a:lnTo>
                    <a:lnTo>
                      <a:pt x="223" y="158"/>
                    </a:lnTo>
                    <a:lnTo>
                      <a:pt x="223" y="160"/>
                    </a:lnTo>
                    <a:lnTo>
                      <a:pt x="225" y="160"/>
                    </a:lnTo>
                    <a:lnTo>
                      <a:pt x="225" y="158"/>
                    </a:lnTo>
                    <a:lnTo>
                      <a:pt x="226" y="158"/>
                    </a:lnTo>
                    <a:lnTo>
                      <a:pt x="226" y="157"/>
                    </a:lnTo>
                    <a:lnTo>
                      <a:pt x="228" y="155"/>
                    </a:lnTo>
                    <a:lnTo>
                      <a:pt x="228" y="152"/>
                    </a:lnTo>
                    <a:lnTo>
                      <a:pt x="228" y="150"/>
                    </a:lnTo>
                    <a:close/>
                    <a:moveTo>
                      <a:pt x="92" y="157"/>
                    </a:moveTo>
                    <a:lnTo>
                      <a:pt x="92" y="157"/>
                    </a:lnTo>
                    <a:lnTo>
                      <a:pt x="90" y="155"/>
                    </a:lnTo>
                    <a:lnTo>
                      <a:pt x="87" y="152"/>
                    </a:lnTo>
                    <a:lnTo>
                      <a:pt x="87" y="152"/>
                    </a:lnTo>
                    <a:lnTo>
                      <a:pt x="86" y="152"/>
                    </a:lnTo>
                    <a:lnTo>
                      <a:pt x="87" y="155"/>
                    </a:lnTo>
                    <a:lnTo>
                      <a:pt x="87" y="157"/>
                    </a:lnTo>
                    <a:lnTo>
                      <a:pt x="89" y="157"/>
                    </a:lnTo>
                    <a:lnTo>
                      <a:pt x="89" y="158"/>
                    </a:lnTo>
                    <a:lnTo>
                      <a:pt x="89" y="160"/>
                    </a:lnTo>
                    <a:lnTo>
                      <a:pt x="92" y="161"/>
                    </a:lnTo>
                    <a:lnTo>
                      <a:pt x="90" y="158"/>
                    </a:lnTo>
                    <a:lnTo>
                      <a:pt x="90" y="158"/>
                    </a:lnTo>
                    <a:lnTo>
                      <a:pt x="92" y="157"/>
                    </a:lnTo>
                    <a:close/>
                    <a:moveTo>
                      <a:pt x="625" y="164"/>
                    </a:moveTo>
                    <a:lnTo>
                      <a:pt x="623" y="163"/>
                    </a:lnTo>
                    <a:lnTo>
                      <a:pt x="622" y="163"/>
                    </a:lnTo>
                    <a:lnTo>
                      <a:pt x="622" y="163"/>
                    </a:lnTo>
                    <a:lnTo>
                      <a:pt x="620" y="161"/>
                    </a:lnTo>
                    <a:lnTo>
                      <a:pt x="620" y="160"/>
                    </a:lnTo>
                    <a:lnTo>
                      <a:pt x="620" y="158"/>
                    </a:lnTo>
                    <a:lnTo>
                      <a:pt x="616" y="155"/>
                    </a:lnTo>
                    <a:lnTo>
                      <a:pt x="616" y="155"/>
                    </a:lnTo>
                    <a:lnTo>
                      <a:pt x="611" y="155"/>
                    </a:lnTo>
                    <a:lnTo>
                      <a:pt x="609" y="155"/>
                    </a:lnTo>
                    <a:lnTo>
                      <a:pt x="605" y="154"/>
                    </a:lnTo>
                    <a:lnTo>
                      <a:pt x="603" y="152"/>
                    </a:lnTo>
                    <a:lnTo>
                      <a:pt x="602" y="152"/>
                    </a:lnTo>
                    <a:lnTo>
                      <a:pt x="600" y="152"/>
                    </a:lnTo>
                    <a:lnTo>
                      <a:pt x="600" y="152"/>
                    </a:lnTo>
                    <a:lnTo>
                      <a:pt x="598" y="152"/>
                    </a:lnTo>
                    <a:lnTo>
                      <a:pt x="597" y="154"/>
                    </a:lnTo>
                    <a:lnTo>
                      <a:pt x="595" y="154"/>
                    </a:lnTo>
                    <a:lnTo>
                      <a:pt x="594" y="154"/>
                    </a:lnTo>
                    <a:lnTo>
                      <a:pt x="594" y="154"/>
                    </a:lnTo>
                    <a:lnTo>
                      <a:pt x="594" y="152"/>
                    </a:lnTo>
                    <a:lnTo>
                      <a:pt x="592" y="152"/>
                    </a:lnTo>
                    <a:lnTo>
                      <a:pt x="591" y="152"/>
                    </a:lnTo>
                    <a:lnTo>
                      <a:pt x="589" y="154"/>
                    </a:lnTo>
                    <a:lnTo>
                      <a:pt x="584" y="152"/>
                    </a:lnTo>
                    <a:lnTo>
                      <a:pt x="578" y="154"/>
                    </a:lnTo>
                    <a:lnTo>
                      <a:pt x="577" y="154"/>
                    </a:lnTo>
                    <a:lnTo>
                      <a:pt x="572" y="160"/>
                    </a:lnTo>
                    <a:lnTo>
                      <a:pt x="573" y="160"/>
                    </a:lnTo>
                    <a:lnTo>
                      <a:pt x="573" y="161"/>
                    </a:lnTo>
                    <a:lnTo>
                      <a:pt x="573" y="163"/>
                    </a:lnTo>
                    <a:lnTo>
                      <a:pt x="573" y="164"/>
                    </a:lnTo>
                    <a:lnTo>
                      <a:pt x="573" y="164"/>
                    </a:lnTo>
                    <a:lnTo>
                      <a:pt x="573" y="163"/>
                    </a:lnTo>
                    <a:lnTo>
                      <a:pt x="575" y="161"/>
                    </a:lnTo>
                    <a:lnTo>
                      <a:pt x="575" y="161"/>
                    </a:lnTo>
                    <a:lnTo>
                      <a:pt x="575" y="160"/>
                    </a:lnTo>
                    <a:lnTo>
                      <a:pt x="577" y="158"/>
                    </a:lnTo>
                    <a:lnTo>
                      <a:pt x="577" y="158"/>
                    </a:lnTo>
                    <a:lnTo>
                      <a:pt x="578" y="158"/>
                    </a:lnTo>
                    <a:lnTo>
                      <a:pt x="578" y="158"/>
                    </a:lnTo>
                    <a:lnTo>
                      <a:pt x="580" y="160"/>
                    </a:lnTo>
                    <a:lnTo>
                      <a:pt x="581" y="163"/>
                    </a:lnTo>
                    <a:lnTo>
                      <a:pt x="583" y="163"/>
                    </a:lnTo>
                    <a:lnTo>
                      <a:pt x="584" y="163"/>
                    </a:lnTo>
                    <a:lnTo>
                      <a:pt x="586" y="163"/>
                    </a:lnTo>
                    <a:lnTo>
                      <a:pt x="586" y="163"/>
                    </a:lnTo>
                    <a:lnTo>
                      <a:pt x="587" y="161"/>
                    </a:lnTo>
                    <a:lnTo>
                      <a:pt x="589" y="160"/>
                    </a:lnTo>
                    <a:lnTo>
                      <a:pt x="589" y="160"/>
                    </a:lnTo>
                    <a:lnTo>
                      <a:pt x="591" y="160"/>
                    </a:lnTo>
                    <a:lnTo>
                      <a:pt x="591" y="160"/>
                    </a:lnTo>
                    <a:lnTo>
                      <a:pt x="592" y="160"/>
                    </a:lnTo>
                    <a:lnTo>
                      <a:pt x="591" y="161"/>
                    </a:lnTo>
                    <a:lnTo>
                      <a:pt x="592" y="161"/>
                    </a:lnTo>
                    <a:lnTo>
                      <a:pt x="594" y="161"/>
                    </a:lnTo>
                    <a:lnTo>
                      <a:pt x="595" y="163"/>
                    </a:lnTo>
                    <a:lnTo>
                      <a:pt x="598" y="163"/>
                    </a:lnTo>
                    <a:lnTo>
                      <a:pt x="600" y="163"/>
                    </a:lnTo>
                    <a:lnTo>
                      <a:pt x="602" y="163"/>
                    </a:lnTo>
                    <a:lnTo>
                      <a:pt x="602" y="161"/>
                    </a:lnTo>
                    <a:lnTo>
                      <a:pt x="602" y="161"/>
                    </a:lnTo>
                    <a:lnTo>
                      <a:pt x="602" y="161"/>
                    </a:lnTo>
                    <a:lnTo>
                      <a:pt x="603" y="161"/>
                    </a:lnTo>
                    <a:lnTo>
                      <a:pt x="606" y="161"/>
                    </a:lnTo>
                    <a:lnTo>
                      <a:pt x="609" y="163"/>
                    </a:lnTo>
                    <a:lnTo>
                      <a:pt x="609" y="163"/>
                    </a:lnTo>
                    <a:lnTo>
                      <a:pt x="609" y="163"/>
                    </a:lnTo>
                    <a:lnTo>
                      <a:pt x="614" y="166"/>
                    </a:lnTo>
                    <a:lnTo>
                      <a:pt x="616" y="166"/>
                    </a:lnTo>
                    <a:lnTo>
                      <a:pt x="620" y="169"/>
                    </a:lnTo>
                    <a:lnTo>
                      <a:pt x="623" y="171"/>
                    </a:lnTo>
                    <a:lnTo>
                      <a:pt x="625" y="166"/>
                    </a:lnTo>
                    <a:lnTo>
                      <a:pt x="625" y="164"/>
                    </a:lnTo>
                    <a:close/>
                    <a:moveTo>
                      <a:pt x="214" y="152"/>
                    </a:moveTo>
                    <a:lnTo>
                      <a:pt x="214" y="152"/>
                    </a:lnTo>
                    <a:lnTo>
                      <a:pt x="212" y="154"/>
                    </a:lnTo>
                    <a:lnTo>
                      <a:pt x="214" y="154"/>
                    </a:lnTo>
                    <a:lnTo>
                      <a:pt x="214" y="154"/>
                    </a:lnTo>
                    <a:lnTo>
                      <a:pt x="214" y="154"/>
                    </a:lnTo>
                    <a:lnTo>
                      <a:pt x="215" y="152"/>
                    </a:lnTo>
                    <a:lnTo>
                      <a:pt x="214" y="152"/>
                    </a:lnTo>
                    <a:close/>
                    <a:moveTo>
                      <a:pt x="203" y="154"/>
                    </a:moveTo>
                    <a:lnTo>
                      <a:pt x="201" y="154"/>
                    </a:lnTo>
                    <a:lnTo>
                      <a:pt x="201" y="155"/>
                    </a:lnTo>
                    <a:lnTo>
                      <a:pt x="201" y="155"/>
                    </a:lnTo>
                    <a:lnTo>
                      <a:pt x="203" y="155"/>
                    </a:lnTo>
                    <a:lnTo>
                      <a:pt x="204" y="155"/>
                    </a:lnTo>
                    <a:lnTo>
                      <a:pt x="204" y="155"/>
                    </a:lnTo>
                    <a:lnTo>
                      <a:pt x="204" y="154"/>
                    </a:lnTo>
                    <a:lnTo>
                      <a:pt x="203" y="154"/>
                    </a:lnTo>
                    <a:close/>
                    <a:moveTo>
                      <a:pt x="573" y="155"/>
                    </a:moveTo>
                    <a:lnTo>
                      <a:pt x="572" y="155"/>
                    </a:lnTo>
                    <a:lnTo>
                      <a:pt x="572" y="155"/>
                    </a:lnTo>
                    <a:lnTo>
                      <a:pt x="573" y="155"/>
                    </a:lnTo>
                    <a:lnTo>
                      <a:pt x="575" y="154"/>
                    </a:lnTo>
                    <a:lnTo>
                      <a:pt x="573" y="155"/>
                    </a:lnTo>
                    <a:close/>
                    <a:moveTo>
                      <a:pt x="561" y="163"/>
                    </a:moveTo>
                    <a:lnTo>
                      <a:pt x="559" y="161"/>
                    </a:lnTo>
                    <a:lnTo>
                      <a:pt x="559" y="161"/>
                    </a:lnTo>
                    <a:lnTo>
                      <a:pt x="559" y="160"/>
                    </a:lnTo>
                    <a:lnTo>
                      <a:pt x="558" y="160"/>
                    </a:lnTo>
                    <a:lnTo>
                      <a:pt x="558" y="158"/>
                    </a:lnTo>
                    <a:lnTo>
                      <a:pt x="555" y="157"/>
                    </a:lnTo>
                    <a:lnTo>
                      <a:pt x="553" y="157"/>
                    </a:lnTo>
                    <a:lnTo>
                      <a:pt x="548" y="157"/>
                    </a:lnTo>
                    <a:lnTo>
                      <a:pt x="545" y="157"/>
                    </a:lnTo>
                    <a:lnTo>
                      <a:pt x="544" y="158"/>
                    </a:lnTo>
                    <a:lnTo>
                      <a:pt x="541" y="157"/>
                    </a:lnTo>
                    <a:lnTo>
                      <a:pt x="541" y="158"/>
                    </a:lnTo>
                    <a:lnTo>
                      <a:pt x="541" y="158"/>
                    </a:lnTo>
                    <a:lnTo>
                      <a:pt x="541" y="161"/>
                    </a:lnTo>
                    <a:lnTo>
                      <a:pt x="541" y="163"/>
                    </a:lnTo>
                    <a:lnTo>
                      <a:pt x="542" y="164"/>
                    </a:lnTo>
                    <a:lnTo>
                      <a:pt x="542" y="166"/>
                    </a:lnTo>
                    <a:lnTo>
                      <a:pt x="544" y="166"/>
                    </a:lnTo>
                    <a:lnTo>
                      <a:pt x="547" y="168"/>
                    </a:lnTo>
                    <a:lnTo>
                      <a:pt x="548" y="169"/>
                    </a:lnTo>
                    <a:lnTo>
                      <a:pt x="552" y="169"/>
                    </a:lnTo>
                    <a:lnTo>
                      <a:pt x="553" y="169"/>
                    </a:lnTo>
                    <a:lnTo>
                      <a:pt x="553" y="169"/>
                    </a:lnTo>
                    <a:lnTo>
                      <a:pt x="555" y="169"/>
                    </a:lnTo>
                    <a:lnTo>
                      <a:pt x="556" y="169"/>
                    </a:lnTo>
                    <a:lnTo>
                      <a:pt x="558" y="168"/>
                    </a:lnTo>
                    <a:lnTo>
                      <a:pt x="559" y="166"/>
                    </a:lnTo>
                    <a:lnTo>
                      <a:pt x="561" y="166"/>
                    </a:lnTo>
                    <a:lnTo>
                      <a:pt x="561" y="163"/>
                    </a:lnTo>
                    <a:lnTo>
                      <a:pt x="561" y="163"/>
                    </a:lnTo>
                    <a:close/>
                    <a:moveTo>
                      <a:pt x="370" y="169"/>
                    </a:moveTo>
                    <a:lnTo>
                      <a:pt x="369" y="168"/>
                    </a:lnTo>
                    <a:lnTo>
                      <a:pt x="369" y="164"/>
                    </a:lnTo>
                    <a:lnTo>
                      <a:pt x="369" y="164"/>
                    </a:lnTo>
                    <a:lnTo>
                      <a:pt x="369" y="163"/>
                    </a:lnTo>
                    <a:lnTo>
                      <a:pt x="369" y="163"/>
                    </a:lnTo>
                    <a:lnTo>
                      <a:pt x="369" y="160"/>
                    </a:lnTo>
                    <a:lnTo>
                      <a:pt x="369" y="160"/>
                    </a:lnTo>
                    <a:lnTo>
                      <a:pt x="365" y="161"/>
                    </a:lnTo>
                    <a:lnTo>
                      <a:pt x="365" y="163"/>
                    </a:lnTo>
                    <a:lnTo>
                      <a:pt x="364" y="166"/>
                    </a:lnTo>
                    <a:lnTo>
                      <a:pt x="364" y="168"/>
                    </a:lnTo>
                    <a:lnTo>
                      <a:pt x="365" y="169"/>
                    </a:lnTo>
                    <a:lnTo>
                      <a:pt x="365" y="172"/>
                    </a:lnTo>
                    <a:lnTo>
                      <a:pt x="365" y="174"/>
                    </a:lnTo>
                    <a:lnTo>
                      <a:pt x="369" y="171"/>
                    </a:lnTo>
                    <a:lnTo>
                      <a:pt x="369" y="169"/>
                    </a:lnTo>
                    <a:lnTo>
                      <a:pt x="370" y="169"/>
                    </a:lnTo>
                    <a:close/>
                    <a:moveTo>
                      <a:pt x="567" y="161"/>
                    </a:moveTo>
                    <a:lnTo>
                      <a:pt x="567" y="160"/>
                    </a:lnTo>
                    <a:lnTo>
                      <a:pt x="566" y="160"/>
                    </a:lnTo>
                    <a:lnTo>
                      <a:pt x="566" y="160"/>
                    </a:lnTo>
                    <a:lnTo>
                      <a:pt x="566" y="161"/>
                    </a:lnTo>
                    <a:lnTo>
                      <a:pt x="569" y="161"/>
                    </a:lnTo>
                    <a:lnTo>
                      <a:pt x="567" y="161"/>
                    </a:lnTo>
                    <a:close/>
                    <a:moveTo>
                      <a:pt x="370" y="163"/>
                    </a:moveTo>
                    <a:lnTo>
                      <a:pt x="370" y="164"/>
                    </a:lnTo>
                    <a:lnTo>
                      <a:pt x="370" y="166"/>
                    </a:lnTo>
                    <a:lnTo>
                      <a:pt x="372" y="163"/>
                    </a:lnTo>
                    <a:lnTo>
                      <a:pt x="372" y="163"/>
                    </a:lnTo>
                    <a:lnTo>
                      <a:pt x="370" y="163"/>
                    </a:lnTo>
                    <a:close/>
                    <a:moveTo>
                      <a:pt x="586" y="164"/>
                    </a:moveTo>
                    <a:lnTo>
                      <a:pt x="586" y="164"/>
                    </a:lnTo>
                    <a:lnTo>
                      <a:pt x="584" y="164"/>
                    </a:lnTo>
                    <a:lnTo>
                      <a:pt x="584" y="164"/>
                    </a:lnTo>
                    <a:lnTo>
                      <a:pt x="586" y="166"/>
                    </a:lnTo>
                    <a:lnTo>
                      <a:pt x="586" y="166"/>
                    </a:lnTo>
                    <a:lnTo>
                      <a:pt x="587" y="166"/>
                    </a:lnTo>
                    <a:lnTo>
                      <a:pt x="587" y="166"/>
                    </a:lnTo>
                    <a:lnTo>
                      <a:pt x="587" y="164"/>
                    </a:lnTo>
                    <a:lnTo>
                      <a:pt x="586" y="164"/>
                    </a:lnTo>
                    <a:close/>
                    <a:moveTo>
                      <a:pt x="580" y="164"/>
                    </a:moveTo>
                    <a:lnTo>
                      <a:pt x="577" y="166"/>
                    </a:lnTo>
                    <a:lnTo>
                      <a:pt x="575" y="166"/>
                    </a:lnTo>
                    <a:lnTo>
                      <a:pt x="573" y="168"/>
                    </a:lnTo>
                    <a:lnTo>
                      <a:pt x="573" y="168"/>
                    </a:lnTo>
                    <a:lnTo>
                      <a:pt x="573" y="168"/>
                    </a:lnTo>
                    <a:lnTo>
                      <a:pt x="573" y="169"/>
                    </a:lnTo>
                    <a:lnTo>
                      <a:pt x="575" y="168"/>
                    </a:lnTo>
                    <a:lnTo>
                      <a:pt x="577" y="168"/>
                    </a:lnTo>
                    <a:lnTo>
                      <a:pt x="577" y="168"/>
                    </a:lnTo>
                    <a:lnTo>
                      <a:pt x="578" y="168"/>
                    </a:lnTo>
                    <a:lnTo>
                      <a:pt x="577" y="168"/>
                    </a:lnTo>
                    <a:lnTo>
                      <a:pt x="578" y="168"/>
                    </a:lnTo>
                    <a:lnTo>
                      <a:pt x="580" y="168"/>
                    </a:lnTo>
                    <a:lnTo>
                      <a:pt x="580" y="168"/>
                    </a:lnTo>
                    <a:lnTo>
                      <a:pt x="580" y="166"/>
                    </a:lnTo>
                    <a:lnTo>
                      <a:pt x="580" y="166"/>
                    </a:lnTo>
                    <a:lnTo>
                      <a:pt x="580" y="164"/>
                    </a:lnTo>
                    <a:lnTo>
                      <a:pt x="580" y="164"/>
                    </a:lnTo>
                    <a:lnTo>
                      <a:pt x="580" y="164"/>
                    </a:lnTo>
                    <a:close/>
                    <a:moveTo>
                      <a:pt x="584" y="164"/>
                    </a:moveTo>
                    <a:lnTo>
                      <a:pt x="583" y="164"/>
                    </a:lnTo>
                    <a:lnTo>
                      <a:pt x="583" y="164"/>
                    </a:lnTo>
                    <a:lnTo>
                      <a:pt x="581" y="166"/>
                    </a:lnTo>
                    <a:lnTo>
                      <a:pt x="584" y="166"/>
                    </a:lnTo>
                    <a:lnTo>
                      <a:pt x="584" y="164"/>
                    </a:lnTo>
                    <a:close/>
                    <a:moveTo>
                      <a:pt x="491" y="172"/>
                    </a:moveTo>
                    <a:lnTo>
                      <a:pt x="487" y="172"/>
                    </a:lnTo>
                    <a:lnTo>
                      <a:pt x="486" y="174"/>
                    </a:lnTo>
                    <a:lnTo>
                      <a:pt x="486" y="174"/>
                    </a:lnTo>
                    <a:lnTo>
                      <a:pt x="487" y="175"/>
                    </a:lnTo>
                    <a:lnTo>
                      <a:pt x="487" y="177"/>
                    </a:lnTo>
                    <a:lnTo>
                      <a:pt x="489" y="177"/>
                    </a:lnTo>
                    <a:lnTo>
                      <a:pt x="491" y="175"/>
                    </a:lnTo>
                    <a:lnTo>
                      <a:pt x="491" y="174"/>
                    </a:lnTo>
                    <a:lnTo>
                      <a:pt x="491" y="172"/>
                    </a:lnTo>
                    <a:close/>
                    <a:moveTo>
                      <a:pt x="672" y="177"/>
                    </a:moveTo>
                    <a:lnTo>
                      <a:pt x="670" y="177"/>
                    </a:lnTo>
                    <a:lnTo>
                      <a:pt x="667" y="175"/>
                    </a:lnTo>
                    <a:lnTo>
                      <a:pt x="669" y="175"/>
                    </a:lnTo>
                    <a:lnTo>
                      <a:pt x="670" y="177"/>
                    </a:lnTo>
                    <a:lnTo>
                      <a:pt x="673" y="179"/>
                    </a:lnTo>
                    <a:lnTo>
                      <a:pt x="672" y="177"/>
                    </a:lnTo>
                    <a:close/>
                    <a:moveTo>
                      <a:pt x="487" y="193"/>
                    </a:moveTo>
                    <a:lnTo>
                      <a:pt x="487" y="193"/>
                    </a:lnTo>
                    <a:lnTo>
                      <a:pt x="486" y="194"/>
                    </a:lnTo>
                    <a:lnTo>
                      <a:pt x="486" y="193"/>
                    </a:lnTo>
                    <a:lnTo>
                      <a:pt x="486" y="190"/>
                    </a:lnTo>
                    <a:lnTo>
                      <a:pt x="487" y="190"/>
                    </a:lnTo>
                    <a:lnTo>
                      <a:pt x="487" y="188"/>
                    </a:lnTo>
                    <a:lnTo>
                      <a:pt x="487" y="186"/>
                    </a:lnTo>
                    <a:lnTo>
                      <a:pt x="489" y="186"/>
                    </a:lnTo>
                    <a:lnTo>
                      <a:pt x="489" y="186"/>
                    </a:lnTo>
                    <a:lnTo>
                      <a:pt x="489" y="185"/>
                    </a:lnTo>
                    <a:lnTo>
                      <a:pt x="489" y="186"/>
                    </a:lnTo>
                    <a:lnTo>
                      <a:pt x="491" y="188"/>
                    </a:lnTo>
                    <a:lnTo>
                      <a:pt x="491" y="186"/>
                    </a:lnTo>
                    <a:lnTo>
                      <a:pt x="491" y="182"/>
                    </a:lnTo>
                    <a:lnTo>
                      <a:pt x="487" y="180"/>
                    </a:lnTo>
                    <a:lnTo>
                      <a:pt x="487" y="180"/>
                    </a:lnTo>
                    <a:lnTo>
                      <a:pt x="487" y="180"/>
                    </a:lnTo>
                    <a:lnTo>
                      <a:pt x="486" y="180"/>
                    </a:lnTo>
                    <a:lnTo>
                      <a:pt x="484" y="183"/>
                    </a:lnTo>
                    <a:lnTo>
                      <a:pt x="484" y="188"/>
                    </a:lnTo>
                    <a:lnTo>
                      <a:pt x="484" y="190"/>
                    </a:lnTo>
                    <a:lnTo>
                      <a:pt x="483" y="190"/>
                    </a:lnTo>
                    <a:lnTo>
                      <a:pt x="483" y="191"/>
                    </a:lnTo>
                    <a:lnTo>
                      <a:pt x="483" y="193"/>
                    </a:lnTo>
                    <a:lnTo>
                      <a:pt x="483" y="194"/>
                    </a:lnTo>
                    <a:lnTo>
                      <a:pt x="483" y="194"/>
                    </a:lnTo>
                    <a:lnTo>
                      <a:pt x="481" y="196"/>
                    </a:lnTo>
                    <a:lnTo>
                      <a:pt x="481" y="197"/>
                    </a:lnTo>
                    <a:lnTo>
                      <a:pt x="481" y="197"/>
                    </a:lnTo>
                    <a:lnTo>
                      <a:pt x="480" y="199"/>
                    </a:lnTo>
                    <a:lnTo>
                      <a:pt x="480" y="200"/>
                    </a:lnTo>
                    <a:lnTo>
                      <a:pt x="481" y="202"/>
                    </a:lnTo>
                    <a:lnTo>
                      <a:pt x="481" y="202"/>
                    </a:lnTo>
                    <a:lnTo>
                      <a:pt x="483" y="202"/>
                    </a:lnTo>
                    <a:lnTo>
                      <a:pt x="483" y="202"/>
                    </a:lnTo>
                    <a:lnTo>
                      <a:pt x="484" y="202"/>
                    </a:lnTo>
                    <a:lnTo>
                      <a:pt x="486" y="199"/>
                    </a:lnTo>
                    <a:lnTo>
                      <a:pt x="486" y="199"/>
                    </a:lnTo>
                    <a:lnTo>
                      <a:pt x="486" y="197"/>
                    </a:lnTo>
                    <a:lnTo>
                      <a:pt x="486" y="197"/>
                    </a:lnTo>
                    <a:lnTo>
                      <a:pt x="486" y="197"/>
                    </a:lnTo>
                    <a:lnTo>
                      <a:pt x="487" y="197"/>
                    </a:lnTo>
                    <a:lnTo>
                      <a:pt x="489" y="197"/>
                    </a:lnTo>
                    <a:lnTo>
                      <a:pt x="491" y="196"/>
                    </a:lnTo>
                    <a:lnTo>
                      <a:pt x="491" y="196"/>
                    </a:lnTo>
                    <a:lnTo>
                      <a:pt x="489" y="194"/>
                    </a:lnTo>
                    <a:lnTo>
                      <a:pt x="487" y="193"/>
                    </a:lnTo>
                    <a:close/>
                    <a:moveTo>
                      <a:pt x="483" y="190"/>
                    </a:moveTo>
                    <a:lnTo>
                      <a:pt x="483" y="185"/>
                    </a:lnTo>
                    <a:lnTo>
                      <a:pt x="481" y="183"/>
                    </a:lnTo>
                    <a:lnTo>
                      <a:pt x="481" y="183"/>
                    </a:lnTo>
                    <a:lnTo>
                      <a:pt x="478" y="185"/>
                    </a:lnTo>
                    <a:lnTo>
                      <a:pt x="475" y="186"/>
                    </a:lnTo>
                    <a:lnTo>
                      <a:pt x="475" y="188"/>
                    </a:lnTo>
                    <a:lnTo>
                      <a:pt x="476" y="190"/>
                    </a:lnTo>
                    <a:lnTo>
                      <a:pt x="476" y="191"/>
                    </a:lnTo>
                    <a:lnTo>
                      <a:pt x="475" y="193"/>
                    </a:lnTo>
                    <a:lnTo>
                      <a:pt x="475" y="196"/>
                    </a:lnTo>
                    <a:lnTo>
                      <a:pt x="475" y="197"/>
                    </a:lnTo>
                    <a:lnTo>
                      <a:pt x="476" y="197"/>
                    </a:lnTo>
                    <a:lnTo>
                      <a:pt x="476" y="196"/>
                    </a:lnTo>
                    <a:lnTo>
                      <a:pt x="478" y="197"/>
                    </a:lnTo>
                    <a:lnTo>
                      <a:pt x="478" y="197"/>
                    </a:lnTo>
                    <a:lnTo>
                      <a:pt x="480" y="197"/>
                    </a:lnTo>
                    <a:lnTo>
                      <a:pt x="480" y="196"/>
                    </a:lnTo>
                    <a:lnTo>
                      <a:pt x="481" y="196"/>
                    </a:lnTo>
                    <a:lnTo>
                      <a:pt x="480" y="193"/>
                    </a:lnTo>
                    <a:lnTo>
                      <a:pt x="483" y="190"/>
                    </a:lnTo>
                    <a:close/>
                    <a:moveTo>
                      <a:pt x="470" y="193"/>
                    </a:moveTo>
                    <a:lnTo>
                      <a:pt x="469" y="193"/>
                    </a:lnTo>
                    <a:lnTo>
                      <a:pt x="469" y="191"/>
                    </a:lnTo>
                    <a:lnTo>
                      <a:pt x="467" y="191"/>
                    </a:lnTo>
                    <a:lnTo>
                      <a:pt x="467" y="193"/>
                    </a:lnTo>
                    <a:lnTo>
                      <a:pt x="467" y="193"/>
                    </a:lnTo>
                    <a:lnTo>
                      <a:pt x="467" y="193"/>
                    </a:lnTo>
                    <a:lnTo>
                      <a:pt x="466" y="194"/>
                    </a:lnTo>
                    <a:lnTo>
                      <a:pt x="466" y="194"/>
                    </a:lnTo>
                    <a:lnTo>
                      <a:pt x="467" y="196"/>
                    </a:lnTo>
                    <a:lnTo>
                      <a:pt x="469" y="199"/>
                    </a:lnTo>
                    <a:lnTo>
                      <a:pt x="470" y="197"/>
                    </a:lnTo>
                    <a:lnTo>
                      <a:pt x="470" y="194"/>
                    </a:lnTo>
                    <a:lnTo>
                      <a:pt x="470" y="193"/>
                    </a:lnTo>
                    <a:close/>
                    <a:moveTo>
                      <a:pt x="497" y="194"/>
                    </a:moveTo>
                    <a:lnTo>
                      <a:pt x="497" y="196"/>
                    </a:lnTo>
                    <a:lnTo>
                      <a:pt x="497" y="196"/>
                    </a:lnTo>
                    <a:lnTo>
                      <a:pt x="497" y="196"/>
                    </a:lnTo>
                    <a:lnTo>
                      <a:pt x="497" y="197"/>
                    </a:lnTo>
                    <a:lnTo>
                      <a:pt x="498" y="197"/>
                    </a:lnTo>
                    <a:lnTo>
                      <a:pt x="498" y="196"/>
                    </a:lnTo>
                    <a:lnTo>
                      <a:pt x="497" y="194"/>
                    </a:lnTo>
                    <a:close/>
                    <a:moveTo>
                      <a:pt x="125" y="197"/>
                    </a:moveTo>
                    <a:lnTo>
                      <a:pt x="122" y="196"/>
                    </a:lnTo>
                    <a:lnTo>
                      <a:pt x="122" y="196"/>
                    </a:lnTo>
                    <a:lnTo>
                      <a:pt x="120" y="196"/>
                    </a:lnTo>
                    <a:lnTo>
                      <a:pt x="120" y="197"/>
                    </a:lnTo>
                    <a:lnTo>
                      <a:pt x="123" y="199"/>
                    </a:lnTo>
                    <a:lnTo>
                      <a:pt x="125" y="199"/>
                    </a:lnTo>
                    <a:lnTo>
                      <a:pt x="125" y="197"/>
                    </a:lnTo>
                    <a:lnTo>
                      <a:pt x="125" y="197"/>
                    </a:lnTo>
                    <a:close/>
                    <a:moveTo>
                      <a:pt x="664" y="196"/>
                    </a:moveTo>
                    <a:lnTo>
                      <a:pt x="664" y="196"/>
                    </a:lnTo>
                    <a:lnTo>
                      <a:pt x="663" y="200"/>
                    </a:lnTo>
                    <a:lnTo>
                      <a:pt x="661" y="202"/>
                    </a:lnTo>
                    <a:lnTo>
                      <a:pt x="661" y="204"/>
                    </a:lnTo>
                    <a:lnTo>
                      <a:pt x="659" y="208"/>
                    </a:lnTo>
                    <a:lnTo>
                      <a:pt x="661" y="207"/>
                    </a:lnTo>
                    <a:lnTo>
                      <a:pt x="663" y="204"/>
                    </a:lnTo>
                    <a:lnTo>
                      <a:pt x="664" y="200"/>
                    </a:lnTo>
                    <a:lnTo>
                      <a:pt x="666" y="196"/>
                    </a:lnTo>
                    <a:lnTo>
                      <a:pt x="664" y="196"/>
                    </a:lnTo>
                    <a:close/>
                    <a:moveTo>
                      <a:pt x="694" y="208"/>
                    </a:moveTo>
                    <a:lnTo>
                      <a:pt x="692" y="207"/>
                    </a:lnTo>
                    <a:lnTo>
                      <a:pt x="694" y="205"/>
                    </a:lnTo>
                    <a:lnTo>
                      <a:pt x="692" y="205"/>
                    </a:lnTo>
                    <a:lnTo>
                      <a:pt x="692" y="204"/>
                    </a:lnTo>
                    <a:lnTo>
                      <a:pt x="692" y="202"/>
                    </a:lnTo>
                    <a:lnTo>
                      <a:pt x="692" y="200"/>
                    </a:lnTo>
                    <a:lnTo>
                      <a:pt x="691" y="200"/>
                    </a:lnTo>
                    <a:lnTo>
                      <a:pt x="691" y="200"/>
                    </a:lnTo>
                    <a:lnTo>
                      <a:pt x="691" y="199"/>
                    </a:lnTo>
                    <a:lnTo>
                      <a:pt x="691" y="197"/>
                    </a:lnTo>
                    <a:lnTo>
                      <a:pt x="689" y="197"/>
                    </a:lnTo>
                    <a:lnTo>
                      <a:pt x="689" y="197"/>
                    </a:lnTo>
                    <a:lnTo>
                      <a:pt x="689" y="199"/>
                    </a:lnTo>
                    <a:lnTo>
                      <a:pt x="688" y="200"/>
                    </a:lnTo>
                    <a:lnTo>
                      <a:pt x="686" y="202"/>
                    </a:lnTo>
                    <a:lnTo>
                      <a:pt x="684" y="202"/>
                    </a:lnTo>
                    <a:lnTo>
                      <a:pt x="683" y="202"/>
                    </a:lnTo>
                    <a:lnTo>
                      <a:pt x="684" y="204"/>
                    </a:lnTo>
                    <a:lnTo>
                      <a:pt x="686" y="205"/>
                    </a:lnTo>
                    <a:lnTo>
                      <a:pt x="684" y="207"/>
                    </a:lnTo>
                    <a:lnTo>
                      <a:pt x="684" y="208"/>
                    </a:lnTo>
                    <a:lnTo>
                      <a:pt x="684" y="208"/>
                    </a:lnTo>
                    <a:lnTo>
                      <a:pt x="683" y="208"/>
                    </a:lnTo>
                    <a:lnTo>
                      <a:pt x="683" y="208"/>
                    </a:lnTo>
                    <a:lnTo>
                      <a:pt x="683" y="210"/>
                    </a:lnTo>
                    <a:lnTo>
                      <a:pt x="684" y="211"/>
                    </a:lnTo>
                    <a:lnTo>
                      <a:pt x="684" y="211"/>
                    </a:lnTo>
                    <a:lnTo>
                      <a:pt x="686" y="213"/>
                    </a:lnTo>
                    <a:lnTo>
                      <a:pt x="688" y="213"/>
                    </a:lnTo>
                    <a:lnTo>
                      <a:pt x="691" y="215"/>
                    </a:lnTo>
                    <a:lnTo>
                      <a:pt x="691" y="213"/>
                    </a:lnTo>
                    <a:lnTo>
                      <a:pt x="692" y="213"/>
                    </a:lnTo>
                    <a:lnTo>
                      <a:pt x="692" y="213"/>
                    </a:lnTo>
                    <a:lnTo>
                      <a:pt x="692" y="211"/>
                    </a:lnTo>
                    <a:lnTo>
                      <a:pt x="694" y="211"/>
                    </a:lnTo>
                    <a:lnTo>
                      <a:pt x="694" y="210"/>
                    </a:lnTo>
                    <a:lnTo>
                      <a:pt x="694" y="208"/>
                    </a:lnTo>
                    <a:close/>
                    <a:moveTo>
                      <a:pt x="659" y="204"/>
                    </a:moveTo>
                    <a:lnTo>
                      <a:pt x="658" y="202"/>
                    </a:lnTo>
                    <a:lnTo>
                      <a:pt x="658" y="202"/>
                    </a:lnTo>
                    <a:lnTo>
                      <a:pt x="656" y="200"/>
                    </a:lnTo>
                    <a:lnTo>
                      <a:pt x="656" y="200"/>
                    </a:lnTo>
                    <a:lnTo>
                      <a:pt x="656" y="204"/>
                    </a:lnTo>
                    <a:lnTo>
                      <a:pt x="656" y="205"/>
                    </a:lnTo>
                    <a:lnTo>
                      <a:pt x="656" y="207"/>
                    </a:lnTo>
                    <a:lnTo>
                      <a:pt x="658" y="207"/>
                    </a:lnTo>
                    <a:lnTo>
                      <a:pt x="658" y="207"/>
                    </a:lnTo>
                    <a:lnTo>
                      <a:pt x="659" y="205"/>
                    </a:lnTo>
                    <a:lnTo>
                      <a:pt x="659" y="204"/>
                    </a:lnTo>
                    <a:close/>
                    <a:moveTo>
                      <a:pt x="306" y="204"/>
                    </a:moveTo>
                    <a:lnTo>
                      <a:pt x="304" y="204"/>
                    </a:lnTo>
                    <a:lnTo>
                      <a:pt x="304" y="205"/>
                    </a:lnTo>
                    <a:lnTo>
                      <a:pt x="304" y="205"/>
                    </a:lnTo>
                    <a:lnTo>
                      <a:pt x="306" y="205"/>
                    </a:lnTo>
                    <a:lnTo>
                      <a:pt x="306" y="205"/>
                    </a:lnTo>
                    <a:lnTo>
                      <a:pt x="306" y="204"/>
                    </a:lnTo>
                    <a:lnTo>
                      <a:pt x="306" y="204"/>
                    </a:lnTo>
                    <a:close/>
                    <a:moveTo>
                      <a:pt x="444" y="207"/>
                    </a:moveTo>
                    <a:lnTo>
                      <a:pt x="442" y="204"/>
                    </a:lnTo>
                    <a:lnTo>
                      <a:pt x="442" y="205"/>
                    </a:lnTo>
                    <a:lnTo>
                      <a:pt x="442" y="210"/>
                    </a:lnTo>
                    <a:lnTo>
                      <a:pt x="442" y="211"/>
                    </a:lnTo>
                    <a:lnTo>
                      <a:pt x="442" y="213"/>
                    </a:lnTo>
                    <a:lnTo>
                      <a:pt x="442" y="215"/>
                    </a:lnTo>
                    <a:lnTo>
                      <a:pt x="442" y="216"/>
                    </a:lnTo>
                    <a:lnTo>
                      <a:pt x="444" y="213"/>
                    </a:lnTo>
                    <a:lnTo>
                      <a:pt x="444" y="207"/>
                    </a:lnTo>
                    <a:lnTo>
                      <a:pt x="444" y="207"/>
                    </a:lnTo>
                    <a:close/>
                    <a:moveTo>
                      <a:pt x="505" y="207"/>
                    </a:moveTo>
                    <a:lnTo>
                      <a:pt x="505" y="205"/>
                    </a:lnTo>
                    <a:lnTo>
                      <a:pt x="505" y="207"/>
                    </a:lnTo>
                    <a:lnTo>
                      <a:pt x="505" y="207"/>
                    </a:lnTo>
                    <a:lnTo>
                      <a:pt x="505" y="208"/>
                    </a:lnTo>
                    <a:lnTo>
                      <a:pt x="505" y="207"/>
                    </a:lnTo>
                    <a:lnTo>
                      <a:pt x="505" y="207"/>
                    </a:lnTo>
                    <a:close/>
                    <a:moveTo>
                      <a:pt x="339" y="255"/>
                    </a:moveTo>
                    <a:lnTo>
                      <a:pt x="337" y="254"/>
                    </a:lnTo>
                    <a:lnTo>
                      <a:pt x="337" y="254"/>
                    </a:lnTo>
                    <a:lnTo>
                      <a:pt x="336" y="251"/>
                    </a:lnTo>
                    <a:lnTo>
                      <a:pt x="336" y="249"/>
                    </a:lnTo>
                    <a:lnTo>
                      <a:pt x="336" y="247"/>
                    </a:lnTo>
                    <a:lnTo>
                      <a:pt x="337" y="243"/>
                    </a:lnTo>
                    <a:lnTo>
                      <a:pt x="337" y="241"/>
                    </a:lnTo>
                    <a:lnTo>
                      <a:pt x="336" y="240"/>
                    </a:lnTo>
                    <a:lnTo>
                      <a:pt x="336" y="240"/>
                    </a:lnTo>
                    <a:lnTo>
                      <a:pt x="329" y="236"/>
                    </a:lnTo>
                    <a:lnTo>
                      <a:pt x="329" y="236"/>
                    </a:lnTo>
                    <a:lnTo>
                      <a:pt x="326" y="238"/>
                    </a:lnTo>
                    <a:lnTo>
                      <a:pt x="325" y="238"/>
                    </a:lnTo>
                    <a:lnTo>
                      <a:pt x="320" y="238"/>
                    </a:lnTo>
                    <a:lnTo>
                      <a:pt x="315" y="238"/>
                    </a:lnTo>
                    <a:lnTo>
                      <a:pt x="311" y="236"/>
                    </a:lnTo>
                    <a:lnTo>
                      <a:pt x="308" y="235"/>
                    </a:lnTo>
                    <a:lnTo>
                      <a:pt x="308" y="233"/>
                    </a:lnTo>
                    <a:lnTo>
                      <a:pt x="308" y="230"/>
                    </a:lnTo>
                    <a:lnTo>
                      <a:pt x="308" y="230"/>
                    </a:lnTo>
                    <a:lnTo>
                      <a:pt x="304" y="229"/>
                    </a:lnTo>
                    <a:lnTo>
                      <a:pt x="304" y="229"/>
                    </a:lnTo>
                    <a:lnTo>
                      <a:pt x="304" y="227"/>
                    </a:lnTo>
                    <a:lnTo>
                      <a:pt x="303" y="224"/>
                    </a:lnTo>
                    <a:lnTo>
                      <a:pt x="301" y="224"/>
                    </a:lnTo>
                    <a:lnTo>
                      <a:pt x="300" y="224"/>
                    </a:lnTo>
                    <a:lnTo>
                      <a:pt x="297" y="224"/>
                    </a:lnTo>
                    <a:lnTo>
                      <a:pt x="295" y="224"/>
                    </a:lnTo>
                    <a:lnTo>
                      <a:pt x="294" y="222"/>
                    </a:lnTo>
                    <a:lnTo>
                      <a:pt x="289" y="221"/>
                    </a:lnTo>
                    <a:lnTo>
                      <a:pt x="289" y="221"/>
                    </a:lnTo>
                    <a:lnTo>
                      <a:pt x="287" y="221"/>
                    </a:lnTo>
                    <a:lnTo>
                      <a:pt x="286" y="219"/>
                    </a:lnTo>
                    <a:lnTo>
                      <a:pt x="284" y="219"/>
                    </a:lnTo>
                    <a:lnTo>
                      <a:pt x="283" y="219"/>
                    </a:lnTo>
                    <a:lnTo>
                      <a:pt x="283" y="221"/>
                    </a:lnTo>
                    <a:lnTo>
                      <a:pt x="279" y="219"/>
                    </a:lnTo>
                    <a:lnTo>
                      <a:pt x="279" y="219"/>
                    </a:lnTo>
                    <a:lnTo>
                      <a:pt x="276" y="216"/>
                    </a:lnTo>
                    <a:lnTo>
                      <a:pt x="276" y="216"/>
                    </a:lnTo>
                    <a:lnTo>
                      <a:pt x="273" y="215"/>
                    </a:lnTo>
                    <a:lnTo>
                      <a:pt x="272" y="216"/>
                    </a:lnTo>
                    <a:lnTo>
                      <a:pt x="272" y="216"/>
                    </a:lnTo>
                    <a:lnTo>
                      <a:pt x="272" y="218"/>
                    </a:lnTo>
                    <a:lnTo>
                      <a:pt x="270" y="218"/>
                    </a:lnTo>
                    <a:lnTo>
                      <a:pt x="270" y="219"/>
                    </a:lnTo>
                    <a:lnTo>
                      <a:pt x="269" y="222"/>
                    </a:lnTo>
                    <a:lnTo>
                      <a:pt x="269" y="224"/>
                    </a:lnTo>
                    <a:lnTo>
                      <a:pt x="265" y="224"/>
                    </a:lnTo>
                    <a:lnTo>
                      <a:pt x="265" y="224"/>
                    </a:lnTo>
                    <a:lnTo>
                      <a:pt x="264" y="224"/>
                    </a:lnTo>
                    <a:lnTo>
                      <a:pt x="264" y="224"/>
                    </a:lnTo>
                    <a:lnTo>
                      <a:pt x="262" y="224"/>
                    </a:lnTo>
                    <a:lnTo>
                      <a:pt x="259" y="224"/>
                    </a:lnTo>
                    <a:lnTo>
                      <a:pt x="258" y="224"/>
                    </a:lnTo>
                    <a:lnTo>
                      <a:pt x="256" y="224"/>
                    </a:lnTo>
                    <a:lnTo>
                      <a:pt x="251" y="222"/>
                    </a:lnTo>
                    <a:lnTo>
                      <a:pt x="250" y="222"/>
                    </a:lnTo>
                    <a:lnTo>
                      <a:pt x="248" y="222"/>
                    </a:lnTo>
                    <a:lnTo>
                      <a:pt x="247" y="222"/>
                    </a:lnTo>
                    <a:lnTo>
                      <a:pt x="242" y="222"/>
                    </a:lnTo>
                    <a:lnTo>
                      <a:pt x="239" y="222"/>
                    </a:lnTo>
                    <a:lnTo>
                      <a:pt x="237" y="222"/>
                    </a:lnTo>
                    <a:lnTo>
                      <a:pt x="236" y="222"/>
                    </a:lnTo>
                    <a:lnTo>
                      <a:pt x="234" y="221"/>
                    </a:lnTo>
                    <a:lnTo>
                      <a:pt x="233" y="218"/>
                    </a:lnTo>
                    <a:lnTo>
                      <a:pt x="233" y="216"/>
                    </a:lnTo>
                    <a:lnTo>
                      <a:pt x="231" y="215"/>
                    </a:lnTo>
                    <a:lnTo>
                      <a:pt x="229" y="213"/>
                    </a:lnTo>
                    <a:lnTo>
                      <a:pt x="229" y="213"/>
                    </a:lnTo>
                    <a:lnTo>
                      <a:pt x="228" y="213"/>
                    </a:lnTo>
                    <a:lnTo>
                      <a:pt x="226" y="213"/>
                    </a:lnTo>
                    <a:lnTo>
                      <a:pt x="226" y="213"/>
                    </a:lnTo>
                    <a:lnTo>
                      <a:pt x="223" y="213"/>
                    </a:lnTo>
                    <a:lnTo>
                      <a:pt x="222" y="211"/>
                    </a:lnTo>
                    <a:lnTo>
                      <a:pt x="220" y="211"/>
                    </a:lnTo>
                    <a:lnTo>
                      <a:pt x="217" y="211"/>
                    </a:lnTo>
                    <a:lnTo>
                      <a:pt x="215" y="211"/>
                    </a:lnTo>
                    <a:lnTo>
                      <a:pt x="214" y="210"/>
                    </a:lnTo>
                    <a:lnTo>
                      <a:pt x="212" y="208"/>
                    </a:lnTo>
                    <a:lnTo>
                      <a:pt x="212" y="207"/>
                    </a:lnTo>
                    <a:lnTo>
                      <a:pt x="209" y="207"/>
                    </a:lnTo>
                    <a:lnTo>
                      <a:pt x="208" y="207"/>
                    </a:lnTo>
                    <a:lnTo>
                      <a:pt x="206" y="208"/>
                    </a:lnTo>
                    <a:lnTo>
                      <a:pt x="204" y="210"/>
                    </a:lnTo>
                    <a:lnTo>
                      <a:pt x="204" y="210"/>
                    </a:lnTo>
                    <a:lnTo>
                      <a:pt x="203" y="210"/>
                    </a:lnTo>
                    <a:lnTo>
                      <a:pt x="200" y="208"/>
                    </a:lnTo>
                    <a:lnTo>
                      <a:pt x="198" y="208"/>
                    </a:lnTo>
                    <a:lnTo>
                      <a:pt x="197" y="208"/>
                    </a:lnTo>
                    <a:lnTo>
                      <a:pt x="195" y="208"/>
                    </a:lnTo>
                    <a:lnTo>
                      <a:pt x="192" y="207"/>
                    </a:lnTo>
                    <a:lnTo>
                      <a:pt x="190" y="207"/>
                    </a:lnTo>
                    <a:lnTo>
                      <a:pt x="189" y="207"/>
                    </a:lnTo>
                    <a:lnTo>
                      <a:pt x="187" y="208"/>
                    </a:lnTo>
                    <a:lnTo>
                      <a:pt x="186" y="210"/>
                    </a:lnTo>
                    <a:lnTo>
                      <a:pt x="184" y="216"/>
                    </a:lnTo>
                    <a:lnTo>
                      <a:pt x="184" y="216"/>
                    </a:lnTo>
                    <a:lnTo>
                      <a:pt x="183" y="216"/>
                    </a:lnTo>
                    <a:lnTo>
                      <a:pt x="183" y="216"/>
                    </a:lnTo>
                    <a:lnTo>
                      <a:pt x="181" y="219"/>
                    </a:lnTo>
                    <a:lnTo>
                      <a:pt x="181" y="219"/>
                    </a:lnTo>
                    <a:lnTo>
                      <a:pt x="179" y="221"/>
                    </a:lnTo>
                    <a:lnTo>
                      <a:pt x="179" y="222"/>
                    </a:lnTo>
                    <a:lnTo>
                      <a:pt x="178" y="221"/>
                    </a:lnTo>
                    <a:lnTo>
                      <a:pt x="178" y="221"/>
                    </a:lnTo>
                    <a:lnTo>
                      <a:pt x="178" y="219"/>
                    </a:lnTo>
                    <a:lnTo>
                      <a:pt x="176" y="219"/>
                    </a:lnTo>
                    <a:lnTo>
                      <a:pt x="176" y="221"/>
                    </a:lnTo>
                    <a:lnTo>
                      <a:pt x="175" y="221"/>
                    </a:lnTo>
                    <a:lnTo>
                      <a:pt x="175" y="222"/>
                    </a:lnTo>
                    <a:lnTo>
                      <a:pt x="176" y="222"/>
                    </a:lnTo>
                    <a:lnTo>
                      <a:pt x="178" y="222"/>
                    </a:lnTo>
                    <a:lnTo>
                      <a:pt x="178" y="222"/>
                    </a:lnTo>
                    <a:lnTo>
                      <a:pt x="179" y="222"/>
                    </a:lnTo>
                    <a:lnTo>
                      <a:pt x="181" y="222"/>
                    </a:lnTo>
                    <a:lnTo>
                      <a:pt x="184" y="222"/>
                    </a:lnTo>
                    <a:lnTo>
                      <a:pt x="186" y="222"/>
                    </a:lnTo>
                    <a:lnTo>
                      <a:pt x="187" y="222"/>
                    </a:lnTo>
                    <a:lnTo>
                      <a:pt x="192" y="224"/>
                    </a:lnTo>
                    <a:lnTo>
                      <a:pt x="198" y="227"/>
                    </a:lnTo>
                    <a:lnTo>
                      <a:pt x="197" y="227"/>
                    </a:lnTo>
                    <a:lnTo>
                      <a:pt x="197" y="229"/>
                    </a:lnTo>
                    <a:lnTo>
                      <a:pt x="195" y="230"/>
                    </a:lnTo>
                    <a:lnTo>
                      <a:pt x="195" y="230"/>
                    </a:lnTo>
                    <a:lnTo>
                      <a:pt x="197" y="232"/>
                    </a:lnTo>
                    <a:lnTo>
                      <a:pt x="198" y="232"/>
                    </a:lnTo>
                    <a:lnTo>
                      <a:pt x="200" y="233"/>
                    </a:lnTo>
                    <a:lnTo>
                      <a:pt x="208" y="233"/>
                    </a:lnTo>
                    <a:lnTo>
                      <a:pt x="211" y="233"/>
                    </a:lnTo>
                    <a:lnTo>
                      <a:pt x="215" y="235"/>
                    </a:lnTo>
                    <a:lnTo>
                      <a:pt x="217" y="235"/>
                    </a:lnTo>
                    <a:lnTo>
                      <a:pt x="218" y="236"/>
                    </a:lnTo>
                    <a:lnTo>
                      <a:pt x="220" y="238"/>
                    </a:lnTo>
                    <a:lnTo>
                      <a:pt x="222" y="238"/>
                    </a:lnTo>
                    <a:lnTo>
                      <a:pt x="228" y="240"/>
                    </a:lnTo>
                    <a:lnTo>
                      <a:pt x="229" y="240"/>
                    </a:lnTo>
                    <a:lnTo>
                      <a:pt x="231" y="240"/>
                    </a:lnTo>
                    <a:lnTo>
                      <a:pt x="233" y="238"/>
                    </a:lnTo>
                    <a:lnTo>
                      <a:pt x="234" y="238"/>
                    </a:lnTo>
                    <a:lnTo>
                      <a:pt x="237" y="236"/>
                    </a:lnTo>
                    <a:lnTo>
                      <a:pt x="239" y="236"/>
                    </a:lnTo>
                    <a:lnTo>
                      <a:pt x="240" y="238"/>
                    </a:lnTo>
                    <a:lnTo>
                      <a:pt x="245" y="238"/>
                    </a:lnTo>
                    <a:lnTo>
                      <a:pt x="247" y="238"/>
                    </a:lnTo>
                    <a:lnTo>
                      <a:pt x="256" y="240"/>
                    </a:lnTo>
                    <a:lnTo>
                      <a:pt x="259" y="241"/>
                    </a:lnTo>
                    <a:lnTo>
                      <a:pt x="269" y="246"/>
                    </a:lnTo>
                    <a:lnTo>
                      <a:pt x="273" y="246"/>
                    </a:lnTo>
                    <a:lnTo>
                      <a:pt x="278" y="247"/>
                    </a:lnTo>
                    <a:lnTo>
                      <a:pt x="283" y="247"/>
                    </a:lnTo>
                    <a:lnTo>
                      <a:pt x="286" y="249"/>
                    </a:lnTo>
                    <a:lnTo>
                      <a:pt x="295" y="249"/>
                    </a:lnTo>
                    <a:lnTo>
                      <a:pt x="300" y="249"/>
                    </a:lnTo>
                    <a:lnTo>
                      <a:pt x="304" y="251"/>
                    </a:lnTo>
                    <a:lnTo>
                      <a:pt x="306" y="251"/>
                    </a:lnTo>
                    <a:lnTo>
                      <a:pt x="308" y="251"/>
                    </a:lnTo>
                    <a:lnTo>
                      <a:pt x="309" y="249"/>
                    </a:lnTo>
                    <a:lnTo>
                      <a:pt x="312" y="249"/>
                    </a:lnTo>
                    <a:lnTo>
                      <a:pt x="314" y="247"/>
                    </a:lnTo>
                    <a:lnTo>
                      <a:pt x="315" y="247"/>
                    </a:lnTo>
                    <a:lnTo>
                      <a:pt x="323" y="252"/>
                    </a:lnTo>
                    <a:lnTo>
                      <a:pt x="328" y="254"/>
                    </a:lnTo>
                    <a:lnTo>
                      <a:pt x="331" y="254"/>
                    </a:lnTo>
                    <a:lnTo>
                      <a:pt x="334" y="254"/>
                    </a:lnTo>
                    <a:lnTo>
                      <a:pt x="334" y="255"/>
                    </a:lnTo>
                    <a:lnTo>
                      <a:pt x="336" y="255"/>
                    </a:lnTo>
                    <a:lnTo>
                      <a:pt x="337" y="257"/>
                    </a:lnTo>
                    <a:lnTo>
                      <a:pt x="339" y="257"/>
                    </a:lnTo>
                    <a:lnTo>
                      <a:pt x="339" y="255"/>
                    </a:lnTo>
                    <a:lnTo>
                      <a:pt x="339" y="255"/>
                    </a:lnTo>
                    <a:close/>
                    <a:moveTo>
                      <a:pt x="688" y="215"/>
                    </a:moveTo>
                    <a:lnTo>
                      <a:pt x="686" y="213"/>
                    </a:lnTo>
                    <a:lnTo>
                      <a:pt x="684" y="211"/>
                    </a:lnTo>
                    <a:lnTo>
                      <a:pt x="683" y="211"/>
                    </a:lnTo>
                    <a:lnTo>
                      <a:pt x="681" y="211"/>
                    </a:lnTo>
                    <a:lnTo>
                      <a:pt x="681" y="213"/>
                    </a:lnTo>
                    <a:lnTo>
                      <a:pt x="681" y="215"/>
                    </a:lnTo>
                    <a:lnTo>
                      <a:pt x="683" y="216"/>
                    </a:lnTo>
                    <a:lnTo>
                      <a:pt x="683" y="216"/>
                    </a:lnTo>
                    <a:lnTo>
                      <a:pt x="683" y="216"/>
                    </a:lnTo>
                    <a:lnTo>
                      <a:pt x="681" y="216"/>
                    </a:lnTo>
                    <a:lnTo>
                      <a:pt x="681" y="221"/>
                    </a:lnTo>
                    <a:lnTo>
                      <a:pt x="681" y="222"/>
                    </a:lnTo>
                    <a:lnTo>
                      <a:pt x="683" y="224"/>
                    </a:lnTo>
                    <a:lnTo>
                      <a:pt x="686" y="222"/>
                    </a:lnTo>
                    <a:lnTo>
                      <a:pt x="686" y="222"/>
                    </a:lnTo>
                    <a:lnTo>
                      <a:pt x="688" y="219"/>
                    </a:lnTo>
                    <a:lnTo>
                      <a:pt x="689" y="218"/>
                    </a:lnTo>
                    <a:lnTo>
                      <a:pt x="689" y="216"/>
                    </a:lnTo>
                    <a:lnTo>
                      <a:pt x="689" y="216"/>
                    </a:lnTo>
                    <a:lnTo>
                      <a:pt x="688" y="215"/>
                    </a:lnTo>
                    <a:close/>
                    <a:moveTo>
                      <a:pt x="695" y="213"/>
                    </a:moveTo>
                    <a:lnTo>
                      <a:pt x="694" y="215"/>
                    </a:lnTo>
                    <a:lnTo>
                      <a:pt x="694" y="215"/>
                    </a:lnTo>
                    <a:lnTo>
                      <a:pt x="694" y="216"/>
                    </a:lnTo>
                    <a:lnTo>
                      <a:pt x="694" y="216"/>
                    </a:lnTo>
                    <a:lnTo>
                      <a:pt x="695" y="213"/>
                    </a:lnTo>
                    <a:lnTo>
                      <a:pt x="695" y="213"/>
                    </a:lnTo>
                    <a:close/>
                    <a:moveTo>
                      <a:pt x="692" y="216"/>
                    </a:moveTo>
                    <a:lnTo>
                      <a:pt x="691" y="216"/>
                    </a:lnTo>
                    <a:lnTo>
                      <a:pt x="691" y="218"/>
                    </a:lnTo>
                    <a:lnTo>
                      <a:pt x="692" y="218"/>
                    </a:lnTo>
                    <a:lnTo>
                      <a:pt x="692" y="216"/>
                    </a:lnTo>
                    <a:lnTo>
                      <a:pt x="692" y="216"/>
                    </a:lnTo>
                    <a:close/>
                    <a:moveTo>
                      <a:pt x="175" y="218"/>
                    </a:moveTo>
                    <a:lnTo>
                      <a:pt x="175" y="218"/>
                    </a:lnTo>
                    <a:lnTo>
                      <a:pt x="175" y="218"/>
                    </a:lnTo>
                    <a:lnTo>
                      <a:pt x="173" y="219"/>
                    </a:lnTo>
                    <a:lnTo>
                      <a:pt x="173" y="219"/>
                    </a:lnTo>
                    <a:lnTo>
                      <a:pt x="175" y="219"/>
                    </a:lnTo>
                    <a:lnTo>
                      <a:pt x="175" y="219"/>
                    </a:lnTo>
                    <a:lnTo>
                      <a:pt x="176" y="218"/>
                    </a:lnTo>
                    <a:lnTo>
                      <a:pt x="175" y="218"/>
                    </a:lnTo>
                    <a:close/>
                    <a:moveTo>
                      <a:pt x="692" y="219"/>
                    </a:moveTo>
                    <a:lnTo>
                      <a:pt x="692" y="219"/>
                    </a:lnTo>
                    <a:lnTo>
                      <a:pt x="691" y="221"/>
                    </a:lnTo>
                    <a:lnTo>
                      <a:pt x="691" y="221"/>
                    </a:lnTo>
                    <a:lnTo>
                      <a:pt x="691" y="221"/>
                    </a:lnTo>
                    <a:lnTo>
                      <a:pt x="692" y="221"/>
                    </a:lnTo>
                    <a:lnTo>
                      <a:pt x="692" y="219"/>
                    </a:lnTo>
                    <a:lnTo>
                      <a:pt x="692" y="219"/>
                    </a:lnTo>
                    <a:lnTo>
                      <a:pt x="692" y="219"/>
                    </a:lnTo>
                    <a:close/>
                    <a:moveTo>
                      <a:pt x="356" y="224"/>
                    </a:moveTo>
                    <a:lnTo>
                      <a:pt x="355" y="222"/>
                    </a:lnTo>
                    <a:lnTo>
                      <a:pt x="353" y="222"/>
                    </a:lnTo>
                    <a:lnTo>
                      <a:pt x="353" y="222"/>
                    </a:lnTo>
                    <a:lnTo>
                      <a:pt x="350" y="222"/>
                    </a:lnTo>
                    <a:lnTo>
                      <a:pt x="350" y="224"/>
                    </a:lnTo>
                    <a:lnTo>
                      <a:pt x="350" y="224"/>
                    </a:lnTo>
                    <a:lnTo>
                      <a:pt x="351" y="226"/>
                    </a:lnTo>
                    <a:lnTo>
                      <a:pt x="353" y="226"/>
                    </a:lnTo>
                    <a:lnTo>
                      <a:pt x="355" y="224"/>
                    </a:lnTo>
                    <a:lnTo>
                      <a:pt x="356" y="224"/>
                    </a:lnTo>
                    <a:lnTo>
                      <a:pt x="356" y="224"/>
                    </a:lnTo>
                    <a:close/>
                    <a:moveTo>
                      <a:pt x="329" y="224"/>
                    </a:moveTo>
                    <a:lnTo>
                      <a:pt x="328" y="222"/>
                    </a:lnTo>
                    <a:lnTo>
                      <a:pt x="312" y="224"/>
                    </a:lnTo>
                    <a:lnTo>
                      <a:pt x="309" y="224"/>
                    </a:lnTo>
                    <a:lnTo>
                      <a:pt x="308" y="226"/>
                    </a:lnTo>
                    <a:lnTo>
                      <a:pt x="306" y="227"/>
                    </a:lnTo>
                    <a:lnTo>
                      <a:pt x="308" y="227"/>
                    </a:lnTo>
                    <a:lnTo>
                      <a:pt x="312" y="229"/>
                    </a:lnTo>
                    <a:lnTo>
                      <a:pt x="314" y="229"/>
                    </a:lnTo>
                    <a:lnTo>
                      <a:pt x="314" y="229"/>
                    </a:lnTo>
                    <a:lnTo>
                      <a:pt x="314" y="229"/>
                    </a:lnTo>
                    <a:lnTo>
                      <a:pt x="315" y="229"/>
                    </a:lnTo>
                    <a:lnTo>
                      <a:pt x="320" y="229"/>
                    </a:lnTo>
                    <a:lnTo>
                      <a:pt x="320" y="229"/>
                    </a:lnTo>
                    <a:lnTo>
                      <a:pt x="323" y="227"/>
                    </a:lnTo>
                    <a:lnTo>
                      <a:pt x="326" y="227"/>
                    </a:lnTo>
                    <a:lnTo>
                      <a:pt x="326" y="227"/>
                    </a:lnTo>
                    <a:lnTo>
                      <a:pt x="326" y="226"/>
                    </a:lnTo>
                    <a:lnTo>
                      <a:pt x="329" y="226"/>
                    </a:lnTo>
                    <a:lnTo>
                      <a:pt x="329" y="224"/>
                    </a:lnTo>
                    <a:close/>
                    <a:moveTo>
                      <a:pt x="447" y="227"/>
                    </a:moveTo>
                    <a:lnTo>
                      <a:pt x="445" y="226"/>
                    </a:lnTo>
                    <a:lnTo>
                      <a:pt x="445" y="227"/>
                    </a:lnTo>
                    <a:lnTo>
                      <a:pt x="445" y="227"/>
                    </a:lnTo>
                    <a:lnTo>
                      <a:pt x="448" y="227"/>
                    </a:lnTo>
                    <a:lnTo>
                      <a:pt x="448" y="227"/>
                    </a:lnTo>
                    <a:lnTo>
                      <a:pt x="447" y="227"/>
                    </a:lnTo>
                    <a:close/>
                    <a:moveTo>
                      <a:pt x="586" y="227"/>
                    </a:moveTo>
                    <a:lnTo>
                      <a:pt x="586" y="227"/>
                    </a:lnTo>
                    <a:lnTo>
                      <a:pt x="586" y="227"/>
                    </a:lnTo>
                    <a:lnTo>
                      <a:pt x="584" y="227"/>
                    </a:lnTo>
                    <a:lnTo>
                      <a:pt x="584" y="227"/>
                    </a:lnTo>
                    <a:lnTo>
                      <a:pt x="584" y="229"/>
                    </a:lnTo>
                    <a:lnTo>
                      <a:pt x="586" y="229"/>
                    </a:lnTo>
                    <a:lnTo>
                      <a:pt x="586" y="229"/>
                    </a:lnTo>
                    <a:lnTo>
                      <a:pt x="586" y="227"/>
                    </a:lnTo>
                    <a:lnTo>
                      <a:pt x="586" y="227"/>
                    </a:lnTo>
                    <a:close/>
                    <a:moveTo>
                      <a:pt x="336" y="227"/>
                    </a:moveTo>
                    <a:lnTo>
                      <a:pt x="334" y="227"/>
                    </a:lnTo>
                    <a:lnTo>
                      <a:pt x="334" y="227"/>
                    </a:lnTo>
                    <a:lnTo>
                      <a:pt x="334" y="227"/>
                    </a:lnTo>
                    <a:lnTo>
                      <a:pt x="334" y="229"/>
                    </a:lnTo>
                    <a:lnTo>
                      <a:pt x="336" y="229"/>
                    </a:lnTo>
                    <a:lnTo>
                      <a:pt x="336" y="227"/>
                    </a:lnTo>
                    <a:lnTo>
                      <a:pt x="336" y="227"/>
                    </a:lnTo>
                    <a:close/>
                    <a:moveTo>
                      <a:pt x="644" y="227"/>
                    </a:moveTo>
                    <a:lnTo>
                      <a:pt x="641" y="227"/>
                    </a:lnTo>
                    <a:lnTo>
                      <a:pt x="641" y="229"/>
                    </a:lnTo>
                    <a:lnTo>
                      <a:pt x="642" y="229"/>
                    </a:lnTo>
                    <a:lnTo>
                      <a:pt x="642" y="229"/>
                    </a:lnTo>
                    <a:lnTo>
                      <a:pt x="644" y="229"/>
                    </a:lnTo>
                    <a:lnTo>
                      <a:pt x="644" y="230"/>
                    </a:lnTo>
                    <a:lnTo>
                      <a:pt x="644" y="229"/>
                    </a:lnTo>
                    <a:lnTo>
                      <a:pt x="644" y="227"/>
                    </a:lnTo>
                    <a:close/>
                    <a:moveTo>
                      <a:pt x="641" y="229"/>
                    </a:moveTo>
                    <a:lnTo>
                      <a:pt x="639" y="229"/>
                    </a:lnTo>
                    <a:lnTo>
                      <a:pt x="639" y="227"/>
                    </a:lnTo>
                    <a:lnTo>
                      <a:pt x="638" y="227"/>
                    </a:lnTo>
                    <a:lnTo>
                      <a:pt x="636" y="229"/>
                    </a:lnTo>
                    <a:lnTo>
                      <a:pt x="636" y="229"/>
                    </a:lnTo>
                    <a:lnTo>
                      <a:pt x="636" y="230"/>
                    </a:lnTo>
                    <a:lnTo>
                      <a:pt x="634" y="230"/>
                    </a:lnTo>
                    <a:lnTo>
                      <a:pt x="634" y="232"/>
                    </a:lnTo>
                    <a:lnTo>
                      <a:pt x="633" y="233"/>
                    </a:lnTo>
                    <a:lnTo>
                      <a:pt x="633" y="233"/>
                    </a:lnTo>
                    <a:lnTo>
                      <a:pt x="631" y="233"/>
                    </a:lnTo>
                    <a:lnTo>
                      <a:pt x="631" y="236"/>
                    </a:lnTo>
                    <a:lnTo>
                      <a:pt x="631" y="236"/>
                    </a:lnTo>
                    <a:lnTo>
                      <a:pt x="630" y="238"/>
                    </a:lnTo>
                    <a:lnTo>
                      <a:pt x="630" y="240"/>
                    </a:lnTo>
                    <a:lnTo>
                      <a:pt x="628" y="241"/>
                    </a:lnTo>
                    <a:lnTo>
                      <a:pt x="630" y="241"/>
                    </a:lnTo>
                    <a:lnTo>
                      <a:pt x="630" y="243"/>
                    </a:lnTo>
                    <a:lnTo>
                      <a:pt x="630" y="243"/>
                    </a:lnTo>
                    <a:lnTo>
                      <a:pt x="633" y="243"/>
                    </a:lnTo>
                    <a:lnTo>
                      <a:pt x="633" y="243"/>
                    </a:lnTo>
                    <a:lnTo>
                      <a:pt x="633" y="243"/>
                    </a:lnTo>
                    <a:lnTo>
                      <a:pt x="634" y="241"/>
                    </a:lnTo>
                    <a:lnTo>
                      <a:pt x="636" y="240"/>
                    </a:lnTo>
                    <a:lnTo>
                      <a:pt x="636" y="238"/>
                    </a:lnTo>
                    <a:lnTo>
                      <a:pt x="638" y="238"/>
                    </a:lnTo>
                    <a:lnTo>
                      <a:pt x="638" y="236"/>
                    </a:lnTo>
                    <a:lnTo>
                      <a:pt x="639" y="233"/>
                    </a:lnTo>
                    <a:lnTo>
                      <a:pt x="639" y="230"/>
                    </a:lnTo>
                    <a:lnTo>
                      <a:pt x="641" y="229"/>
                    </a:lnTo>
                    <a:close/>
                    <a:moveTo>
                      <a:pt x="767" y="236"/>
                    </a:moveTo>
                    <a:lnTo>
                      <a:pt x="766" y="235"/>
                    </a:lnTo>
                    <a:lnTo>
                      <a:pt x="764" y="233"/>
                    </a:lnTo>
                    <a:lnTo>
                      <a:pt x="764" y="232"/>
                    </a:lnTo>
                    <a:lnTo>
                      <a:pt x="759" y="232"/>
                    </a:lnTo>
                    <a:lnTo>
                      <a:pt x="755" y="233"/>
                    </a:lnTo>
                    <a:lnTo>
                      <a:pt x="753" y="235"/>
                    </a:lnTo>
                    <a:lnTo>
                      <a:pt x="752" y="235"/>
                    </a:lnTo>
                    <a:lnTo>
                      <a:pt x="750" y="236"/>
                    </a:lnTo>
                    <a:lnTo>
                      <a:pt x="747" y="241"/>
                    </a:lnTo>
                    <a:lnTo>
                      <a:pt x="744" y="247"/>
                    </a:lnTo>
                    <a:lnTo>
                      <a:pt x="744" y="251"/>
                    </a:lnTo>
                    <a:lnTo>
                      <a:pt x="744" y="251"/>
                    </a:lnTo>
                    <a:lnTo>
                      <a:pt x="749" y="249"/>
                    </a:lnTo>
                    <a:lnTo>
                      <a:pt x="750" y="249"/>
                    </a:lnTo>
                    <a:lnTo>
                      <a:pt x="755" y="251"/>
                    </a:lnTo>
                    <a:lnTo>
                      <a:pt x="759" y="247"/>
                    </a:lnTo>
                    <a:lnTo>
                      <a:pt x="761" y="246"/>
                    </a:lnTo>
                    <a:lnTo>
                      <a:pt x="764" y="244"/>
                    </a:lnTo>
                    <a:lnTo>
                      <a:pt x="766" y="241"/>
                    </a:lnTo>
                    <a:lnTo>
                      <a:pt x="767" y="238"/>
                    </a:lnTo>
                    <a:lnTo>
                      <a:pt x="767" y="236"/>
                    </a:lnTo>
                    <a:close/>
                    <a:moveTo>
                      <a:pt x="564" y="235"/>
                    </a:moveTo>
                    <a:lnTo>
                      <a:pt x="564" y="235"/>
                    </a:lnTo>
                    <a:lnTo>
                      <a:pt x="562" y="236"/>
                    </a:lnTo>
                    <a:lnTo>
                      <a:pt x="564" y="236"/>
                    </a:lnTo>
                    <a:lnTo>
                      <a:pt x="566" y="236"/>
                    </a:lnTo>
                    <a:lnTo>
                      <a:pt x="566" y="235"/>
                    </a:lnTo>
                    <a:lnTo>
                      <a:pt x="566" y="235"/>
                    </a:lnTo>
                    <a:lnTo>
                      <a:pt x="564" y="235"/>
                    </a:lnTo>
                    <a:close/>
                    <a:moveTo>
                      <a:pt x="553" y="236"/>
                    </a:moveTo>
                    <a:lnTo>
                      <a:pt x="552" y="236"/>
                    </a:lnTo>
                    <a:lnTo>
                      <a:pt x="550" y="235"/>
                    </a:lnTo>
                    <a:lnTo>
                      <a:pt x="547" y="236"/>
                    </a:lnTo>
                    <a:lnTo>
                      <a:pt x="545" y="238"/>
                    </a:lnTo>
                    <a:lnTo>
                      <a:pt x="544" y="238"/>
                    </a:lnTo>
                    <a:lnTo>
                      <a:pt x="541" y="238"/>
                    </a:lnTo>
                    <a:lnTo>
                      <a:pt x="539" y="236"/>
                    </a:lnTo>
                    <a:lnTo>
                      <a:pt x="537" y="240"/>
                    </a:lnTo>
                    <a:lnTo>
                      <a:pt x="536" y="241"/>
                    </a:lnTo>
                    <a:lnTo>
                      <a:pt x="536" y="243"/>
                    </a:lnTo>
                    <a:lnTo>
                      <a:pt x="536" y="243"/>
                    </a:lnTo>
                    <a:lnTo>
                      <a:pt x="539" y="241"/>
                    </a:lnTo>
                    <a:lnTo>
                      <a:pt x="541" y="241"/>
                    </a:lnTo>
                    <a:lnTo>
                      <a:pt x="541" y="241"/>
                    </a:lnTo>
                    <a:lnTo>
                      <a:pt x="542" y="241"/>
                    </a:lnTo>
                    <a:lnTo>
                      <a:pt x="545" y="241"/>
                    </a:lnTo>
                    <a:lnTo>
                      <a:pt x="548" y="243"/>
                    </a:lnTo>
                    <a:lnTo>
                      <a:pt x="548" y="241"/>
                    </a:lnTo>
                    <a:lnTo>
                      <a:pt x="550" y="240"/>
                    </a:lnTo>
                    <a:lnTo>
                      <a:pt x="552" y="238"/>
                    </a:lnTo>
                    <a:lnTo>
                      <a:pt x="553" y="238"/>
                    </a:lnTo>
                    <a:lnTo>
                      <a:pt x="553" y="238"/>
                    </a:lnTo>
                    <a:lnTo>
                      <a:pt x="553" y="236"/>
                    </a:lnTo>
                    <a:close/>
                    <a:moveTo>
                      <a:pt x="606" y="240"/>
                    </a:moveTo>
                    <a:lnTo>
                      <a:pt x="603" y="240"/>
                    </a:lnTo>
                    <a:lnTo>
                      <a:pt x="603" y="240"/>
                    </a:lnTo>
                    <a:lnTo>
                      <a:pt x="603" y="240"/>
                    </a:lnTo>
                    <a:lnTo>
                      <a:pt x="603" y="241"/>
                    </a:lnTo>
                    <a:lnTo>
                      <a:pt x="605" y="244"/>
                    </a:lnTo>
                    <a:lnTo>
                      <a:pt x="606" y="244"/>
                    </a:lnTo>
                    <a:lnTo>
                      <a:pt x="606" y="243"/>
                    </a:lnTo>
                    <a:lnTo>
                      <a:pt x="606" y="241"/>
                    </a:lnTo>
                    <a:lnTo>
                      <a:pt x="606" y="240"/>
                    </a:lnTo>
                    <a:close/>
                    <a:moveTo>
                      <a:pt x="359" y="249"/>
                    </a:moveTo>
                    <a:lnTo>
                      <a:pt x="356" y="247"/>
                    </a:lnTo>
                    <a:lnTo>
                      <a:pt x="355" y="246"/>
                    </a:lnTo>
                    <a:lnTo>
                      <a:pt x="353" y="244"/>
                    </a:lnTo>
                    <a:lnTo>
                      <a:pt x="350" y="244"/>
                    </a:lnTo>
                    <a:lnTo>
                      <a:pt x="350" y="244"/>
                    </a:lnTo>
                    <a:lnTo>
                      <a:pt x="347" y="246"/>
                    </a:lnTo>
                    <a:lnTo>
                      <a:pt x="345" y="246"/>
                    </a:lnTo>
                    <a:lnTo>
                      <a:pt x="344" y="246"/>
                    </a:lnTo>
                    <a:lnTo>
                      <a:pt x="340" y="246"/>
                    </a:lnTo>
                    <a:lnTo>
                      <a:pt x="337" y="246"/>
                    </a:lnTo>
                    <a:lnTo>
                      <a:pt x="337" y="246"/>
                    </a:lnTo>
                    <a:lnTo>
                      <a:pt x="337" y="246"/>
                    </a:lnTo>
                    <a:lnTo>
                      <a:pt x="337" y="247"/>
                    </a:lnTo>
                    <a:lnTo>
                      <a:pt x="337" y="247"/>
                    </a:lnTo>
                    <a:lnTo>
                      <a:pt x="339" y="249"/>
                    </a:lnTo>
                    <a:lnTo>
                      <a:pt x="339" y="249"/>
                    </a:lnTo>
                    <a:lnTo>
                      <a:pt x="342" y="251"/>
                    </a:lnTo>
                    <a:lnTo>
                      <a:pt x="344" y="251"/>
                    </a:lnTo>
                    <a:lnTo>
                      <a:pt x="345" y="252"/>
                    </a:lnTo>
                    <a:lnTo>
                      <a:pt x="347" y="254"/>
                    </a:lnTo>
                    <a:lnTo>
                      <a:pt x="348" y="254"/>
                    </a:lnTo>
                    <a:lnTo>
                      <a:pt x="348" y="255"/>
                    </a:lnTo>
                    <a:lnTo>
                      <a:pt x="348" y="257"/>
                    </a:lnTo>
                    <a:lnTo>
                      <a:pt x="348" y="258"/>
                    </a:lnTo>
                    <a:lnTo>
                      <a:pt x="348" y="258"/>
                    </a:lnTo>
                    <a:lnTo>
                      <a:pt x="350" y="258"/>
                    </a:lnTo>
                    <a:lnTo>
                      <a:pt x="350" y="257"/>
                    </a:lnTo>
                    <a:lnTo>
                      <a:pt x="350" y="257"/>
                    </a:lnTo>
                    <a:lnTo>
                      <a:pt x="351" y="257"/>
                    </a:lnTo>
                    <a:lnTo>
                      <a:pt x="351" y="255"/>
                    </a:lnTo>
                    <a:lnTo>
                      <a:pt x="353" y="254"/>
                    </a:lnTo>
                    <a:lnTo>
                      <a:pt x="356" y="252"/>
                    </a:lnTo>
                    <a:lnTo>
                      <a:pt x="358" y="251"/>
                    </a:lnTo>
                    <a:lnTo>
                      <a:pt x="359" y="251"/>
                    </a:lnTo>
                    <a:lnTo>
                      <a:pt x="359" y="249"/>
                    </a:lnTo>
                    <a:close/>
                    <a:moveTo>
                      <a:pt x="419" y="254"/>
                    </a:moveTo>
                    <a:lnTo>
                      <a:pt x="417" y="254"/>
                    </a:lnTo>
                    <a:lnTo>
                      <a:pt x="417" y="254"/>
                    </a:lnTo>
                    <a:lnTo>
                      <a:pt x="417" y="251"/>
                    </a:lnTo>
                    <a:lnTo>
                      <a:pt x="417" y="249"/>
                    </a:lnTo>
                    <a:lnTo>
                      <a:pt x="415" y="249"/>
                    </a:lnTo>
                    <a:lnTo>
                      <a:pt x="414" y="247"/>
                    </a:lnTo>
                    <a:lnTo>
                      <a:pt x="412" y="249"/>
                    </a:lnTo>
                    <a:lnTo>
                      <a:pt x="412" y="249"/>
                    </a:lnTo>
                    <a:lnTo>
                      <a:pt x="411" y="251"/>
                    </a:lnTo>
                    <a:lnTo>
                      <a:pt x="411" y="251"/>
                    </a:lnTo>
                    <a:lnTo>
                      <a:pt x="411" y="249"/>
                    </a:lnTo>
                    <a:lnTo>
                      <a:pt x="409" y="247"/>
                    </a:lnTo>
                    <a:lnTo>
                      <a:pt x="409" y="247"/>
                    </a:lnTo>
                    <a:lnTo>
                      <a:pt x="408" y="247"/>
                    </a:lnTo>
                    <a:lnTo>
                      <a:pt x="406" y="247"/>
                    </a:lnTo>
                    <a:lnTo>
                      <a:pt x="405" y="249"/>
                    </a:lnTo>
                    <a:lnTo>
                      <a:pt x="405" y="249"/>
                    </a:lnTo>
                    <a:lnTo>
                      <a:pt x="403" y="249"/>
                    </a:lnTo>
                    <a:lnTo>
                      <a:pt x="403" y="247"/>
                    </a:lnTo>
                    <a:lnTo>
                      <a:pt x="401" y="246"/>
                    </a:lnTo>
                    <a:lnTo>
                      <a:pt x="401" y="246"/>
                    </a:lnTo>
                    <a:lnTo>
                      <a:pt x="398" y="244"/>
                    </a:lnTo>
                    <a:lnTo>
                      <a:pt x="397" y="244"/>
                    </a:lnTo>
                    <a:lnTo>
                      <a:pt x="395" y="246"/>
                    </a:lnTo>
                    <a:lnTo>
                      <a:pt x="395" y="246"/>
                    </a:lnTo>
                    <a:lnTo>
                      <a:pt x="395" y="247"/>
                    </a:lnTo>
                    <a:lnTo>
                      <a:pt x="395" y="249"/>
                    </a:lnTo>
                    <a:lnTo>
                      <a:pt x="398" y="251"/>
                    </a:lnTo>
                    <a:lnTo>
                      <a:pt x="400" y="251"/>
                    </a:lnTo>
                    <a:lnTo>
                      <a:pt x="400" y="251"/>
                    </a:lnTo>
                    <a:lnTo>
                      <a:pt x="401" y="252"/>
                    </a:lnTo>
                    <a:lnTo>
                      <a:pt x="401" y="252"/>
                    </a:lnTo>
                    <a:lnTo>
                      <a:pt x="403" y="254"/>
                    </a:lnTo>
                    <a:lnTo>
                      <a:pt x="403" y="255"/>
                    </a:lnTo>
                    <a:lnTo>
                      <a:pt x="401" y="255"/>
                    </a:lnTo>
                    <a:lnTo>
                      <a:pt x="398" y="255"/>
                    </a:lnTo>
                    <a:lnTo>
                      <a:pt x="397" y="255"/>
                    </a:lnTo>
                    <a:lnTo>
                      <a:pt x="395" y="255"/>
                    </a:lnTo>
                    <a:lnTo>
                      <a:pt x="394" y="254"/>
                    </a:lnTo>
                    <a:lnTo>
                      <a:pt x="394" y="254"/>
                    </a:lnTo>
                    <a:lnTo>
                      <a:pt x="392" y="252"/>
                    </a:lnTo>
                    <a:lnTo>
                      <a:pt x="392" y="251"/>
                    </a:lnTo>
                    <a:lnTo>
                      <a:pt x="392" y="251"/>
                    </a:lnTo>
                    <a:lnTo>
                      <a:pt x="389" y="251"/>
                    </a:lnTo>
                    <a:lnTo>
                      <a:pt x="387" y="251"/>
                    </a:lnTo>
                    <a:lnTo>
                      <a:pt x="386" y="249"/>
                    </a:lnTo>
                    <a:lnTo>
                      <a:pt x="384" y="249"/>
                    </a:lnTo>
                    <a:lnTo>
                      <a:pt x="383" y="251"/>
                    </a:lnTo>
                    <a:lnTo>
                      <a:pt x="381" y="252"/>
                    </a:lnTo>
                    <a:lnTo>
                      <a:pt x="380" y="252"/>
                    </a:lnTo>
                    <a:lnTo>
                      <a:pt x="378" y="252"/>
                    </a:lnTo>
                    <a:lnTo>
                      <a:pt x="378" y="254"/>
                    </a:lnTo>
                    <a:lnTo>
                      <a:pt x="378" y="255"/>
                    </a:lnTo>
                    <a:lnTo>
                      <a:pt x="378" y="257"/>
                    </a:lnTo>
                    <a:lnTo>
                      <a:pt x="378" y="258"/>
                    </a:lnTo>
                    <a:lnTo>
                      <a:pt x="378" y="260"/>
                    </a:lnTo>
                    <a:lnTo>
                      <a:pt x="378" y="261"/>
                    </a:lnTo>
                    <a:lnTo>
                      <a:pt x="380" y="261"/>
                    </a:lnTo>
                    <a:lnTo>
                      <a:pt x="381" y="261"/>
                    </a:lnTo>
                    <a:lnTo>
                      <a:pt x="383" y="263"/>
                    </a:lnTo>
                    <a:lnTo>
                      <a:pt x="384" y="261"/>
                    </a:lnTo>
                    <a:lnTo>
                      <a:pt x="386" y="261"/>
                    </a:lnTo>
                    <a:lnTo>
                      <a:pt x="386" y="261"/>
                    </a:lnTo>
                    <a:lnTo>
                      <a:pt x="387" y="261"/>
                    </a:lnTo>
                    <a:lnTo>
                      <a:pt x="389" y="261"/>
                    </a:lnTo>
                    <a:lnTo>
                      <a:pt x="390" y="261"/>
                    </a:lnTo>
                    <a:lnTo>
                      <a:pt x="394" y="260"/>
                    </a:lnTo>
                    <a:lnTo>
                      <a:pt x="395" y="260"/>
                    </a:lnTo>
                    <a:lnTo>
                      <a:pt x="397" y="260"/>
                    </a:lnTo>
                    <a:lnTo>
                      <a:pt x="400" y="258"/>
                    </a:lnTo>
                    <a:lnTo>
                      <a:pt x="401" y="258"/>
                    </a:lnTo>
                    <a:lnTo>
                      <a:pt x="403" y="258"/>
                    </a:lnTo>
                    <a:lnTo>
                      <a:pt x="403" y="257"/>
                    </a:lnTo>
                    <a:lnTo>
                      <a:pt x="406" y="255"/>
                    </a:lnTo>
                    <a:lnTo>
                      <a:pt x="406" y="255"/>
                    </a:lnTo>
                    <a:lnTo>
                      <a:pt x="406" y="257"/>
                    </a:lnTo>
                    <a:lnTo>
                      <a:pt x="406" y="258"/>
                    </a:lnTo>
                    <a:lnTo>
                      <a:pt x="408" y="258"/>
                    </a:lnTo>
                    <a:lnTo>
                      <a:pt x="411" y="257"/>
                    </a:lnTo>
                    <a:lnTo>
                      <a:pt x="412" y="257"/>
                    </a:lnTo>
                    <a:lnTo>
                      <a:pt x="414" y="258"/>
                    </a:lnTo>
                    <a:lnTo>
                      <a:pt x="414" y="258"/>
                    </a:lnTo>
                    <a:lnTo>
                      <a:pt x="414" y="257"/>
                    </a:lnTo>
                    <a:lnTo>
                      <a:pt x="414" y="257"/>
                    </a:lnTo>
                    <a:lnTo>
                      <a:pt x="412" y="257"/>
                    </a:lnTo>
                    <a:lnTo>
                      <a:pt x="412" y="255"/>
                    </a:lnTo>
                    <a:lnTo>
                      <a:pt x="414" y="255"/>
                    </a:lnTo>
                    <a:lnTo>
                      <a:pt x="415" y="255"/>
                    </a:lnTo>
                    <a:lnTo>
                      <a:pt x="415" y="255"/>
                    </a:lnTo>
                    <a:lnTo>
                      <a:pt x="415" y="257"/>
                    </a:lnTo>
                    <a:lnTo>
                      <a:pt x="417" y="257"/>
                    </a:lnTo>
                    <a:lnTo>
                      <a:pt x="419" y="255"/>
                    </a:lnTo>
                    <a:lnTo>
                      <a:pt x="419" y="255"/>
                    </a:lnTo>
                    <a:lnTo>
                      <a:pt x="419" y="255"/>
                    </a:lnTo>
                    <a:lnTo>
                      <a:pt x="419" y="254"/>
                    </a:lnTo>
                    <a:close/>
                    <a:moveTo>
                      <a:pt x="628" y="246"/>
                    </a:moveTo>
                    <a:lnTo>
                      <a:pt x="628" y="244"/>
                    </a:lnTo>
                    <a:lnTo>
                      <a:pt x="625" y="247"/>
                    </a:lnTo>
                    <a:lnTo>
                      <a:pt x="623" y="249"/>
                    </a:lnTo>
                    <a:lnTo>
                      <a:pt x="625" y="249"/>
                    </a:lnTo>
                    <a:lnTo>
                      <a:pt x="625" y="247"/>
                    </a:lnTo>
                    <a:lnTo>
                      <a:pt x="628" y="247"/>
                    </a:lnTo>
                    <a:lnTo>
                      <a:pt x="630" y="246"/>
                    </a:lnTo>
                    <a:lnTo>
                      <a:pt x="628" y="246"/>
                    </a:lnTo>
                    <a:close/>
                    <a:moveTo>
                      <a:pt x="486" y="246"/>
                    </a:moveTo>
                    <a:lnTo>
                      <a:pt x="486" y="244"/>
                    </a:lnTo>
                    <a:lnTo>
                      <a:pt x="484" y="244"/>
                    </a:lnTo>
                    <a:lnTo>
                      <a:pt x="483" y="246"/>
                    </a:lnTo>
                    <a:lnTo>
                      <a:pt x="483" y="246"/>
                    </a:lnTo>
                    <a:lnTo>
                      <a:pt x="486" y="247"/>
                    </a:lnTo>
                    <a:lnTo>
                      <a:pt x="484" y="249"/>
                    </a:lnTo>
                    <a:lnTo>
                      <a:pt x="483" y="249"/>
                    </a:lnTo>
                    <a:lnTo>
                      <a:pt x="480" y="251"/>
                    </a:lnTo>
                    <a:lnTo>
                      <a:pt x="480" y="251"/>
                    </a:lnTo>
                    <a:lnTo>
                      <a:pt x="478" y="251"/>
                    </a:lnTo>
                    <a:lnTo>
                      <a:pt x="478" y="252"/>
                    </a:lnTo>
                    <a:lnTo>
                      <a:pt x="478" y="254"/>
                    </a:lnTo>
                    <a:lnTo>
                      <a:pt x="476" y="254"/>
                    </a:lnTo>
                    <a:lnTo>
                      <a:pt x="475" y="254"/>
                    </a:lnTo>
                    <a:lnTo>
                      <a:pt x="473" y="254"/>
                    </a:lnTo>
                    <a:lnTo>
                      <a:pt x="470" y="252"/>
                    </a:lnTo>
                    <a:lnTo>
                      <a:pt x="470" y="252"/>
                    </a:lnTo>
                    <a:lnTo>
                      <a:pt x="469" y="251"/>
                    </a:lnTo>
                    <a:lnTo>
                      <a:pt x="467" y="252"/>
                    </a:lnTo>
                    <a:lnTo>
                      <a:pt x="467" y="252"/>
                    </a:lnTo>
                    <a:lnTo>
                      <a:pt x="466" y="252"/>
                    </a:lnTo>
                    <a:lnTo>
                      <a:pt x="464" y="252"/>
                    </a:lnTo>
                    <a:lnTo>
                      <a:pt x="462" y="252"/>
                    </a:lnTo>
                    <a:lnTo>
                      <a:pt x="461" y="254"/>
                    </a:lnTo>
                    <a:lnTo>
                      <a:pt x="461" y="254"/>
                    </a:lnTo>
                    <a:lnTo>
                      <a:pt x="459" y="254"/>
                    </a:lnTo>
                    <a:lnTo>
                      <a:pt x="458" y="252"/>
                    </a:lnTo>
                    <a:lnTo>
                      <a:pt x="456" y="252"/>
                    </a:lnTo>
                    <a:lnTo>
                      <a:pt x="453" y="251"/>
                    </a:lnTo>
                    <a:lnTo>
                      <a:pt x="451" y="249"/>
                    </a:lnTo>
                    <a:lnTo>
                      <a:pt x="450" y="249"/>
                    </a:lnTo>
                    <a:lnTo>
                      <a:pt x="447" y="249"/>
                    </a:lnTo>
                    <a:lnTo>
                      <a:pt x="447" y="249"/>
                    </a:lnTo>
                    <a:lnTo>
                      <a:pt x="445" y="247"/>
                    </a:lnTo>
                    <a:lnTo>
                      <a:pt x="444" y="247"/>
                    </a:lnTo>
                    <a:lnTo>
                      <a:pt x="442" y="247"/>
                    </a:lnTo>
                    <a:lnTo>
                      <a:pt x="442" y="247"/>
                    </a:lnTo>
                    <a:lnTo>
                      <a:pt x="441" y="247"/>
                    </a:lnTo>
                    <a:lnTo>
                      <a:pt x="439" y="247"/>
                    </a:lnTo>
                    <a:lnTo>
                      <a:pt x="436" y="249"/>
                    </a:lnTo>
                    <a:lnTo>
                      <a:pt x="434" y="251"/>
                    </a:lnTo>
                    <a:lnTo>
                      <a:pt x="433" y="251"/>
                    </a:lnTo>
                    <a:lnTo>
                      <a:pt x="433" y="251"/>
                    </a:lnTo>
                    <a:lnTo>
                      <a:pt x="431" y="252"/>
                    </a:lnTo>
                    <a:lnTo>
                      <a:pt x="431" y="252"/>
                    </a:lnTo>
                    <a:lnTo>
                      <a:pt x="431" y="254"/>
                    </a:lnTo>
                    <a:lnTo>
                      <a:pt x="431" y="254"/>
                    </a:lnTo>
                    <a:lnTo>
                      <a:pt x="431" y="255"/>
                    </a:lnTo>
                    <a:lnTo>
                      <a:pt x="431" y="257"/>
                    </a:lnTo>
                    <a:lnTo>
                      <a:pt x="433" y="257"/>
                    </a:lnTo>
                    <a:lnTo>
                      <a:pt x="433" y="258"/>
                    </a:lnTo>
                    <a:lnTo>
                      <a:pt x="434" y="257"/>
                    </a:lnTo>
                    <a:lnTo>
                      <a:pt x="436" y="257"/>
                    </a:lnTo>
                    <a:lnTo>
                      <a:pt x="441" y="257"/>
                    </a:lnTo>
                    <a:lnTo>
                      <a:pt x="444" y="257"/>
                    </a:lnTo>
                    <a:lnTo>
                      <a:pt x="448" y="258"/>
                    </a:lnTo>
                    <a:lnTo>
                      <a:pt x="451" y="260"/>
                    </a:lnTo>
                    <a:lnTo>
                      <a:pt x="453" y="260"/>
                    </a:lnTo>
                    <a:lnTo>
                      <a:pt x="453" y="260"/>
                    </a:lnTo>
                    <a:lnTo>
                      <a:pt x="455" y="258"/>
                    </a:lnTo>
                    <a:lnTo>
                      <a:pt x="455" y="258"/>
                    </a:lnTo>
                    <a:lnTo>
                      <a:pt x="458" y="260"/>
                    </a:lnTo>
                    <a:lnTo>
                      <a:pt x="459" y="257"/>
                    </a:lnTo>
                    <a:lnTo>
                      <a:pt x="461" y="257"/>
                    </a:lnTo>
                    <a:lnTo>
                      <a:pt x="462" y="257"/>
                    </a:lnTo>
                    <a:lnTo>
                      <a:pt x="462" y="258"/>
                    </a:lnTo>
                    <a:lnTo>
                      <a:pt x="462" y="258"/>
                    </a:lnTo>
                    <a:lnTo>
                      <a:pt x="464" y="258"/>
                    </a:lnTo>
                    <a:lnTo>
                      <a:pt x="467" y="258"/>
                    </a:lnTo>
                    <a:lnTo>
                      <a:pt x="470" y="257"/>
                    </a:lnTo>
                    <a:lnTo>
                      <a:pt x="472" y="255"/>
                    </a:lnTo>
                    <a:lnTo>
                      <a:pt x="475" y="257"/>
                    </a:lnTo>
                    <a:lnTo>
                      <a:pt x="476" y="255"/>
                    </a:lnTo>
                    <a:lnTo>
                      <a:pt x="478" y="255"/>
                    </a:lnTo>
                    <a:lnTo>
                      <a:pt x="480" y="255"/>
                    </a:lnTo>
                    <a:lnTo>
                      <a:pt x="481" y="254"/>
                    </a:lnTo>
                    <a:lnTo>
                      <a:pt x="483" y="254"/>
                    </a:lnTo>
                    <a:lnTo>
                      <a:pt x="484" y="254"/>
                    </a:lnTo>
                    <a:lnTo>
                      <a:pt x="484" y="254"/>
                    </a:lnTo>
                    <a:lnTo>
                      <a:pt x="483" y="252"/>
                    </a:lnTo>
                    <a:lnTo>
                      <a:pt x="484" y="251"/>
                    </a:lnTo>
                    <a:lnTo>
                      <a:pt x="486" y="249"/>
                    </a:lnTo>
                    <a:lnTo>
                      <a:pt x="486" y="249"/>
                    </a:lnTo>
                    <a:lnTo>
                      <a:pt x="487" y="249"/>
                    </a:lnTo>
                    <a:lnTo>
                      <a:pt x="486" y="246"/>
                    </a:lnTo>
                    <a:close/>
                    <a:moveTo>
                      <a:pt x="577" y="246"/>
                    </a:moveTo>
                    <a:lnTo>
                      <a:pt x="575" y="246"/>
                    </a:lnTo>
                    <a:lnTo>
                      <a:pt x="572" y="244"/>
                    </a:lnTo>
                    <a:lnTo>
                      <a:pt x="570" y="246"/>
                    </a:lnTo>
                    <a:lnTo>
                      <a:pt x="572" y="246"/>
                    </a:lnTo>
                    <a:lnTo>
                      <a:pt x="575" y="247"/>
                    </a:lnTo>
                    <a:lnTo>
                      <a:pt x="577" y="246"/>
                    </a:lnTo>
                    <a:lnTo>
                      <a:pt x="577" y="246"/>
                    </a:lnTo>
                    <a:close/>
                    <a:moveTo>
                      <a:pt x="523" y="246"/>
                    </a:moveTo>
                    <a:lnTo>
                      <a:pt x="523" y="246"/>
                    </a:lnTo>
                    <a:lnTo>
                      <a:pt x="520" y="246"/>
                    </a:lnTo>
                    <a:lnTo>
                      <a:pt x="517" y="246"/>
                    </a:lnTo>
                    <a:lnTo>
                      <a:pt x="516" y="246"/>
                    </a:lnTo>
                    <a:lnTo>
                      <a:pt x="516" y="246"/>
                    </a:lnTo>
                    <a:lnTo>
                      <a:pt x="514" y="246"/>
                    </a:lnTo>
                    <a:lnTo>
                      <a:pt x="514" y="246"/>
                    </a:lnTo>
                    <a:lnTo>
                      <a:pt x="512" y="246"/>
                    </a:lnTo>
                    <a:lnTo>
                      <a:pt x="511" y="247"/>
                    </a:lnTo>
                    <a:lnTo>
                      <a:pt x="512" y="249"/>
                    </a:lnTo>
                    <a:lnTo>
                      <a:pt x="511" y="251"/>
                    </a:lnTo>
                    <a:lnTo>
                      <a:pt x="511" y="251"/>
                    </a:lnTo>
                    <a:lnTo>
                      <a:pt x="512" y="251"/>
                    </a:lnTo>
                    <a:lnTo>
                      <a:pt x="523" y="249"/>
                    </a:lnTo>
                    <a:lnTo>
                      <a:pt x="525" y="249"/>
                    </a:lnTo>
                    <a:lnTo>
                      <a:pt x="523" y="246"/>
                    </a:lnTo>
                    <a:close/>
                    <a:moveTo>
                      <a:pt x="419" y="246"/>
                    </a:moveTo>
                    <a:lnTo>
                      <a:pt x="419" y="246"/>
                    </a:lnTo>
                    <a:lnTo>
                      <a:pt x="419" y="246"/>
                    </a:lnTo>
                    <a:lnTo>
                      <a:pt x="417" y="246"/>
                    </a:lnTo>
                    <a:lnTo>
                      <a:pt x="417" y="246"/>
                    </a:lnTo>
                    <a:lnTo>
                      <a:pt x="417" y="247"/>
                    </a:lnTo>
                    <a:lnTo>
                      <a:pt x="419" y="247"/>
                    </a:lnTo>
                    <a:lnTo>
                      <a:pt x="419" y="247"/>
                    </a:lnTo>
                    <a:lnTo>
                      <a:pt x="419" y="246"/>
                    </a:lnTo>
                    <a:lnTo>
                      <a:pt x="419" y="246"/>
                    </a:lnTo>
                    <a:close/>
                    <a:moveTo>
                      <a:pt x="394" y="246"/>
                    </a:moveTo>
                    <a:lnTo>
                      <a:pt x="390" y="246"/>
                    </a:lnTo>
                    <a:lnTo>
                      <a:pt x="390" y="246"/>
                    </a:lnTo>
                    <a:lnTo>
                      <a:pt x="390" y="247"/>
                    </a:lnTo>
                    <a:lnTo>
                      <a:pt x="390" y="249"/>
                    </a:lnTo>
                    <a:lnTo>
                      <a:pt x="390" y="249"/>
                    </a:lnTo>
                    <a:lnTo>
                      <a:pt x="390" y="249"/>
                    </a:lnTo>
                    <a:lnTo>
                      <a:pt x="390" y="249"/>
                    </a:lnTo>
                    <a:lnTo>
                      <a:pt x="394" y="246"/>
                    </a:lnTo>
                    <a:lnTo>
                      <a:pt x="394" y="246"/>
                    </a:lnTo>
                    <a:close/>
                    <a:moveTo>
                      <a:pt x="764" y="246"/>
                    </a:moveTo>
                    <a:lnTo>
                      <a:pt x="764" y="246"/>
                    </a:lnTo>
                    <a:lnTo>
                      <a:pt x="763" y="246"/>
                    </a:lnTo>
                    <a:lnTo>
                      <a:pt x="761" y="247"/>
                    </a:lnTo>
                    <a:lnTo>
                      <a:pt x="759" y="249"/>
                    </a:lnTo>
                    <a:lnTo>
                      <a:pt x="759" y="249"/>
                    </a:lnTo>
                    <a:lnTo>
                      <a:pt x="761" y="249"/>
                    </a:lnTo>
                    <a:lnTo>
                      <a:pt x="764" y="251"/>
                    </a:lnTo>
                    <a:lnTo>
                      <a:pt x="766" y="251"/>
                    </a:lnTo>
                    <a:lnTo>
                      <a:pt x="766" y="249"/>
                    </a:lnTo>
                    <a:lnTo>
                      <a:pt x="764" y="246"/>
                    </a:lnTo>
                    <a:close/>
                    <a:moveTo>
                      <a:pt x="503" y="247"/>
                    </a:moveTo>
                    <a:lnTo>
                      <a:pt x="501" y="247"/>
                    </a:lnTo>
                    <a:lnTo>
                      <a:pt x="500" y="246"/>
                    </a:lnTo>
                    <a:lnTo>
                      <a:pt x="497" y="247"/>
                    </a:lnTo>
                    <a:lnTo>
                      <a:pt x="497" y="247"/>
                    </a:lnTo>
                    <a:lnTo>
                      <a:pt x="497" y="247"/>
                    </a:lnTo>
                    <a:lnTo>
                      <a:pt x="495" y="247"/>
                    </a:lnTo>
                    <a:lnTo>
                      <a:pt x="494" y="247"/>
                    </a:lnTo>
                    <a:lnTo>
                      <a:pt x="494" y="249"/>
                    </a:lnTo>
                    <a:lnTo>
                      <a:pt x="494" y="249"/>
                    </a:lnTo>
                    <a:lnTo>
                      <a:pt x="495" y="249"/>
                    </a:lnTo>
                    <a:lnTo>
                      <a:pt x="495" y="249"/>
                    </a:lnTo>
                    <a:lnTo>
                      <a:pt x="492" y="251"/>
                    </a:lnTo>
                    <a:lnTo>
                      <a:pt x="491" y="252"/>
                    </a:lnTo>
                    <a:lnTo>
                      <a:pt x="491" y="252"/>
                    </a:lnTo>
                    <a:lnTo>
                      <a:pt x="492" y="252"/>
                    </a:lnTo>
                    <a:lnTo>
                      <a:pt x="494" y="254"/>
                    </a:lnTo>
                    <a:lnTo>
                      <a:pt x="494" y="254"/>
                    </a:lnTo>
                    <a:lnTo>
                      <a:pt x="495" y="252"/>
                    </a:lnTo>
                    <a:lnTo>
                      <a:pt x="497" y="254"/>
                    </a:lnTo>
                    <a:lnTo>
                      <a:pt x="497" y="252"/>
                    </a:lnTo>
                    <a:lnTo>
                      <a:pt x="497" y="252"/>
                    </a:lnTo>
                    <a:lnTo>
                      <a:pt x="497" y="252"/>
                    </a:lnTo>
                    <a:lnTo>
                      <a:pt x="497" y="252"/>
                    </a:lnTo>
                    <a:lnTo>
                      <a:pt x="498" y="251"/>
                    </a:lnTo>
                    <a:lnTo>
                      <a:pt x="498" y="251"/>
                    </a:lnTo>
                    <a:lnTo>
                      <a:pt x="500" y="249"/>
                    </a:lnTo>
                    <a:lnTo>
                      <a:pt x="503" y="247"/>
                    </a:lnTo>
                    <a:lnTo>
                      <a:pt x="503" y="247"/>
                    </a:lnTo>
                    <a:close/>
                    <a:moveTo>
                      <a:pt x="509" y="247"/>
                    </a:moveTo>
                    <a:lnTo>
                      <a:pt x="509" y="246"/>
                    </a:lnTo>
                    <a:lnTo>
                      <a:pt x="508" y="246"/>
                    </a:lnTo>
                    <a:lnTo>
                      <a:pt x="506" y="249"/>
                    </a:lnTo>
                    <a:lnTo>
                      <a:pt x="506" y="249"/>
                    </a:lnTo>
                    <a:lnTo>
                      <a:pt x="506" y="249"/>
                    </a:lnTo>
                    <a:lnTo>
                      <a:pt x="505" y="249"/>
                    </a:lnTo>
                    <a:lnTo>
                      <a:pt x="503" y="249"/>
                    </a:lnTo>
                    <a:lnTo>
                      <a:pt x="503" y="251"/>
                    </a:lnTo>
                    <a:lnTo>
                      <a:pt x="505" y="251"/>
                    </a:lnTo>
                    <a:lnTo>
                      <a:pt x="506" y="252"/>
                    </a:lnTo>
                    <a:lnTo>
                      <a:pt x="506" y="252"/>
                    </a:lnTo>
                    <a:lnTo>
                      <a:pt x="508" y="252"/>
                    </a:lnTo>
                    <a:lnTo>
                      <a:pt x="508" y="251"/>
                    </a:lnTo>
                    <a:lnTo>
                      <a:pt x="509" y="249"/>
                    </a:lnTo>
                    <a:lnTo>
                      <a:pt x="509" y="247"/>
                    </a:lnTo>
                    <a:lnTo>
                      <a:pt x="509" y="247"/>
                    </a:lnTo>
                    <a:close/>
                    <a:moveTo>
                      <a:pt x="376" y="251"/>
                    </a:moveTo>
                    <a:lnTo>
                      <a:pt x="376" y="249"/>
                    </a:lnTo>
                    <a:lnTo>
                      <a:pt x="376" y="249"/>
                    </a:lnTo>
                    <a:lnTo>
                      <a:pt x="375" y="247"/>
                    </a:lnTo>
                    <a:lnTo>
                      <a:pt x="372" y="246"/>
                    </a:lnTo>
                    <a:lnTo>
                      <a:pt x="369" y="247"/>
                    </a:lnTo>
                    <a:lnTo>
                      <a:pt x="367" y="249"/>
                    </a:lnTo>
                    <a:lnTo>
                      <a:pt x="365" y="251"/>
                    </a:lnTo>
                    <a:lnTo>
                      <a:pt x="365" y="254"/>
                    </a:lnTo>
                    <a:lnTo>
                      <a:pt x="365" y="257"/>
                    </a:lnTo>
                    <a:lnTo>
                      <a:pt x="364" y="257"/>
                    </a:lnTo>
                    <a:lnTo>
                      <a:pt x="362" y="257"/>
                    </a:lnTo>
                    <a:lnTo>
                      <a:pt x="362" y="257"/>
                    </a:lnTo>
                    <a:lnTo>
                      <a:pt x="361" y="257"/>
                    </a:lnTo>
                    <a:lnTo>
                      <a:pt x="362" y="257"/>
                    </a:lnTo>
                    <a:lnTo>
                      <a:pt x="364" y="258"/>
                    </a:lnTo>
                    <a:lnTo>
                      <a:pt x="369" y="258"/>
                    </a:lnTo>
                    <a:lnTo>
                      <a:pt x="369" y="258"/>
                    </a:lnTo>
                    <a:lnTo>
                      <a:pt x="370" y="260"/>
                    </a:lnTo>
                    <a:lnTo>
                      <a:pt x="375" y="258"/>
                    </a:lnTo>
                    <a:lnTo>
                      <a:pt x="373" y="258"/>
                    </a:lnTo>
                    <a:lnTo>
                      <a:pt x="373" y="257"/>
                    </a:lnTo>
                    <a:lnTo>
                      <a:pt x="375" y="254"/>
                    </a:lnTo>
                    <a:lnTo>
                      <a:pt x="376" y="251"/>
                    </a:lnTo>
                    <a:close/>
                    <a:moveTo>
                      <a:pt x="491" y="247"/>
                    </a:moveTo>
                    <a:lnTo>
                      <a:pt x="489" y="247"/>
                    </a:lnTo>
                    <a:lnTo>
                      <a:pt x="487" y="249"/>
                    </a:lnTo>
                    <a:lnTo>
                      <a:pt x="487" y="251"/>
                    </a:lnTo>
                    <a:lnTo>
                      <a:pt x="492" y="251"/>
                    </a:lnTo>
                    <a:lnTo>
                      <a:pt x="492" y="249"/>
                    </a:lnTo>
                    <a:lnTo>
                      <a:pt x="492" y="247"/>
                    </a:lnTo>
                    <a:lnTo>
                      <a:pt x="491" y="247"/>
                    </a:lnTo>
                    <a:close/>
                    <a:moveTo>
                      <a:pt x="426" y="252"/>
                    </a:moveTo>
                    <a:lnTo>
                      <a:pt x="425" y="252"/>
                    </a:lnTo>
                    <a:lnTo>
                      <a:pt x="425" y="252"/>
                    </a:lnTo>
                    <a:lnTo>
                      <a:pt x="425" y="251"/>
                    </a:lnTo>
                    <a:lnTo>
                      <a:pt x="425" y="251"/>
                    </a:lnTo>
                    <a:lnTo>
                      <a:pt x="425" y="251"/>
                    </a:lnTo>
                    <a:lnTo>
                      <a:pt x="423" y="252"/>
                    </a:lnTo>
                    <a:lnTo>
                      <a:pt x="423" y="254"/>
                    </a:lnTo>
                    <a:lnTo>
                      <a:pt x="423" y="254"/>
                    </a:lnTo>
                    <a:lnTo>
                      <a:pt x="423" y="255"/>
                    </a:lnTo>
                    <a:lnTo>
                      <a:pt x="423" y="257"/>
                    </a:lnTo>
                    <a:lnTo>
                      <a:pt x="425" y="257"/>
                    </a:lnTo>
                    <a:lnTo>
                      <a:pt x="425" y="255"/>
                    </a:lnTo>
                    <a:lnTo>
                      <a:pt x="425" y="254"/>
                    </a:lnTo>
                    <a:lnTo>
                      <a:pt x="426" y="254"/>
                    </a:lnTo>
                    <a:lnTo>
                      <a:pt x="426" y="252"/>
                    </a:lnTo>
                    <a:lnTo>
                      <a:pt x="426" y="252"/>
                    </a:lnTo>
                    <a:lnTo>
                      <a:pt x="426" y="252"/>
                    </a:lnTo>
                    <a:close/>
                    <a:moveTo>
                      <a:pt x="489" y="251"/>
                    </a:moveTo>
                    <a:lnTo>
                      <a:pt x="489" y="251"/>
                    </a:lnTo>
                    <a:lnTo>
                      <a:pt x="487" y="251"/>
                    </a:lnTo>
                    <a:lnTo>
                      <a:pt x="486" y="252"/>
                    </a:lnTo>
                    <a:lnTo>
                      <a:pt x="486" y="252"/>
                    </a:lnTo>
                    <a:lnTo>
                      <a:pt x="484" y="254"/>
                    </a:lnTo>
                    <a:lnTo>
                      <a:pt x="486" y="254"/>
                    </a:lnTo>
                    <a:lnTo>
                      <a:pt x="486" y="252"/>
                    </a:lnTo>
                    <a:lnTo>
                      <a:pt x="487" y="252"/>
                    </a:lnTo>
                    <a:lnTo>
                      <a:pt x="489" y="252"/>
                    </a:lnTo>
                    <a:lnTo>
                      <a:pt x="489" y="251"/>
                    </a:lnTo>
                    <a:close/>
                    <a:moveTo>
                      <a:pt x="356" y="255"/>
                    </a:moveTo>
                    <a:lnTo>
                      <a:pt x="356" y="255"/>
                    </a:lnTo>
                    <a:lnTo>
                      <a:pt x="355" y="255"/>
                    </a:lnTo>
                    <a:lnTo>
                      <a:pt x="355" y="257"/>
                    </a:lnTo>
                    <a:lnTo>
                      <a:pt x="356" y="257"/>
                    </a:lnTo>
                    <a:lnTo>
                      <a:pt x="358" y="257"/>
                    </a:lnTo>
                    <a:lnTo>
                      <a:pt x="358" y="255"/>
                    </a:lnTo>
                    <a:lnTo>
                      <a:pt x="356" y="255"/>
                    </a:lnTo>
                    <a:close/>
                    <a:moveTo>
                      <a:pt x="523" y="261"/>
                    </a:moveTo>
                    <a:lnTo>
                      <a:pt x="523" y="261"/>
                    </a:lnTo>
                    <a:lnTo>
                      <a:pt x="522" y="261"/>
                    </a:lnTo>
                    <a:lnTo>
                      <a:pt x="520" y="261"/>
                    </a:lnTo>
                    <a:lnTo>
                      <a:pt x="520" y="261"/>
                    </a:lnTo>
                    <a:lnTo>
                      <a:pt x="520" y="261"/>
                    </a:lnTo>
                    <a:lnTo>
                      <a:pt x="520" y="260"/>
                    </a:lnTo>
                    <a:lnTo>
                      <a:pt x="520" y="260"/>
                    </a:lnTo>
                    <a:lnTo>
                      <a:pt x="517" y="261"/>
                    </a:lnTo>
                    <a:lnTo>
                      <a:pt x="516" y="263"/>
                    </a:lnTo>
                    <a:lnTo>
                      <a:pt x="514" y="263"/>
                    </a:lnTo>
                    <a:lnTo>
                      <a:pt x="512" y="265"/>
                    </a:lnTo>
                    <a:lnTo>
                      <a:pt x="512" y="265"/>
                    </a:lnTo>
                    <a:lnTo>
                      <a:pt x="511" y="266"/>
                    </a:lnTo>
                    <a:lnTo>
                      <a:pt x="511" y="266"/>
                    </a:lnTo>
                    <a:lnTo>
                      <a:pt x="511" y="266"/>
                    </a:lnTo>
                    <a:lnTo>
                      <a:pt x="509" y="268"/>
                    </a:lnTo>
                    <a:lnTo>
                      <a:pt x="509" y="268"/>
                    </a:lnTo>
                    <a:lnTo>
                      <a:pt x="509" y="268"/>
                    </a:lnTo>
                    <a:lnTo>
                      <a:pt x="509" y="268"/>
                    </a:lnTo>
                    <a:lnTo>
                      <a:pt x="506" y="268"/>
                    </a:lnTo>
                    <a:lnTo>
                      <a:pt x="506" y="268"/>
                    </a:lnTo>
                    <a:lnTo>
                      <a:pt x="506" y="268"/>
                    </a:lnTo>
                    <a:lnTo>
                      <a:pt x="505" y="268"/>
                    </a:lnTo>
                    <a:lnTo>
                      <a:pt x="505" y="266"/>
                    </a:lnTo>
                    <a:lnTo>
                      <a:pt x="505" y="268"/>
                    </a:lnTo>
                    <a:lnTo>
                      <a:pt x="501" y="269"/>
                    </a:lnTo>
                    <a:lnTo>
                      <a:pt x="500" y="271"/>
                    </a:lnTo>
                    <a:lnTo>
                      <a:pt x="498" y="272"/>
                    </a:lnTo>
                    <a:lnTo>
                      <a:pt x="498" y="276"/>
                    </a:lnTo>
                    <a:lnTo>
                      <a:pt x="497" y="277"/>
                    </a:lnTo>
                    <a:lnTo>
                      <a:pt x="497" y="279"/>
                    </a:lnTo>
                    <a:lnTo>
                      <a:pt x="500" y="280"/>
                    </a:lnTo>
                    <a:lnTo>
                      <a:pt x="498" y="280"/>
                    </a:lnTo>
                    <a:lnTo>
                      <a:pt x="498" y="282"/>
                    </a:lnTo>
                    <a:lnTo>
                      <a:pt x="497" y="282"/>
                    </a:lnTo>
                    <a:lnTo>
                      <a:pt x="497" y="283"/>
                    </a:lnTo>
                    <a:lnTo>
                      <a:pt x="498" y="283"/>
                    </a:lnTo>
                    <a:lnTo>
                      <a:pt x="500" y="285"/>
                    </a:lnTo>
                    <a:lnTo>
                      <a:pt x="501" y="285"/>
                    </a:lnTo>
                    <a:lnTo>
                      <a:pt x="503" y="283"/>
                    </a:lnTo>
                    <a:lnTo>
                      <a:pt x="508" y="282"/>
                    </a:lnTo>
                    <a:lnTo>
                      <a:pt x="509" y="282"/>
                    </a:lnTo>
                    <a:lnTo>
                      <a:pt x="512" y="280"/>
                    </a:lnTo>
                    <a:lnTo>
                      <a:pt x="514" y="280"/>
                    </a:lnTo>
                    <a:lnTo>
                      <a:pt x="516" y="279"/>
                    </a:lnTo>
                    <a:lnTo>
                      <a:pt x="517" y="277"/>
                    </a:lnTo>
                    <a:lnTo>
                      <a:pt x="519" y="274"/>
                    </a:lnTo>
                    <a:lnTo>
                      <a:pt x="522" y="272"/>
                    </a:lnTo>
                    <a:lnTo>
                      <a:pt x="522" y="271"/>
                    </a:lnTo>
                    <a:lnTo>
                      <a:pt x="523" y="269"/>
                    </a:lnTo>
                    <a:lnTo>
                      <a:pt x="522" y="268"/>
                    </a:lnTo>
                    <a:lnTo>
                      <a:pt x="522" y="266"/>
                    </a:lnTo>
                    <a:lnTo>
                      <a:pt x="522" y="266"/>
                    </a:lnTo>
                    <a:lnTo>
                      <a:pt x="522" y="265"/>
                    </a:lnTo>
                    <a:lnTo>
                      <a:pt x="522" y="265"/>
                    </a:lnTo>
                    <a:lnTo>
                      <a:pt x="522" y="265"/>
                    </a:lnTo>
                    <a:lnTo>
                      <a:pt x="523" y="265"/>
                    </a:lnTo>
                    <a:lnTo>
                      <a:pt x="525" y="263"/>
                    </a:lnTo>
                    <a:lnTo>
                      <a:pt x="525" y="261"/>
                    </a:lnTo>
                    <a:lnTo>
                      <a:pt x="523" y="261"/>
                    </a:lnTo>
                    <a:close/>
                    <a:moveTo>
                      <a:pt x="448" y="277"/>
                    </a:moveTo>
                    <a:lnTo>
                      <a:pt x="447" y="277"/>
                    </a:lnTo>
                    <a:lnTo>
                      <a:pt x="445" y="276"/>
                    </a:lnTo>
                    <a:lnTo>
                      <a:pt x="444" y="274"/>
                    </a:lnTo>
                    <a:lnTo>
                      <a:pt x="444" y="272"/>
                    </a:lnTo>
                    <a:lnTo>
                      <a:pt x="442" y="272"/>
                    </a:lnTo>
                    <a:lnTo>
                      <a:pt x="441" y="272"/>
                    </a:lnTo>
                    <a:lnTo>
                      <a:pt x="439" y="272"/>
                    </a:lnTo>
                    <a:lnTo>
                      <a:pt x="439" y="271"/>
                    </a:lnTo>
                    <a:lnTo>
                      <a:pt x="439" y="271"/>
                    </a:lnTo>
                    <a:lnTo>
                      <a:pt x="437" y="269"/>
                    </a:lnTo>
                    <a:lnTo>
                      <a:pt x="436" y="268"/>
                    </a:lnTo>
                    <a:lnTo>
                      <a:pt x="434" y="268"/>
                    </a:lnTo>
                    <a:lnTo>
                      <a:pt x="434" y="266"/>
                    </a:lnTo>
                    <a:lnTo>
                      <a:pt x="433" y="266"/>
                    </a:lnTo>
                    <a:lnTo>
                      <a:pt x="431" y="268"/>
                    </a:lnTo>
                    <a:lnTo>
                      <a:pt x="431" y="268"/>
                    </a:lnTo>
                    <a:lnTo>
                      <a:pt x="428" y="266"/>
                    </a:lnTo>
                    <a:lnTo>
                      <a:pt x="423" y="268"/>
                    </a:lnTo>
                    <a:lnTo>
                      <a:pt x="422" y="268"/>
                    </a:lnTo>
                    <a:lnTo>
                      <a:pt x="420" y="268"/>
                    </a:lnTo>
                    <a:lnTo>
                      <a:pt x="417" y="268"/>
                    </a:lnTo>
                    <a:lnTo>
                      <a:pt x="417" y="269"/>
                    </a:lnTo>
                    <a:lnTo>
                      <a:pt x="415" y="269"/>
                    </a:lnTo>
                    <a:lnTo>
                      <a:pt x="415" y="271"/>
                    </a:lnTo>
                    <a:lnTo>
                      <a:pt x="417" y="271"/>
                    </a:lnTo>
                    <a:lnTo>
                      <a:pt x="417" y="272"/>
                    </a:lnTo>
                    <a:lnTo>
                      <a:pt x="419" y="272"/>
                    </a:lnTo>
                    <a:lnTo>
                      <a:pt x="423" y="274"/>
                    </a:lnTo>
                    <a:lnTo>
                      <a:pt x="423" y="274"/>
                    </a:lnTo>
                    <a:lnTo>
                      <a:pt x="425" y="274"/>
                    </a:lnTo>
                    <a:lnTo>
                      <a:pt x="426" y="274"/>
                    </a:lnTo>
                    <a:lnTo>
                      <a:pt x="431" y="277"/>
                    </a:lnTo>
                    <a:lnTo>
                      <a:pt x="433" y="277"/>
                    </a:lnTo>
                    <a:lnTo>
                      <a:pt x="434" y="279"/>
                    </a:lnTo>
                    <a:lnTo>
                      <a:pt x="434" y="280"/>
                    </a:lnTo>
                    <a:lnTo>
                      <a:pt x="437" y="282"/>
                    </a:lnTo>
                    <a:lnTo>
                      <a:pt x="439" y="283"/>
                    </a:lnTo>
                    <a:lnTo>
                      <a:pt x="441" y="283"/>
                    </a:lnTo>
                    <a:lnTo>
                      <a:pt x="442" y="283"/>
                    </a:lnTo>
                    <a:lnTo>
                      <a:pt x="444" y="282"/>
                    </a:lnTo>
                    <a:lnTo>
                      <a:pt x="445" y="282"/>
                    </a:lnTo>
                    <a:lnTo>
                      <a:pt x="447" y="282"/>
                    </a:lnTo>
                    <a:lnTo>
                      <a:pt x="448" y="280"/>
                    </a:lnTo>
                    <a:lnTo>
                      <a:pt x="448" y="279"/>
                    </a:lnTo>
                    <a:lnTo>
                      <a:pt x="448" y="277"/>
                    </a:lnTo>
                    <a:close/>
                    <a:moveTo>
                      <a:pt x="495" y="282"/>
                    </a:moveTo>
                    <a:lnTo>
                      <a:pt x="495" y="282"/>
                    </a:lnTo>
                    <a:lnTo>
                      <a:pt x="495" y="280"/>
                    </a:lnTo>
                    <a:lnTo>
                      <a:pt x="494" y="282"/>
                    </a:lnTo>
                    <a:lnTo>
                      <a:pt x="492" y="283"/>
                    </a:lnTo>
                    <a:lnTo>
                      <a:pt x="492" y="285"/>
                    </a:lnTo>
                    <a:lnTo>
                      <a:pt x="494" y="283"/>
                    </a:lnTo>
                    <a:lnTo>
                      <a:pt x="494" y="282"/>
                    </a:lnTo>
                    <a:lnTo>
                      <a:pt x="495" y="282"/>
                    </a:lnTo>
                    <a:close/>
                    <a:moveTo>
                      <a:pt x="469" y="287"/>
                    </a:moveTo>
                    <a:lnTo>
                      <a:pt x="467" y="287"/>
                    </a:lnTo>
                    <a:lnTo>
                      <a:pt x="466" y="288"/>
                    </a:lnTo>
                    <a:lnTo>
                      <a:pt x="464" y="288"/>
                    </a:lnTo>
                    <a:lnTo>
                      <a:pt x="464" y="288"/>
                    </a:lnTo>
                    <a:lnTo>
                      <a:pt x="466" y="290"/>
                    </a:lnTo>
                    <a:lnTo>
                      <a:pt x="467" y="288"/>
                    </a:lnTo>
                    <a:lnTo>
                      <a:pt x="469" y="288"/>
                    </a:lnTo>
                    <a:lnTo>
                      <a:pt x="469" y="287"/>
                    </a:lnTo>
                    <a:lnTo>
                      <a:pt x="469" y="287"/>
                    </a:lnTo>
                    <a:close/>
                    <a:moveTo>
                      <a:pt x="494" y="290"/>
                    </a:moveTo>
                    <a:lnTo>
                      <a:pt x="494" y="288"/>
                    </a:lnTo>
                    <a:lnTo>
                      <a:pt x="494" y="287"/>
                    </a:lnTo>
                    <a:lnTo>
                      <a:pt x="494" y="287"/>
                    </a:lnTo>
                    <a:lnTo>
                      <a:pt x="492" y="287"/>
                    </a:lnTo>
                    <a:lnTo>
                      <a:pt x="492" y="288"/>
                    </a:lnTo>
                    <a:lnTo>
                      <a:pt x="489" y="290"/>
                    </a:lnTo>
                    <a:lnTo>
                      <a:pt x="487" y="291"/>
                    </a:lnTo>
                    <a:lnTo>
                      <a:pt x="484" y="291"/>
                    </a:lnTo>
                    <a:lnTo>
                      <a:pt x="484" y="293"/>
                    </a:lnTo>
                    <a:lnTo>
                      <a:pt x="484" y="294"/>
                    </a:lnTo>
                    <a:lnTo>
                      <a:pt x="484" y="294"/>
                    </a:lnTo>
                    <a:lnTo>
                      <a:pt x="486" y="294"/>
                    </a:lnTo>
                    <a:lnTo>
                      <a:pt x="487" y="294"/>
                    </a:lnTo>
                    <a:lnTo>
                      <a:pt x="491" y="293"/>
                    </a:lnTo>
                    <a:lnTo>
                      <a:pt x="492" y="291"/>
                    </a:lnTo>
                    <a:lnTo>
                      <a:pt x="494" y="290"/>
                    </a:lnTo>
                    <a:lnTo>
                      <a:pt x="494" y="29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8" name="Freeform 95">
                <a:extLst>
                  <a:ext uri="{FF2B5EF4-FFF2-40B4-BE49-F238E27FC236}">
                    <a16:creationId xmlns:a16="http://schemas.microsoft.com/office/drawing/2014/main" id="{0DC2BC50-2C89-593B-0E94-FE7ADEF30804}"/>
                  </a:ext>
                </a:extLst>
              </p:cNvPr>
              <p:cNvSpPr>
                <a:spLocks noEditPoints="1"/>
              </p:cNvSpPr>
              <p:nvPr/>
            </p:nvSpPr>
            <p:spPr bwMode="gray">
              <a:xfrm>
                <a:off x="2492" y="410"/>
                <a:ext cx="77" cy="114"/>
              </a:xfrm>
              <a:custGeom>
                <a:avLst/>
                <a:gdLst>
                  <a:gd name="T0" fmla="*/ 3 w 77"/>
                  <a:gd name="T1" fmla="*/ 42 h 114"/>
                  <a:gd name="T2" fmla="*/ 8 w 77"/>
                  <a:gd name="T3" fmla="*/ 41 h 114"/>
                  <a:gd name="T4" fmla="*/ 75 w 77"/>
                  <a:gd name="T5" fmla="*/ 60 h 114"/>
                  <a:gd name="T6" fmla="*/ 74 w 77"/>
                  <a:gd name="T7" fmla="*/ 49 h 114"/>
                  <a:gd name="T8" fmla="*/ 72 w 77"/>
                  <a:gd name="T9" fmla="*/ 41 h 114"/>
                  <a:gd name="T10" fmla="*/ 72 w 77"/>
                  <a:gd name="T11" fmla="*/ 38 h 114"/>
                  <a:gd name="T12" fmla="*/ 66 w 77"/>
                  <a:gd name="T13" fmla="*/ 39 h 114"/>
                  <a:gd name="T14" fmla="*/ 63 w 77"/>
                  <a:gd name="T15" fmla="*/ 35 h 114"/>
                  <a:gd name="T16" fmla="*/ 60 w 77"/>
                  <a:gd name="T17" fmla="*/ 28 h 114"/>
                  <a:gd name="T18" fmla="*/ 57 w 77"/>
                  <a:gd name="T19" fmla="*/ 35 h 114"/>
                  <a:gd name="T20" fmla="*/ 53 w 77"/>
                  <a:gd name="T21" fmla="*/ 36 h 114"/>
                  <a:gd name="T22" fmla="*/ 44 w 77"/>
                  <a:gd name="T23" fmla="*/ 33 h 114"/>
                  <a:gd name="T24" fmla="*/ 41 w 77"/>
                  <a:gd name="T25" fmla="*/ 25 h 114"/>
                  <a:gd name="T26" fmla="*/ 44 w 77"/>
                  <a:gd name="T27" fmla="*/ 20 h 114"/>
                  <a:gd name="T28" fmla="*/ 47 w 77"/>
                  <a:gd name="T29" fmla="*/ 19 h 114"/>
                  <a:gd name="T30" fmla="*/ 52 w 77"/>
                  <a:gd name="T31" fmla="*/ 14 h 114"/>
                  <a:gd name="T32" fmla="*/ 53 w 77"/>
                  <a:gd name="T33" fmla="*/ 9 h 114"/>
                  <a:gd name="T34" fmla="*/ 60 w 77"/>
                  <a:gd name="T35" fmla="*/ 3 h 114"/>
                  <a:gd name="T36" fmla="*/ 55 w 77"/>
                  <a:gd name="T37" fmla="*/ 2 h 114"/>
                  <a:gd name="T38" fmla="*/ 52 w 77"/>
                  <a:gd name="T39" fmla="*/ 8 h 114"/>
                  <a:gd name="T40" fmla="*/ 49 w 77"/>
                  <a:gd name="T41" fmla="*/ 9 h 114"/>
                  <a:gd name="T42" fmla="*/ 49 w 77"/>
                  <a:gd name="T43" fmla="*/ 3 h 114"/>
                  <a:gd name="T44" fmla="*/ 42 w 77"/>
                  <a:gd name="T45" fmla="*/ 5 h 114"/>
                  <a:gd name="T46" fmla="*/ 36 w 77"/>
                  <a:gd name="T47" fmla="*/ 9 h 114"/>
                  <a:gd name="T48" fmla="*/ 33 w 77"/>
                  <a:gd name="T49" fmla="*/ 17 h 114"/>
                  <a:gd name="T50" fmla="*/ 35 w 77"/>
                  <a:gd name="T51" fmla="*/ 22 h 114"/>
                  <a:gd name="T52" fmla="*/ 35 w 77"/>
                  <a:gd name="T53" fmla="*/ 27 h 114"/>
                  <a:gd name="T54" fmla="*/ 33 w 77"/>
                  <a:gd name="T55" fmla="*/ 33 h 114"/>
                  <a:gd name="T56" fmla="*/ 24 w 77"/>
                  <a:gd name="T57" fmla="*/ 35 h 114"/>
                  <a:gd name="T58" fmla="*/ 11 w 77"/>
                  <a:gd name="T59" fmla="*/ 33 h 114"/>
                  <a:gd name="T60" fmla="*/ 7 w 77"/>
                  <a:gd name="T61" fmla="*/ 36 h 114"/>
                  <a:gd name="T62" fmla="*/ 10 w 77"/>
                  <a:gd name="T63" fmla="*/ 39 h 114"/>
                  <a:gd name="T64" fmla="*/ 14 w 77"/>
                  <a:gd name="T65" fmla="*/ 44 h 114"/>
                  <a:gd name="T66" fmla="*/ 10 w 77"/>
                  <a:gd name="T67" fmla="*/ 50 h 114"/>
                  <a:gd name="T68" fmla="*/ 8 w 77"/>
                  <a:gd name="T69" fmla="*/ 53 h 114"/>
                  <a:gd name="T70" fmla="*/ 5 w 77"/>
                  <a:gd name="T71" fmla="*/ 58 h 114"/>
                  <a:gd name="T72" fmla="*/ 10 w 77"/>
                  <a:gd name="T73" fmla="*/ 61 h 114"/>
                  <a:gd name="T74" fmla="*/ 14 w 77"/>
                  <a:gd name="T75" fmla="*/ 61 h 114"/>
                  <a:gd name="T76" fmla="*/ 22 w 77"/>
                  <a:gd name="T77" fmla="*/ 63 h 114"/>
                  <a:gd name="T78" fmla="*/ 24 w 77"/>
                  <a:gd name="T79" fmla="*/ 66 h 114"/>
                  <a:gd name="T80" fmla="*/ 17 w 77"/>
                  <a:gd name="T81" fmla="*/ 72 h 114"/>
                  <a:gd name="T82" fmla="*/ 8 w 77"/>
                  <a:gd name="T83" fmla="*/ 83 h 114"/>
                  <a:gd name="T84" fmla="*/ 17 w 77"/>
                  <a:gd name="T85" fmla="*/ 81 h 114"/>
                  <a:gd name="T86" fmla="*/ 27 w 77"/>
                  <a:gd name="T87" fmla="*/ 78 h 114"/>
                  <a:gd name="T88" fmla="*/ 14 w 77"/>
                  <a:gd name="T89" fmla="*/ 83 h 114"/>
                  <a:gd name="T90" fmla="*/ 10 w 77"/>
                  <a:gd name="T91" fmla="*/ 91 h 114"/>
                  <a:gd name="T92" fmla="*/ 5 w 77"/>
                  <a:gd name="T93" fmla="*/ 91 h 114"/>
                  <a:gd name="T94" fmla="*/ 3 w 77"/>
                  <a:gd name="T95" fmla="*/ 96 h 114"/>
                  <a:gd name="T96" fmla="*/ 5 w 77"/>
                  <a:gd name="T97" fmla="*/ 99 h 114"/>
                  <a:gd name="T98" fmla="*/ 3 w 77"/>
                  <a:gd name="T99" fmla="*/ 105 h 114"/>
                  <a:gd name="T100" fmla="*/ 10 w 77"/>
                  <a:gd name="T101" fmla="*/ 106 h 114"/>
                  <a:gd name="T102" fmla="*/ 10 w 77"/>
                  <a:gd name="T103" fmla="*/ 110 h 114"/>
                  <a:gd name="T104" fmla="*/ 10 w 77"/>
                  <a:gd name="T105" fmla="*/ 114 h 114"/>
                  <a:gd name="T106" fmla="*/ 19 w 77"/>
                  <a:gd name="T107" fmla="*/ 113 h 114"/>
                  <a:gd name="T108" fmla="*/ 35 w 77"/>
                  <a:gd name="T109" fmla="*/ 108 h 114"/>
                  <a:gd name="T110" fmla="*/ 36 w 77"/>
                  <a:gd name="T111" fmla="*/ 103 h 114"/>
                  <a:gd name="T112" fmla="*/ 39 w 77"/>
                  <a:gd name="T113" fmla="*/ 105 h 114"/>
                  <a:gd name="T114" fmla="*/ 49 w 77"/>
                  <a:gd name="T115" fmla="*/ 100 h 114"/>
                  <a:gd name="T116" fmla="*/ 52 w 77"/>
                  <a:gd name="T117" fmla="*/ 96 h 114"/>
                  <a:gd name="T118" fmla="*/ 61 w 77"/>
                  <a:gd name="T119" fmla="*/ 94 h 114"/>
                  <a:gd name="T120" fmla="*/ 67 w 77"/>
                  <a:gd name="T121" fmla="*/ 94 h 114"/>
                  <a:gd name="T122" fmla="*/ 72 w 77"/>
                  <a:gd name="T123" fmla="*/ 88 h 114"/>
                  <a:gd name="T124" fmla="*/ 77 w 77"/>
                  <a:gd name="T125"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14">
                    <a:moveTo>
                      <a:pt x="8" y="41"/>
                    </a:moveTo>
                    <a:lnTo>
                      <a:pt x="8" y="41"/>
                    </a:lnTo>
                    <a:lnTo>
                      <a:pt x="5" y="41"/>
                    </a:lnTo>
                    <a:lnTo>
                      <a:pt x="5" y="41"/>
                    </a:lnTo>
                    <a:lnTo>
                      <a:pt x="3" y="42"/>
                    </a:lnTo>
                    <a:lnTo>
                      <a:pt x="7" y="42"/>
                    </a:lnTo>
                    <a:lnTo>
                      <a:pt x="7" y="44"/>
                    </a:lnTo>
                    <a:lnTo>
                      <a:pt x="8" y="44"/>
                    </a:lnTo>
                    <a:lnTo>
                      <a:pt x="8" y="44"/>
                    </a:lnTo>
                    <a:lnTo>
                      <a:pt x="8" y="41"/>
                    </a:lnTo>
                    <a:close/>
                    <a:moveTo>
                      <a:pt x="77" y="67"/>
                    </a:moveTo>
                    <a:lnTo>
                      <a:pt x="77" y="66"/>
                    </a:lnTo>
                    <a:lnTo>
                      <a:pt x="75" y="61"/>
                    </a:lnTo>
                    <a:lnTo>
                      <a:pt x="75" y="60"/>
                    </a:lnTo>
                    <a:lnTo>
                      <a:pt x="75" y="60"/>
                    </a:lnTo>
                    <a:lnTo>
                      <a:pt x="75" y="56"/>
                    </a:lnTo>
                    <a:lnTo>
                      <a:pt x="75" y="56"/>
                    </a:lnTo>
                    <a:lnTo>
                      <a:pt x="75" y="53"/>
                    </a:lnTo>
                    <a:lnTo>
                      <a:pt x="74" y="52"/>
                    </a:lnTo>
                    <a:lnTo>
                      <a:pt x="74" y="49"/>
                    </a:lnTo>
                    <a:lnTo>
                      <a:pt x="72" y="45"/>
                    </a:lnTo>
                    <a:lnTo>
                      <a:pt x="72" y="44"/>
                    </a:lnTo>
                    <a:lnTo>
                      <a:pt x="72" y="42"/>
                    </a:lnTo>
                    <a:lnTo>
                      <a:pt x="72" y="41"/>
                    </a:lnTo>
                    <a:lnTo>
                      <a:pt x="72" y="41"/>
                    </a:lnTo>
                    <a:lnTo>
                      <a:pt x="74" y="41"/>
                    </a:lnTo>
                    <a:lnTo>
                      <a:pt x="75" y="41"/>
                    </a:lnTo>
                    <a:lnTo>
                      <a:pt x="74" y="39"/>
                    </a:lnTo>
                    <a:lnTo>
                      <a:pt x="74" y="38"/>
                    </a:lnTo>
                    <a:lnTo>
                      <a:pt x="72" y="38"/>
                    </a:lnTo>
                    <a:lnTo>
                      <a:pt x="71" y="39"/>
                    </a:lnTo>
                    <a:lnTo>
                      <a:pt x="71" y="39"/>
                    </a:lnTo>
                    <a:lnTo>
                      <a:pt x="71" y="39"/>
                    </a:lnTo>
                    <a:lnTo>
                      <a:pt x="67" y="39"/>
                    </a:lnTo>
                    <a:lnTo>
                      <a:pt x="66" y="39"/>
                    </a:lnTo>
                    <a:lnTo>
                      <a:pt x="66" y="38"/>
                    </a:lnTo>
                    <a:lnTo>
                      <a:pt x="66" y="36"/>
                    </a:lnTo>
                    <a:lnTo>
                      <a:pt x="66" y="36"/>
                    </a:lnTo>
                    <a:lnTo>
                      <a:pt x="64" y="35"/>
                    </a:lnTo>
                    <a:lnTo>
                      <a:pt x="63" y="35"/>
                    </a:lnTo>
                    <a:lnTo>
                      <a:pt x="63" y="33"/>
                    </a:lnTo>
                    <a:lnTo>
                      <a:pt x="63" y="31"/>
                    </a:lnTo>
                    <a:lnTo>
                      <a:pt x="63" y="31"/>
                    </a:lnTo>
                    <a:lnTo>
                      <a:pt x="61" y="30"/>
                    </a:lnTo>
                    <a:lnTo>
                      <a:pt x="60" y="28"/>
                    </a:lnTo>
                    <a:lnTo>
                      <a:pt x="60" y="28"/>
                    </a:lnTo>
                    <a:lnTo>
                      <a:pt x="58" y="30"/>
                    </a:lnTo>
                    <a:lnTo>
                      <a:pt x="57" y="31"/>
                    </a:lnTo>
                    <a:lnTo>
                      <a:pt x="57" y="33"/>
                    </a:lnTo>
                    <a:lnTo>
                      <a:pt x="57" y="35"/>
                    </a:lnTo>
                    <a:lnTo>
                      <a:pt x="57" y="35"/>
                    </a:lnTo>
                    <a:lnTo>
                      <a:pt x="55" y="36"/>
                    </a:lnTo>
                    <a:lnTo>
                      <a:pt x="55" y="38"/>
                    </a:lnTo>
                    <a:lnTo>
                      <a:pt x="53" y="38"/>
                    </a:lnTo>
                    <a:lnTo>
                      <a:pt x="53" y="36"/>
                    </a:lnTo>
                    <a:lnTo>
                      <a:pt x="50" y="38"/>
                    </a:lnTo>
                    <a:lnTo>
                      <a:pt x="49" y="36"/>
                    </a:lnTo>
                    <a:lnTo>
                      <a:pt x="49" y="36"/>
                    </a:lnTo>
                    <a:lnTo>
                      <a:pt x="46" y="35"/>
                    </a:lnTo>
                    <a:lnTo>
                      <a:pt x="44" y="33"/>
                    </a:lnTo>
                    <a:lnTo>
                      <a:pt x="44" y="31"/>
                    </a:lnTo>
                    <a:lnTo>
                      <a:pt x="41" y="28"/>
                    </a:lnTo>
                    <a:lnTo>
                      <a:pt x="39" y="27"/>
                    </a:lnTo>
                    <a:lnTo>
                      <a:pt x="41" y="27"/>
                    </a:lnTo>
                    <a:lnTo>
                      <a:pt x="41" y="25"/>
                    </a:lnTo>
                    <a:lnTo>
                      <a:pt x="46" y="24"/>
                    </a:lnTo>
                    <a:lnTo>
                      <a:pt x="47" y="24"/>
                    </a:lnTo>
                    <a:lnTo>
                      <a:pt x="47" y="22"/>
                    </a:lnTo>
                    <a:lnTo>
                      <a:pt x="46" y="22"/>
                    </a:lnTo>
                    <a:lnTo>
                      <a:pt x="44" y="20"/>
                    </a:lnTo>
                    <a:lnTo>
                      <a:pt x="44" y="20"/>
                    </a:lnTo>
                    <a:lnTo>
                      <a:pt x="44" y="20"/>
                    </a:lnTo>
                    <a:lnTo>
                      <a:pt x="44" y="19"/>
                    </a:lnTo>
                    <a:lnTo>
                      <a:pt x="46" y="19"/>
                    </a:lnTo>
                    <a:lnTo>
                      <a:pt x="47" y="19"/>
                    </a:lnTo>
                    <a:lnTo>
                      <a:pt x="47" y="19"/>
                    </a:lnTo>
                    <a:lnTo>
                      <a:pt x="49" y="19"/>
                    </a:lnTo>
                    <a:lnTo>
                      <a:pt x="50" y="17"/>
                    </a:lnTo>
                    <a:lnTo>
                      <a:pt x="52" y="16"/>
                    </a:lnTo>
                    <a:lnTo>
                      <a:pt x="52" y="14"/>
                    </a:lnTo>
                    <a:lnTo>
                      <a:pt x="52" y="14"/>
                    </a:lnTo>
                    <a:lnTo>
                      <a:pt x="52" y="14"/>
                    </a:lnTo>
                    <a:lnTo>
                      <a:pt x="52" y="13"/>
                    </a:lnTo>
                    <a:lnTo>
                      <a:pt x="53" y="11"/>
                    </a:lnTo>
                    <a:lnTo>
                      <a:pt x="53" y="9"/>
                    </a:lnTo>
                    <a:lnTo>
                      <a:pt x="57" y="8"/>
                    </a:lnTo>
                    <a:lnTo>
                      <a:pt x="57" y="6"/>
                    </a:lnTo>
                    <a:lnTo>
                      <a:pt x="60" y="5"/>
                    </a:lnTo>
                    <a:lnTo>
                      <a:pt x="61" y="3"/>
                    </a:lnTo>
                    <a:lnTo>
                      <a:pt x="60" y="3"/>
                    </a:lnTo>
                    <a:lnTo>
                      <a:pt x="57" y="2"/>
                    </a:lnTo>
                    <a:lnTo>
                      <a:pt x="55" y="0"/>
                    </a:lnTo>
                    <a:lnTo>
                      <a:pt x="55" y="0"/>
                    </a:lnTo>
                    <a:lnTo>
                      <a:pt x="53" y="0"/>
                    </a:lnTo>
                    <a:lnTo>
                      <a:pt x="55" y="2"/>
                    </a:lnTo>
                    <a:lnTo>
                      <a:pt x="52" y="2"/>
                    </a:lnTo>
                    <a:lnTo>
                      <a:pt x="50" y="3"/>
                    </a:lnTo>
                    <a:lnTo>
                      <a:pt x="50" y="5"/>
                    </a:lnTo>
                    <a:lnTo>
                      <a:pt x="52" y="6"/>
                    </a:lnTo>
                    <a:lnTo>
                      <a:pt x="52" y="8"/>
                    </a:lnTo>
                    <a:lnTo>
                      <a:pt x="52" y="9"/>
                    </a:lnTo>
                    <a:lnTo>
                      <a:pt x="50" y="11"/>
                    </a:lnTo>
                    <a:lnTo>
                      <a:pt x="49" y="11"/>
                    </a:lnTo>
                    <a:lnTo>
                      <a:pt x="50" y="9"/>
                    </a:lnTo>
                    <a:lnTo>
                      <a:pt x="49" y="9"/>
                    </a:lnTo>
                    <a:lnTo>
                      <a:pt x="50" y="8"/>
                    </a:lnTo>
                    <a:lnTo>
                      <a:pt x="50" y="6"/>
                    </a:lnTo>
                    <a:lnTo>
                      <a:pt x="50" y="5"/>
                    </a:lnTo>
                    <a:lnTo>
                      <a:pt x="49" y="5"/>
                    </a:lnTo>
                    <a:lnTo>
                      <a:pt x="49" y="3"/>
                    </a:lnTo>
                    <a:lnTo>
                      <a:pt x="49" y="3"/>
                    </a:lnTo>
                    <a:lnTo>
                      <a:pt x="47" y="3"/>
                    </a:lnTo>
                    <a:lnTo>
                      <a:pt x="47" y="5"/>
                    </a:lnTo>
                    <a:lnTo>
                      <a:pt x="46" y="5"/>
                    </a:lnTo>
                    <a:lnTo>
                      <a:pt x="42" y="5"/>
                    </a:lnTo>
                    <a:lnTo>
                      <a:pt x="42" y="5"/>
                    </a:lnTo>
                    <a:lnTo>
                      <a:pt x="39" y="6"/>
                    </a:lnTo>
                    <a:lnTo>
                      <a:pt x="38" y="6"/>
                    </a:lnTo>
                    <a:lnTo>
                      <a:pt x="38" y="8"/>
                    </a:lnTo>
                    <a:lnTo>
                      <a:pt x="36" y="9"/>
                    </a:lnTo>
                    <a:lnTo>
                      <a:pt x="36" y="9"/>
                    </a:lnTo>
                    <a:lnTo>
                      <a:pt x="35" y="11"/>
                    </a:lnTo>
                    <a:lnTo>
                      <a:pt x="36" y="14"/>
                    </a:lnTo>
                    <a:lnTo>
                      <a:pt x="35" y="16"/>
                    </a:lnTo>
                    <a:lnTo>
                      <a:pt x="33" y="17"/>
                    </a:lnTo>
                    <a:lnTo>
                      <a:pt x="33" y="17"/>
                    </a:lnTo>
                    <a:lnTo>
                      <a:pt x="32" y="17"/>
                    </a:lnTo>
                    <a:lnTo>
                      <a:pt x="30" y="19"/>
                    </a:lnTo>
                    <a:lnTo>
                      <a:pt x="28" y="20"/>
                    </a:lnTo>
                    <a:lnTo>
                      <a:pt x="35" y="22"/>
                    </a:lnTo>
                    <a:lnTo>
                      <a:pt x="41" y="22"/>
                    </a:lnTo>
                    <a:lnTo>
                      <a:pt x="39" y="24"/>
                    </a:lnTo>
                    <a:lnTo>
                      <a:pt x="38" y="25"/>
                    </a:lnTo>
                    <a:lnTo>
                      <a:pt x="38" y="27"/>
                    </a:lnTo>
                    <a:lnTo>
                      <a:pt x="35" y="27"/>
                    </a:lnTo>
                    <a:lnTo>
                      <a:pt x="35" y="28"/>
                    </a:lnTo>
                    <a:lnTo>
                      <a:pt x="33" y="28"/>
                    </a:lnTo>
                    <a:lnTo>
                      <a:pt x="32" y="30"/>
                    </a:lnTo>
                    <a:lnTo>
                      <a:pt x="33" y="31"/>
                    </a:lnTo>
                    <a:lnTo>
                      <a:pt x="33" y="33"/>
                    </a:lnTo>
                    <a:lnTo>
                      <a:pt x="32" y="35"/>
                    </a:lnTo>
                    <a:lnTo>
                      <a:pt x="30" y="33"/>
                    </a:lnTo>
                    <a:lnTo>
                      <a:pt x="25" y="33"/>
                    </a:lnTo>
                    <a:lnTo>
                      <a:pt x="24" y="33"/>
                    </a:lnTo>
                    <a:lnTo>
                      <a:pt x="24" y="35"/>
                    </a:lnTo>
                    <a:lnTo>
                      <a:pt x="22" y="35"/>
                    </a:lnTo>
                    <a:lnTo>
                      <a:pt x="19" y="31"/>
                    </a:lnTo>
                    <a:lnTo>
                      <a:pt x="14" y="31"/>
                    </a:lnTo>
                    <a:lnTo>
                      <a:pt x="13" y="31"/>
                    </a:lnTo>
                    <a:lnTo>
                      <a:pt x="11" y="33"/>
                    </a:lnTo>
                    <a:lnTo>
                      <a:pt x="8" y="33"/>
                    </a:lnTo>
                    <a:lnTo>
                      <a:pt x="8" y="33"/>
                    </a:lnTo>
                    <a:lnTo>
                      <a:pt x="7" y="33"/>
                    </a:lnTo>
                    <a:lnTo>
                      <a:pt x="7" y="35"/>
                    </a:lnTo>
                    <a:lnTo>
                      <a:pt x="7" y="36"/>
                    </a:lnTo>
                    <a:lnTo>
                      <a:pt x="8" y="36"/>
                    </a:lnTo>
                    <a:lnTo>
                      <a:pt x="8" y="36"/>
                    </a:lnTo>
                    <a:lnTo>
                      <a:pt x="8" y="39"/>
                    </a:lnTo>
                    <a:lnTo>
                      <a:pt x="10" y="38"/>
                    </a:lnTo>
                    <a:lnTo>
                      <a:pt x="10" y="39"/>
                    </a:lnTo>
                    <a:lnTo>
                      <a:pt x="10" y="41"/>
                    </a:lnTo>
                    <a:lnTo>
                      <a:pt x="10" y="42"/>
                    </a:lnTo>
                    <a:lnTo>
                      <a:pt x="10" y="45"/>
                    </a:lnTo>
                    <a:lnTo>
                      <a:pt x="11" y="44"/>
                    </a:lnTo>
                    <a:lnTo>
                      <a:pt x="14" y="44"/>
                    </a:lnTo>
                    <a:lnTo>
                      <a:pt x="14" y="45"/>
                    </a:lnTo>
                    <a:lnTo>
                      <a:pt x="14" y="47"/>
                    </a:lnTo>
                    <a:lnTo>
                      <a:pt x="11" y="47"/>
                    </a:lnTo>
                    <a:lnTo>
                      <a:pt x="10" y="49"/>
                    </a:lnTo>
                    <a:lnTo>
                      <a:pt x="10" y="50"/>
                    </a:lnTo>
                    <a:lnTo>
                      <a:pt x="10" y="52"/>
                    </a:lnTo>
                    <a:lnTo>
                      <a:pt x="10" y="52"/>
                    </a:lnTo>
                    <a:lnTo>
                      <a:pt x="13" y="53"/>
                    </a:lnTo>
                    <a:lnTo>
                      <a:pt x="10" y="53"/>
                    </a:lnTo>
                    <a:lnTo>
                      <a:pt x="8" y="53"/>
                    </a:lnTo>
                    <a:lnTo>
                      <a:pt x="7" y="53"/>
                    </a:lnTo>
                    <a:lnTo>
                      <a:pt x="5" y="55"/>
                    </a:lnTo>
                    <a:lnTo>
                      <a:pt x="5" y="55"/>
                    </a:lnTo>
                    <a:lnTo>
                      <a:pt x="7" y="56"/>
                    </a:lnTo>
                    <a:lnTo>
                      <a:pt x="5" y="58"/>
                    </a:lnTo>
                    <a:lnTo>
                      <a:pt x="7" y="58"/>
                    </a:lnTo>
                    <a:lnTo>
                      <a:pt x="8" y="60"/>
                    </a:lnTo>
                    <a:lnTo>
                      <a:pt x="10" y="58"/>
                    </a:lnTo>
                    <a:lnTo>
                      <a:pt x="11" y="60"/>
                    </a:lnTo>
                    <a:lnTo>
                      <a:pt x="10" y="61"/>
                    </a:lnTo>
                    <a:lnTo>
                      <a:pt x="11" y="61"/>
                    </a:lnTo>
                    <a:lnTo>
                      <a:pt x="11" y="61"/>
                    </a:lnTo>
                    <a:lnTo>
                      <a:pt x="13" y="61"/>
                    </a:lnTo>
                    <a:lnTo>
                      <a:pt x="14" y="61"/>
                    </a:lnTo>
                    <a:lnTo>
                      <a:pt x="14" y="61"/>
                    </a:lnTo>
                    <a:lnTo>
                      <a:pt x="14" y="63"/>
                    </a:lnTo>
                    <a:lnTo>
                      <a:pt x="16" y="63"/>
                    </a:lnTo>
                    <a:lnTo>
                      <a:pt x="16" y="63"/>
                    </a:lnTo>
                    <a:lnTo>
                      <a:pt x="16" y="64"/>
                    </a:lnTo>
                    <a:lnTo>
                      <a:pt x="22" y="63"/>
                    </a:lnTo>
                    <a:lnTo>
                      <a:pt x="24" y="64"/>
                    </a:lnTo>
                    <a:lnTo>
                      <a:pt x="27" y="64"/>
                    </a:lnTo>
                    <a:lnTo>
                      <a:pt x="25" y="66"/>
                    </a:lnTo>
                    <a:lnTo>
                      <a:pt x="24" y="66"/>
                    </a:lnTo>
                    <a:lnTo>
                      <a:pt x="24" y="66"/>
                    </a:lnTo>
                    <a:lnTo>
                      <a:pt x="22" y="67"/>
                    </a:lnTo>
                    <a:lnTo>
                      <a:pt x="21" y="67"/>
                    </a:lnTo>
                    <a:lnTo>
                      <a:pt x="19" y="67"/>
                    </a:lnTo>
                    <a:lnTo>
                      <a:pt x="17" y="72"/>
                    </a:lnTo>
                    <a:lnTo>
                      <a:pt x="17" y="72"/>
                    </a:lnTo>
                    <a:lnTo>
                      <a:pt x="17" y="74"/>
                    </a:lnTo>
                    <a:lnTo>
                      <a:pt x="17" y="75"/>
                    </a:lnTo>
                    <a:lnTo>
                      <a:pt x="16" y="77"/>
                    </a:lnTo>
                    <a:lnTo>
                      <a:pt x="11" y="80"/>
                    </a:lnTo>
                    <a:lnTo>
                      <a:pt x="8" y="83"/>
                    </a:lnTo>
                    <a:lnTo>
                      <a:pt x="11" y="83"/>
                    </a:lnTo>
                    <a:lnTo>
                      <a:pt x="14" y="81"/>
                    </a:lnTo>
                    <a:lnTo>
                      <a:pt x="14" y="81"/>
                    </a:lnTo>
                    <a:lnTo>
                      <a:pt x="14" y="80"/>
                    </a:lnTo>
                    <a:lnTo>
                      <a:pt x="17" y="81"/>
                    </a:lnTo>
                    <a:lnTo>
                      <a:pt x="17" y="81"/>
                    </a:lnTo>
                    <a:lnTo>
                      <a:pt x="22" y="81"/>
                    </a:lnTo>
                    <a:lnTo>
                      <a:pt x="24" y="80"/>
                    </a:lnTo>
                    <a:lnTo>
                      <a:pt x="25" y="77"/>
                    </a:lnTo>
                    <a:lnTo>
                      <a:pt x="27" y="78"/>
                    </a:lnTo>
                    <a:lnTo>
                      <a:pt x="28" y="80"/>
                    </a:lnTo>
                    <a:lnTo>
                      <a:pt x="24" y="81"/>
                    </a:lnTo>
                    <a:lnTo>
                      <a:pt x="19" y="83"/>
                    </a:lnTo>
                    <a:lnTo>
                      <a:pt x="14" y="83"/>
                    </a:lnTo>
                    <a:lnTo>
                      <a:pt x="14" y="83"/>
                    </a:lnTo>
                    <a:lnTo>
                      <a:pt x="11" y="86"/>
                    </a:lnTo>
                    <a:lnTo>
                      <a:pt x="10" y="86"/>
                    </a:lnTo>
                    <a:lnTo>
                      <a:pt x="10" y="88"/>
                    </a:lnTo>
                    <a:lnTo>
                      <a:pt x="10" y="88"/>
                    </a:lnTo>
                    <a:lnTo>
                      <a:pt x="10" y="91"/>
                    </a:lnTo>
                    <a:lnTo>
                      <a:pt x="11" y="92"/>
                    </a:lnTo>
                    <a:lnTo>
                      <a:pt x="8" y="92"/>
                    </a:lnTo>
                    <a:lnTo>
                      <a:pt x="8" y="92"/>
                    </a:lnTo>
                    <a:lnTo>
                      <a:pt x="7" y="91"/>
                    </a:lnTo>
                    <a:lnTo>
                      <a:pt x="5" y="91"/>
                    </a:lnTo>
                    <a:lnTo>
                      <a:pt x="3" y="91"/>
                    </a:lnTo>
                    <a:lnTo>
                      <a:pt x="2" y="94"/>
                    </a:lnTo>
                    <a:lnTo>
                      <a:pt x="0" y="94"/>
                    </a:lnTo>
                    <a:lnTo>
                      <a:pt x="0" y="96"/>
                    </a:lnTo>
                    <a:lnTo>
                      <a:pt x="3" y="96"/>
                    </a:lnTo>
                    <a:lnTo>
                      <a:pt x="8" y="96"/>
                    </a:lnTo>
                    <a:lnTo>
                      <a:pt x="10" y="96"/>
                    </a:lnTo>
                    <a:lnTo>
                      <a:pt x="8" y="97"/>
                    </a:lnTo>
                    <a:lnTo>
                      <a:pt x="7" y="99"/>
                    </a:lnTo>
                    <a:lnTo>
                      <a:pt x="5" y="99"/>
                    </a:lnTo>
                    <a:lnTo>
                      <a:pt x="3" y="100"/>
                    </a:lnTo>
                    <a:lnTo>
                      <a:pt x="0" y="103"/>
                    </a:lnTo>
                    <a:lnTo>
                      <a:pt x="2" y="105"/>
                    </a:lnTo>
                    <a:lnTo>
                      <a:pt x="3" y="105"/>
                    </a:lnTo>
                    <a:lnTo>
                      <a:pt x="3" y="105"/>
                    </a:lnTo>
                    <a:lnTo>
                      <a:pt x="7" y="105"/>
                    </a:lnTo>
                    <a:lnTo>
                      <a:pt x="14" y="103"/>
                    </a:lnTo>
                    <a:lnTo>
                      <a:pt x="11" y="105"/>
                    </a:lnTo>
                    <a:lnTo>
                      <a:pt x="11" y="105"/>
                    </a:lnTo>
                    <a:lnTo>
                      <a:pt x="10" y="106"/>
                    </a:lnTo>
                    <a:lnTo>
                      <a:pt x="8" y="106"/>
                    </a:lnTo>
                    <a:lnTo>
                      <a:pt x="7" y="110"/>
                    </a:lnTo>
                    <a:lnTo>
                      <a:pt x="5" y="111"/>
                    </a:lnTo>
                    <a:lnTo>
                      <a:pt x="7" y="110"/>
                    </a:lnTo>
                    <a:lnTo>
                      <a:pt x="10" y="110"/>
                    </a:lnTo>
                    <a:lnTo>
                      <a:pt x="14" y="108"/>
                    </a:lnTo>
                    <a:lnTo>
                      <a:pt x="16" y="108"/>
                    </a:lnTo>
                    <a:lnTo>
                      <a:pt x="16" y="108"/>
                    </a:lnTo>
                    <a:lnTo>
                      <a:pt x="13" y="111"/>
                    </a:lnTo>
                    <a:lnTo>
                      <a:pt x="10" y="114"/>
                    </a:lnTo>
                    <a:lnTo>
                      <a:pt x="11" y="114"/>
                    </a:lnTo>
                    <a:lnTo>
                      <a:pt x="16" y="113"/>
                    </a:lnTo>
                    <a:lnTo>
                      <a:pt x="17" y="113"/>
                    </a:lnTo>
                    <a:lnTo>
                      <a:pt x="17" y="113"/>
                    </a:lnTo>
                    <a:lnTo>
                      <a:pt x="19" y="113"/>
                    </a:lnTo>
                    <a:lnTo>
                      <a:pt x="19" y="113"/>
                    </a:lnTo>
                    <a:lnTo>
                      <a:pt x="28" y="111"/>
                    </a:lnTo>
                    <a:lnTo>
                      <a:pt x="30" y="110"/>
                    </a:lnTo>
                    <a:lnTo>
                      <a:pt x="32" y="110"/>
                    </a:lnTo>
                    <a:lnTo>
                      <a:pt x="35" y="108"/>
                    </a:lnTo>
                    <a:lnTo>
                      <a:pt x="35" y="108"/>
                    </a:lnTo>
                    <a:lnTo>
                      <a:pt x="36" y="106"/>
                    </a:lnTo>
                    <a:lnTo>
                      <a:pt x="36" y="105"/>
                    </a:lnTo>
                    <a:lnTo>
                      <a:pt x="36" y="103"/>
                    </a:lnTo>
                    <a:lnTo>
                      <a:pt x="36" y="103"/>
                    </a:lnTo>
                    <a:lnTo>
                      <a:pt x="35" y="102"/>
                    </a:lnTo>
                    <a:lnTo>
                      <a:pt x="38" y="102"/>
                    </a:lnTo>
                    <a:lnTo>
                      <a:pt x="38" y="103"/>
                    </a:lnTo>
                    <a:lnTo>
                      <a:pt x="39" y="103"/>
                    </a:lnTo>
                    <a:lnTo>
                      <a:pt x="39" y="105"/>
                    </a:lnTo>
                    <a:lnTo>
                      <a:pt x="41" y="103"/>
                    </a:lnTo>
                    <a:lnTo>
                      <a:pt x="44" y="103"/>
                    </a:lnTo>
                    <a:lnTo>
                      <a:pt x="44" y="102"/>
                    </a:lnTo>
                    <a:lnTo>
                      <a:pt x="46" y="100"/>
                    </a:lnTo>
                    <a:lnTo>
                      <a:pt x="49" y="100"/>
                    </a:lnTo>
                    <a:lnTo>
                      <a:pt x="49" y="99"/>
                    </a:lnTo>
                    <a:lnTo>
                      <a:pt x="50" y="99"/>
                    </a:lnTo>
                    <a:lnTo>
                      <a:pt x="50" y="97"/>
                    </a:lnTo>
                    <a:lnTo>
                      <a:pt x="50" y="97"/>
                    </a:lnTo>
                    <a:lnTo>
                      <a:pt x="52" y="96"/>
                    </a:lnTo>
                    <a:lnTo>
                      <a:pt x="57" y="96"/>
                    </a:lnTo>
                    <a:lnTo>
                      <a:pt x="58" y="96"/>
                    </a:lnTo>
                    <a:lnTo>
                      <a:pt x="60" y="94"/>
                    </a:lnTo>
                    <a:lnTo>
                      <a:pt x="61" y="92"/>
                    </a:lnTo>
                    <a:lnTo>
                      <a:pt x="61" y="94"/>
                    </a:lnTo>
                    <a:lnTo>
                      <a:pt x="61" y="94"/>
                    </a:lnTo>
                    <a:lnTo>
                      <a:pt x="63" y="94"/>
                    </a:lnTo>
                    <a:lnTo>
                      <a:pt x="64" y="92"/>
                    </a:lnTo>
                    <a:lnTo>
                      <a:pt x="66" y="92"/>
                    </a:lnTo>
                    <a:lnTo>
                      <a:pt x="67" y="94"/>
                    </a:lnTo>
                    <a:lnTo>
                      <a:pt x="71" y="94"/>
                    </a:lnTo>
                    <a:lnTo>
                      <a:pt x="72" y="92"/>
                    </a:lnTo>
                    <a:lnTo>
                      <a:pt x="69" y="89"/>
                    </a:lnTo>
                    <a:lnTo>
                      <a:pt x="71" y="89"/>
                    </a:lnTo>
                    <a:lnTo>
                      <a:pt x="72" y="88"/>
                    </a:lnTo>
                    <a:lnTo>
                      <a:pt x="74" y="83"/>
                    </a:lnTo>
                    <a:lnTo>
                      <a:pt x="74" y="80"/>
                    </a:lnTo>
                    <a:lnTo>
                      <a:pt x="75" y="78"/>
                    </a:lnTo>
                    <a:lnTo>
                      <a:pt x="75" y="77"/>
                    </a:lnTo>
                    <a:lnTo>
                      <a:pt x="77" y="74"/>
                    </a:lnTo>
                    <a:lnTo>
                      <a:pt x="77" y="72"/>
                    </a:lnTo>
                    <a:lnTo>
                      <a:pt x="77" y="6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69" name="Freeform 96">
                <a:extLst>
                  <a:ext uri="{FF2B5EF4-FFF2-40B4-BE49-F238E27FC236}">
                    <a16:creationId xmlns:a16="http://schemas.microsoft.com/office/drawing/2014/main" id="{398F5522-477C-FA1C-4FDC-BD9154BB9B9B}"/>
                  </a:ext>
                </a:extLst>
              </p:cNvPr>
              <p:cNvSpPr>
                <a:spLocks/>
              </p:cNvSpPr>
              <p:nvPr/>
            </p:nvSpPr>
            <p:spPr bwMode="gray">
              <a:xfrm>
                <a:off x="3276" y="956"/>
                <a:ext cx="29" cy="82"/>
              </a:xfrm>
              <a:custGeom>
                <a:avLst/>
                <a:gdLst>
                  <a:gd name="T0" fmla="*/ 26 w 29"/>
                  <a:gd name="T1" fmla="*/ 16 h 82"/>
                  <a:gd name="T2" fmla="*/ 23 w 29"/>
                  <a:gd name="T3" fmla="*/ 17 h 82"/>
                  <a:gd name="T4" fmla="*/ 23 w 29"/>
                  <a:gd name="T5" fmla="*/ 17 h 82"/>
                  <a:gd name="T6" fmla="*/ 21 w 29"/>
                  <a:gd name="T7" fmla="*/ 22 h 82"/>
                  <a:gd name="T8" fmla="*/ 20 w 29"/>
                  <a:gd name="T9" fmla="*/ 21 h 82"/>
                  <a:gd name="T10" fmla="*/ 18 w 29"/>
                  <a:gd name="T11" fmla="*/ 21 h 82"/>
                  <a:gd name="T12" fmla="*/ 14 w 29"/>
                  <a:gd name="T13" fmla="*/ 21 h 82"/>
                  <a:gd name="T14" fmla="*/ 14 w 29"/>
                  <a:gd name="T15" fmla="*/ 25 h 82"/>
                  <a:gd name="T16" fmla="*/ 12 w 29"/>
                  <a:gd name="T17" fmla="*/ 28 h 82"/>
                  <a:gd name="T18" fmla="*/ 14 w 29"/>
                  <a:gd name="T19" fmla="*/ 33 h 82"/>
                  <a:gd name="T20" fmla="*/ 12 w 29"/>
                  <a:gd name="T21" fmla="*/ 35 h 82"/>
                  <a:gd name="T22" fmla="*/ 14 w 29"/>
                  <a:gd name="T23" fmla="*/ 35 h 82"/>
                  <a:gd name="T24" fmla="*/ 15 w 29"/>
                  <a:gd name="T25" fmla="*/ 35 h 82"/>
                  <a:gd name="T26" fmla="*/ 17 w 29"/>
                  <a:gd name="T27" fmla="*/ 36 h 82"/>
                  <a:gd name="T28" fmla="*/ 14 w 29"/>
                  <a:gd name="T29" fmla="*/ 38 h 82"/>
                  <a:gd name="T30" fmla="*/ 12 w 29"/>
                  <a:gd name="T31" fmla="*/ 41 h 82"/>
                  <a:gd name="T32" fmla="*/ 11 w 29"/>
                  <a:gd name="T33" fmla="*/ 44 h 82"/>
                  <a:gd name="T34" fmla="*/ 15 w 29"/>
                  <a:gd name="T35" fmla="*/ 44 h 82"/>
                  <a:gd name="T36" fmla="*/ 20 w 29"/>
                  <a:gd name="T37" fmla="*/ 41 h 82"/>
                  <a:gd name="T38" fmla="*/ 20 w 29"/>
                  <a:gd name="T39" fmla="*/ 44 h 82"/>
                  <a:gd name="T40" fmla="*/ 20 w 29"/>
                  <a:gd name="T41" fmla="*/ 47 h 82"/>
                  <a:gd name="T42" fmla="*/ 21 w 29"/>
                  <a:gd name="T43" fmla="*/ 49 h 82"/>
                  <a:gd name="T44" fmla="*/ 18 w 29"/>
                  <a:gd name="T45" fmla="*/ 53 h 82"/>
                  <a:gd name="T46" fmla="*/ 17 w 29"/>
                  <a:gd name="T47" fmla="*/ 58 h 82"/>
                  <a:gd name="T48" fmla="*/ 15 w 29"/>
                  <a:gd name="T49" fmla="*/ 63 h 82"/>
                  <a:gd name="T50" fmla="*/ 15 w 29"/>
                  <a:gd name="T51" fmla="*/ 67 h 82"/>
                  <a:gd name="T52" fmla="*/ 14 w 29"/>
                  <a:gd name="T53" fmla="*/ 72 h 82"/>
                  <a:gd name="T54" fmla="*/ 14 w 29"/>
                  <a:gd name="T55" fmla="*/ 75 h 82"/>
                  <a:gd name="T56" fmla="*/ 12 w 29"/>
                  <a:gd name="T57" fmla="*/ 82 h 82"/>
                  <a:gd name="T58" fmla="*/ 9 w 29"/>
                  <a:gd name="T59" fmla="*/ 75 h 82"/>
                  <a:gd name="T60" fmla="*/ 7 w 29"/>
                  <a:gd name="T61" fmla="*/ 67 h 82"/>
                  <a:gd name="T62" fmla="*/ 4 w 29"/>
                  <a:gd name="T63" fmla="*/ 61 h 82"/>
                  <a:gd name="T64" fmla="*/ 3 w 29"/>
                  <a:gd name="T65" fmla="*/ 55 h 82"/>
                  <a:gd name="T66" fmla="*/ 0 w 29"/>
                  <a:gd name="T67" fmla="*/ 47 h 82"/>
                  <a:gd name="T68" fmla="*/ 1 w 29"/>
                  <a:gd name="T69" fmla="*/ 44 h 82"/>
                  <a:gd name="T70" fmla="*/ 4 w 29"/>
                  <a:gd name="T71" fmla="*/ 39 h 82"/>
                  <a:gd name="T72" fmla="*/ 4 w 29"/>
                  <a:gd name="T73" fmla="*/ 39 h 82"/>
                  <a:gd name="T74" fmla="*/ 11 w 29"/>
                  <a:gd name="T75" fmla="*/ 27 h 82"/>
                  <a:gd name="T76" fmla="*/ 14 w 29"/>
                  <a:gd name="T77" fmla="*/ 14 h 82"/>
                  <a:gd name="T78" fmla="*/ 15 w 29"/>
                  <a:gd name="T79" fmla="*/ 8 h 82"/>
                  <a:gd name="T80" fmla="*/ 18 w 29"/>
                  <a:gd name="T81" fmla="*/ 8 h 82"/>
                  <a:gd name="T82" fmla="*/ 21 w 29"/>
                  <a:gd name="T83" fmla="*/ 8 h 82"/>
                  <a:gd name="T84" fmla="*/ 23 w 29"/>
                  <a:gd name="T85" fmla="*/ 5 h 82"/>
                  <a:gd name="T86" fmla="*/ 25 w 29"/>
                  <a:gd name="T87" fmla="*/ 5 h 82"/>
                  <a:gd name="T88" fmla="*/ 28 w 29"/>
                  <a:gd name="T89" fmla="*/ 2 h 82"/>
                  <a:gd name="T90" fmla="*/ 28 w 29"/>
                  <a:gd name="T91" fmla="*/ 0 h 82"/>
                  <a:gd name="T92" fmla="*/ 28 w 29"/>
                  <a:gd name="T93" fmla="*/ 3 h 82"/>
                  <a:gd name="T94" fmla="*/ 28 w 29"/>
                  <a:gd name="T95" fmla="*/ 5 h 82"/>
                  <a:gd name="T96" fmla="*/ 29 w 29"/>
                  <a:gd name="T97" fmla="*/ 6 h 82"/>
                  <a:gd name="T98" fmla="*/ 28 w 29"/>
                  <a:gd name="T99" fmla="*/ 10 h 82"/>
                  <a:gd name="T100" fmla="*/ 29 w 29"/>
                  <a:gd name="T101" fmla="*/ 11 h 82"/>
                  <a:gd name="T102" fmla="*/ 28 w 29"/>
                  <a:gd name="T10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82">
                    <a:moveTo>
                      <a:pt x="28" y="16"/>
                    </a:moveTo>
                    <a:lnTo>
                      <a:pt x="26" y="16"/>
                    </a:lnTo>
                    <a:lnTo>
                      <a:pt x="25" y="16"/>
                    </a:lnTo>
                    <a:lnTo>
                      <a:pt x="23" y="17"/>
                    </a:lnTo>
                    <a:lnTo>
                      <a:pt x="23" y="17"/>
                    </a:lnTo>
                    <a:lnTo>
                      <a:pt x="23" y="17"/>
                    </a:lnTo>
                    <a:lnTo>
                      <a:pt x="23" y="22"/>
                    </a:lnTo>
                    <a:lnTo>
                      <a:pt x="21" y="22"/>
                    </a:lnTo>
                    <a:lnTo>
                      <a:pt x="20" y="22"/>
                    </a:lnTo>
                    <a:lnTo>
                      <a:pt x="20" y="21"/>
                    </a:lnTo>
                    <a:lnTo>
                      <a:pt x="20" y="21"/>
                    </a:lnTo>
                    <a:lnTo>
                      <a:pt x="18" y="21"/>
                    </a:lnTo>
                    <a:lnTo>
                      <a:pt x="17" y="19"/>
                    </a:lnTo>
                    <a:lnTo>
                      <a:pt x="14" y="21"/>
                    </a:lnTo>
                    <a:lnTo>
                      <a:pt x="14" y="24"/>
                    </a:lnTo>
                    <a:lnTo>
                      <a:pt x="14" y="25"/>
                    </a:lnTo>
                    <a:lnTo>
                      <a:pt x="12" y="27"/>
                    </a:lnTo>
                    <a:lnTo>
                      <a:pt x="12" y="28"/>
                    </a:lnTo>
                    <a:lnTo>
                      <a:pt x="12" y="32"/>
                    </a:lnTo>
                    <a:lnTo>
                      <a:pt x="14" y="33"/>
                    </a:lnTo>
                    <a:lnTo>
                      <a:pt x="12" y="33"/>
                    </a:lnTo>
                    <a:lnTo>
                      <a:pt x="12" y="35"/>
                    </a:lnTo>
                    <a:lnTo>
                      <a:pt x="12" y="35"/>
                    </a:lnTo>
                    <a:lnTo>
                      <a:pt x="14" y="35"/>
                    </a:lnTo>
                    <a:lnTo>
                      <a:pt x="14" y="35"/>
                    </a:lnTo>
                    <a:lnTo>
                      <a:pt x="15" y="35"/>
                    </a:lnTo>
                    <a:lnTo>
                      <a:pt x="17" y="35"/>
                    </a:lnTo>
                    <a:lnTo>
                      <a:pt x="17" y="36"/>
                    </a:lnTo>
                    <a:lnTo>
                      <a:pt x="15" y="36"/>
                    </a:lnTo>
                    <a:lnTo>
                      <a:pt x="14" y="38"/>
                    </a:lnTo>
                    <a:lnTo>
                      <a:pt x="12" y="39"/>
                    </a:lnTo>
                    <a:lnTo>
                      <a:pt x="12" y="41"/>
                    </a:lnTo>
                    <a:lnTo>
                      <a:pt x="11" y="42"/>
                    </a:lnTo>
                    <a:lnTo>
                      <a:pt x="11" y="44"/>
                    </a:lnTo>
                    <a:lnTo>
                      <a:pt x="12" y="44"/>
                    </a:lnTo>
                    <a:lnTo>
                      <a:pt x="15" y="44"/>
                    </a:lnTo>
                    <a:lnTo>
                      <a:pt x="18" y="42"/>
                    </a:lnTo>
                    <a:lnTo>
                      <a:pt x="20" y="41"/>
                    </a:lnTo>
                    <a:lnTo>
                      <a:pt x="21" y="41"/>
                    </a:lnTo>
                    <a:lnTo>
                      <a:pt x="20" y="44"/>
                    </a:lnTo>
                    <a:lnTo>
                      <a:pt x="20" y="44"/>
                    </a:lnTo>
                    <a:lnTo>
                      <a:pt x="20" y="47"/>
                    </a:lnTo>
                    <a:lnTo>
                      <a:pt x="20" y="47"/>
                    </a:lnTo>
                    <a:lnTo>
                      <a:pt x="21" y="49"/>
                    </a:lnTo>
                    <a:lnTo>
                      <a:pt x="20" y="52"/>
                    </a:lnTo>
                    <a:lnTo>
                      <a:pt x="18" y="53"/>
                    </a:lnTo>
                    <a:lnTo>
                      <a:pt x="18" y="55"/>
                    </a:lnTo>
                    <a:lnTo>
                      <a:pt x="17" y="58"/>
                    </a:lnTo>
                    <a:lnTo>
                      <a:pt x="17" y="61"/>
                    </a:lnTo>
                    <a:lnTo>
                      <a:pt x="15" y="63"/>
                    </a:lnTo>
                    <a:lnTo>
                      <a:pt x="15" y="64"/>
                    </a:lnTo>
                    <a:lnTo>
                      <a:pt x="15" y="67"/>
                    </a:lnTo>
                    <a:lnTo>
                      <a:pt x="15" y="69"/>
                    </a:lnTo>
                    <a:lnTo>
                      <a:pt x="14" y="72"/>
                    </a:lnTo>
                    <a:lnTo>
                      <a:pt x="14" y="74"/>
                    </a:lnTo>
                    <a:lnTo>
                      <a:pt x="14" y="75"/>
                    </a:lnTo>
                    <a:lnTo>
                      <a:pt x="12" y="80"/>
                    </a:lnTo>
                    <a:lnTo>
                      <a:pt x="12" y="82"/>
                    </a:lnTo>
                    <a:lnTo>
                      <a:pt x="11" y="80"/>
                    </a:lnTo>
                    <a:lnTo>
                      <a:pt x="9" y="75"/>
                    </a:lnTo>
                    <a:lnTo>
                      <a:pt x="9" y="72"/>
                    </a:lnTo>
                    <a:lnTo>
                      <a:pt x="7" y="67"/>
                    </a:lnTo>
                    <a:lnTo>
                      <a:pt x="4" y="63"/>
                    </a:lnTo>
                    <a:lnTo>
                      <a:pt x="4" y="61"/>
                    </a:lnTo>
                    <a:lnTo>
                      <a:pt x="4" y="60"/>
                    </a:lnTo>
                    <a:lnTo>
                      <a:pt x="3" y="55"/>
                    </a:lnTo>
                    <a:lnTo>
                      <a:pt x="1" y="52"/>
                    </a:lnTo>
                    <a:lnTo>
                      <a:pt x="0" y="47"/>
                    </a:lnTo>
                    <a:lnTo>
                      <a:pt x="1" y="46"/>
                    </a:lnTo>
                    <a:lnTo>
                      <a:pt x="1" y="44"/>
                    </a:lnTo>
                    <a:lnTo>
                      <a:pt x="4" y="41"/>
                    </a:lnTo>
                    <a:lnTo>
                      <a:pt x="4" y="39"/>
                    </a:lnTo>
                    <a:lnTo>
                      <a:pt x="4" y="39"/>
                    </a:lnTo>
                    <a:lnTo>
                      <a:pt x="4" y="39"/>
                    </a:lnTo>
                    <a:lnTo>
                      <a:pt x="7" y="33"/>
                    </a:lnTo>
                    <a:lnTo>
                      <a:pt x="11" y="27"/>
                    </a:lnTo>
                    <a:lnTo>
                      <a:pt x="12" y="17"/>
                    </a:lnTo>
                    <a:lnTo>
                      <a:pt x="14" y="14"/>
                    </a:lnTo>
                    <a:lnTo>
                      <a:pt x="15" y="11"/>
                    </a:lnTo>
                    <a:lnTo>
                      <a:pt x="15" y="8"/>
                    </a:lnTo>
                    <a:lnTo>
                      <a:pt x="17" y="8"/>
                    </a:lnTo>
                    <a:lnTo>
                      <a:pt x="18" y="8"/>
                    </a:lnTo>
                    <a:lnTo>
                      <a:pt x="20" y="8"/>
                    </a:lnTo>
                    <a:lnTo>
                      <a:pt x="21" y="8"/>
                    </a:lnTo>
                    <a:lnTo>
                      <a:pt x="23" y="5"/>
                    </a:lnTo>
                    <a:lnTo>
                      <a:pt x="23" y="5"/>
                    </a:lnTo>
                    <a:lnTo>
                      <a:pt x="23" y="5"/>
                    </a:lnTo>
                    <a:lnTo>
                      <a:pt x="25" y="5"/>
                    </a:lnTo>
                    <a:lnTo>
                      <a:pt x="26" y="3"/>
                    </a:lnTo>
                    <a:lnTo>
                      <a:pt x="28" y="2"/>
                    </a:lnTo>
                    <a:lnTo>
                      <a:pt x="28" y="2"/>
                    </a:lnTo>
                    <a:lnTo>
                      <a:pt x="28" y="0"/>
                    </a:lnTo>
                    <a:lnTo>
                      <a:pt x="28" y="2"/>
                    </a:lnTo>
                    <a:lnTo>
                      <a:pt x="28" y="3"/>
                    </a:lnTo>
                    <a:lnTo>
                      <a:pt x="28" y="3"/>
                    </a:lnTo>
                    <a:lnTo>
                      <a:pt x="28" y="5"/>
                    </a:lnTo>
                    <a:lnTo>
                      <a:pt x="29" y="6"/>
                    </a:lnTo>
                    <a:lnTo>
                      <a:pt x="29" y="6"/>
                    </a:lnTo>
                    <a:lnTo>
                      <a:pt x="28" y="8"/>
                    </a:lnTo>
                    <a:lnTo>
                      <a:pt x="28" y="10"/>
                    </a:lnTo>
                    <a:lnTo>
                      <a:pt x="29" y="10"/>
                    </a:lnTo>
                    <a:lnTo>
                      <a:pt x="29" y="11"/>
                    </a:lnTo>
                    <a:lnTo>
                      <a:pt x="28" y="13"/>
                    </a:lnTo>
                    <a:lnTo>
                      <a:pt x="28" y="14"/>
                    </a:lnTo>
                    <a:lnTo>
                      <a:pt x="28" y="1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0" name="Freeform 97">
                <a:extLst>
                  <a:ext uri="{FF2B5EF4-FFF2-40B4-BE49-F238E27FC236}">
                    <a16:creationId xmlns:a16="http://schemas.microsoft.com/office/drawing/2014/main" id="{F9FE652E-A262-DA89-C3FE-0D079BDC2905}"/>
                  </a:ext>
                </a:extLst>
              </p:cNvPr>
              <p:cNvSpPr>
                <a:spLocks/>
              </p:cNvSpPr>
              <p:nvPr/>
            </p:nvSpPr>
            <p:spPr bwMode="gray">
              <a:xfrm>
                <a:off x="2591" y="438"/>
                <a:ext cx="8" cy="11"/>
              </a:xfrm>
              <a:custGeom>
                <a:avLst/>
                <a:gdLst>
                  <a:gd name="T0" fmla="*/ 6 w 8"/>
                  <a:gd name="T1" fmla="*/ 8 h 11"/>
                  <a:gd name="T2" fmla="*/ 3 w 8"/>
                  <a:gd name="T3" fmla="*/ 11 h 11"/>
                  <a:gd name="T4" fmla="*/ 1 w 8"/>
                  <a:gd name="T5" fmla="*/ 11 h 11"/>
                  <a:gd name="T6" fmla="*/ 0 w 8"/>
                  <a:gd name="T7" fmla="*/ 11 h 11"/>
                  <a:gd name="T8" fmla="*/ 0 w 8"/>
                  <a:gd name="T9" fmla="*/ 11 h 11"/>
                  <a:gd name="T10" fmla="*/ 1 w 8"/>
                  <a:gd name="T11" fmla="*/ 10 h 11"/>
                  <a:gd name="T12" fmla="*/ 1 w 8"/>
                  <a:gd name="T13" fmla="*/ 7 h 11"/>
                  <a:gd name="T14" fmla="*/ 3 w 8"/>
                  <a:gd name="T15" fmla="*/ 5 h 11"/>
                  <a:gd name="T16" fmla="*/ 4 w 8"/>
                  <a:gd name="T17" fmla="*/ 2 h 11"/>
                  <a:gd name="T18" fmla="*/ 6 w 8"/>
                  <a:gd name="T19" fmla="*/ 0 h 11"/>
                  <a:gd name="T20" fmla="*/ 6 w 8"/>
                  <a:gd name="T21" fmla="*/ 0 h 11"/>
                  <a:gd name="T22" fmla="*/ 8 w 8"/>
                  <a:gd name="T23" fmla="*/ 2 h 11"/>
                  <a:gd name="T24" fmla="*/ 8 w 8"/>
                  <a:gd name="T25" fmla="*/ 5 h 11"/>
                  <a:gd name="T26" fmla="*/ 6 w 8"/>
                  <a:gd name="T27" fmla="*/ 7 h 11"/>
                  <a:gd name="T28" fmla="*/ 6 w 8"/>
                  <a:gd name="T2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1">
                    <a:moveTo>
                      <a:pt x="6" y="8"/>
                    </a:moveTo>
                    <a:lnTo>
                      <a:pt x="3" y="11"/>
                    </a:lnTo>
                    <a:lnTo>
                      <a:pt x="1" y="11"/>
                    </a:lnTo>
                    <a:lnTo>
                      <a:pt x="0" y="11"/>
                    </a:lnTo>
                    <a:lnTo>
                      <a:pt x="0" y="11"/>
                    </a:lnTo>
                    <a:lnTo>
                      <a:pt x="1" y="10"/>
                    </a:lnTo>
                    <a:lnTo>
                      <a:pt x="1" y="7"/>
                    </a:lnTo>
                    <a:lnTo>
                      <a:pt x="3" y="5"/>
                    </a:lnTo>
                    <a:lnTo>
                      <a:pt x="4" y="2"/>
                    </a:lnTo>
                    <a:lnTo>
                      <a:pt x="6" y="0"/>
                    </a:lnTo>
                    <a:lnTo>
                      <a:pt x="6" y="0"/>
                    </a:lnTo>
                    <a:lnTo>
                      <a:pt x="8" y="2"/>
                    </a:lnTo>
                    <a:lnTo>
                      <a:pt x="8" y="5"/>
                    </a:lnTo>
                    <a:lnTo>
                      <a:pt x="6" y="7"/>
                    </a:lnTo>
                    <a:lnTo>
                      <a:pt x="6" y="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1" name="Freeform 98">
                <a:extLst>
                  <a:ext uri="{FF2B5EF4-FFF2-40B4-BE49-F238E27FC236}">
                    <a16:creationId xmlns:a16="http://schemas.microsoft.com/office/drawing/2014/main" id="{BCDE87D1-D33B-9390-7C4B-06A29447BC59}"/>
                  </a:ext>
                </a:extLst>
              </p:cNvPr>
              <p:cNvSpPr>
                <a:spLocks noEditPoints="1"/>
              </p:cNvSpPr>
              <p:nvPr/>
            </p:nvSpPr>
            <p:spPr bwMode="gray">
              <a:xfrm>
                <a:off x="3871" y="912"/>
                <a:ext cx="513" cy="547"/>
              </a:xfrm>
              <a:custGeom>
                <a:avLst/>
                <a:gdLst>
                  <a:gd name="T0" fmla="*/ 497 w 513"/>
                  <a:gd name="T1" fmla="*/ 137 h 547"/>
                  <a:gd name="T2" fmla="*/ 480 w 513"/>
                  <a:gd name="T3" fmla="*/ 133 h 547"/>
                  <a:gd name="T4" fmla="*/ 443 w 513"/>
                  <a:gd name="T5" fmla="*/ 143 h 547"/>
                  <a:gd name="T6" fmla="*/ 418 w 513"/>
                  <a:gd name="T7" fmla="*/ 160 h 547"/>
                  <a:gd name="T8" fmla="*/ 418 w 513"/>
                  <a:gd name="T9" fmla="*/ 177 h 547"/>
                  <a:gd name="T10" fmla="*/ 377 w 513"/>
                  <a:gd name="T11" fmla="*/ 180 h 547"/>
                  <a:gd name="T12" fmla="*/ 358 w 513"/>
                  <a:gd name="T13" fmla="*/ 154 h 547"/>
                  <a:gd name="T14" fmla="*/ 349 w 513"/>
                  <a:gd name="T15" fmla="*/ 187 h 547"/>
                  <a:gd name="T16" fmla="*/ 308 w 513"/>
                  <a:gd name="T17" fmla="*/ 180 h 547"/>
                  <a:gd name="T18" fmla="*/ 275 w 513"/>
                  <a:gd name="T19" fmla="*/ 168 h 547"/>
                  <a:gd name="T20" fmla="*/ 236 w 513"/>
                  <a:gd name="T21" fmla="*/ 155 h 547"/>
                  <a:gd name="T22" fmla="*/ 210 w 513"/>
                  <a:gd name="T23" fmla="*/ 133 h 547"/>
                  <a:gd name="T24" fmla="*/ 213 w 513"/>
                  <a:gd name="T25" fmla="*/ 104 h 547"/>
                  <a:gd name="T26" fmla="*/ 189 w 513"/>
                  <a:gd name="T27" fmla="*/ 88 h 547"/>
                  <a:gd name="T28" fmla="*/ 180 w 513"/>
                  <a:gd name="T29" fmla="*/ 65 h 547"/>
                  <a:gd name="T30" fmla="*/ 193 w 513"/>
                  <a:gd name="T31" fmla="*/ 52 h 547"/>
                  <a:gd name="T32" fmla="*/ 186 w 513"/>
                  <a:gd name="T33" fmla="*/ 24 h 547"/>
                  <a:gd name="T34" fmla="*/ 166 w 513"/>
                  <a:gd name="T35" fmla="*/ 4 h 547"/>
                  <a:gd name="T36" fmla="*/ 125 w 513"/>
                  <a:gd name="T37" fmla="*/ 21 h 547"/>
                  <a:gd name="T38" fmla="*/ 105 w 513"/>
                  <a:gd name="T39" fmla="*/ 33 h 547"/>
                  <a:gd name="T40" fmla="*/ 108 w 513"/>
                  <a:gd name="T41" fmla="*/ 54 h 547"/>
                  <a:gd name="T42" fmla="*/ 127 w 513"/>
                  <a:gd name="T43" fmla="*/ 69 h 547"/>
                  <a:gd name="T44" fmla="*/ 108 w 513"/>
                  <a:gd name="T45" fmla="*/ 97 h 547"/>
                  <a:gd name="T46" fmla="*/ 78 w 513"/>
                  <a:gd name="T47" fmla="*/ 138 h 547"/>
                  <a:gd name="T48" fmla="*/ 44 w 513"/>
                  <a:gd name="T49" fmla="*/ 158 h 547"/>
                  <a:gd name="T50" fmla="*/ 28 w 513"/>
                  <a:gd name="T51" fmla="*/ 182 h 547"/>
                  <a:gd name="T52" fmla="*/ 49 w 513"/>
                  <a:gd name="T53" fmla="*/ 213 h 547"/>
                  <a:gd name="T54" fmla="*/ 41 w 513"/>
                  <a:gd name="T55" fmla="*/ 226 h 547"/>
                  <a:gd name="T56" fmla="*/ 10 w 513"/>
                  <a:gd name="T57" fmla="*/ 234 h 547"/>
                  <a:gd name="T58" fmla="*/ 36 w 513"/>
                  <a:gd name="T59" fmla="*/ 252 h 547"/>
                  <a:gd name="T60" fmla="*/ 22 w 513"/>
                  <a:gd name="T61" fmla="*/ 274 h 547"/>
                  <a:gd name="T62" fmla="*/ 71 w 513"/>
                  <a:gd name="T63" fmla="*/ 266 h 547"/>
                  <a:gd name="T64" fmla="*/ 80 w 513"/>
                  <a:gd name="T65" fmla="*/ 287 h 547"/>
                  <a:gd name="T66" fmla="*/ 85 w 513"/>
                  <a:gd name="T67" fmla="*/ 329 h 547"/>
                  <a:gd name="T68" fmla="*/ 103 w 513"/>
                  <a:gd name="T69" fmla="*/ 401 h 547"/>
                  <a:gd name="T70" fmla="*/ 136 w 513"/>
                  <a:gd name="T71" fmla="*/ 476 h 547"/>
                  <a:gd name="T72" fmla="*/ 157 w 513"/>
                  <a:gd name="T73" fmla="*/ 520 h 547"/>
                  <a:gd name="T74" fmla="*/ 200 w 513"/>
                  <a:gd name="T75" fmla="*/ 484 h 547"/>
                  <a:gd name="T76" fmla="*/ 213 w 513"/>
                  <a:gd name="T77" fmla="*/ 428 h 547"/>
                  <a:gd name="T78" fmla="*/ 230 w 513"/>
                  <a:gd name="T79" fmla="*/ 376 h 547"/>
                  <a:gd name="T80" fmla="*/ 291 w 513"/>
                  <a:gd name="T81" fmla="*/ 324 h 547"/>
                  <a:gd name="T82" fmla="*/ 327 w 513"/>
                  <a:gd name="T83" fmla="*/ 302 h 547"/>
                  <a:gd name="T84" fmla="*/ 352 w 513"/>
                  <a:gd name="T85" fmla="*/ 271 h 547"/>
                  <a:gd name="T86" fmla="*/ 366 w 513"/>
                  <a:gd name="T87" fmla="*/ 276 h 547"/>
                  <a:gd name="T88" fmla="*/ 360 w 513"/>
                  <a:gd name="T89" fmla="*/ 241 h 547"/>
                  <a:gd name="T90" fmla="*/ 352 w 513"/>
                  <a:gd name="T91" fmla="*/ 215 h 547"/>
                  <a:gd name="T92" fmla="*/ 351 w 513"/>
                  <a:gd name="T93" fmla="*/ 198 h 547"/>
                  <a:gd name="T94" fmla="*/ 361 w 513"/>
                  <a:gd name="T95" fmla="*/ 190 h 547"/>
                  <a:gd name="T96" fmla="*/ 377 w 513"/>
                  <a:gd name="T97" fmla="*/ 190 h 547"/>
                  <a:gd name="T98" fmla="*/ 422 w 513"/>
                  <a:gd name="T99" fmla="*/ 212 h 547"/>
                  <a:gd name="T100" fmla="*/ 415 w 513"/>
                  <a:gd name="T101" fmla="*/ 229 h 547"/>
                  <a:gd name="T102" fmla="*/ 408 w 513"/>
                  <a:gd name="T103" fmla="*/ 249 h 547"/>
                  <a:gd name="T104" fmla="*/ 424 w 513"/>
                  <a:gd name="T105" fmla="*/ 246 h 547"/>
                  <a:gd name="T106" fmla="*/ 440 w 513"/>
                  <a:gd name="T107" fmla="*/ 266 h 547"/>
                  <a:gd name="T108" fmla="*/ 449 w 513"/>
                  <a:gd name="T109" fmla="*/ 234 h 547"/>
                  <a:gd name="T110" fmla="*/ 471 w 513"/>
                  <a:gd name="T111" fmla="*/ 201 h 547"/>
                  <a:gd name="T112" fmla="*/ 504 w 513"/>
                  <a:gd name="T113" fmla="*/ 171 h 547"/>
                  <a:gd name="T114" fmla="*/ 433 w 513"/>
                  <a:gd name="T115" fmla="*/ 435 h 547"/>
                  <a:gd name="T116" fmla="*/ 433 w 513"/>
                  <a:gd name="T117" fmla="*/ 456 h 547"/>
                  <a:gd name="T118" fmla="*/ 432 w 513"/>
                  <a:gd name="T119" fmla="*/ 437 h 547"/>
                  <a:gd name="T120" fmla="*/ 429 w 513"/>
                  <a:gd name="T121" fmla="*/ 476 h 547"/>
                  <a:gd name="T122" fmla="*/ 446 w 513"/>
                  <a:gd name="T123" fmla="*/ 525 h 547"/>
                  <a:gd name="T124" fmla="*/ 452 w 513"/>
                  <a:gd name="T125" fmla="*/ 543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3" h="547">
                    <a:moveTo>
                      <a:pt x="513" y="155"/>
                    </a:moveTo>
                    <a:lnTo>
                      <a:pt x="512" y="154"/>
                    </a:lnTo>
                    <a:lnTo>
                      <a:pt x="512" y="152"/>
                    </a:lnTo>
                    <a:lnTo>
                      <a:pt x="512" y="151"/>
                    </a:lnTo>
                    <a:lnTo>
                      <a:pt x="512" y="151"/>
                    </a:lnTo>
                    <a:lnTo>
                      <a:pt x="508" y="149"/>
                    </a:lnTo>
                    <a:lnTo>
                      <a:pt x="508" y="147"/>
                    </a:lnTo>
                    <a:lnTo>
                      <a:pt x="505" y="149"/>
                    </a:lnTo>
                    <a:lnTo>
                      <a:pt x="504" y="147"/>
                    </a:lnTo>
                    <a:lnTo>
                      <a:pt x="502" y="147"/>
                    </a:lnTo>
                    <a:lnTo>
                      <a:pt x="501" y="146"/>
                    </a:lnTo>
                    <a:lnTo>
                      <a:pt x="499" y="146"/>
                    </a:lnTo>
                    <a:lnTo>
                      <a:pt x="496" y="147"/>
                    </a:lnTo>
                    <a:lnTo>
                      <a:pt x="496" y="147"/>
                    </a:lnTo>
                    <a:lnTo>
                      <a:pt x="496" y="147"/>
                    </a:lnTo>
                    <a:lnTo>
                      <a:pt x="494" y="147"/>
                    </a:lnTo>
                    <a:lnTo>
                      <a:pt x="494" y="147"/>
                    </a:lnTo>
                    <a:lnTo>
                      <a:pt x="494" y="147"/>
                    </a:lnTo>
                    <a:lnTo>
                      <a:pt x="494" y="147"/>
                    </a:lnTo>
                    <a:lnTo>
                      <a:pt x="494" y="146"/>
                    </a:lnTo>
                    <a:lnTo>
                      <a:pt x="494" y="146"/>
                    </a:lnTo>
                    <a:lnTo>
                      <a:pt x="494" y="144"/>
                    </a:lnTo>
                    <a:lnTo>
                      <a:pt x="496" y="143"/>
                    </a:lnTo>
                    <a:lnTo>
                      <a:pt x="499" y="140"/>
                    </a:lnTo>
                    <a:lnTo>
                      <a:pt x="499" y="140"/>
                    </a:lnTo>
                    <a:lnTo>
                      <a:pt x="497" y="137"/>
                    </a:lnTo>
                    <a:lnTo>
                      <a:pt x="497" y="135"/>
                    </a:lnTo>
                    <a:lnTo>
                      <a:pt x="496" y="135"/>
                    </a:lnTo>
                    <a:lnTo>
                      <a:pt x="494" y="135"/>
                    </a:lnTo>
                    <a:lnTo>
                      <a:pt x="491" y="138"/>
                    </a:lnTo>
                    <a:lnTo>
                      <a:pt x="491" y="137"/>
                    </a:lnTo>
                    <a:lnTo>
                      <a:pt x="491" y="137"/>
                    </a:lnTo>
                    <a:lnTo>
                      <a:pt x="491" y="137"/>
                    </a:lnTo>
                    <a:lnTo>
                      <a:pt x="491" y="133"/>
                    </a:lnTo>
                    <a:lnTo>
                      <a:pt x="493" y="133"/>
                    </a:lnTo>
                    <a:lnTo>
                      <a:pt x="494" y="132"/>
                    </a:lnTo>
                    <a:lnTo>
                      <a:pt x="494" y="132"/>
                    </a:lnTo>
                    <a:lnTo>
                      <a:pt x="494" y="132"/>
                    </a:lnTo>
                    <a:lnTo>
                      <a:pt x="494" y="130"/>
                    </a:lnTo>
                    <a:lnTo>
                      <a:pt x="494" y="130"/>
                    </a:lnTo>
                    <a:lnTo>
                      <a:pt x="493" y="130"/>
                    </a:lnTo>
                    <a:lnTo>
                      <a:pt x="493" y="130"/>
                    </a:lnTo>
                    <a:lnTo>
                      <a:pt x="493" y="130"/>
                    </a:lnTo>
                    <a:lnTo>
                      <a:pt x="491" y="127"/>
                    </a:lnTo>
                    <a:lnTo>
                      <a:pt x="490" y="127"/>
                    </a:lnTo>
                    <a:lnTo>
                      <a:pt x="490" y="127"/>
                    </a:lnTo>
                    <a:lnTo>
                      <a:pt x="487" y="127"/>
                    </a:lnTo>
                    <a:lnTo>
                      <a:pt x="483" y="129"/>
                    </a:lnTo>
                    <a:lnTo>
                      <a:pt x="480" y="132"/>
                    </a:lnTo>
                    <a:lnTo>
                      <a:pt x="480" y="132"/>
                    </a:lnTo>
                    <a:lnTo>
                      <a:pt x="480" y="132"/>
                    </a:lnTo>
                    <a:lnTo>
                      <a:pt x="480" y="133"/>
                    </a:lnTo>
                    <a:lnTo>
                      <a:pt x="479" y="133"/>
                    </a:lnTo>
                    <a:lnTo>
                      <a:pt x="479" y="135"/>
                    </a:lnTo>
                    <a:lnTo>
                      <a:pt x="479" y="135"/>
                    </a:lnTo>
                    <a:lnTo>
                      <a:pt x="477" y="135"/>
                    </a:lnTo>
                    <a:lnTo>
                      <a:pt x="476" y="135"/>
                    </a:lnTo>
                    <a:lnTo>
                      <a:pt x="474" y="133"/>
                    </a:lnTo>
                    <a:lnTo>
                      <a:pt x="471" y="132"/>
                    </a:lnTo>
                    <a:lnTo>
                      <a:pt x="471" y="133"/>
                    </a:lnTo>
                    <a:lnTo>
                      <a:pt x="468" y="132"/>
                    </a:lnTo>
                    <a:lnTo>
                      <a:pt x="468" y="132"/>
                    </a:lnTo>
                    <a:lnTo>
                      <a:pt x="468" y="132"/>
                    </a:lnTo>
                    <a:lnTo>
                      <a:pt x="466" y="130"/>
                    </a:lnTo>
                    <a:lnTo>
                      <a:pt x="466" y="130"/>
                    </a:lnTo>
                    <a:lnTo>
                      <a:pt x="465" y="129"/>
                    </a:lnTo>
                    <a:lnTo>
                      <a:pt x="462" y="132"/>
                    </a:lnTo>
                    <a:lnTo>
                      <a:pt x="458" y="133"/>
                    </a:lnTo>
                    <a:lnTo>
                      <a:pt x="457" y="135"/>
                    </a:lnTo>
                    <a:lnTo>
                      <a:pt x="455" y="137"/>
                    </a:lnTo>
                    <a:lnTo>
                      <a:pt x="455" y="137"/>
                    </a:lnTo>
                    <a:lnTo>
                      <a:pt x="454" y="137"/>
                    </a:lnTo>
                    <a:lnTo>
                      <a:pt x="454" y="138"/>
                    </a:lnTo>
                    <a:lnTo>
                      <a:pt x="454" y="138"/>
                    </a:lnTo>
                    <a:lnTo>
                      <a:pt x="452" y="140"/>
                    </a:lnTo>
                    <a:lnTo>
                      <a:pt x="449" y="141"/>
                    </a:lnTo>
                    <a:lnTo>
                      <a:pt x="447" y="141"/>
                    </a:lnTo>
                    <a:lnTo>
                      <a:pt x="443" y="143"/>
                    </a:lnTo>
                    <a:lnTo>
                      <a:pt x="443" y="143"/>
                    </a:lnTo>
                    <a:lnTo>
                      <a:pt x="441" y="143"/>
                    </a:lnTo>
                    <a:lnTo>
                      <a:pt x="440" y="144"/>
                    </a:lnTo>
                    <a:lnTo>
                      <a:pt x="440" y="146"/>
                    </a:lnTo>
                    <a:lnTo>
                      <a:pt x="438" y="147"/>
                    </a:lnTo>
                    <a:lnTo>
                      <a:pt x="437" y="149"/>
                    </a:lnTo>
                    <a:lnTo>
                      <a:pt x="433" y="151"/>
                    </a:lnTo>
                    <a:lnTo>
                      <a:pt x="430" y="152"/>
                    </a:lnTo>
                    <a:lnTo>
                      <a:pt x="430" y="154"/>
                    </a:lnTo>
                    <a:lnTo>
                      <a:pt x="430" y="154"/>
                    </a:lnTo>
                    <a:lnTo>
                      <a:pt x="430" y="154"/>
                    </a:lnTo>
                    <a:lnTo>
                      <a:pt x="430" y="155"/>
                    </a:lnTo>
                    <a:lnTo>
                      <a:pt x="430" y="155"/>
                    </a:lnTo>
                    <a:lnTo>
                      <a:pt x="430" y="157"/>
                    </a:lnTo>
                    <a:lnTo>
                      <a:pt x="430" y="157"/>
                    </a:lnTo>
                    <a:lnTo>
                      <a:pt x="429" y="158"/>
                    </a:lnTo>
                    <a:lnTo>
                      <a:pt x="427" y="158"/>
                    </a:lnTo>
                    <a:lnTo>
                      <a:pt x="426" y="158"/>
                    </a:lnTo>
                    <a:lnTo>
                      <a:pt x="424" y="158"/>
                    </a:lnTo>
                    <a:lnTo>
                      <a:pt x="424" y="158"/>
                    </a:lnTo>
                    <a:lnTo>
                      <a:pt x="422" y="158"/>
                    </a:lnTo>
                    <a:lnTo>
                      <a:pt x="422" y="158"/>
                    </a:lnTo>
                    <a:lnTo>
                      <a:pt x="421" y="158"/>
                    </a:lnTo>
                    <a:lnTo>
                      <a:pt x="421" y="158"/>
                    </a:lnTo>
                    <a:lnTo>
                      <a:pt x="418" y="160"/>
                    </a:lnTo>
                    <a:lnTo>
                      <a:pt x="418" y="160"/>
                    </a:lnTo>
                    <a:lnTo>
                      <a:pt x="416" y="160"/>
                    </a:lnTo>
                    <a:lnTo>
                      <a:pt x="413" y="160"/>
                    </a:lnTo>
                    <a:lnTo>
                      <a:pt x="411" y="160"/>
                    </a:lnTo>
                    <a:lnTo>
                      <a:pt x="411" y="160"/>
                    </a:lnTo>
                    <a:lnTo>
                      <a:pt x="411" y="162"/>
                    </a:lnTo>
                    <a:lnTo>
                      <a:pt x="411" y="163"/>
                    </a:lnTo>
                    <a:lnTo>
                      <a:pt x="411" y="165"/>
                    </a:lnTo>
                    <a:lnTo>
                      <a:pt x="413" y="165"/>
                    </a:lnTo>
                    <a:lnTo>
                      <a:pt x="415" y="166"/>
                    </a:lnTo>
                    <a:lnTo>
                      <a:pt x="416" y="166"/>
                    </a:lnTo>
                    <a:lnTo>
                      <a:pt x="418" y="166"/>
                    </a:lnTo>
                    <a:lnTo>
                      <a:pt x="418" y="166"/>
                    </a:lnTo>
                    <a:lnTo>
                      <a:pt x="419" y="168"/>
                    </a:lnTo>
                    <a:lnTo>
                      <a:pt x="421" y="169"/>
                    </a:lnTo>
                    <a:lnTo>
                      <a:pt x="419" y="171"/>
                    </a:lnTo>
                    <a:lnTo>
                      <a:pt x="419" y="173"/>
                    </a:lnTo>
                    <a:lnTo>
                      <a:pt x="418" y="173"/>
                    </a:lnTo>
                    <a:lnTo>
                      <a:pt x="419" y="174"/>
                    </a:lnTo>
                    <a:lnTo>
                      <a:pt x="419" y="174"/>
                    </a:lnTo>
                    <a:lnTo>
                      <a:pt x="419" y="174"/>
                    </a:lnTo>
                    <a:lnTo>
                      <a:pt x="419" y="174"/>
                    </a:lnTo>
                    <a:lnTo>
                      <a:pt x="419" y="176"/>
                    </a:lnTo>
                    <a:lnTo>
                      <a:pt x="419" y="177"/>
                    </a:lnTo>
                    <a:lnTo>
                      <a:pt x="419" y="177"/>
                    </a:lnTo>
                    <a:lnTo>
                      <a:pt x="419" y="177"/>
                    </a:lnTo>
                    <a:lnTo>
                      <a:pt x="418" y="177"/>
                    </a:lnTo>
                    <a:lnTo>
                      <a:pt x="416" y="177"/>
                    </a:lnTo>
                    <a:lnTo>
                      <a:pt x="416" y="177"/>
                    </a:lnTo>
                    <a:lnTo>
                      <a:pt x="415" y="179"/>
                    </a:lnTo>
                    <a:lnTo>
                      <a:pt x="413" y="179"/>
                    </a:lnTo>
                    <a:lnTo>
                      <a:pt x="413" y="179"/>
                    </a:lnTo>
                    <a:lnTo>
                      <a:pt x="410" y="179"/>
                    </a:lnTo>
                    <a:lnTo>
                      <a:pt x="408" y="177"/>
                    </a:lnTo>
                    <a:lnTo>
                      <a:pt x="408" y="177"/>
                    </a:lnTo>
                    <a:lnTo>
                      <a:pt x="407" y="179"/>
                    </a:lnTo>
                    <a:lnTo>
                      <a:pt x="404" y="179"/>
                    </a:lnTo>
                    <a:lnTo>
                      <a:pt x="399" y="179"/>
                    </a:lnTo>
                    <a:lnTo>
                      <a:pt x="396" y="180"/>
                    </a:lnTo>
                    <a:lnTo>
                      <a:pt x="394" y="179"/>
                    </a:lnTo>
                    <a:lnTo>
                      <a:pt x="393" y="179"/>
                    </a:lnTo>
                    <a:lnTo>
                      <a:pt x="391" y="179"/>
                    </a:lnTo>
                    <a:lnTo>
                      <a:pt x="390" y="177"/>
                    </a:lnTo>
                    <a:lnTo>
                      <a:pt x="388" y="177"/>
                    </a:lnTo>
                    <a:lnTo>
                      <a:pt x="386" y="179"/>
                    </a:lnTo>
                    <a:lnTo>
                      <a:pt x="386" y="180"/>
                    </a:lnTo>
                    <a:lnTo>
                      <a:pt x="382" y="180"/>
                    </a:lnTo>
                    <a:lnTo>
                      <a:pt x="379" y="180"/>
                    </a:lnTo>
                    <a:lnTo>
                      <a:pt x="379" y="180"/>
                    </a:lnTo>
                    <a:lnTo>
                      <a:pt x="377" y="180"/>
                    </a:lnTo>
                    <a:lnTo>
                      <a:pt x="377" y="180"/>
                    </a:lnTo>
                    <a:lnTo>
                      <a:pt x="377" y="180"/>
                    </a:lnTo>
                    <a:lnTo>
                      <a:pt x="377" y="180"/>
                    </a:lnTo>
                    <a:lnTo>
                      <a:pt x="376" y="179"/>
                    </a:lnTo>
                    <a:lnTo>
                      <a:pt x="376" y="179"/>
                    </a:lnTo>
                    <a:lnTo>
                      <a:pt x="374" y="179"/>
                    </a:lnTo>
                    <a:lnTo>
                      <a:pt x="372" y="179"/>
                    </a:lnTo>
                    <a:lnTo>
                      <a:pt x="372" y="179"/>
                    </a:lnTo>
                    <a:lnTo>
                      <a:pt x="369" y="179"/>
                    </a:lnTo>
                    <a:lnTo>
                      <a:pt x="366" y="177"/>
                    </a:lnTo>
                    <a:lnTo>
                      <a:pt x="365" y="176"/>
                    </a:lnTo>
                    <a:lnTo>
                      <a:pt x="363" y="176"/>
                    </a:lnTo>
                    <a:lnTo>
                      <a:pt x="363" y="174"/>
                    </a:lnTo>
                    <a:lnTo>
                      <a:pt x="363" y="173"/>
                    </a:lnTo>
                    <a:lnTo>
                      <a:pt x="361" y="173"/>
                    </a:lnTo>
                    <a:lnTo>
                      <a:pt x="361" y="171"/>
                    </a:lnTo>
                    <a:lnTo>
                      <a:pt x="361" y="171"/>
                    </a:lnTo>
                    <a:lnTo>
                      <a:pt x="365" y="169"/>
                    </a:lnTo>
                    <a:lnTo>
                      <a:pt x="365" y="169"/>
                    </a:lnTo>
                    <a:lnTo>
                      <a:pt x="363" y="168"/>
                    </a:lnTo>
                    <a:lnTo>
                      <a:pt x="361" y="166"/>
                    </a:lnTo>
                    <a:lnTo>
                      <a:pt x="361" y="165"/>
                    </a:lnTo>
                    <a:lnTo>
                      <a:pt x="363" y="160"/>
                    </a:lnTo>
                    <a:lnTo>
                      <a:pt x="363" y="158"/>
                    </a:lnTo>
                    <a:lnTo>
                      <a:pt x="363" y="157"/>
                    </a:lnTo>
                    <a:lnTo>
                      <a:pt x="363" y="155"/>
                    </a:lnTo>
                    <a:lnTo>
                      <a:pt x="361" y="155"/>
                    </a:lnTo>
                    <a:lnTo>
                      <a:pt x="360" y="154"/>
                    </a:lnTo>
                    <a:lnTo>
                      <a:pt x="358" y="154"/>
                    </a:lnTo>
                    <a:lnTo>
                      <a:pt x="358" y="154"/>
                    </a:lnTo>
                    <a:lnTo>
                      <a:pt x="357" y="155"/>
                    </a:lnTo>
                    <a:lnTo>
                      <a:pt x="357" y="155"/>
                    </a:lnTo>
                    <a:lnTo>
                      <a:pt x="355" y="155"/>
                    </a:lnTo>
                    <a:lnTo>
                      <a:pt x="354" y="155"/>
                    </a:lnTo>
                    <a:lnTo>
                      <a:pt x="351" y="157"/>
                    </a:lnTo>
                    <a:lnTo>
                      <a:pt x="351" y="157"/>
                    </a:lnTo>
                    <a:lnTo>
                      <a:pt x="351" y="157"/>
                    </a:lnTo>
                    <a:lnTo>
                      <a:pt x="351" y="157"/>
                    </a:lnTo>
                    <a:lnTo>
                      <a:pt x="351" y="157"/>
                    </a:lnTo>
                    <a:lnTo>
                      <a:pt x="351" y="158"/>
                    </a:lnTo>
                    <a:lnTo>
                      <a:pt x="351" y="158"/>
                    </a:lnTo>
                    <a:lnTo>
                      <a:pt x="351" y="158"/>
                    </a:lnTo>
                    <a:lnTo>
                      <a:pt x="351" y="160"/>
                    </a:lnTo>
                    <a:lnTo>
                      <a:pt x="351" y="160"/>
                    </a:lnTo>
                    <a:lnTo>
                      <a:pt x="351" y="163"/>
                    </a:lnTo>
                    <a:lnTo>
                      <a:pt x="349" y="165"/>
                    </a:lnTo>
                    <a:lnTo>
                      <a:pt x="349" y="168"/>
                    </a:lnTo>
                    <a:lnTo>
                      <a:pt x="347" y="173"/>
                    </a:lnTo>
                    <a:lnTo>
                      <a:pt x="349" y="174"/>
                    </a:lnTo>
                    <a:lnTo>
                      <a:pt x="351" y="177"/>
                    </a:lnTo>
                    <a:lnTo>
                      <a:pt x="351" y="179"/>
                    </a:lnTo>
                    <a:lnTo>
                      <a:pt x="351" y="180"/>
                    </a:lnTo>
                    <a:lnTo>
                      <a:pt x="351" y="183"/>
                    </a:lnTo>
                    <a:lnTo>
                      <a:pt x="349" y="187"/>
                    </a:lnTo>
                    <a:lnTo>
                      <a:pt x="349" y="187"/>
                    </a:lnTo>
                    <a:lnTo>
                      <a:pt x="349" y="187"/>
                    </a:lnTo>
                    <a:lnTo>
                      <a:pt x="346" y="187"/>
                    </a:lnTo>
                    <a:lnTo>
                      <a:pt x="346" y="187"/>
                    </a:lnTo>
                    <a:lnTo>
                      <a:pt x="344" y="187"/>
                    </a:lnTo>
                    <a:lnTo>
                      <a:pt x="343" y="187"/>
                    </a:lnTo>
                    <a:lnTo>
                      <a:pt x="340" y="187"/>
                    </a:lnTo>
                    <a:lnTo>
                      <a:pt x="338" y="187"/>
                    </a:lnTo>
                    <a:lnTo>
                      <a:pt x="336" y="188"/>
                    </a:lnTo>
                    <a:lnTo>
                      <a:pt x="333" y="187"/>
                    </a:lnTo>
                    <a:lnTo>
                      <a:pt x="332" y="187"/>
                    </a:lnTo>
                    <a:lnTo>
                      <a:pt x="332" y="183"/>
                    </a:lnTo>
                    <a:lnTo>
                      <a:pt x="332" y="183"/>
                    </a:lnTo>
                    <a:lnTo>
                      <a:pt x="332" y="183"/>
                    </a:lnTo>
                    <a:lnTo>
                      <a:pt x="327" y="187"/>
                    </a:lnTo>
                    <a:lnTo>
                      <a:pt x="325" y="187"/>
                    </a:lnTo>
                    <a:lnTo>
                      <a:pt x="322" y="185"/>
                    </a:lnTo>
                    <a:lnTo>
                      <a:pt x="321" y="183"/>
                    </a:lnTo>
                    <a:lnTo>
                      <a:pt x="319" y="183"/>
                    </a:lnTo>
                    <a:lnTo>
                      <a:pt x="318" y="183"/>
                    </a:lnTo>
                    <a:lnTo>
                      <a:pt x="316" y="182"/>
                    </a:lnTo>
                    <a:lnTo>
                      <a:pt x="315" y="182"/>
                    </a:lnTo>
                    <a:lnTo>
                      <a:pt x="313" y="182"/>
                    </a:lnTo>
                    <a:lnTo>
                      <a:pt x="311" y="183"/>
                    </a:lnTo>
                    <a:lnTo>
                      <a:pt x="310" y="183"/>
                    </a:lnTo>
                    <a:lnTo>
                      <a:pt x="308" y="182"/>
                    </a:lnTo>
                    <a:lnTo>
                      <a:pt x="308" y="180"/>
                    </a:lnTo>
                    <a:lnTo>
                      <a:pt x="308" y="179"/>
                    </a:lnTo>
                    <a:lnTo>
                      <a:pt x="307" y="179"/>
                    </a:lnTo>
                    <a:lnTo>
                      <a:pt x="307" y="179"/>
                    </a:lnTo>
                    <a:lnTo>
                      <a:pt x="305" y="179"/>
                    </a:lnTo>
                    <a:lnTo>
                      <a:pt x="304" y="179"/>
                    </a:lnTo>
                    <a:lnTo>
                      <a:pt x="300" y="180"/>
                    </a:lnTo>
                    <a:lnTo>
                      <a:pt x="300" y="180"/>
                    </a:lnTo>
                    <a:lnTo>
                      <a:pt x="299" y="180"/>
                    </a:lnTo>
                    <a:lnTo>
                      <a:pt x="299" y="179"/>
                    </a:lnTo>
                    <a:lnTo>
                      <a:pt x="299" y="179"/>
                    </a:lnTo>
                    <a:lnTo>
                      <a:pt x="299" y="179"/>
                    </a:lnTo>
                    <a:lnTo>
                      <a:pt x="297" y="177"/>
                    </a:lnTo>
                    <a:lnTo>
                      <a:pt x="297" y="177"/>
                    </a:lnTo>
                    <a:lnTo>
                      <a:pt x="296" y="177"/>
                    </a:lnTo>
                    <a:lnTo>
                      <a:pt x="294" y="177"/>
                    </a:lnTo>
                    <a:lnTo>
                      <a:pt x="290" y="174"/>
                    </a:lnTo>
                    <a:lnTo>
                      <a:pt x="290" y="174"/>
                    </a:lnTo>
                    <a:lnTo>
                      <a:pt x="290" y="171"/>
                    </a:lnTo>
                    <a:lnTo>
                      <a:pt x="290" y="171"/>
                    </a:lnTo>
                    <a:lnTo>
                      <a:pt x="290" y="169"/>
                    </a:lnTo>
                    <a:lnTo>
                      <a:pt x="286" y="168"/>
                    </a:lnTo>
                    <a:lnTo>
                      <a:pt x="282" y="166"/>
                    </a:lnTo>
                    <a:lnTo>
                      <a:pt x="280" y="165"/>
                    </a:lnTo>
                    <a:lnTo>
                      <a:pt x="279" y="166"/>
                    </a:lnTo>
                    <a:lnTo>
                      <a:pt x="277" y="166"/>
                    </a:lnTo>
                    <a:lnTo>
                      <a:pt x="275" y="168"/>
                    </a:lnTo>
                    <a:lnTo>
                      <a:pt x="274" y="168"/>
                    </a:lnTo>
                    <a:lnTo>
                      <a:pt x="271" y="166"/>
                    </a:lnTo>
                    <a:lnTo>
                      <a:pt x="269" y="166"/>
                    </a:lnTo>
                    <a:lnTo>
                      <a:pt x="268" y="166"/>
                    </a:lnTo>
                    <a:lnTo>
                      <a:pt x="268" y="166"/>
                    </a:lnTo>
                    <a:lnTo>
                      <a:pt x="266" y="168"/>
                    </a:lnTo>
                    <a:lnTo>
                      <a:pt x="265" y="168"/>
                    </a:lnTo>
                    <a:lnTo>
                      <a:pt x="261" y="166"/>
                    </a:lnTo>
                    <a:lnTo>
                      <a:pt x="260" y="166"/>
                    </a:lnTo>
                    <a:lnTo>
                      <a:pt x="257" y="165"/>
                    </a:lnTo>
                    <a:lnTo>
                      <a:pt x="255" y="163"/>
                    </a:lnTo>
                    <a:lnTo>
                      <a:pt x="255" y="162"/>
                    </a:lnTo>
                    <a:lnTo>
                      <a:pt x="255" y="162"/>
                    </a:lnTo>
                    <a:lnTo>
                      <a:pt x="254" y="162"/>
                    </a:lnTo>
                    <a:lnTo>
                      <a:pt x="250" y="162"/>
                    </a:lnTo>
                    <a:lnTo>
                      <a:pt x="249" y="160"/>
                    </a:lnTo>
                    <a:lnTo>
                      <a:pt x="246" y="158"/>
                    </a:lnTo>
                    <a:lnTo>
                      <a:pt x="246" y="158"/>
                    </a:lnTo>
                    <a:lnTo>
                      <a:pt x="244" y="157"/>
                    </a:lnTo>
                    <a:lnTo>
                      <a:pt x="243" y="157"/>
                    </a:lnTo>
                    <a:lnTo>
                      <a:pt x="243" y="157"/>
                    </a:lnTo>
                    <a:lnTo>
                      <a:pt x="243" y="157"/>
                    </a:lnTo>
                    <a:lnTo>
                      <a:pt x="241" y="158"/>
                    </a:lnTo>
                    <a:lnTo>
                      <a:pt x="241" y="158"/>
                    </a:lnTo>
                    <a:lnTo>
                      <a:pt x="239" y="157"/>
                    </a:lnTo>
                    <a:lnTo>
                      <a:pt x="236" y="155"/>
                    </a:lnTo>
                    <a:lnTo>
                      <a:pt x="235" y="154"/>
                    </a:lnTo>
                    <a:lnTo>
                      <a:pt x="232" y="152"/>
                    </a:lnTo>
                    <a:lnTo>
                      <a:pt x="230" y="151"/>
                    </a:lnTo>
                    <a:lnTo>
                      <a:pt x="229" y="149"/>
                    </a:lnTo>
                    <a:lnTo>
                      <a:pt x="229" y="149"/>
                    </a:lnTo>
                    <a:lnTo>
                      <a:pt x="225" y="147"/>
                    </a:lnTo>
                    <a:lnTo>
                      <a:pt x="224" y="146"/>
                    </a:lnTo>
                    <a:lnTo>
                      <a:pt x="221" y="144"/>
                    </a:lnTo>
                    <a:lnTo>
                      <a:pt x="221" y="144"/>
                    </a:lnTo>
                    <a:lnTo>
                      <a:pt x="219" y="144"/>
                    </a:lnTo>
                    <a:lnTo>
                      <a:pt x="219" y="143"/>
                    </a:lnTo>
                    <a:lnTo>
                      <a:pt x="218" y="143"/>
                    </a:lnTo>
                    <a:lnTo>
                      <a:pt x="218" y="143"/>
                    </a:lnTo>
                    <a:lnTo>
                      <a:pt x="218" y="143"/>
                    </a:lnTo>
                    <a:lnTo>
                      <a:pt x="218" y="143"/>
                    </a:lnTo>
                    <a:lnTo>
                      <a:pt x="216" y="143"/>
                    </a:lnTo>
                    <a:lnTo>
                      <a:pt x="216" y="143"/>
                    </a:lnTo>
                    <a:lnTo>
                      <a:pt x="216" y="143"/>
                    </a:lnTo>
                    <a:lnTo>
                      <a:pt x="214" y="143"/>
                    </a:lnTo>
                    <a:lnTo>
                      <a:pt x="211" y="141"/>
                    </a:lnTo>
                    <a:lnTo>
                      <a:pt x="211" y="140"/>
                    </a:lnTo>
                    <a:lnTo>
                      <a:pt x="210" y="140"/>
                    </a:lnTo>
                    <a:lnTo>
                      <a:pt x="210" y="140"/>
                    </a:lnTo>
                    <a:lnTo>
                      <a:pt x="208" y="138"/>
                    </a:lnTo>
                    <a:lnTo>
                      <a:pt x="210" y="135"/>
                    </a:lnTo>
                    <a:lnTo>
                      <a:pt x="210" y="133"/>
                    </a:lnTo>
                    <a:lnTo>
                      <a:pt x="211" y="133"/>
                    </a:lnTo>
                    <a:lnTo>
                      <a:pt x="211" y="132"/>
                    </a:lnTo>
                    <a:lnTo>
                      <a:pt x="211" y="132"/>
                    </a:lnTo>
                    <a:lnTo>
                      <a:pt x="213" y="129"/>
                    </a:lnTo>
                    <a:lnTo>
                      <a:pt x="213" y="127"/>
                    </a:lnTo>
                    <a:lnTo>
                      <a:pt x="213" y="124"/>
                    </a:lnTo>
                    <a:lnTo>
                      <a:pt x="214" y="121"/>
                    </a:lnTo>
                    <a:lnTo>
                      <a:pt x="218" y="118"/>
                    </a:lnTo>
                    <a:lnTo>
                      <a:pt x="219" y="116"/>
                    </a:lnTo>
                    <a:lnTo>
                      <a:pt x="219" y="116"/>
                    </a:lnTo>
                    <a:lnTo>
                      <a:pt x="221" y="116"/>
                    </a:lnTo>
                    <a:lnTo>
                      <a:pt x="222" y="113"/>
                    </a:lnTo>
                    <a:lnTo>
                      <a:pt x="222" y="113"/>
                    </a:lnTo>
                    <a:lnTo>
                      <a:pt x="222" y="113"/>
                    </a:lnTo>
                    <a:lnTo>
                      <a:pt x="222" y="113"/>
                    </a:lnTo>
                    <a:lnTo>
                      <a:pt x="224" y="111"/>
                    </a:lnTo>
                    <a:lnTo>
                      <a:pt x="225" y="111"/>
                    </a:lnTo>
                    <a:lnTo>
                      <a:pt x="225" y="111"/>
                    </a:lnTo>
                    <a:lnTo>
                      <a:pt x="225" y="110"/>
                    </a:lnTo>
                    <a:lnTo>
                      <a:pt x="224" y="110"/>
                    </a:lnTo>
                    <a:lnTo>
                      <a:pt x="221" y="108"/>
                    </a:lnTo>
                    <a:lnTo>
                      <a:pt x="221" y="107"/>
                    </a:lnTo>
                    <a:lnTo>
                      <a:pt x="219" y="107"/>
                    </a:lnTo>
                    <a:lnTo>
                      <a:pt x="218" y="107"/>
                    </a:lnTo>
                    <a:lnTo>
                      <a:pt x="214" y="105"/>
                    </a:lnTo>
                    <a:lnTo>
                      <a:pt x="213" y="104"/>
                    </a:lnTo>
                    <a:lnTo>
                      <a:pt x="211" y="104"/>
                    </a:lnTo>
                    <a:lnTo>
                      <a:pt x="211" y="104"/>
                    </a:lnTo>
                    <a:lnTo>
                      <a:pt x="211" y="104"/>
                    </a:lnTo>
                    <a:lnTo>
                      <a:pt x="211" y="102"/>
                    </a:lnTo>
                    <a:lnTo>
                      <a:pt x="211" y="101"/>
                    </a:lnTo>
                    <a:lnTo>
                      <a:pt x="211" y="99"/>
                    </a:lnTo>
                    <a:lnTo>
                      <a:pt x="210" y="99"/>
                    </a:lnTo>
                    <a:lnTo>
                      <a:pt x="207" y="97"/>
                    </a:lnTo>
                    <a:lnTo>
                      <a:pt x="207" y="97"/>
                    </a:lnTo>
                    <a:lnTo>
                      <a:pt x="207" y="97"/>
                    </a:lnTo>
                    <a:lnTo>
                      <a:pt x="205" y="97"/>
                    </a:lnTo>
                    <a:lnTo>
                      <a:pt x="205" y="96"/>
                    </a:lnTo>
                    <a:lnTo>
                      <a:pt x="202" y="96"/>
                    </a:lnTo>
                    <a:lnTo>
                      <a:pt x="200" y="96"/>
                    </a:lnTo>
                    <a:lnTo>
                      <a:pt x="199" y="96"/>
                    </a:lnTo>
                    <a:lnTo>
                      <a:pt x="197" y="94"/>
                    </a:lnTo>
                    <a:lnTo>
                      <a:pt x="196" y="93"/>
                    </a:lnTo>
                    <a:lnTo>
                      <a:pt x="194" y="90"/>
                    </a:lnTo>
                    <a:lnTo>
                      <a:pt x="193" y="86"/>
                    </a:lnTo>
                    <a:lnTo>
                      <a:pt x="191" y="86"/>
                    </a:lnTo>
                    <a:lnTo>
                      <a:pt x="191" y="86"/>
                    </a:lnTo>
                    <a:lnTo>
                      <a:pt x="191" y="86"/>
                    </a:lnTo>
                    <a:lnTo>
                      <a:pt x="189" y="88"/>
                    </a:lnTo>
                    <a:lnTo>
                      <a:pt x="189" y="88"/>
                    </a:lnTo>
                    <a:lnTo>
                      <a:pt x="189" y="88"/>
                    </a:lnTo>
                    <a:lnTo>
                      <a:pt x="189" y="88"/>
                    </a:lnTo>
                    <a:lnTo>
                      <a:pt x="189" y="88"/>
                    </a:lnTo>
                    <a:lnTo>
                      <a:pt x="188" y="90"/>
                    </a:lnTo>
                    <a:lnTo>
                      <a:pt x="188" y="90"/>
                    </a:lnTo>
                    <a:lnTo>
                      <a:pt x="186" y="90"/>
                    </a:lnTo>
                    <a:lnTo>
                      <a:pt x="186" y="90"/>
                    </a:lnTo>
                    <a:lnTo>
                      <a:pt x="186" y="90"/>
                    </a:lnTo>
                    <a:lnTo>
                      <a:pt x="186" y="88"/>
                    </a:lnTo>
                    <a:lnTo>
                      <a:pt x="186" y="86"/>
                    </a:lnTo>
                    <a:lnTo>
                      <a:pt x="186" y="85"/>
                    </a:lnTo>
                    <a:lnTo>
                      <a:pt x="186" y="83"/>
                    </a:lnTo>
                    <a:lnTo>
                      <a:pt x="186" y="82"/>
                    </a:lnTo>
                    <a:lnTo>
                      <a:pt x="186" y="82"/>
                    </a:lnTo>
                    <a:lnTo>
                      <a:pt x="185" y="80"/>
                    </a:lnTo>
                    <a:lnTo>
                      <a:pt x="185" y="79"/>
                    </a:lnTo>
                    <a:lnTo>
                      <a:pt x="185" y="77"/>
                    </a:lnTo>
                    <a:lnTo>
                      <a:pt x="185" y="77"/>
                    </a:lnTo>
                    <a:lnTo>
                      <a:pt x="186" y="76"/>
                    </a:lnTo>
                    <a:lnTo>
                      <a:pt x="186" y="76"/>
                    </a:lnTo>
                    <a:lnTo>
                      <a:pt x="186" y="76"/>
                    </a:lnTo>
                    <a:lnTo>
                      <a:pt x="185" y="74"/>
                    </a:lnTo>
                    <a:lnTo>
                      <a:pt x="182" y="71"/>
                    </a:lnTo>
                    <a:lnTo>
                      <a:pt x="182" y="69"/>
                    </a:lnTo>
                    <a:lnTo>
                      <a:pt x="182" y="68"/>
                    </a:lnTo>
                    <a:lnTo>
                      <a:pt x="180" y="66"/>
                    </a:lnTo>
                    <a:lnTo>
                      <a:pt x="180" y="65"/>
                    </a:lnTo>
                    <a:lnTo>
                      <a:pt x="180" y="65"/>
                    </a:lnTo>
                    <a:lnTo>
                      <a:pt x="180" y="63"/>
                    </a:lnTo>
                    <a:lnTo>
                      <a:pt x="180" y="63"/>
                    </a:lnTo>
                    <a:lnTo>
                      <a:pt x="182" y="63"/>
                    </a:lnTo>
                    <a:lnTo>
                      <a:pt x="185" y="63"/>
                    </a:lnTo>
                    <a:lnTo>
                      <a:pt x="185" y="63"/>
                    </a:lnTo>
                    <a:lnTo>
                      <a:pt x="186" y="63"/>
                    </a:lnTo>
                    <a:lnTo>
                      <a:pt x="186" y="65"/>
                    </a:lnTo>
                    <a:lnTo>
                      <a:pt x="186" y="65"/>
                    </a:lnTo>
                    <a:lnTo>
                      <a:pt x="188" y="66"/>
                    </a:lnTo>
                    <a:lnTo>
                      <a:pt x="189" y="68"/>
                    </a:lnTo>
                    <a:lnTo>
                      <a:pt x="191" y="68"/>
                    </a:lnTo>
                    <a:lnTo>
                      <a:pt x="191" y="66"/>
                    </a:lnTo>
                    <a:lnTo>
                      <a:pt x="193" y="65"/>
                    </a:lnTo>
                    <a:lnTo>
                      <a:pt x="194" y="65"/>
                    </a:lnTo>
                    <a:lnTo>
                      <a:pt x="194" y="65"/>
                    </a:lnTo>
                    <a:lnTo>
                      <a:pt x="194" y="65"/>
                    </a:lnTo>
                    <a:lnTo>
                      <a:pt x="194" y="63"/>
                    </a:lnTo>
                    <a:lnTo>
                      <a:pt x="194" y="60"/>
                    </a:lnTo>
                    <a:lnTo>
                      <a:pt x="194" y="58"/>
                    </a:lnTo>
                    <a:lnTo>
                      <a:pt x="194" y="58"/>
                    </a:lnTo>
                    <a:lnTo>
                      <a:pt x="194" y="58"/>
                    </a:lnTo>
                    <a:lnTo>
                      <a:pt x="194" y="57"/>
                    </a:lnTo>
                    <a:lnTo>
                      <a:pt x="194" y="55"/>
                    </a:lnTo>
                    <a:lnTo>
                      <a:pt x="193" y="54"/>
                    </a:lnTo>
                    <a:lnTo>
                      <a:pt x="193" y="54"/>
                    </a:lnTo>
                    <a:lnTo>
                      <a:pt x="193" y="52"/>
                    </a:lnTo>
                    <a:lnTo>
                      <a:pt x="193" y="52"/>
                    </a:lnTo>
                    <a:lnTo>
                      <a:pt x="193" y="50"/>
                    </a:lnTo>
                    <a:lnTo>
                      <a:pt x="193" y="49"/>
                    </a:lnTo>
                    <a:lnTo>
                      <a:pt x="191" y="49"/>
                    </a:lnTo>
                    <a:lnTo>
                      <a:pt x="191" y="47"/>
                    </a:lnTo>
                    <a:lnTo>
                      <a:pt x="189" y="47"/>
                    </a:lnTo>
                    <a:lnTo>
                      <a:pt x="189" y="46"/>
                    </a:lnTo>
                    <a:lnTo>
                      <a:pt x="189" y="46"/>
                    </a:lnTo>
                    <a:lnTo>
                      <a:pt x="188" y="44"/>
                    </a:lnTo>
                    <a:lnTo>
                      <a:pt x="186" y="44"/>
                    </a:lnTo>
                    <a:lnTo>
                      <a:pt x="186" y="40"/>
                    </a:lnTo>
                    <a:lnTo>
                      <a:pt x="186" y="36"/>
                    </a:lnTo>
                    <a:lnTo>
                      <a:pt x="186" y="36"/>
                    </a:lnTo>
                    <a:lnTo>
                      <a:pt x="186" y="35"/>
                    </a:lnTo>
                    <a:lnTo>
                      <a:pt x="186" y="33"/>
                    </a:lnTo>
                    <a:lnTo>
                      <a:pt x="186" y="33"/>
                    </a:lnTo>
                    <a:lnTo>
                      <a:pt x="186" y="32"/>
                    </a:lnTo>
                    <a:lnTo>
                      <a:pt x="186" y="32"/>
                    </a:lnTo>
                    <a:lnTo>
                      <a:pt x="189" y="29"/>
                    </a:lnTo>
                    <a:lnTo>
                      <a:pt x="189" y="29"/>
                    </a:lnTo>
                    <a:lnTo>
                      <a:pt x="189" y="27"/>
                    </a:lnTo>
                    <a:lnTo>
                      <a:pt x="189" y="27"/>
                    </a:lnTo>
                    <a:lnTo>
                      <a:pt x="189" y="25"/>
                    </a:lnTo>
                    <a:lnTo>
                      <a:pt x="189" y="25"/>
                    </a:lnTo>
                    <a:lnTo>
                      <a:pt x="188" y="25"/>
                    </a:lnTo>
                    <a:lnTo>
                      <a:pt x="186" y="24"/>
                    </a:lnTo>
                    <a:lnTo>
                      <a:pt x="185" y="22"/>
                    </a:lnTo>
                    <a:lnTo>
                      <a:pt x="185" y="22"/>
                    </a:lnTo>
                    <a:lnTo>
                      <a:pt x="182" y="21"/>
                    </a:lnTo>
                    <a:lnTo>
                      <a:pt x="179" y="21"/>
                    </a:lnTo>
                    <a:lnTo>
                      <a:pt x="179" y="19"/>
                    </a:lnTo>
                    <a:lnTo>
                      <a:pt x="177" y="16"/>
                    </a:lnTo>
                    <a:lnTo>
                      <a:pt x="175" y="13"/>
                    </a:lnTo>
                    <a:lnTo>
                      <a:pt x="174" y="8"/>
                    </a:lnTo>
                    <a:lnTo>
                      <a:pt x="174" y="7"/>
                    </a:lnTo>
                    <a:lnTo>
                      <a:pt x="174" y="5"/>
                    </a:lnTo>
                    <a:lnTo>
                      <a:pt x="174" y="2"/>
                    </a:lnTo>
                    <a:lnTo>
                      <a:pt x="174" y="2"/>
                    </a:lnTo>
                    <a:lnTo>
                      <a:pt x="174" y="2"/>
                    </a:lnTo>
                    <a:lnTo>
                      <a:pt x="174" y="2"/>
                    </a:lnTo>
                    <a:lnTo>
                      <a:pt x="174" y="2"/>
                    </a:lnTo>
                    <a:lnTo>
                      <a:pt x="172" y="2"/>
                    </a:lnTo>
                    <a:lnTo>
                      <a:pt x="171" y="2"/>
                    </a:lnTo>
                    <a:lnTo>
                      <a:pt x="171" y="2"/>
                    </a:lnTo>
                    <a:lnTo>
                      <a:pt x="169" y="2"/>
                    </a:lnTo>
                    <a:lnTo>
                      <a:pt x="169" y="0"/>
                    </a:lnTo>
                    <a:lnTo>
                      <a:pt x="169" y="0"/>
                    </a:lnTo>
                    <a:lnTo>
                      <a:pt x="169" y="0"/>
                    </a:lnTo>
                    <a:lnTo>
                      <a:pt x="169" y="2"/>
                    </a:lnTo>
                    <a:lnTo>
                      <a:pt x="168" y="2"/>
                    </a:lnTo>
                    <a:lnTo>
                      <a:pt x="166" y="4"/>
                    </a:lnTo>
                    <a:lnTo>
                      <a:pt x="166" y="4"/>
                    </a:lnTo>
                    <a:lnTo>
                      <a:pt x="163" y="5"/>
                    </a:lnTo>
                    <a:lnTo>
                      <a:pt x="160" y="7"/>
                    </a:lnTo>
                    <a:lnTo>
                      <a:pt x="158" y="8"/>
                    </a:lnTo>
                    <a:lnTo>
                      <a:pt x="157" y="10"/>
                    </a:lnTo>
                    <a:lnTo>
                      <a:pt x="157" y="10"/>
                    </a:lnTo>
                    <a:lnTo>
                      <a:pt x="157" y="10"/>
                    </a:lnTo>
                    <a:lnTo>
                      <a:pt x="155" y="11"/>
                    </a:lnTo>
                    <a:lnTo>
                      <a:pt x="155" y="11"/>
                    </a:lnTo>
                    <a:lnTo>
                      <a:pt x="154" y="13"/>
                    </a:lnTo>
                    <a:lnTo>
                      <a:pt x="152" y="14"/>
                    </a:lnTo>
                    <a:lnTo>
                      <a:pt x="150" y="14"/>
                    </a:lnTo>
                    <a:lnTo>
                      <a:pt x="150" y="14"/>
                    </a:lnTo>
                    <a:lnTo>
                      <a:pt x="150" y="16"/>
                    </a:lnTo>
                    <a:lnTo>
                      <a:pt x="149" y="18"/>
                    </a:lnTo>
                    <a:lnTo>
                      <a:pt x="147" y="18"/>
                    </a:lnTo>
                    <a:lnTo>
                      <a:pt x="146" y="18"/>
                    </a:lnTo>
                    <a:lnTo>
                      <a:pt x="146" y="18"/>
                    </a:lnTo>
                    <a:lnTo>
                      <a:pt x="141" y="19"/>
                    </a:lnTo>
                    <a:lnTo>
                      <a:pt x="138" y="19"/>
                    </a:lnTo>
                    <a:lnTo>
                      <a:pt x="138" y="19"/>
                    </a:lnTo>
                    <a:lnTo>
                      <a:pt x="136" y="21"/>
                    </a:lnTo>
                    <a:lnTo>
                      <a:pt x="135" y="21"/>
                    </a:lnTo>
                    <a:lnTo>
                      <a:pt x="133" y="22"/>
                    </a:lnTo>
                    <a:lnTo>
                      <a:pt x="132" y="22"/>
                    </a:lnTo>
                    <a:lnTo>
                      <a:pt x="128" y="22"/>
                    </a:lnTo>
                    <a:lnTo>
                      <a:pt x="125" y="21"/>
                    </a:lnTo>
                    <a:lnTo>
                      <a:pt x="124" y="19"/>
                    </a:lnTo>
                    <a:lnTo>
                      <a:pt x="122" y="19"/>
                    </a:lnTo>
                    <a:lnTo>
                      <a:pt x="119" y="19"/>
                    </a:lnTo>
                    <a:lnTo>
                      <a:pt x="116" y="19"/>
                    </a:lnTo>
                    <a:lnTo>
                      <a:pt x="113" y="18"/>
                    </a:lnTo>
                    <a:lnTo>
                      <a:pt x="111" y="18"/>
                    </a:lnTo>
                    <a:lnTo>
                      <a:pt x="108" y="16"/>
                    </a:lnTo>
                    <a:lnTo>
                      <a:pt x="108" y="16"/>
                    </a:lnTo>
                    <a:lnTo>
                      <a:pt x="105" y="18"/>
                    </a:lnTo>
                    <a:lnTo>
                      <a:pt x="103" y="19"/>
                    </a:lnTo>
                    <a:lnTo>
                      <a:pt x="102" y="19"/>
                    </a:lnTo>
                    <a:lnTo>
                      <a:pt x="100" y="22"/>
                    </a:lnTo>
                    <a:lnTo>
                      <a:pt x="100" y="22"/>
                    </a:lnTo>
                    <a:lnTo>
                      <a:pt x="99" y="24"/>
                    </a:lnTo>
                    <a:lnTo>
                      <a:pt x="99" y="25"/>
                    </a:lnTo>
                    <a:lnTo>
                      <a:pt x="99" y="25"/>
                    </a:lnTo>
                    <a:lnTo>
                      <a:pt x="102" y="27"/>
                    </a:lnTo>
                    <a:lnTo>
                      <a:pt x="102" y="29"/>
                    </a:lnTo>
                    <a:lnTo>
                      <a:pt x="102" y="29"/>
                    </a:lnTo>
                    <a:lnTo>
                      <a:pt x="102" y="29"/>
                    </a:lnTo>
                    <a:lnTo>
                      <a:pt x="102" y="30"/>
                    </a:lnTo>
                    <a:lnTo>
                      <a:pt x="100" y="30"/>
                    </a:lnTo>
                    <a:lnTo>
                      <a:pt x="100" y="32"/>
                    </a:lnTo>
                    <a:lnTo>
                      <a:pt x="102" y="32"/>
                    </a:lnTo>
                    <a:lnTo>
                      <a:pt x="102" y="33"/>
                    </a:lnTo>
                    <a:lnTo>
                      <a:pt x="105" y="33"/>
                    </a:lnTo>
                    <a:lnTo>
                      <a:pt x="107" y="33"/>
                    </a:lnTo>
                    <a:lnTo>
                      <a:pt x="107" y="33"/>
                    </a:lnTo>
                    <a:lnTo>
                      <a:pt x="107" y="33"/>
                    </a:lnTo>
                    <a:lnTo>
                      <a:pt x="107" y="35"/>
                    </a:lnTo>
                    <a:lnTo>
                      <a:pt x="107" y="35"/>
                    </a:lnTo>
                    <a:lnTo>
                      <a:pt x="107" y="35"/>
                    </a:lnTo>
                    <a:lnTo>
                      <a:pt x="103" y="36"/>
                    </a:lnTo>
                    <a:lnTo>
                      <a:pt x="103" y="38"/>
                    </a:lnTo>
                    <a:lnTo>
                      <a:pt x="102" y="40"/>
                    </a:lnTo>
                    <a:lnTo>
                      <a:pt x="102" y="40"/>
                    </a:lnTo>
                    <a:lnTo>
                      <a:pt x="103" y="41"/>
                    </a:lnTo>
                    <a:lnTo>
                      <a:pt x="103" y="41"/>
                    </a:lnTo>
                    <a:lnTo>
                      <a:pt x="105" y="43"/>
                    </a:lnTo>
                    <a:lnTo>
                      <a:pt x="105" y="43"/>
                    </a:lnTo>
                    <a:lnTo>
                      <a:pt x="105" y="44"/>
                    </a:lnTo>
                    <a:lnTo>
                      <a:pt x="105" y="46"/>
                    </a:lnTo>
                    <a:lnTo>
                      <a:pt x="103" y="47"/>
                    </a:lnTo>
                    <a:lnTo>
                      <a:pt x="103" y="47"/>
                    </a:lnTo>
                    <a:lnTo>
                      <a:pt x="102" y="49"/>
                    </a:lnTo>
                    <a:lnTo>
                      <a:pt x="102" y="49"/>
                    </a:lnTo>
                    <a:lnTo>
                      <a:pt x="103" y="50"/>
                    </a:lnTo>
                    <a:lnTo>
                      <a:pt x="103" y="50"/>
                    </a:lnTo>
                    <a:lnTo>
                      <a:pt x="105" y="52"/>
                    </a:lnTo>
                    <a:lnTo>
                      <a:pt x="107" y="54"/>
                    </a:lnTo>
                    <a:lnTo>
                      <a:pt x="107" y="54"/>
                    </a:lnTo>
                    <a:lnTo>
                      <a:pt x="108" y="54"/>
                    </a:lnTo>
                    <a:lnTo>
                      <a:pt x="108" y="54"/>
                    </a:lnTo>
                    <a:lnTo>
                      <a:pt x="108" y="54"/>
                    </a:lnTo>
                    <a:lnTo>
                      <a:pt x="108" y="54"/>
                    </a:lnTo>
                    <a:lnTo>
                      <a:pt x="108" y="55"/>
                    </a:lnTo>
                    <a:lnTo>
                      <a:pt x="108" y="57"/>
                    </a:lnTo>
                    <a:lnTo>
                      <a:pt x="108" y="57"/>
                    </a:lnTo>
                    <a:lnTo>
                      <a:pt x="108" y="57"/>
                    </a:lnTo>
                    <a:lnTo>
                      <a:pt x="108" y="58"/>
                    </a:lnTo>
                    <a:lnTo>
                      <a:pt x="110" y="58"/>
                    </a:lnTo>
                    <a:lnTo>
                      <a:pt x="111" y="58"/>
                    </a:lnTo>
                    <a:lnTo>
                      <a:pt x="113" y="58"/>
                    </a:lnTo>
                    <a:lnTo>
                      <a:pt x="114" y="58"/>
                    </a:lnTo>
                    <a:lnTo>
                      <a:pt x="114" y="58"/>
                    </a:lnTo>
                    <a:lnTo>
                      <a:pt x="114" y="58"/>
                    </a:lnTo>
                    <a:lnTo>
                      <a:pt x="114" y="61"/>
                    </a:lnTo>
                    <a:lnTo>
                      <a:pt x="114" y="61"/>
                    </a:lnTo>
                    <a:lnTo>
                      <a:pt x="114" y="65"/>
                    </a:lnTo>
                    <a:lnTo>
                      <a:pt x="114" y="65"/>
                    </a:lnTo>
                    <a:lnTo>
                      <a:pt x="116" y="65"/>
                    </a:lnTo>
                    <a:lnTo>
                      <a:pt x="118" y="65"/>
                    </a:lnTo>
                    <a:lnTo>
                      <a:pt x="121" y="65"/>
                    </a:lnTo>
                    <a:lnTo>
                      <a:pt x="122" y="66"/>
                    </a:lnTo>
                    <a:lnTo>
                      <a:pt x="124" y="68"/>
                    </a:lnTo>
                    <a:lnTo>
                      <a:pt x="125" y="68"/>
                    </a:lnTo>
                    <a:lnTo>
                      <a:pt x="125" y="68"/>
                    </a:lnTo>
                    <a:lnTo>
                      <a:pt x="127" y="69"/>
                    </a:lnTo>
                    <a:lnTo>
                      <a:pt x="125" y="71"/>
                    </a:lnTo>
                    <a:lnTo>
                      <a:pt x="125" y="72"/>
                    </a:lnTo>
                    <a:lnTo>
                      <a:pt x="125" y="72"/>
                    </a:lnTo>
                    <a:lnTo>
                      <a:pt x="122" y="72"/>
                    </a:lnTo>
                    <a:lnTo>
                      <a:pt x="122" y="72"/>
                    </a:lnTo>
                    <a:lnTo>
                      <a:pt x="122" y="72"/>
                    </a:lnTo>
                    <a:lnTo>
                      <a:pt x="116" y="76"/>
                    </a:lnTo>
                    <a:lnTo>
                      <a:pt x="114" y="77"/>
                    </a:lnTo>
                    <a:lnTo>
                      <a:pt x="113" y="79"/>
                    </a:lnTo>
                    <a:lnTo>
                      <a:pt x="111" y="80"/>
                    </a:lnTo>
                    <a:lnTo>
                      <a:pt x="111" y="80"/>
                    </a:lnTo>
                    <a:lnTo>
                      <a:pt x="113" y="85"/>
                    </a:lnTo>
                    <a:lnTo>
                      <a:pt x="113" y="85"/>
                    </a:lnTo>
                    <a:lnTo>
                      <a:pt x="113" y="90"/>
                    </a:lnTo>
                    <a:lnTo>
                      <a:pt x="111" y="91"/>
                    </a:lnTo>
                    <a:lnTo>
                      <a:pt x="113" y="93"/>
                    </a:lnTo>
                    <a:lnTo>
                      <a:pt x="113" y="93"/>
                    </a:lnTo>
                    <a:lnTo>
                      <a:pt x="113" y="93"/>
                    </a:lnTo>
                    <a:lnTo>
                      <a:pt x="114" y="94"/>
                    </a:lnTo>
                    <a:lnTo>
                      <a:pt x="114" y="94"/>
                    </a:lnTo>
                    <a:lnTo>
                      <a:pt x="114" y="94"/>
                    </a:lnTo>
                    <a:lnTo>
                      <a:pt x="111" y="96"/>
                    </a:lnTo>
                    <a:lnTo>
                      <a:pt x="111" y="96"/>
                    </a:lnTo>
                    <a:lnTo>
                      <a:pt x="110" y="97"/>
                    </a:lnTo>
                    <a:lnTo>
                      <a:pt x="108" y="97"/>
                    </a:lnTo>
                    <a:lnTo>
                      <a:pt x="108" y="97"/>
                    </a:lnTo>
                    <a:lnTo>
                      <a:pt x="107" y="101"/>
                    </a:lnTo>
                    <a:lnTo>
                      <a:pt x="105" y="102"/>
                    </a:lnTo>
                    <a:lnTo>
                      <a:pt x="103" y="105"/>
                    </a:lnTo>
                    <a:lnTo>
                      <a:pt x="102" y="105"/>
                    </a:lnTo>
                    <a:lnTo>
                      <a:pt x="100" y="107"/>
                    </a:lnTo>
                    <a:lnTo>
                      <a:pt x="100" y="107"/>
                    </a:lnTo>
                    <a:lnTo>
                      <a:pt x="100" y="107"/>
                    </a:lnTo>
                    <a:lnTo>
                      <a:pt x="100" y="108"/>
                    </a:lnTo>
                    <a:lnTo>
                      <a:pt x="100" y="108"/>
                    </a:lnTo>
                    <a:lnTo>
                      <a:pt x="102" y="110"/>
                    </a:lnTo>
                    <a:lnTo>
                      <a:pt x="102" y="111"/>
                    </a:lnTo>
                    <a:lnTo>
                      <a:pt x="100" y="111"/>
                    </a:lnTo>
                    <a:lnTo>
                      <a:pt x="100" y="111"/>
                    </a:lnTo>
                    <a:lnTo>
                      <a:pt x="99" y="113"/>
                    </a:lnTo>
                    <a:lnTo>
                      <a:pt x="97" y="115"/>
                    </a:lnTo>
                    <a:lnTo>
                      <a:pt x="94" y="116"/>
                    </a:lnTo>
                    <a:lnTo>
                      <a:pt x="93" y="116"/>
                    </a:lnTo>
                    <a:lnTo>
                      <a:pt x="91" y="119"/>
                    </a:lnTo>
                    <a:lnTo>
                      <a:pt x="89" y="124"/>
                    </a:lnTo>
                    <a:lnTo>
                      <a:pt x="89" y="124"/>
                    </a:lnTo>
                    <a:lnTo>
                      <a:pt x="89" y="124"/>
                    </a:lnTo>
                    <a:lnTo>
                      <a:pt x="88" y="129"/>
                    </a:lnTo>
                    <a:lnTo>
                      <a:pt x="85" y="133"/>
                    </a:lnTo>
                    <a:lnTo>
                      <a:pt x="83" y="135"/>
                    </a:lnTo>
                    <a:lnTo>
                      <a:pt x="83" y="135"/>
                    </a:lnTo>
                    <a:lnTo>
                      <a:pt x="78" y="138"/>
                    </a:lnTo>
                    <a:lnTo>
                      <a:pt x="74" y="141"/>
                    </a:lnTo>
                    <a:lnTo>
                      <a:pt x="72" y="141"/>
                    </a:lnTo>
                    <a:lnTo>
                      <a:pt x="72" y="144"/>
                    </a:lnTo>
                    <a:lnTo>
                      <a:pt x="71" y="147"/>
                    </a:lnTo>
                    <a:lnTo>
                      <a:pt x="71" y="147"/>
                    </a:lnTo>
                    <a:lnTo>
                      <a:pt x="71" y="149"/>
                    </a:lnTo>
                    <a:lnTo>
                      <a:pt x="68" y="152"/>
                    </a:lnTo>
                    <a:lnTo>
                      <a:pt x="66" y="154"/>
                    </a:lnTo>
                    <a:lnTo>
                      <a:pt x="66" y="154"/>
                    </a:lnTo>
                    <a:lnTo>
                      <a:pt x="66" y="155"/>
                    </a:lnTo>
                    <a:lnTo>
                      <a:pt x="66" y="157"/>
                    </a:lnTo>
                    <a:lnTo>
                      <a:pt x="66" y="157"/>
                    </a:lnTo>
                    <a:lnTo>
                      <a:pt x="63" y="157"/>
                    </a:lnTo>
                    <a:lnTo>
                      <a:pt x="61" y="157"/>
                    </a:lnTo>
                    <a:lnTo>
                      <a:pt x="60" y="158"/>
                    </a:lnTo>
                    <a:lnTo>
                      <a:pt x="57" y="158"/>
                    </a:lnTo>
                    <a:lnTo>
                      <a:pt x="55" y="158"/>
                    </a:lnTo>
                    <a:lnTo>
                      <a:pt x="55" y="158"/>
                    </a:lnTo>
                    <a:lnTo>
                      <a:pt x="53" y="158"/>
                    </a:lnTo>
                    <a:lnTo>
                      <a:pt x="53" y="158"/>
                    </a:lnTo>
                    <a:lnTo>
                      <a:pt x="47" y="162"/>
                    </a:lnTo>
                    <a:lnTo>
                      <a:pt x="47" y="162"/>
                    </a:lnTo>
                    <a:lnTo>
                      <a:pt x="47" y="162"/>
                    </a:lnTo>
                    <a:lnTo>
                      <a:pt x="46" y="160"/>
                    </a:lnTo>
                    <a:lnTo>
                      <a:pt x="44" y="160"/>
                    </a:lnTo>
                    <a:lnTo>
                      <a:pt x="44" y="158"/>
                    </a:lnTo>
                    <a:lnTo>
                      <a:pt x="44" y="158"/>
                    </a:lnTo>
                    <a:lnTo>
                      <a:pt x="44" y="157"/>
                    </a:lnTo>
                    <a:lnTo>
                      <a:pt x="44" y="157"/>
                    </a:lnTo>
                    <a:lnTo>
                      <a:pt x="42" y="155"/>
                    </a:lnTo>
                    <a:lnTo>
                      <a:pt x="41" y="155"/>
                    </a:lnTo>
                    <a:lnTo>
                      <a:pt x="39" y="155"/>
                    </a:lnTo>
                    <a:lnTo>
                      <a:pt x="38" y="155"/>
                    </a:lnTo>
                    <a:lnTo>
                      <a:pt x="36" y="157"/>
                    </a:lnTo>
                    <a:lnTo>
                      <a:pt x="36" y="157"/>
                    </a:lnTo>
                    <a:lnTo>
                      <a:pt x="35" y="158"/>
                    </a:lnTo>
                    <a:lnTo>
                      <a:pt x="33" y="162"/>
                    </a:lnTo>
                    <a:lnTo>
                      <a:pt x="30" y="166"/>
                    </a:lnTo>
                    <a:lnTo>
                      <a:pt x="30" y="166"/>
                    </a:lnTo>
                    <a:lnTo>
                      <a:pt x="28" y="169"/>
                    </a:lnTo>
                    <a:lnTo>
                      <a:pt x="28" y="169"/>
                    </a:lnTo>
                    <a:lnTo>
                      <a:pt x="27" y="169"/>
                    </a:lnTo>
                    <a:lnTo>
                      <a:pt x="25" y="171"/>
                    </a:lnTo>
                    <a:lnTo>
                      <a:pt x="25" y="171"/>
                    </a:lnTo>
                    <a:lnTo>
                      <a:pt x="25" y="171"/>
                    </a:lnTo>
                    <a:lnTo>
                      <a:pt x="24" y="173"/>
                    </a:lnTo>
                    <a:lnTo>
                      <a:pt x="24" y="176"/>
                    </a:lnTo>
                    <a:lnTo>
                      <a:pt x="24" y="179"/>
                    </a:lnTo>
                    <a:lnTo>
                      <a:pt x="24" y="180"/>
                    </a:lnTo>
                    <a:lnTo>
                      <a:pt x="24" y="180"/>
                    </a:lnTo>
                    <a:lnTo>
                      <a:pt x="25" y="180"/>
                    </a:lnTo>
                    <a:lnTo>
                      <a:pt x="28" y="182"/>
                    </a:lnTo>
                    <a:lnTo>
                      <a:pt x="28" y="182"/>
                    </a:lnTo>
                    <a:lnTo>
                      <a:pt x="32" y="183"/>
                    </a:lnTo>
                    <a:lnTo>
                      <a:pt x="33" y="183"/>
                    </a:lnTo>
                    <a:lnTo>
                      <a:pt x="33" y="183"/>
                    </a:lnTo>
                    <a:lnTo>
                      <a:pt x="35" y="183"/>
                    </a:lnTo>
                    <a:lnTo>
                      <a:pt x="35" y="183"/>
                    </a:lnTo>
                    <a:lnTo>
                      <a:pt x="35" y="185"/>
                    </a:lnTo>
                    <a:lnTo>
                      <a:pt x="35" y="185"/>
                    </a:lnTo>
                    <a:lnTo>
                      <a:pt x="35" y="188"/>
                    </a:lnTo>
                    <a:lnTo>
                      <a:pt x="35" y="190"/>
                    </a:lnTo>
                    <a:lnTo>
                      <a:pt x="35" y="193"/>
                    </a:lnTo>
                    <a:lnTo>
                      <a:pt x="35" y="194"/>
                    </a:lnTo>
                    <a:lnTo>
                      <a:pt x="35" y="196"/>
                    </a:lnTo>
                    <a:lnTo>
                      <a:pt x="38" y="201"/>
                    </a:lnTo>
                    <a:lnTo>
                      <a:pt x="38" y="201"/>
                    </a:lnTo>
                    <a:lnTo>
                      <a:pt x="41" y="201"/>
                    </a:lnTo>
                    <a:lnTo>
                      <a:pt x="41" y="201"/>
                    </a:lnTo>
                    <a:lnTo>
                      <a:pt x="42" y="201"/>
                    </a:lnTo>
                    <a:lnTo>
                      <a:pt x="42" y="201"/>
                    </a:lnTo>
                    <a:lnTo>
                      <a:pt x="44" y="201"/>
                    </a:lnTo>
                    <a:lnTo>
                      <a:pt x="44" y="201"/>
                    </a:lnTo>
                    <a:lnTo>
                      <a:pt x="44" y="202"/>
                    </a:lnTo>
                    <a:lnTo>
                      <a:pt x="44" y="205"/>
                    </a:lnTo>
                    <a:lnTo>
                      <a:pt x="46" y="207"/>
                    </a:lnTo>
                    <a:lnTo>
                      <a:pt x="47" y="210"/>
                    </a:lnTo>
                    <a:lnTo>
                      <a:pt x="49" y="213"/>
                    </a:lnTo>
                    <a:lnTo>
                      <a:pt x="49" y="216"/>
                    </a:lnTo>
                    <a:lnTo>
                      <a:pt x="50" y="218"/>
                    </a:lnTo>
                    <a:lnTo>
                      <a:pt x="50" y="219"/>
                    </a:lnTo>
                    <a:lnTo>
                      <a:pt x="50" y="219"/>
                    </a:lnTo>
                    <a:lnTo>
                      <a:pt x="50" y="221"/>
                    </a:lnTo>
                    <a:lnTo>
                      <a:pt x="50" y="221"/>
                    </a:lnTo>
                    <a:lnTo>
                      <a:pt x="50" y="223"/>
                    </a:lnTo>
                    <a:lnTo>
                      <a:pt x="50" y="223"/>
                    </a:lnTo>
                    <a:lnTo>
                      <a:pt x="50" y="224"/>
                    </a:lnTo>
                    <a:lnTo>
                      <a:pt x="50" y="224"/>
                    </a:lnTo>
                    <a:lnTo>
                      <a:pt x="50" y="224"/>
                    </a:lnTo>
                    <a:lnTo>
                      <a:pt x="50" y="226"/>
                    </a:lnTo>
                    <a:lnTo>
                      <a:pt x="50" y="226"/>
                    </a:lnTo>
                    <a:lnTo>
                      <a:pt x="50" y="226"/>
                    </a:lnTo>
                    <a:lnTo>
                      <a:pt x="49" y="226"/>
                    </a:lnTo>
                    <a:lnTo>
                      <a:pt x="49" y="227"/>
                    </a:lnTo>
                    <a:lnTo>
                      <a:pt x="47" y="229"/>
                    </a:lnTo>
                    <a:lnTo>
                      <a:pt x="47" y="229"/>
                    </a:lnTo>
                    <a:lnTo>
                      <a:pt x="46" y="229"/>
                    </a:lnTo>
                    <a:lnTo>
                      <a:pt x="46" y="229"/>
                    </a:lnTo>
                    <a:lnTo>
                      <a:pt x="44" y="229"/>
                    </a:lnTo>
                    <a:lnTo>
                      <a:pt x="42" y="227"/>
                    </a:lnTo>
                    <a:lnTo>
                      <a:pt x="42" y="227"/>
                    </a:lnTo>
                    <a:lnTo>
                      <a:pt x="42" y="226"/>
                    </a:lnTo>
                    <a:lnTo>
                      <a:pt x="42" y="226"/>
                    </a:lnTo>
                    <a:lnTo>
                      <a:pt x="41" y="226"/>
                    </a:lnTo>
                    <a:lnTo>
                      <a:pt x="38" y="226"/>
                    </a:lnTo>
                    <a:lnTo>
                      <a:pt x="35" y="227"/>
                    </a:lnTo>
                    <a:lnTo>
                      <a:pt x="35" y="229"/>
                    </a:lnTo>
                    <a:lnTo>
                      <a:pt x="33" y="229"/>
                    </a:lnTo>
                    <a:lnTo>
                      <a:pt x="33" y="229"/>
                    </a:lnTo>
                    <a:lnTo>
                      <a:pt x="32" y="230"/>
                    </a:lnTo>
                    <a:lnTo>
                      <a:pt x="28" y="230"/>
                    </a:lnTo>
                    <a:lnTo>
                      <a:pt x="27" y="230"/>
                    </a:lnTo>
                    <a:lnTo>
                      <a:pt x="27" y="229"/>
                    </a:lnTo>
                    <a:lnTo>
                      <a:pt x="25" y="227"/>
                    </a:lnTo>
                    <a:lnTo>
                      <a:pt x="22" y="227"/>
                    </a:lnTo>
                    <a:lnTo>
                      <a:pt x="19" y="227"/>
                    </a:lnTo>
                    <a:lnTo>
                      <a:pt x="17" y="227"/>
                    </a:lnTo>
                    <a:lnTo>
                      <a:pt x="16" y="227"/>
                    </a:lnTo>
                    <a:lnTo>
                      <a:pt x="16" y="227"/>
                    </a:lnTo>
                    <a:lnTo>
                      <a:pt x="14" y="227"/>
                    </a:lnTo>
                    <a:lnTo>
                      <a:pt x="13" y="227"/>
                    </a:lnTo>
                    <a:lnTo>
                      <a:pt x="13" y="229"/>
                    </a:lnTo>
                    <a:lnTo>
                      <a:pt x="11" y="229"/>
                    </a:lnTo>
                    <a:lnTo>
                      <a:pt x="11" y="227"/>
                    </a:lnTo>
                    <a:lnTo>
                      <a:pt x="11" y="227"/>
                    </a:lnTo>
                    <a:lnTo>
                      <a:pt x="11" y="227"/>
                    </a:lnTo>
                    <a:lnTo>
                      <a:pt x="10" y="227"/>
                    </a:lnTo>
                    <a:lnTo>
                      <a:pt x="10" y="229"/>
                    </a:lnTo>
                    <a:lnTo>
                      <a:pt x="10" y="234"/>
                    </a:lnTo>
                    <a:lnTo>
                      <a:pt x="10" y="234"/>
                    </a:lnTo>
                    <a:lnTo>
                      <a:pt x="8" y="234"/>
                    </a:lnTo>
                    <a:lnTo>
                      <a:pt x="7" y="234"/>
                    </a:lnTo>
                    <a:lnTo>
                      <a:pt x="3" y="234"/>
                    </a:lnTo>
                    <a:lnTo>
                      <a:pt x="2" y="235"/>
                    </a:lnTo>
                    <a:lnTo>
                      <a:pt x="2" y="235"/>
                    </a:lnTo>
                    <a:lnTo>
                      <a:pt x="0" y="237"/>
                    </a:lnTo>
                    <a:lnTo>
                      <a:pt x="0" y="238"/>
                    </a:lnTo>
                    <a:lnTo>
                      <a:pt x="2" y="241"/>
                    </a:lnTo>
                    <a:lnTo>
                      <a:pt x="3" y="240"/>
                    </a:lnTo>
                    <a:lnTo>
                      <a:pt x="5" y="238"/>
                    </a:lnTo>
                    <a:lnTo>
                      <a:pt x="7" y="238"/>
                    </a:lnTo>
                    <a:lnTo>
                      <a:pt x="8" y="237"/>
                    </a:lnTo>
                    <a:lnTo>
                      <a:pt x="11" y="237"/>
                    </a:lnTo>
                    <a:lnTo>
                      <a:pt x="8" y="238"/>
                    </a:lnTo>
                    <a:lnTo>
                      <a:pt x="5" y="240"/>
                    </a:lnTo>
                    <a:lnTo>
                      <a:pt x="5" y="241"/>
                    </a:lnTo>
                    <a:lnTo>
                      <a:pt x="7" y="246"/>
                    </a:lnTo>
                    <a:lnTo>
                      <a:pt x="8" y="249"/>
                    </a:lnTo>
                    <a:lnTo>
                      <a:pt x="11" y="251"/>
                    </a:lnTo>
                    <a:lnTo>
                      <a:pt x="19" y="255"/>
                    </a:lnTo>
                    <a:lnTo>
                      <a:pt x="27" y="257"/>
                    </a:lnTo>
                    <a:lnTo>
                      <a:pt x="28" y="257"/>
                    </a:lnTo>
                    <a:lnTo>
                      <a:pt x="30" y="255"/>
                    </a:lnTo>
                    <a:lnTo>
                      <a:pt x="35" y="254"/>
                    </a:lnTo>
                    <a:lnTo>
                      <a:pt x="36" y="252"/>
                    </a:lnTo>
                    <a:lnTo>
                      <a:pt x="36" y="252"/>
                    </a:lnTo>
                    <a:lnTo>
                      <a:pt x="38" y="254"/>
                    </a:lnTo>
                    <a:lnTo>
                      <a:pt x="39" y="252"/>
                    </a:lnTo>
                    <a:lnTo>
                      <a:pt x="39" y="252"/>
                    </a:lnTo>
                    <a:lnTo>
                      <a:pt x="41" y="251"/>
                    </a:lnTo>
                    <a:lnTo>
                      <a:pt x="41" y="251"/>
                    </a:lnTo>
                    <a:lnTo>
                      <a:pt x="41" y="251"/>
                    </a:lnTo>
                    <a:lnTo>
                      <a:pt x="41" y="252"/>
                    </a:lnTo>
                    <a:lnTo>
                      <a:pt x="41" y="252"/>
                    </a:lnTo>
                    <a:lnTo>
                      <a:pt x="38" y="255"/>
                    </a:lnTo>
                    <a:lnTo>
                      <a:pt x="36" y="260"/>
                    </a:lnTo>
                    <a:lnTo>
                      <a:pt x="35" y="260"/>
                    </a:lnTo>
                    <a:lnTo>
                      <a:pt x="33" y="260"/>
                    </a:lnTo>
                    <a:lnTo>
                      <a:pt x="30" y="263"/>
                    </a:lnTo>
                    <a:lnTo>
                      <a:pt x="28" y="262"/>
                    </a:lnTo>
                    <a:lnTo>
                      <a:pt x="27" y="263"/>
                    </a:lnTo>
                    <a:lnTo>
                      <a:pt x="25" y="263"/>
                    </a:lnTo>
                    <a:lnTo>
                      <a:pt x="21" y="266"/>
                    </a:lnTo>
                    <a:lnTo>
                      <a:pt x="19" y="265"/>
                    </a:lnTo>
                    <a:lnTo>
                      <a:pt x="19" y="265"/>
                    </a:lnTo>
                    <a:lnTo>
                      <a:pt x="17" y="263"/>
                    </a:lnTo>
                    <a:lnTo>
                      <a:pt x="16" y="263"/>
                    </a:lnTo>
                    <a:lnTo>
                      <a:pt x="14" y="263"/>
                    </a:lnTo>
                    <a:lnTo>
                      <a:pt x="14" y="266"/>
                    </a:lnTo>
                    <a:lnTo>
                      <a:pt x="16" y="268"/>
                    </a:lnTo>
                    <a:lnTo>
                      <a:pt x="19" y="271"/>
                    </a:lnTo>
                    <a:lnTo>
                      <a:pt x="22" y="274"/>
                    </a:lnTo>
                    <a:lnTo>
                      <a:pt x="24" y="277"/>
                    </a:lnTo>
                    <a:lnTo>
                      <a:pt x="28" y="280"/>
                    </a:lnTo>
                    <a:lnTo>
                      <a:pt x="33" y="287"/>
                    </a:lnTo>
                    <a:lnTo>
                      <a:pt x="35" y="288"/>
                    </a:lnTo>
                    <a:lnTo>
                      <a:pt x="41" y="293"/>
                    </a:lnTo>
                    <a:lnTo>
                      <a:pt x="46" y="295"/>
                    </a:lnTo>
                    <a:lnTo>
                      <a:pt x="49" y="295"/>
                    </a:lnTo>
                    <a:lnTo>
                      <a:pt x="50" y="295"/>
                    </a:lnTo>
                    <a:lnTo>
                      <a:pt x="57" y="293"/>
                    </a:lnTo>
                    <a:lnTo>
                      <a:pt x="60" y="290"/>
                    </a:lnTo>
                    <a:lnTo>
                      <a:pt x="68" y="287"/>
                    </a:lnTo>
                    <a:lnTo>
                      <a:pt x="69" y="285"/>
                    </a:lnTo>
                    <a:lnTo>
                      <a:pt x="72" y="280"/>
                    </a:lnTo>
                    <a:lnTo>
                      <a:pt x="72" y="277"/>
                    </a:lnTo>
                    <a:lnTo>
                      <a:pt x="71" y="276"/>
                    </a:lnTo>
                    <a:lnTo>
                      <a:pt x="71" y="276"/>
                    </a:lnTo>
                    <a:lnTo>
                      <a:pt x="69" y="274"/>
                    </a:lnTo>
                    <a:lnTo>
                      <a:pt x="69" y="274"/>
                    </a:lnTo>
                    <a:lnTo>
                      <a:pt x="69" y="274"/>
                    </a:lnTo>
                    <a:lnTo>
                      <a:pt x="69" y="273"/>
                    </a:lnTo>
                    <a:lnTo>
                      <a:pt x="71" y="271"/>
                    </a:lnTo>
                    <a:lnTo>
                      <a:pt x="72" y="271"/>
                    </a:lnTo>
                    <a:lnTo>
                      <a:pt x="72" y="270"/>
                    </a:lnTo>
                    <a:lnTo>
                      <a:pt x="74" y="268"/>
                    </a:lnTo>
                    <a:lnTo>
                      <a:pt x="72" y="266"/>
                    </a:lnTo>
                    <a:lnTo>
                      <a:pt x="71" y="266"/>
                    </a:lnTo>
                    <a:lnTo>
                      <a:pt x="74" y="266"/>
                    </a:lnTo>
                    <a:lnTo>
                      <a:pt x="75" y="266"/>
                    </a:lnTo>
                    <a:lnTo>
                      <a:pt x="78" y="266"/>
                    </a:lnTo>
                    <a:lnTo>
                      <a:pt x="80" y="266"/>
                    </a:lnTo>
                    <a:lnTo>
                      <a:pt x="82" y="266"/>
                    </a:lnTo>
                    <a:lnTo>
                      <a:pt x="80" y="268"/>
                    </a:lnTo>
                    <a:lnTo>
                      <a:pt x="78" y="268"/>
                    </a:lnTo>
                    <a:lnTo>
                      <a:pt x="77" y="268"/>
                    </a:lnTo>
                    <a:lnTo>
                      <a:pt x="77" y="271"/>
                    </a:lnTo>
                    <a:lnTo>
                      <a:pt x="78" y="271"/>
                    </a:lnTo>
                    <a:lnTo>
                      <a:pt x="80" y="271"/>
                    </a:lnTo>
                    <a:lnTo>
                      <a:pt x="78" y="273"/>
                    </a:lnTo>
                    <a:lnTo>
                      <a:pt x="78" y="273"/>
                    </a:lnTo>
                    <a:lnTo>
                      <a:pt x="77" y="277"/>
                    </a:lnTo>
                    <a:lnTo>
                      <a:pt x="83" y="277"/>
                    </a:lnTo>
                    <a:lnTo>
                      <a:pt x="85" y="277"/>
                    </a:lnTo>
                    <a:lnTo>
                      <a:pt x="88" y="276"/>
                    </a:lnTo>
                    <a:lnTo>
                      <a:pt x="86" y="277"/>
                    </a:lnTo>
                    <a:lnTo>
                      <a:pt x="82" y="279"/>
                    </a:lnTo>
                    <a:lnTo>
                      <a:pt x="80" y="279"/>
                    </a:lnTo>
                    <a:lnTo>
                      <a:pt x="78" y="280"/>
                    </a:lnTo>
                    <a:lnTo>
                      <a:pt x="80" y="282"/>
                    </a:lnTo>
                    <a:lnTo>
                      <a:pt x="80" y="280"/>
                    </a:lnTo>
                    <a:lnTo>
                      <a:pt x="80" y="282"/>
                    </a:lnTo>
                    <a:lnTo>
                      <a:pt x="78" y="284"/>
                    </a:lnTo>
                    <a:lnTo>
                      <a:pt x="80" y="287"/>
                    </a:lnTo>
                    <a:lnTo>
                      <a:pt x="82" y="287"/>
                    </a:lnTo>
                    <a:lnTo>
                      <a:pt x="82" y="288"/>
                    </a:lnTo>
                    <a:lnTo>
                      <a:pt x="82" y="288"/>
                    </a:lnTo>
                    <a:lnTo>
                      <a:pt x="83" y="291"/>
                    </a:lnTo>
                    <a:lnTo>
                      <a:pt x="83" y="293"/>
                    </a:lnTo>
                    <a:lnTo>
                      <a:pt x="83" y="296"/>
                    </a:lnTo>
                    <a:lnTo>
                      <a:pt x="83" y="298"/>
                    </a:lnTo>
                    <a:lnTo>
                      <a:pt x="80" y="307"/>
                    </a:lnTo>
                    <a:lnTo>
                      <a:pt x="80" y="312"/>
                    </a:lnTo>
                    <a:lnTo>
                      <a:pt x="80" y="312"/>
                    </a:lnTo>
                    <a:lnTo>
                      <a:pt x="80" y="313"/>
                    </a:lnTo>
                    <a:lnTo>
                      <a:pt x="80" y="316"/>
                    </a:lnTo>
                    <a:lnTo>
                      <a:pt x="82" y="318"/>
                    </a:lnTo>
                    <a:lnTo>
                      <a:pt x="82" y="318"/>
                    </a:lnTo>
                    <a:lnTo>
                      <a:pt x="82" y="320"/>
                    </a:lnTo>
                    <a:lnTo>
                      <a:pt x="82" y="320"/>
                    </a:lnTo>
                    <a:lnTo>
                      <a:pt x="85" y="323"/>
                    </a:lnTo>
                    <a:lnTo>
                      <a:pt x="82" y="321"/>
                    </a:lnTo>
                    <a:lnTo>
                      <a:pt x="82" y="323"/>
                    </a:lnTo>
                    <a:lnTo>
                      <a:pt x="82" y="323"/>
                    </a:lnTo>
                    <a:lnTo>
                      <a:pt x="82" y="326"/>
                    </a:lnTo>
                    <a:lnTo>
                      <a:pt x="82" y="327"/>
                    </a:lnTo>
                    <a:lnTo>
                      <a:pt x="83" y="327"/>
                    </a:lnTo>
                    <a:lnTo>
                      <a:pt x="85" y="324"/>
                    </a:lnTo>
                    <a:lnTo>
                      <a:pt x="85" y="327"/>
                    </a:lnTo>
                    <a:lnTo>
                      <a:pt x="85" y="329"/>
                    </a:lnTo>
                    <a:lnTo>
                      <a:pt x="83" y="331"/>
                    </a:lnTo>
                    <a:lnTo>
                      <a:pt x="83" y="334"/>
                    </a:lnTo>
                    <a:lnTo>
                      <a:pt x="83" y="334"/>
                    </a:lnTo>
                    <a:lnTo>
                      <a:pt x="83" y="335"/>
                    </a:lnTo>
                    <a:lnTo>
                      <a:pt x="85" y="338"/>
                    </a:lnTo>
                    <a:lnTo>
                      <a:pt x="85" y="342"/>
                    </a:lnTo>
                    <a:lnTo>
                      <a:pt x="85" y="343"/>
                    </a:lnTo>
                    <a:lnTo>
                      <a:pt x="86" y="348"/>
                    </a:lnTo>
                    <a:lnTo>
                      <a:pt x="88" y="352"/>
                    </a:lnTo>
                    <a:lnTo>
                      <a:pt x="88" y="354"/>
                    </a:lnTo>
                    <a:lnTo>
                      <a:pt x="89" y="360"/>
                    </a:lnTo>
                    <a:lnTo>
                      <a:pt x="91" y="374"/>
                    </a:lnTo>
                    <a:lnTo>
                      <a:pt x="93" y="379"/>
                    </a:lnTo>
                    <a:lnTo>
                      <a:pt x="94" y="381"/>
                    </a:lnTo>
                    <a:lnTo>
                      <a:pt x="96" y="384"/>
                    </a:lnTo>
                    <a:lnTo>
                      <a:pt x="97" y="387"/>
                    </a:lnTo>
                    <a:lnTo>
                      <a:pt x="99" y="388"/>
                    </a:lnTo>
                    <a:lnTo>
                      <a:pt x="100" y="388"/>
                    </a:lnTo>
                    <a:lnTo>
                      <a:pt x="99" y="390"/>
                    </a:lnTo>
                    <a:lnTo>
                      <a:pt x="99" y="390"/>
                    </a:lnTo>
                    <a:lnTo>
                      <a:pt x="100" y="392"/>
                    </a:lnTo>
                    <a:lnTo>
                      <a:pt x="102" y="393"/>
                    </a:lnTo>
                    <a:lnTo>
                      <a:pt x="99" y="393"/>
                    </a:lnTo>
                    <a:lnTo>
                      <a:pt x="100" y="395"/>
                    </a:lnTo>
                    <a:lnTo>
                      <a:pt x="102" y="399"/>
                    </a:lnTo>
                    <a:lnTo>
                      <a:pt x="103" y="401"/>
                    </a:lnTo>
                    <a:lnTo>
                      <a:pt x="105" y="403"/>
                    </a:lnTo>
                    <a:lnTo>
                      <a:pt x="107" y="406"/>
                    </a:lnTo>
                    <a:lnTo>
                      <a:pt x="108" y="407"/>
                    </a:lnTo>
                    <a:lnTo>
                      <a:pt x="108" y="407"/>
                    </a:lnTo>
                    <a:lnTo>
                      <a:pt x="110" y="409"/>
                    </a:lnTo>
                    <a:lnTo>
                      <a:pt x="110" y="410"/>
                    </a:lnTo>
                    <a:lnTo>
                      <a:pt x="111" y="414"/>
                    </a:lnTo>
                    <a:lnTo>
                      <a:pt x="111" y="415"/>
                    </a:lnTo>
                    <a:lnTo>
                      <a:pt x="111" y="417"/>
                    </a:lnTo>
                    <a:lnTo>
                      <a:pt x="113" y="421"/>
                    </a:lnTo>
                    <a:lnTo>
                      <a:pt x="114" y="424"/>
                    </a:lnTo>
                    <a:lnTo>
                      <a:pt x="114" y="426"/>
                    </a:lnTo>
                    <a:lnTo>
                      <a:pt x="114" y="428"/>
                    </a:lnTo>
                    <a:lnTo>
                      <a:pt x="116" y="435"/>
                    </a:lnTo>
                    <a:lnTo>
                      <a:pt x="118" y="437"/>
                    </a:lnTo>
                    <a:lnTo>
                      <a:pt x="118" y="439"/>
                    </a:lnTo>
                    <a:lnTo>
                      <a:pt x="119" y="443"/>
                    </a:lnTo>
                    <a:lnTo>
                      <a:pt x="124" y="453"/>
                    </a:lnTo>
                    <a:lnTo>
                      <a:pt x="124" y="454"/>
                    </a:lnTo>
                    <a:lnTo>
                      <a:pt x="125" y="454"/>
                    </a:lnTo>
                    <a:lnTo>
                      <a:pt x="127" y="457"/>
                    </a:lnTo>
                    <a:lnTo>
                      <a:pt x="130" y="459"/>
                    </a:lnTo>
                    <a:lnTo>
                      <a:pt x="132" y="464"/>
                    </a:lnTo>
                    <a:lnTo>
                      <a:pt x="133" y="465"/>
                    </a:lnTo>
                    <a:lnTo>
                      <a:pt x="135" y="471"/>
                    </a:lnTo>
                    <a:lnTo>
                      <a:pt x="136" y="476"/>
                    </a:lnTo>
                    <a:lnTo>
                      <a:pt x="139" y="482"/>
                    </a:lnTo>
                    <a:lnTo>
                      <a:pt x="139" y="484"/>
                    </a:lnTo>
                    <a:lnTo>
                      <a:pt x="141" y="485"/>
                    </a:lnTo>
                    <a:lnTo>
                      <a:pt x="141" y="487"/>
                    </a:lnTo>
                    <a:lnTo>
                      <a:pt x="141" y="489"/>
                    </a:lnTo>
                    <a:lnTo>
                      <a:pt x="141" y="489"/>
                    </a:lnTo>
                    <a:lnTo>
                      <a:pt x="143" y="489"/>
                    </a:lnTo>
                    <a:lnTo>
                      <a:pt x="144" y="490"/>
                    </a:lnTo>
                    <a:lnTo>
                      <a:pt x="146" y="498"/>
                    </a:lnTo>
                    <a:lnTo>
                      <a:pt x="146" y="498"/>
                    </a:lnTo>
                    <a:lnTo>
                      <a:pt x="144" y="498"/>
                    </a:lnTo>
                    <a:lnTo>
                      <a:pt x="144" y="495"/>
                    </a:lnTo>
                    <a:lnTo>
                      <a:pt x="144" y="493"/>
                    </a:lnTo>
                    <a:lnTo>
                      <a:pt x="143" y="492"/>
                    </a:lnTo>
                    <a:lnTo>
                      <a:pt x="143" y="490"/>
                    </a:lnTo>
                    <a:lnTo>
                      <a:pt x="143" y="495"/>
                    </a:lnTo>
                    <a:lnTo>
                      <a:pt x="144" y="500"/>
                    </a:lnTo>
                    <a:lnTo>
                      <a:pt x="146" y="503"/>
                    </a:lnTo>
                    <a:lnTo>
                      <a:pt x="146" y="504"/>
                    </a:lnTo>
                    <a:lnTo>
                      <a:pt x="146" y="504"/>
                    </a:lnTo>
                    <a:lnTo>
                      <a:pt x="146" y="504"/>
                    </a:lnTo>
                    <a:lnTo>
                      <a:pt x="146" y="506"/>
                    </a:lnTo>
                    <a:lnTo>
                      <a:pt x="147" y="509"/>
                    </a:lnTo>
                    <a:lnTo>
                      <a:pt x="149" y="511"/>
                    </a:lnTo>
                    <a:lnTo>
                      <a:pt x="155" y="518"/>
                    </a:lnTo>
                    <a:lnTo>
                      <a:pt x="157" y="520"/>
                    </a:lnTo>
                    <a:lnTo>
                      <a:pt x="161" y="523"/>
                    </a:lnTo>
                    <a:lnTo>
                      <a:pt x="164" y="523"/>
                    </a:lnTo>
                    <a:lnTo>
                      <a:pt x="166" y="523"/>
                    </a:lnTo>
                    <a:lnTo>
                      <a:pt x="169" y="521"/>
                    </a:lnTo>
                    <a:lnTo>
                      <a:pt x="174" y="518"/>
                    </a:lnTo>
                    <a:lnTo>
                      <a:pt x="175" y="515"/>
                    </a:lnTo>
                    <a:lnTo>
                      <a:pt x="175" y="514"/>
                    </a:lnTo>
                    <a:lnTo>
                      <a:pt x="177" y="509"/>
                    </a:lnTo>
                    <a:lnTo>
                      <a:pt x="179" y="507"/>
                    </a:lnTo>
                    <a:lnTo>
                      <a:pt x="180" y="506"/>
                    </a:lnTo>
                    <a:lnTo>
                      <a:pt x="189" y="503"/>
                    </a:lnTo>
                    <a:lnTo>
                      <a:pt x="194" y="503"/>
                    </a:lnTo>
                    <a:lnTo>
                      <a:pt x="197" y="504"/>
                    </a:lnTo>
                    <a:lnTo>
                      <a:pt x="197" y="503"/>
                    </a:lnTo>
                    <a:lnTo>
                      <a:pt x="196" y="503"/>
                    </a:lnTo>
                    <a:lnTo>
                      <a:pt x="193" y="501"/>
                    </a:lnTo>
                    <a:lnTo>
                      <a:pt x="191" y="501"/>
                    </a:lnTo>
                    <a:lnTo>
                      <a:pt x="189" y="500"/>
                    </a:lnTo>
                    <a:lnTo>
                      <a:pt x="189" y="500"/>
                    </a:lnTo>
                    <a:lnTo>
                      <a:pt x="189" y="498"/>
                    </a:lnTo>
                    <a:lnTo>
                      <a:pt x="191" y="495"/>
                    </a:lnTo>
                    <a:lnTo>
                      <a:pt x="196" y="489"/>
                    </a:lnTo>
                    <a:lnTo>
                      <a:pt x="194" y="487"/>
                    </a:lnTo>
                    <a:lnTo>
                      <a:pt x="196" y="485"/>
                    </a:lnTo>
                    <a:lnTo>
                      <a:pt x="197" y="484"/>
                    </a:lnTo>
                    <a:lnTo>
                      <a:pt x="200" y="484"/>
                    </a:lnTo>
                    <a:lnTo>
                      <a:pt x="200" y="484"/>
                    </a:lnTo>
                    <a:lnTo>
                      <a:pt x="202" y="484"/>
                    </a:lnTo>
                    <a:lnTo>
                      <a:pt x="204" y="484"/>
                    </a:lnTo>
                    <a:lnTo>
                      <a:pt x="205" y="484"/>
                    </a:lnTo>
                    <a:lnTo>
                      <a:pt x="205" y="476"/>
                    </a:lnTo>
                    <a:lnTo>
                      <a:pt x="205" y="468"/>
                    </a:lnTo>
                    <a:lnTo>
                      <a:pt x="205" y="467"/>
                    </a:lnTo>
                    <a:lnTo>
                      <a:pt x="205" y="465"/>
                    </a:lnTo>
                    <a:lnTo>
                      <a:pt x="202" y="467"/>
                    </a:lnTo>
                    <a:lnTo>
                      <a:pt x="204" y="465"/>
                    </a:lnTo>
                    <a:lnTo>
                      <a:pt x="205" y="464"/>
                    </a:lnTo>
                    <a:lnTo>
                      <a:pt x="204" y="462"/>
                    </a:lnTo>
                    <a:lnTo>
                      <a:pt x="204" y="459"/>
                    </a:lnTo>
                    <a:lnTo>
                      <a:pt x="205" y="454"/>
                    </a:lnTo>
                    <a:lnTo>
                      <a:pt x="208" y="449"/>
                    </a:lnTo>
                    <a:lnTo>
                      <a:pt x="208" y="448"/>
                    </a:lnTo>
                    <a:lnTo>
                      <a:pt x="210" y="446"/>
                    </a:lnTo>
                    <a:lnTo>
                      <a:pt x="211" y="442"/>
                    </a:lnTo>
                    <a:lnTo>
                      <a:pt x="214" y="429"/>
                    </a:lnTo>
                    <a:lnTo>
                      <a:pt x="213" y="428"/>
                    </a:lnTo>
                    <a:lnTo>
                      <a:pt x="210" y="426"/>
                    </a:lnTo>
                    <a:lnTo>
                      <a:pt x="210" y="424"/>
                    </a:lnTo>
                    <a:lnTo>
                      <a:pt x="211" y="423"/>
                    </a:lnTo>
                    <a:lnTo>
                      <a:pt x="213" y="424"/>
                    </a:lnTo>
                    <a:lnTo>
                      <a:pt x="213" y="426"/>
                    </a:lnTo>
                    <a:lnTo>
                      <a:pt x="213" y="428"/>
                    </a:lnTo>
                    <a:lnTo>
                      <a:pt x="213" y="424"/>
                    </a:lnTo>
                    <a:lnTo>
                      <a:pt x="213" y="423"/>
                    </a:lnTo>
                    <a:lnTo>
                      <a:pt x="211" y="421"/>
                    </a:lnTo>
                    <a:lnTo>
                      <a:pt x="211" y="417"/>
                    </a:lnTo>
                    <a:lnTo>
                      <a:pt x="210" y="415"/>
                    </a:lnTo>
                    <a:lnTo>
                      <a:pt x="210" y="414"/>
                    </a:lnTo>
                    <a:lnTo>
                      <a:pt x="211" y="412"/>
                    </a:lnTo>
                    <a:lnTo>
                      <a:pt x="211" y="409"/>
                    </a:lnTo>
                    <a:lnTo>
                      <a:pt x="211" y="407"/>
                    </a:lnTo>
                    <a:lnTo>
                      <a:pt x="210" y="404"/>
                    </a:lnTo>
                    <a:lnTo>
                      <a:pt x="208" y="399"/>
                    </a:lnTo>
                    <a:lnTo>
                      <a:pt x="210" y="395"/>
                    </a:lnTo>
                    <a:lnTo>
                      <a:pt x="213" y="387"/>
                    </a:lnTo>
                    <a:lnTo>
                      <a:pt x="214" y="385"/>
                    </a:lnTo>
                    <a:lnTo>
                      <a:pt x="219" y="384"/>
                    </a:lnTo>
                    <a:lnTo>
                      <a:pt x="221" y="384"/>
                    </a:lnTo>
                    <a:lnTo>
                      <a:pt x="222" y="384"/>
                    </a:lnTo>
                    <a:lnTo>
                      <a:pt x="222" y="387"/>
                    </a:lnTo>
                    <a:lnTo>
                      <a:pt x="224" y="385"/>
                    </a:lnTo>
                    <a:lnTo>
                      <a:pt x="224" y="387"/>
                    </a:lnTo>
                    <a:lnTo>
                      <a:pt x="225" y="387"/>
                    </a:lnTo>
                    <a:lnTo>
                      <a:pt x="225" y="385"/>
                    </a:lnTo>
                    <a:lnTo>
                      <a:pt x="225" y="384"/>
                    </a:lnTo>
                    <a:lnTo>
                      <a:pt x="229" y="382"/>
                    </a:lnTo>
                    <a:lnTo>
                      <a:pt x="230" y="378"/>
                    </a:lnTo>
                    <a:lnTo>
                      <a:pt x="230" y="376"/>
                    </a:lnTo>
                    <a:lnTo>
                      <a:pt x="233" y="376"/>
                    </a:lnTo>
                    <a:lnTo>
                      <a:pt x="238" y="376"/>
                    </a:lnTo>
                    <a:lnTo>
                      <a:pt x="239" y="376"/>
                    </a:lnTo>
                    <a:lnTo>
                      <a:pt x="246" y="373"/>
                    </a:lnTo>
                    <a:lnTo>
                      <a:pt x="247" y="371"/>
                    </a:lnTo>
                    <a:lnTo>
                      <a:pt x="249" y="370"/>
                    </a:lnTo>
                    <a:lnTo>
                      <a:pt x="249" y="370"/>
                    </a:lnTo>
                    <a:lnTo>
                      <a:pt x="249" y="368"/>
                    </a:lnTo>
                    <a:lnTo>
                      <a:pt x="249" y="367"/>
                    </a:lnTo>
                    <a:lnTo>
                      <a:pt x="249" y="367"/>
                    </a:lnTo>
                    <a:lnTo>
                      <a:pt x="249" y="365"/>
                    </a:lnTo>
                    <a:lnTo>
                      <a:pt x="249" y="363"/>
                    </a:lnTo>
                    <a:lnTo>
                      <a:pt x="249" y="362"/>
                    </a:lnTo>
                    <a:lnTo>
                      <a:pt x="254" y="359"/>
                    </a:lnTo>
                    <a:lnTo>
                      <a:pt x="260" y="356"/>
                    </a:lnTo>
                    <a:lnTo>
                      <a:pt x="265" y="352"/>
                    </a:lnTo>
                    <a:lnTo>
                      <a:pt x="268" y="349"/>
                    </a:lnTo>
                    <a:lnTo>
                      <a:pt x="271" y="345"/>
                    </a:lnTo>
                    <a:lnTo>
                      <a:pt x="272" y="345"/>
                    </a:lnTo>
                    <a:lnTo>
                      <a:pt x="280" y="340"/>
                    </a:lnTo>
                    <a:lnTo>
                      <a:pt x="282" y="338"/>
                    </a:lnTo>
                    <a:lnTo>
                      <a:pt x="286" y="332"/>
                    </a:lnTo>
                    <a:lnTo>
                      <a:pt x="290" y="329"/>
                    </a:lnTo>
                    <a:lnTo>
                      <a:pt x="291" y="327"/>
                    </a:lnTo>
                    <a:lnTo>
                      <a:pt x="291" y="326"/>
                    </a:lnTo>
                    <a:lnTo>
                      <a:pt x="291" y="324"/>
                    </a:lnTo>
                    <a:lnTo>
                      <a:pt x="300" y="318"/>
                    </a:lnTo>
                    <a:lnTo>
                      <a:pt x="304" y="315"/>
                    </a:lnTo>
                    <a:lnTo>
                      <a:pt x="304" y="315"/>
                    </a:lnTo>
                    <a:lnTo>
                      <a:pt x="302" y="315"/>
                    </a:lnTo>
                    <a:lnTo>
                      <a:pt x="300" y="316"/>
                    </a:lnTo>
                    <a:lnTo>
                      <a:pt x="299" y="316"/>
                    </a:lnTo>
                    <a:lnTo>
                      <a:pt x="299" y="315"/>
                    </a:lnTo>
                    <a:lnTo>
                      <a:pt x="300" y="313"/>
                    </a:lnTo>
                    <a:lnTo>
                      <a:pt x="304" y="310"/>
                    </a:lnTo>
                    <a:lnTo>
                      <a:pt x="305" y="310"/>
                    </a:lnTo>
                    <a:lnTo>
                      <a:pt x="305" y="310"/>
                    </a:lnTo>
                    <a:lnTo>
                      <a:pt x="305" y="313"/>
                    </a:lnTo>
                    <a:lnTo>
                      <a:pt x="305" y="313"/>
                    </a:lnTo>
                    <a:lnTo>
                      <a:pt x="305" y="315"/>
                    </a:lnTo>
                    <a:lnTo>
                      <a:pt x="305" y="315"/>
                    </a:lnTo>
                    <a:lnTo>
                      <a:pt x="311" y="312"/>
                    </a:lnTo>
                    <a:lnTo>
                      <a:pt x="318" y="310"/>
                    </a:lnTo>
                    <a:lnTo>
                      <a:pt x="318" y="310"/>
                    </a:lnTo>
                    <a:lnTo>
                      <a:pt x="319" y="310"/>
                    </a:lnTo>
                    <a:lnTo>
                      <a:pt x="319" y="309"/>
                    </a:lnTo>
                    <a:lnTo>
                      <a:pt x="318" y="307"/>
                    </a:lnTo>
                    <a:lnTo>
                      <a:pt x="319" y="307"/>
                    </a:lnTo>
                    <a:lnTo>
                      <a:pt x="319" y="309"/>
                    </a:lnTo>
                    <a:lnTo>
                      <a:pt x="321" y="307"/>
                    </a:lnTo>
                    <a:lnTo>
                      <a:pt x="322" y="306"/>
                    </a:lnTo>
                    <a:lnTo>
                      <a:pt x="327" y="302"/>
                    </a:lnTo>
                    <a:lnTo>
                      <a:pt x="327" y="302"/>
                    </a:lnTo>
                    <a:lnTo>
                      <a:pt x="327" y="301"/>
                    </a:lnTo>
                    <a:lnTo>
                      <a:pt x="329" y="299"/>
                    </a:lnTo>
                    <a:lnTo>
                      <a:pt x="330" y="298"/>
                    </a:lnTo>
                    <a:lnTo>
                      <a:pt x="330" y="296"/>
                    </a:lnTo>
                    <a:lnTo>
                      <a:pt x="330" y="295"/>
                    </a:lnTo>
                    <a:lnTo>
                      <a:pt x="329" y="290"/>
                    </a:lnTo>
                    <a:lnTo>
                      <a:pt x="329" y="288"/>
                    </a:lnTo>
                    <a:lnTo>
                      <a:pt x="329" y="285"/>
                    </a:lnTo>
                    <a:lnTo>
                      <a:pt x="330" y="284"/>
                    </a:lnTo>
                    <a:lnTo>
                      <a:pt x="333" y="280"/>
                    </a:lnTo>
                    <a:lnTo>
                      <a:pt x="335" y="279"/>
                    </a:lnTo>
                    <a:lnTo>
                      <a:pt x="343" y="277"/>
                    </a:lnTo>
                    <a:lnTo>
                      <a:pt x="346" y="276"/>
                    </a:lnTo>
                    <a:lnTo>
                      <a:pt x="347" y="274"/>
                    </a:lnTo>
                    <a:lnTo>
                      <a:pt x="349" y="271"/>
                    </a:lnTo>
                    <a:lnTo>
                      <a:pt x="351" y="270"/>
                    </a:lnTo>
                    <a:lnTo>
                      <a:pt x="351" y="270"/>
                    </a:lnTo>
                    <a:lnTo>
                      <a:pt x="351" y="268"/>
                    </a:lnTo>
                    <a:lnTo>
                      <a:pt x="349" y="266"/>
                    </a:lnTo>
                    <a:lnTo>
                      <a:pt x="347" y="266"/>
                    </a:lnTo>
                    <a:lnTo>
                      <a:pt x="347" y="263"/>
                    </a:lnTo>
                    <a:lnTo>
                      <a:pt x="349" y="266"/>
                    </a:lnTo>
                    <a:lnTo>
                      <a:pt x="351" y="266"/>
                    </a:lnTo>
                    <a:lnTo>
                      <a:pt x="352" y="268"/>
                    </a:lnTo>
                    <a:lnTo>
                      <a:pt x="352" y="271"/>
                    </a:lnTo>
                    <a:lnTo>
                      <a:pt x="351" y="274"/>
                    </a:lnTo>
                    <a:lnTo>
                      <a:pt x="349" y="277"/>
                    </a:lnTo>
                    <a:lnTo>
                      <a:pt x="351" y="277"/>
                    </a:lnTo>
                    <a:lnTo>
                      <a:pt x="354" y="279"/>
                    </a:lnTo>
                    <a:lnTo>
                      <a:pt x="354" y="277"/>
                    </a:lnTo>
                    <a:lnTo>
                      <a:pt x="354" y="276"/>
                    </a:lnTo>
                    <a:lnTo>
                      <a:pt x="354" y="276"/>
                    </a:lnTo>
                    <a:lnTo>
                      <a:pt x="357" y="279"/>
                    </a:lnTo>
                    <a:lnTo>
                      <a:pt x="358" y="277"/>
                    </a:lnTo>
                    <a:lnTo>
                      <a:pt x="358" y="276"/>
                    </a:lnTo>
                    <a:lnTo>
                      <a:pt x="358" y="274"/>
                    </a:lnTo>
                    <a:lnTo>
                      <a:pt x="360" y="270"/>
                    </a:lnTo>
                    <a:lnTo>
                      <a:pt x="360" y="270"/>
                    </a:lnTo>
                    <a:lnTo>
                      <a:pt x="361" y="270"/>
                    </a:lnTo>
                    <a:lnTo>
                      <a:pt x="361" y="271"/>
                    </a:lnTo>
                    <a:lnTo>
                      <a:pt x="361" y="271"/>
                    </a:lnTo>
                    <a:lnTo>
                      <a:pt x="360" y="276"/>
                    </a:lnTo>
                    <a:lnTo>
                      <a:pt x="360" y="277"/>
                    </a:lnTo>
                    <a:lnTo>
                      <a:pt x="361" y="279"/>
                    </a:lnTo>
                    <a:lnTo>
                      <a:pt x="361" y="279"/>
                    </a:lnTo>
                    <a:lnTo>
                      <a:pt x="363" y="277"/>
                    </a:lnTo>
                    <a:lnTo>
                      <a:pt x="363" y="276"/>
                    </a:lnTo>
                    <a:lnTo>
                      <a:pt x="365" y="277"/>
                    </a:lnTo>
                    <a:lnTo>
                      <a:pt x="366" y="277"/>
                    </a:lnTo>
                    <a:lnTo>
                      <a:pt x="366" y="277"/>
                    </a:lnTo>
                    <a:lnTo>
                      <a:pt x="366" y="276"/>
                    </a:lnTo>
                    <a:lnTo>
                      <a:pt x="366" y="274"/>
                    </a:lnTo>
                    <a:lnTo>
                      <a:pt x="365" y="273"/>
                    </a:lnTo>
                    <a:lnTo>
                      <a:pt x="366" y="273"/>
                    </a:lnTo>
                    <a:lnTo>
                      <a:pt x="366" y="270"/>
                    </a:lnTo>
                    <a:lnTo>
                      <a:pt x="366" y="270"/>
                    </a:lnTo>
                    <a:lnTo>
                      <a:pt x="368" y="268"/>
                    </a:lnTo>
                    <a:lnTo>
                      <a:pt x="366" y="266"/>
                    </a:lnTo>
                    <a:lnTo>
                      <a:pt x="366" y="262"/>
                    </a:lnTo>
                    <a:lnTo>
                      <a:pt x="365" y="259"/>
                    </a:lnTo>
                    <a:lnTo>
                      <a:pt x="365" y="259"/>
                    </a:lnTo>
                    <a:lnTo>
                      <a:pt x="365" y="259"/>
                    </a:lnTo>
                    <a:lnTo>
                      <a:pt x="365" y="255"/>
                    </a:lnTo>
                    <a:lnTo>
                      <a:pt x="363" y="254"/>
                    </a:lnTo>
                    <a:lnTo>
                      <a:pt x="363" y="251"/>
                    </a:lnTo>
                    <a:lnTo>
                      <a:pt x="365" y="249"/>
                    </a:lnTo>
                    <a:lnTo>
                      <a:pt x="365" y="249"/>
                    </a:lnTo>
                    <a:lnTo>
                      <a:pt x="365" y="248"/>
                    </a:lnTo>
                    <a:lnTo>
                      <a:pt x="363" y="248"/>
                    </a:lnTo>
                    <a:lnTo>
                      <a:pt x="361" y="248"/>
                    </a:lnTo>
                    <a:lnTo>
                      <a:pt x="361" y="246"/>
                    </a:lnTo>
                    <a:lnTo>
                      <a:pt x="361" y="246"/>
                    </a:lnTo>
                    <a:lnTo>
                      <a:pt x="361" y="245"/>
                    </a:lnTo>
                    <a:lnTo>
                      <a:pt x="361" y="243"/>
                    </a:lnTo>
                    <a:lnTo>
                      <a:pt x="361" y="243"/>
                    </a:lnTo>
                    <a:lnTo>
                      <a:pt x="360" y="241"/>
                    </a:lnTo>
                    <a:lnTo>
                      <a:pt x="360" y="241"/>
                    </a:lnTo>
                    <a:lnTo>
                      <a:pt x="360" y="241"/>
                    </a:lnTo>
                    <a:lnTo>
                      <a:pt x="358" y="241"/>
                    </a:lnTo>
                    <a:lnTo>
                      <a:pt x="358" y="240"/>
                    </a:lnTo>
                    <a:lnTo>
                      <a:pt x="360" y="237"/>
                    </a:lnTo>
                    <a:lnTo>
                      <a:pt x="361" y="234"/>
                    </a:lnTo>
                    <a:lnTo>
                      <a:pt x="361" y="234"/>
                    </a:lnTo>
                    <a:lnTo>
                      <a:pt x="361" y="232"/>
                    </a:lnTo>
                    <a:lnTo>
                      <a:pt x="361" y="230"/>
                    </a:lnTo>
                    <a:lnTo>
                      <a:pt x="361" y="229"/>
                    </a:lnTo>
                    <a:lnTo>
                      <a:pt x="361" y="229"/>
                    </a:lnTo>
                    <a:lnTo>
                      <a:pt x="361" y="227"/>
                    </a:lnTo>
                    <a:lnTo>
                      <a:pt x="361" y="227"/>
                    </a:lnTo>
                    <a:lnTo>
                      <a:pt x="360" y="227"/>
                    </a:lnTo>
                    <a:lnTo>
                      <a:pt x="357" y="227"/>
                    </a:lnTo>
                    <a:lnTo>
                      <a:pt x="355" y="226"/>
                    </a:lnTo>
                    <a:lnTo>
                      <a:pt x="354" y="224"/>
                    </a:lnTo>
                    <a:lnTo>
                      <a:pt x="354" y="224"/>
                    </a:lnTo>
                    <a:lnTo>
                      <a:pt x="354" y="224"/>
                    </a:lnTo>
                    <a:lnTo>
                      <a:pt x="352" y="224"/>
                    </a:lnTo>
                    <a:lnTo>
                      <a:pt x="351" y="224"/>
                    </a:lnTo>
                    <a:lnTo>
                      <a:pt x="351" y="223"/>
                    </a:lnTo>
                    <a:lnTo>
                      <a:pt x="349" y="221"/>
                    </a:lnTo>
                    <a:lnTo>
                      <a:pt x="349" y="221"/>
                    </a:lnTo>
                    <a:lnTo>
                      <a:pt x="349" y="219"/>
                    </a:lnTo>
                    <a:lnTo>
                      <a:pt x="351" y="216"/>
                    </a:lnTo>
                    <a:lnTo>
                      <a:pt x="352" y="215"/>
                    </a:lnTo>
                    <a:lnTo>
                      <a:pt x="354" y="216"/>
                    </a:lnTo>
                    <a:lnTo>
                      <a:pt x="354" y="216"/>
                    </a:lnTo>
                    <a:lnTo>
                      <a:pt x="355" y="215"/>
                    </a:lnTo>
                    <a:lnTo>
                      <a:pt x="357" y="210"/>
                    </a:lnTo>
                    <a:lnTo>
                      <a:pt x="357" y="210"/>
                    </a:lnTo>
                    <a:lnTo>
                      <a:pt x="358" y="210"/>
                    </a:lnTo>
                    <a:lnTo>
                      <a:pt x="360" y="210"/>
                    </a:lnTo>
                    <a:lnTo>
                      <a:pt x="361" y="210"/>
                    </a:lnTo>
                    <a:lnTo>
                      <a:pt x="363" y="210"/>
                    </a:lnTo>
                    <a:lnTo>
                      <a:pt x="365" y="210"/>
                    </a:lnTo>
                    <a:lnTo>
                      <a:pt x="365" y="210"/>
                    </a:lnTo>
                    <a:lnTo>
                      <a:pt x="365" y="209"/>
                    </a:lnTo>
                    <a:lnTo>
                      <a:pt x="365" y="209"/>
                    </a:lnTo>
                    <a:lnTo>
                      <a:pt x="363" y="207"/>
                    </a:lnTo>
                    <a:lnTo>
                      <a:pt x="363" y="207"/>
                    </a:lnTo>
                    <a:lnTo>
                      <a:pt x="363" y="205"/>
                    </a:lnTo>
                    <a:lnTo>
                      <a:pt x="361" y="204"/>
                    </a:lnTo>
                    <a:lnTo>
                      <a:pt x="361" y="204"/>
                    </a:lnTo>
                    <a:lnTo>
                      <a:pt x="358" y="204"/>
                    </a:lnTo>
                    <a:lnTo>
                      <a:pt x="357" y="204"/>
                    </a:lnTo>
                    <a:lnTo>
                      <a:pt x="357" y="202"/>
                    </a:lnTo>
                    <a:lnTo>
                      <a:pt x="355" y="201"/>
                    </a:lnTo>
                    <a:lnTo>
                      <a:pt x="354" y="199"/>
                    </a:lnTo>
                    <a:lnTo>
                      <a:pt x="351" y="198"/>
                    </a:lnTo>
                    <a:lnTo>
                      <a:pt x="351" y="198"/>
                    </a:lnTo>
                    <a:lnTo>
                      <a:pt x="351" y="198"/>
                    </a:lnTo>
                    <a:lnTo>
                      <a:pt x="351" y="196"/>
                    </a:lnTo>
                    <a:lnTo>
                      <a:pt x="351" y="194"/>
                    </a:lnTo>
                    <a:lnTo>
                      <a:pt x="351" y="193"/>
                    </a:lnTo>
                    <a:lnTo>
                      <a:pt x="352" y="191"/>
                    </a:lnTo>
                    <a:lnTo>
                      <a:pt x="352" y="191"/>
                    </a:lnTo>
                    <a:lnTo>
                      <a:pt x="354" y="190"/>
                    </a:lnTo>
                    <a:lnTo>
                      <a:pt x="355" y="188"/>
                    </a:lnTo>
                    <a:lnTo>
                      <a:pt x="355" y="188"/>
                    </a:lnTo>
                    <a:lnTo>
                      <a:pt x="357" y="188"/>
                    </a:lnTo>
                    <a:lnTo>
                      <a:pt x="357" y="188"/>
                    </a:lnTo>
                    <a:lnTo>
                      <a:pt x="357" y="187"/>
                    </a:lnTo>
                    <a:lnTo>
                      <a:pt x="357" y="187"/>
                    </a:lnTo>
                    <a:lnTo>
                      <a:pt x="357" y="187"/>
                    </a:lnTo>
                    <a:lnTo>
                      <a:pt x="355" y="185"/>
                    </a:lnTo>
                    <a:lnTo>
                      <a:pt x="355" y="185"/>
                    </a:lnTo>
                    <a:lnTo>
                      <a:pt x="355" y="185"/>
                    </a:lnTo>
                    <a:lnTo>
                      <a:pt x="355" y="185"/>
                    </a:lnTo>
                    <a:lnTo>
                      <a:pt x="355" y="183"/>
                    </a:lnTo>
                    <a:lnTo>
                      <a:pt x="355" y="183"/>
                    </a:lnTo>
                    <a:lnTo>
                      <a:pt x="357" y="185"/>
                    </a:lnTo>
                    <a:lnTo>
                      <a:pt x="360" y="187"/>
                    </a:lnTo>
                    <a:lnTo>
                      <a:pt x="360" y="187"/>
                    </a:lnTo>
                    <a:lnTo>
                      <a:pt x="360" y="188"/>
                    </a:lnTo>
                    <a:lnTo>
                      <a:pt x="360" y="190"/>
                    </a:lnTo>
                    <a:lnTo>
                      <a:pt x="361" y="190"/>
                    </a:lnTo>
                    <a:lnTo>
                      <a:pt x="361" y="190"/>
                    </a:lnTo>
                    <a:lnTo>
                      <a:pt x="363" y="190"/>
                    </a:lnTo>
                    <a:lnTo>
                      <a:pt x="365" y="190"/>
                    </a:lnTo>
                    <a:lnTo>
                      <a:pt x="365" y="190"/>
                    </a:lnTo>
                    <a:lnTo>
                      <a:pt x="366" y="190"/>
                    </a:lnTo>
                    <a:lnTo>
                      <a:pt x="366" y="190"/>
                    </a:lnTo>
                    <a:lnTo>
                      <a:pt x="365" y="188"/>
                    </a:lnTo>
                    <a:lnTo>
                      <a:pt x="365" y="187"/>
                    </a:lnTo>
                    <a:lnTo>
                      <a:pt x="365" y="187"/>
                    </a:lnTo>
                    <a:lnTo>
                      <a:pt x="365" y="187"/>
                    </a:lnTo>
                    <a:lnTo>
                      <a:pt x="366" y="187"/>
                    </a:lnTo>
                    <a:lnTo>
                      <a:pt x="366" y="187"/>
                    </a:lnTo>
                    <a:lnTo>
                      <a:pt x="368" y="187"/>
                    </a:lnTo>
                    <a:lnTo>
                      <a:pt x="368" y="187"/>
                    </a:lnTo>
                    <a:lnTo>
                      <a:pt x="368" y="188"/>
                    </a:lnTo>
                    <a:lnTo>
                      <a:pt x="368" y="191"/>
                    </a:lnTo>
                    <a:lnTo>
                      <a:pt x="369" y="193"/>
                    </a:lnTo>
                    <a:lnTo>
                      <a:pt x="371" y="194"/>
                    </a:lnTo>
                    <a:lnTo>
                      <a:pt x="372" y="194"/>
                    </a:lnTo>
                    <a:lnTo>
                      <a:pt x="374" y="194"/>
                    </a:lnTo>
                    <a:lnTo>
                      <a:pt x="376" y="194"/>
                    </a:lnTo>
                    <a:lnTo>
                      <a:pt x="377" y="193"/>
                    </a:lnTo>
                    <a:lnTo>
                      <a:pt x="376" y="191"/>
                    </a:lnTo>
                    <a:lnTo>
                      <a:pt x="376" y="191"/>
                    </a:lnTo>
                    <a:lnTo>
                      <a:pt x="376" y="191"/>
                    </a:lnTo>
                    <a:lnTo>
                      <a:pt x="376" y="191"/>
                    </a:lnTo>
                    <a:lnTo>
                      <a:pt x="377" y="190"/>
                    </a:lnTo>
                    <a:lnTo>
                      <a:pt x="377" y="190"/>
                    </a:lnTo>
                    <a:lnTo>
                      <a:pt x="377" y="190"/>
                    </a:lnTo>
                    <a:lnTo>
                      <a:pt x="377" y="191"/>
                    </a:lnTo>
                    <a:lnTo>
                      <a:pt x="379" y="191"/>
                    </a:lnTo>
                    <a:lnTo>
                      <a:pt x="380" y="196"/>
                    </a:lnTo>
                    <a:lnTo>
                      <a:pt x="380" y="198"/>
                    </a:lnTo>
                    <a:lnTo>
                      <a:pt x="380" y="204"/>
                    </a:lnTo>
                    <a:lnTo>
                      <a:pt x="380" y="207"/>
                    </a:lnTo>
                    <a:lnTo>
                      <a:pt x="380" y="207"/>
                    </a:lnTo>
                    <a:lnTo>
                      <a:pt x="380" y="209"/>
                    </a:lnTo>
                    <a:lnTo>
                      <a:pt x="380" y="209"/>
                    </a:lnTo>
                    <a:lnTo>
                      <a:pt x="382" y="209"/>
                    </a:lnTo>
                    <a:lnTo>
                      <a:pt x="383" y="209"/>
                    </a:lnTo>
                    <a:lnTo>
                      <a:pt x="385" y="210"/>
                    </a:lnTo>
                    <a:lnTo>
                      <a:pt x="388" y="210"/>
                    </a:lnTo>
                    <a:lnTo>
                      <a:pt x="391" y="212"/>
                    </a:lnTo>
                    <a:lnTo>
                      <a:pt x="393" y="210"/>
                    </a:lnTo>
                    <a:lnTo>
                      <a:pt x="394" y="210"/>
                    </a:lnTo>
                    <a:lnTo>
                      <a:pt x="396" y="212"/>
                    </a:lnTo>
                    <a:lnTo>
                      <a:pt x="402" y="210"/>
                    </a:lnTo>
                    <a:lnTo>
                      <a:pt x="407" y="210"/>
                    </a:lnTo>
                    <a:lnTo>
                      <a:pt x="408" y="212"/>
                    </a:lnTo>
                    <a:lnTo>
                      <a:pt x="410" y="212"/>
                    </a:lnTo>
                    <a:lnTo>
                      <a:pt x="415" y="212"/>
                    </a:lnTo>
                    <a:lnTo>
                      <a:pt x="419" y="210"/>
                    </a:lnTo>
                    <a:lnTo>
                      <a:pt x="422" y="212"/>
                    </a:lnTo>
                    <a:lnTo>
                      <a:pt x="426" y="213"/>
                    </a:lnTo>
                    <a:lnTo>
                      <a:pt x="427" y="215"/>
                    </a:lnTo>
                    <a:lnTo>
                      <a:pt x="427" y="215"/>
                    </a:lnTo>
                    <a:lnTo>
                      <a:pt x="427" y="216"/>
                    </a:lnTo>
                    <a:lnTo>
                      <a:pt x="427" y="216"/>
                    </a:lnTo>
                    <a:lnTo>
                      <a:pt x="427" y="216"/>
                    </a:lnTo>
                    <a:lnTo>
                      <a:pt x="426" y="216"/>
                    </a:lnTo>
                    <a:lnTo>
                      <a:pt x="422" y="216"/>
                    </a:lnTo>
                    <a:lnTo>
                      <a:pt x="422" y="216"/>
                    </a:lnTo>
                    <a:lnTo>
                      <a:pt x="422" y="216"/>
                    </a:lnTo>
                    <a:lnTo>
                      <a:pt x="422" y="218"/>
                    </a:lnTo>
                    <a:lnTo>
                      <a:pt x="422" y="218"/>
                    </a:lnTo>
                    <a:lnTo>
                      <a:pt x="422" y="218"/>
                    </a:lnTo>
                    <a:lnTo>
                      <a:pt x="422" y="219"/>
                    </a:lnTo>
                    <a:lnTo>
                      <a:pt x="421" y="224"/>
                    </a:lnTo>
                    <a:lnTo>
                      <a:pt x="421" y="226"/>
                    </a:lnTo>
                    <a:lnTo>
                      <a:pt x="421" y="226"/>
                    </a:lnTo>
                    <a:lnTo>
                      <a:pt x="419" y="226"/>
                    </a:lnTo>
                    <a:lnTo>
                      <a:pt x="419" y="226"/>
                    </a:lnTo>
                    <a:lnTo>
                      <a:pt x="418" y="226"/>
                    </a:lnTo>
                    <a:lnTo>
                      <a:pt x="418" y="226"/>
                    </a:lnTo>
                    <a:lnTo>
                      <a:pt x="418" y="227"/>
                    </a:lnTo>
                    <a:lnTo>
                      <a:pt x="416" y="229"/>
                    </a:lnTo>
                    <a:lnTo>
                      <a:pt x="416" y="229"/>
                    </a:lnTo>
                    <a:lnTo>
                      <a:pt x="416" y="230"/>
                    </a:lnTo>
                    <a:lnTo>
                      <a:pt x="415" y="229"/>
                    </a:lnTo>
                    <a:lnTo>
                      <a:pt x="415" y="229"/>
                    </a:lnTo>
                    <a:lnTo>
                      <a:pt x="413" y="229"/>
                    </a:lnTo>
                    <a:lnTo>
                      <a:pt x="413" y="229"/>
                    </a:lnTo>
                    <a:lnTo>
                      <a:pt x="411" y="230"/>
                    </a:lnTo>
                    <a:lnTo>
                      <a:pt x="411" y="230"/>
                    </a:lnTo>
                    <a:lnTo>
                      <a:pt x="411" y="230"/>
                    </a:lnTo>
                    <a:lnTo>
                      <a:pt x="410" y="232"/>
                    </a:lnTo>
                    <a:lnTo>
                      <a:pt x="408" y="232"/>
                    </a:lnTo>
                    <a:lnTo>
                      <a:pt x="407" y="232"/>
                    </a:lnTo>
                    <a:lnTo>
                      <a:pt x="407" y="232"/>
                    </a:lnTo>
                    <a:lnTo>
                      <a:pt x="407" y="232"/>
                    </a:lnTo>
                    <a:lnTo>
                      <a:pt x="407" y="234"/>
                    </a:lnTo>
                    <a:lnTo>
                      <a:pt x="405" y="235"/>
                    </a:lnTo>
                    <a:lnTo>
                      <a:pt x="405" y="238"/>
                    </a:lnTo>
                    <a:lnTo>
                      <a:pt x="404" y="240"/>
                    </a:lnTo>
                    <a:lnTo>
                      <a:pt x="404" y="241"/>
                    </a:lnTo>
                    <a:lnTo>
                      <a:pt x="405" y="245"/>
                    </a:lnTo>
                    <a:lnTo>
                      <a:pt x="407" y="251"/>
                    </a:lnTo>
                    <a:lnTo>
                      <a:pt x="407" y="251"/>
                    </a:lnTo>
                    <a:lnTo>
                      <a:pt x="407" y="251"/>
                    </a:lnTo>
                    <a:lnTo>
                      <a:pt x="407" y="251"/>
                    </a:lnTo>
                    <a:lnTo>
                      <a:pt x="407" y="249"/>
                    </a:lnTo>
                    <a:lnTo>
                      <a:pt x="408" y="249"/>
                    </a:lnTo>
                    <a:lnTo>
                      <a:pt x="408" y="249"/>
                    </a:lnTo>
                    <a:lnTo>
                      <a:pt x="408" y="248"/>
                    </a:lnTo>
                    <a:lnTo>
                      <a:pt x="408" y="249"/>
                    </a:lnTo>
                    <a:lnTo>
                      <a:pt x="408" y="249"/>
                    </a:lnTo>
                    <a:lnTo>
                      <a:pt x="410" y="249"/>
                    </a:lnTo>
                    <a:lnTo>
                      <a:pt x="410" y="252"/>
                    </a:lnTo>
                    <a:lnTo>
                      <a:pt x="411" y="252"/>
                    </a:lnTo>
                    <a:lnTo>
                      <a:pt x="411" y="252"/>
                    </a:lnTo>
                    <a:lnTo>
                      <a:pt x="413" y="252"/>
                    </a:lnTo>
                    <a:lnTo>
                      <a:pt x="415" y="251"/>
                    </a:lnTo>
                    <a:lnTo>
                      <a:pt x="415" y="251"/>
                    </a:lnTo>
                    <a:lnTo>
                      <a:pt x="415" y="248"/>
                    </a:lnTo>
                    <a:lnTo>
                      <a:pt x="415" y="246"/>
                    </a:lnTo>
                    <a:lnTo>
                      <a:pt x="415" y="246"/>
                    </a:lnTo>
                    <a:lnTo>
                      <a:pt x="415" y="246"/>
                    </a:lnTo>
                    <a:lnTo>
                      <a:pt x="418" y="243"/>
                    </a:lnTo>
                    <a:lnTo>
                      <a:pt x="418" y="243"/>
                    </a:lnTo>
                    <a:lnTo>
                      <a:pt x="418" y="241"/>
                    </a:lnTo>
                    <a:lnTo>
                      <a:pt x="418" y="240"/>
                    </a:lnTo>
                    <a:lnTo>
                      <a:pt x="418" y="240"/>
                    </a:lnTo>
                    <a:lnTo>
                      <a:pt x="419" y="240"/>
                    </a:lnTo>
                    <a:lnTo>
                      <a:pt x="421" y="238"/>
                    </a:lnTo>
                    <a:lnTo>
                      <a:pt x="421" y="238"/>
                    </a:lnTo>
                    <a:lnTo>
                      <a:pt x="421" y="238"/>
                    </a:lnTo>
                    <a:lnTo>
                      <a:pt x="422" y="240"/>
                    </a:lnTo>
                    <a:lnTo>
                      <a:pt x="422" y="240"/>
                    </a:lnTo>
                    <a:lnTo>
                      <a:pt x="422" y="240"/>
                    </a:lnTo>
                    <a:lnTo>
                      <a:pt x="424" y="243"/>
                    </a:lnTo>
                    <a:lnTo>
                      <a:pt x="424" y="246"/>
                    </a:lnTo>
                    <a:lnTo>
                      <a:pt x="424" y="248"/>
                    </a:lnTo>
                    <a:lnTo>
                      <a:pt x="424" y="251"/>
                    </a:lnTo>
                    <a:lnTo>
                      <a:pt x="426" y="254"/>
                    </a:lnTo>
                    <a:lnTo>
                      <a:pt x="426" y="254"/>
                    </a:lnTo>
                    <a:lnTo>
                      <a:pt x="426" y="255"/>
                    </a:lnTo>
                    <a:lnTo>
                      <a:pt x="427" y="257"/>
                    </a:lnTo>
                    <a:lnTo>
                      <a:pt x="427" y="259"/>
                    </a:lnTo>
                    <a:lnTo>
                      <a:pt x="427" y="262"/>
                    </a:lnTo>
                    <a:lnTo>
                      <a:pt x="429" y="263"/>
                    </a:lnTo>
                    <a:lnTo>
                      <a:pt x="429" y="270"/>
                    </a:lnTo>
                    <a:lnTo>
                      <a:pt x="429" y="271"/>
                    </a:lnTo>
                    <a:lnTo>
                      <a:pt x="430" y="271"/>
                    </a:lnTo>
                    <a:lnTo>
                      <a:pt x="430" y="270"/>
                    </a:lnTo>
                    <a:lnTo>
                      <a:pt x="430" y="270"/>
                    </a:lnTo>
                    <a:lnTo>
                      <a:pt x="430" y="268"/>
                    </a:lnTo>
                    <a:lnTo>
                      <a:pt x="432" y="268"/>
                    </a:lnTo>
                    <a:lnTo>
                      <a:pt x="432" y="270"/>
                    </a:lnTo>
                    <a:lnTo>
                      <a:pt x="433" y="271"/>
                    </a:lnTo>
                    <a:lnTo>
                      <a:pt x="433" y="271"/>
                    </a:lnTo>
                    <a:lnTo>
                      <a:pt x="435" y="271"/>
                    </a:lnTo>
                    <a:lnTo>
                      <a:pt x="435" y="271"/>
                    </a:lnTo>
                    <a:lnTo>
                      <a:pt x="437" y="268"/>
                    </a:lnTo>
                    <a:lnTo>
                      <a:pt x="437" y="268"/>
                    </a:lnTo>
                    <a:lnTo>
                      <a:pt x="438" y="268"/>
                    </a:lnTo>
                    <a:lnTo>
                      <a:pt x="438" y="268"/>
                    </a:lnTo>
                    <a:lnTo>
                      <a:pt x="440" y="266"/>
                    </a:lnTo>
                    <a:lnTo>
                      <a:pt x="440" y="265"/>
                    </a:lnTo>
                    <a:lnTo>
                      <a:pt x="440" y="265"/>
                    </a:lnTo>
                    <a:lnTo>
                      <a:pt x="438" y="260"/>
                    </a:lnTo>
                    <a:lnTo>
                      <a:pt x="438" y="259"/>
                    </a:lnTo>
                    <a:lnTo>
                      <a:pt x="438" y="257"/>
                    </a:lnTo>
                    <a:lnTo>
                      <a:pt x="438" y="255"/>
                    </a:lnTo>
                    <a:lnTo>
                      <a:pt x="440" y="254"/>
                    </a:lnTo>
                    <a:lnTo>
                      <a:pt x="440" y="252"/>
                    </a:lnTo>
                    <a:lnTo>
                      <a:pt x="440" y="252"/>
                    </a:lnTo>
                    <a:lnTo>
                      <a:pt x="440" y="251"/>
                    </a:lnTo>
                    <a:lnTo>
                      <a:pt x="441" y="252"/>
                    </a:lnTo>
                    <a:lnTo>
                      <a:pt x="441" y="252"/>
                    </a:lnTo>
                    <a:lnTo>
                      <a:pt x="443" y="251"/>
                    </a:lnTo>
                    <a:lnTo>
                      <a:pt x="443" y="249"/>
                    </a:lnTo>
                    <a:lnTo>
                      <a:pt x="443" y="246"/>
                    </a:lnTo>
                    <a:lnTo>
                      <a:pt x="443" y="243"/>
                    </a:lnTo>
                    <a:lnTo>
                      <a:pt x="443" y="240"/>
                    </a:lnTo>
                    <a:lnTo>
                      <a:pt x="443" y="238"/>
                    </a:lnTo>
                    <a:lnTo>
                      <a:pt x="441" y="232"/>
                    </a:lnTo>
                    <a:lnTo>
                      <a:pt x="441" y="232"/>
                    </a:lnTo>
                    <a:lnTo>
                      <a:pt x="443" y="232"/>
                    </a:lnTo>
                    <a:lnTo>
                      <a:pt x="444" y="234"/>
                    </a:lnTo>
                    <a:lnTo>
                      <a:pt x="444" y="234"/>
                    </a:lnTo>
                    <a:lnTo>
                      <a:pt x="446" y="234"/>
                    </a:lnTo>
                    <a:lnTo>
                      <a:pt x="447" y="234"/>
                    </a:lnTo>
                    <a:lnTo>
                      <a:pt x="449" y="234"/>
                    </a:lnTo>
                    <a:lnTo>
                      <a:pt x="449" y="234"/>
                    </a:lnTo>
                    <a:lnTo>
                      <a:pt x="451" y="234"/>
                    </a:lnTo>
                    <a:lnTo>
                      <a:pt x="454" y="235"/>
                    </a:lnTo>
                    <a:lnTo>
                      <a:pt x="455" y="235"/>
                    </a:lnTo>
                    <a:lnTo>
                      <a:pt x="455" y="235"/>
                    </a:lnTo>
                    <a:lnTo>
                      <a:pt x="457" y="234"/>
                    </a:lnTo>
                    <a:lnTo>
                      <a:pt x="458" y="230"/>
                    </a:lnTo>
                    <a:lnTo>
                      <a:pt x="458" y="227"/>
                    </a:lnTo>
                    <a:lnTo>
                      <a:pt x="460" y="224"/>
                    </a:lnTo>
                    <a:lnTo>
                      <a:pt x="462" y="223"/>
                    </a:lnTo>
                    <a:lnTo>
                      <a:pt x="463" y="221"/>
                    </a:lnTo>
                    <a:lnTo>
                      <a:pt x="465" y="218"/>
                    </a:lnTo>
                    <a:lnTo>
                      <a:pt x="466" y="215"/>
                    </a:lnTo>
                    <a:lnTo>
                      <a:pt x="466" y="213"/>
                    </a:lnTo>
                    <a:lnTo>
                      <a:pt x="466" y="212"/>
                    </a:lnTo>
                    <a:lnTo>
                      <a:pt x="466" y="212"/>
                    </a:lnTo>
                    <a:lnTo>
                      <a:pt x="465" y="210"/>
                    </a:lnTo>
                    <a:lnTo>
                      <a:pt x="463" y="210"/>
                    </a:lnTo>
                    <a:lnTo>
                      <a:pt x="463" y="210"/>
                    </a:lnTo>
                    <a:lnTo>
                      <a:pt x="463" y="209"/>
                    </a:lnTo>
                    <a:lnTo>
                      <a:pt x="465" y="209"/>
                    </a:lnTo>
                    <a:lnTo>
                      <a:pt x="465" y="205"/>
                    </a:lnTo>
                    <a:lnTo>
                      <a:pt x="466" y="205"/>
                    </a:lnTo>
                    <a:lnTo>
                      <a:pt x="468" y="204"/>
                    </a:lnTo>
                    <a:lnTo>
                      <a:pt x="469" y="202"/>
                    </a:lnTo>
                    <a:lnTo>
                      <a:pt x="471" y="201"/>
                    </a:lnTo>
                    <a:lnTo>
                      <a:pt x="471" y="199"/>
                    </a:lnTo>
                    <a:lnTo>
                      <a:pt x="471" y="196"/>
                    </a:lnTo>
                    <a:lnTo>
                      <a:pt x="472" y="196"/>
                    </a:lnTo>
                    <a:lnTo>
                      <a:pt x="472" y="194"/>
                    </a:lnTo>
                    <a:lnTo>
                      <a:pt x="474" y="194"/>
                    </a:lnTo>
                    <a:lnTo>
                      <a:pt x="474" y="193"/>
                    </a:lnTo>
                    <a:lnTo>
                      <a:pt x="472" y="193"/>
                    </a:lnTo>
                    <a:lnTo>
                      <a:pt x="472" y="191"/>
                    </a:lnTo>
                    <a:lnTo>
                      <a:pt x="472" y="188"/>
                    </a:lnTo>
                    <a:lnTo>
                      <a:pt x="472" y="185"/>
                    </a:lnTo>
                    <a:lnTo>
                      <a:pt x="472" y="185"/>
                    </a:lnTo>
                    <a:lnTo>
                      <a:pt x="474" y="183"/>
                    </a:lnTo>
                    <a:lnTo>
                      <a:pt x="476" y="182"/>
                    </a:lnTo>
                    <a:lnTo>
                      <a:pt x="477" y="182"/>
                    </a:lnTo>
                    <a:lnTo>
                      <a:pt x="479" y="180"/>
                    </a:lnTo>
                    <a:lnTo>
                      <a:pt x="485" y="176"/>
                    </a:lnTo>
                    <a:lnTo>
                      <a:pt x="487" y="174"/>
                    </a:lnTo>
                    <a:lnTo>
                      <a:pt x="487" y="174"/>
                    </a:lnTo>
                    <a:lnTo>
                      <a:pt x="488" y="173"/>
                    </a:lnTo>
                    <a:lnTo>
                      <a:pt x="490" y="171"/>
                    </a:lnTo>
                    <a:lnTo>
                      <a:pt x="493" y="169"/>
                    </a:lnTo>
                    <a:lnTo>
                      <a:pt x="494" y="169"/>
                    </a:lnTo>
                    <a:lnTo>
                      <a:pt x="501" y="168"/>
                    </a:lnTo>
                    <a:lnTo>
                      <a:pt x="502" y="168"/>
                    </a:lnTo>
                    <a:lnTo>
                      <a:pt x="502" y="169"/>
                    </a:lnTo>
                    <a:lnTo>
                      <a:pt x="504" y="171"/>
                    </a:lnTo>
                    <a:lnTo>
                      <a:pt x="504" y="171"/>
                    </a:lnTo>
                    <a:lnTo>
                      <a:pt x="505" y="173"/>
                    </a:lnTo>
                    <a:lnTo>
                      <a:pt x="507" y="173"/>
                    </a:lnTo>
                    <a:lnTo>
                      <a:pt x="508" y="173"/>
                    </a:lnTo>
                    <a:lnTo>
                      <a:pt x="508" y="173"/>
                    </a:lnTo>
                    <a:lnTo>
                      <a:pt x="505" y="166"/>
                    </a:lnTo>
                    <a:lnTo>
                      <a:pt x="504" y="165"/>
                    </a:lnTo>
                    <a:lnTo>
                      <a:pt x="504" y="163"/>
                    </a:lnTo>
                    <a:lnTo>
                      <a:pt x="505" y="163"/>
                    </a:lnTo>
                    <a:lnTo>
                      <a:pt x="505" y="162"/>
                    </a:lnTo>
                    <a:lnTo>
                      <a:pt x="507" y="160"/>
                    </a:lnTo>
                    <a:lnTo>
                      <a:pt x="508" y="158"/>
                    </a:lnTo>
                    <a:lnTo>
                      <a:pt x="510" y="157"/>
                    </a:lnTo>
                    <a:lnTo>
                      <a:pt x="512" y="157"/>
                    </a:lnTo>
                    <a:lnTo>
                      <a:pt x="512" y="157"/>
                    </a:lnTo>
                    <a:lnTo>
                      <a:pt x="513" y="155"/>
                    </a:lnTo>
                    <a:lnTo>
                      <a:pt x="513" y="155"/>
                    </a:lnTo>
                    <a:close/>
                    <a:moveTo>
                      <a:pt x="438" y="429"/>
                    </a:moveTo>
                    <a:lnTo>
                      <a:pt x="438" y="428"/>
                    </a:lnTo>
                    <a:lnTo>
                      <a:pt x="438" y="426"/>
                    </a:lnTo>
                    <a:lnTo>
                      <a:pt x="437" y="426"/>
                    </a:lnTo>
                    <a:lnTo>
                      <a:pt x="435" y="428"/>
                    </a:lnTo>
                    <a:lnTo>
                      <a:pt x="433" y="429"/>
                    </a:lnTo>
                    <a:lnTo>
                      <a:pt x="433" y="432"/>
                    </a:lnTo>
                    <a:lnTo>
                      <a:pt x="433" y="435"/>
                    </a:lnTo>
                    <a:lnTo>
                      <a:pt x="433" y="435"/>
                    </a:lnTo>
                    <a:lnTo>
                      <a:pt x="433" y="439"/>
                    </a:lnTo>
                    <a:lnTo>
                      <a:pt x="432" y="439"/>
                    </a:lnTo>
                    <a:lnTo>
                      <a:pt x="432" y="440"/>
                    </a:lnTo>
                    <a:lnTo>
                      <a:pt x="432" y="442"/>
                    </a:lnTo>
                    <a:lnTo>
                      <a:pt x="432" y="443"/>
                    </a:lnTo>
                    <a:lnTo>
                      <a:pt x="432" y="445"/>
                    </a:lnTo>
                    <a:lnTo>
                      <a:pt x="432" y="448"/>
                    </a:lnTo>
                    <a:lnTo>
                      <a:pt x="432" y="448"/>
                    </a:lnTo>
                    <a:lnTo>
                      <a:pt x="432" y="448"/>
                    </a:lnTo>
                    <a:lnTo>
                      <a:pt x="432" y="449"/>
                    </a:lnTo>
                    <a:lnTo>
                      <a:pt x="432" y="449"/>
                    </a:lnTo>
                    <a:lnTo>
                      <a:pt x="430" y="449"/>
                    </a:lnTo>
                    <a:lnTo>
                      <a:pt x="430" y="451"/>
                    </a:lnTo>
                    <a:lnTo>
                      <a:pt x="430" y="453"/>
                    </a:lnTo>
                    <a:lnTo>
                      <a:pt x="430" y="454"/>
                    </a:lnTo>
                    <a:lnTo>
                      <a:pt x="429" y="454"/>
                    </a:lnTo>
                    <a:lnTo>
                      <a:pt x="429" y="456"/>
                    </a:lnTo>
                    <a:lnTo>
                      <a:pt x="429" y="456"/>
                    </a:lnTo>
                    <a:lnTo>
                      <a:pt x="429" y="457"/>
                    </a:lnTo>
                    <a:lnTo>
                      <a:pt x="429" y="459"/>
                    </a:lnTo>
                    <a:lnTo>
                      <a:pt x="430" y="462"/>
                    </a:lnTo>
                    <a:lnTo>
                      <a:pt x="430" y="462"/>
                    </a:lnTo>
                    <a:lnTo>
                      <a:pt x="432" y="462"/>
                    </a:lnTo>
                    <a:lnTo>
                      <a:pt x="432" y="460"/>
                    </a:lnTo>
                    <a:lnTo>
                      <a:pt x="432" y="459"/>
                    </a:lnTo>
                    <a:lnTo>
                      <a:pt x="433" y="456"/>
                    </a:lnTo>
                    <a:lnTo>
                      <a:pt x="433" y="456"/>
                    </a:lnTo>
                    <a:lnTo>
                      <a:pt x="432" y="456"/>
                    </a:lnTo>
                    <a:lnTo>
                      <a:pt x="432" y="454"/>
                    </a:lnTo>
                    <a:lnTo>
                      <a:pt x="432" y="453"/>
                    </a:lnTo>
                    <a:lnTo>
                      <a:pt x="433" y="453"/>
                    </a:lnTo>
                    <a:lnTo>
                      <a:pt x="433" y="451"/>
                    </a:lnTo>
                    <a:lnTo>
                      <a:pt x="433" y="449"/>
                    </a:lnTo>
                    <a:lnTo>
                      <a:pt x="433" y="446"/>
                    </a:lnTo>
                    <a:lnTo>
                      <a:pt x="435" y="446"/>
                    </a:lnTo>
                    <a:lnTo>
                      <a:pt x="437" y="445"/>
                    </a:lnTo>
                    <a:lnTo>
                      <a:pt x="435" y="439"/>
                    </a:lnTo>
                    <a:lnTo>
                      <a:pt x="435" y="437"/>
                    </a:lnTo>
                    <a:lnTo>
                      <a:pt x="435" y="437"/>
                    </a:lnTo>
                    <a:lnTo>
                      <a:pt x="435" y="435"/>
                    </a:lnTo>
                    <a:lnTo>
                      <a:pt x="437" y="434"/>
                    </a:lnTo>
                    <a:lnTo>
                      <a:pt x="437" y="434"/>
                    </a:lnTo>
                    <a:lnTo>
                      <a:pt x="438" y="432"/>
                    </a:lnTo>
                    <a:lnTo>
                      <a:pt x="438" y="432"/>
                    </a:lnTo>
                    <a:lnTo>
                      <a:pt x="437" y="431"/>
                    </a:lnTo>
                    <a:lnTo>
                      <a:pt x="438" y="429"/>
                    </a:lnTo>
                    <a:close/>
                    <a:moveTo>
                      <a:pt x="432" y="437"/>
                    </a:moveTo>
                    <a:lnTo>
                      <a:pt x="430" y="437"/>
                    </a:lnTo>
                    <a:lnTo>
                      <a:pt x="430" y="437"/>
                    </a:lnTo>
                    <a:lnTo>
                      <a:pt x="430" y="440"/>
                    </a:lnTo>
                    <a:lnTo>
                      <a:pt x="432" y="439"/>
                    </a:lnTo>
                    <a:lnTo>
                      <a:pt x="432" y="437"/>
                    </a:lnTo>
                    <a:lnTo>
                      <a:pt x="432" y="437"/>
                    </a:lnTo>
                    <a:close/>
                    <a:moveTo>
                      <a:pt x="437" y="453"/>
                    </a:moveTo>
                    <a:lnTo>
                      <a:pt x="437" y="454"/>
                    </a:lnTo>
                    <a:lnTo>
                      <a:pt x="435" y="454"/>
                    </a:lnTo>
                    <a:lnTo>
                      <a:pt x="437" y="454"/>
                    </a:lnTo>
                    <a:lnTo>
                      <a:pt x="438" y="456"/>
                    </a:lnTo>
                    <a:lnTo>
                      <a:pt x="437" y="453"/>
                    </a:lnTo>
                    <a:close/>
                    <a:moveTo>
                      <a:pt x="430" y="465"/>
                    </a:moveTo>
                    <a:lnTo>
                      <a:pt x="430" y="464"/>
                    </a:lnTo>
                    <a:lnTo>
                      <a:pt x="430" y="462"/>
                    </a:lnTo>
                    <a:lnTo>
                      <a:pt x="430" y="464"/>
                    </a:lnTo>
                    <a:lnTo>
                      <a:pt x="429" y="465"/>
                    </a:lnTo>
                    <a:lnTo>
                      <a:pt x="430" y="465"/>
                    </a:lnTo>
                    <a:lnTo>
                      <a:pt x="430" y="465"/>
                    </a:lnTo>
                    <a:lnTo>
                      <a:pt x="430" y="465"/>
                    </a:lnTo>
                    <a:close/>
                    <a:moveTo>
                      <a:pt x="429" y="476"/>
                    </a:moveTo>
                    <a:lnTo>
                      <a:pt x="427" y="473"/>
                    </a:lnTo>
                    <a:lnTo>
                      <a:pt x="427" y="475"/>
                    </a:lnTo>
                    <a:lnTo>
                      <a:pt x="426" y="476"/>
                    </a:lnTo>
                    <a:lnTo>
                      <a:pt x="426" y="476"/>
                    </a:lnTo>
                    <a:lnTo>
                      <a:pt x="426" y="478"/>
                    </a:lnTo>
                    <a:lnTo>
                      <a:pt x="426" y="479"/>
                    </a:lnTo>
                    <a:lnTo>
                      <a:pt x="427" y="481"/>
                    </a:lnTo>
                    <a:lnTo>
                      <a:pt x="427" y="479"/>
                    </a:lnTo>
                    <a:lnTo>
                      <a:pt x="429" y="478"/>
                    </a:lnTo>
                    <a:lnTo>
                      <a:pt x="429" y="476"/>
                    </a:lnTo>
                    <a:close/>
                    <a:moveTo>
                      <a:pt x="432" y="503"/>
                    </a:moveTo>
                    <a:lnTo>
                      <a:pt x="432" y="503"/>
                    </a:lnTo>
                    <a:lnTo>
                      <a:pt x="432" y="503"/>
                    </a:lnTo>
                    <a:lnTo>
                      <a:pt x="432" y="504"/>
                    </a:lnTo>
                    <a:lnTo>
                      <a:pt x="432" y="504"/>
                    </a:lnTo>
                    <a:lnTo>
                      <a:pt x="432" y="504"/>
                    </a:lnTo>
                    <a:lnTo>
                      <a:pt x="432" y="504"/>
                    </a:lnTo>
                    <a:lnTo>
                      <a:pt x="433" y="504"/>
                    </a:lnTo>
                    <a:lnTo>
                      <a:pt x="432" y="503"/>
                    </a:lnTo>
                    <a:close/>
                    <a:moveTo>
                      <a:pt x="438" y="520"/>
                    </a:moveTo>
                    <a:lnTo>
                      <a:pt x="438" y="518"/>
                    </a:lnTo>
                    <a:lnTo>
                      <a:pt x="438" y="518"/>
                    </a:lnTo>
                    <a:lnTo>
                      <a:pt x="438" y="520"/>
                    </a:lnTo>
                    <a:lnTo>
                      <a:pt x="438" y="521"/>
                    </a:lnTo>
                    <a:lnTo>
                      <a:pt x="440" y="521"/>
                    </a:lnTo>
                    <a:lnTo>
                      <a:pt x="438" y="520"/>
                    </a:lnTo>
                    <a:close/>
                    <a:moveTo>
                      <a:pt x="446" y="521"/>
                    </a:moveTo>
                    <a:lnTo>
                      <a:pt x="446" y="521"/>
                    </a:lnTo>
                    <a:lnTo>
                      <a:pt x="444" y="521"/>
                    </a:lnTo>
                    <a:lnTo>
                      <a:pt x="444" y="521"/>
                    </a:lnTo>
                    <a:lnTo>
                      <a:pt x="444" y="523"/>
                    </a:lnTo>
                    <a:lnTo>
                      <a:pt x="444" y="523"/>
                    </a:lnTo>
                    <a:lnTo>
                      <a:pt x="444" y="525"/>
                    </a:lnTo>
                    <a:lnTo>
                      <a:pt x="444" y="525"/>
                    </a:lnTo>
                    <a:lnTo>
                      <a:pt x="444" y="525"/>
                    </a:lnTo>
                    <a:lnTo>
                      <a:pt x="446" y="525"/>
                    </a:lnTo>
                    <a:lnTo>
                      <a:pt x="446" y="521"/>
                    </a:lnTo>
                    <a:close/>
                    <a:moveTo>
                      <a:pt x="444" y="526"/>
                    </a:moveTo>
                    <a:lnTo>
                      <a:pt x="443" y="525"/>
                    </a:lnTo>
                    <a:lnTo>
                      <a:pt x="443" y="525"/>
                    </a:lnTo>
                    <a:lnTo>
                      <a:pt x="441" y="526"/>
                    </a:lnTo>
                    <a:lnTo>
                      <a:pt x="443" y="526"/>
                    </a:lnTo>
                    <a:lnTo>
                      <a:pt x="443" y="528"/>
                    </a:lnTo>
                    <a:lnTo>
                      <a:pt x="444" y="528"/>
                    </a:lnTo>
                    <a:lnTo>
                      <a:pt x="444" y="526"/>
                    </a:lnTo>
                    <a:lnTo>
                      <a:pt x="444" y="526"/>
                    </a:lnTo>
                    <a:close/>
                    <a:moveTo>
                      <a:pt x="449" y="536"/>
                    </a:moveTo>
                    <a:lnTo>
                      <a:pt x="447" y="536"/>
                    </a:lnTo>
                    <a:lnTo>
                      <a:pt x="447" y="536"/>
                    </a:lnTo>
                    <a:lnTo>
                      <a:pt x="447" y="537"/>
                    </a:lnTo>
                    <a:lnTo>
                      <a:pt x="447" y="537"/>
                    </a:lnTo>
                    <a:lnTo>
                      <a:pt x="449" y="536"/>
                    </a:lnTo>
                    <a:lnTo>
                      <a:pt x="449" y="536"/>
                    </a:lnTo>
                    <a:close/>
                    <a:moveTo>
                      <a:pt x="451" y="539"/>
                    </a:moveTo>
                    <a:lnTo>
                      <a:pt x="451" y="539"/>
                    </a:lnTo>
                    <a:lnTo>
                      <a:pt x="447" y="539"/>
                    </a:lnTo>
                    <a:lnTo>
                      <a:pt x="447" y="540"/>
                    </a:lnTo>
                    <a:lnTo>
                      <a:pt x="447" y="542"/>
                    </a:lnTo>
                    <a:lnTo>
                      <a:pt x="449" y="542"/>
                    </a:lnTo>
                    <a:lnTo>
                      <a:pt x="451" y="547"/>
                    </a:lnTo>
                    <a:lnTo>
                      <a:pt x="452" y="545"/>
                    </a:lnTo>
                    <a:lnTo>
                      <a:pt x="452" y="543"/>
                    </a:lnTo>
                    <a:lnTo>
                      <a:pt x="451" y="53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2" name="Freeform 99">
                <a:extLst>
                  <a:ext uri="{FF2B5EF4-FFF2-40B4-BE49-F238E27FC236}">
                    <a16:creationId xmlns:a16="http://schemas.microsoft.com/office/drawing/2014/main" id="{86ABA94A-2FCA-406B-3BE2-810271F9DBE4}"/>
                  </a:ext>
                </a:extLst>
              </p:cNvPr>
              <p:cNvSpPr>
                <a:spLocks/>
              </p:cNvSpPr>
              <p:nvPr/>
            </p:nvSpPr>
            <p:spPr bwMode="gray">
              <a:xfrm>
                <a:off x="3355" y="872"/>
                <a:ext cx="172" cy="175"/>
              </a:xfrm>
              <a:custGeom>
                <a:avLst/>
                <a:gdLst>
                  <a:gd name="T0" fmla="*/ 108 w 172"/>
                  <a:gd name="T1" fmla="*/ 12 h 175"/>
                  <a:gd name="T2" fmla="*/ 110 w 172"/>
                  <a:gd name="T3" fmla="*/ 15 h 175"/>
                  <a:gd name="T4" fmla="*/ 111 w 172"/>
                  <a:gd name="T5" fmla="*/ 22 h 175"/>
                  <a:gd name="T6" fmla="*/ 114 w 172"/>
                  <a:gd name="T7" fmla="*/ 23 h 175"/>
                  <a:gd name="T8" fmla="*/ 118 w 172"/>
                  <a:gd name="T9" fmla="*/ 29 h 175"/>
                  <a:gd name="T10" fmla="*/ 124 w 172"/>
                  <a:gd name="T11" fmla="*/ 34 h 175"/>
                  <a:gd name="T12" fmla="*/ 132 w 172"/>
                  <a:gd name="T13" fmla="*/ 36 h 175"/>
                  <a:gd name="T14" fmla="*/ 127 w 172"/>
                  <a:gd name="T15" fmla="*/ 40 h 175"/>
                  <a:gd name="T16" fmla="*/ 130 w 172"/>
                  <a:gd name="T17" fmla="*/ 45 h 175"/>
                  <a:gd name="T18" fmla="*/ 129 w 172"/>
                  <a:gd name="T19" fmla="*/ 50 h 175"/>
                  <a:gd name="T20" fmla="*/ 121 w 172"/>
                  <a:gd name="T21" fmla="*/ 61 h 175"/>
                  <a:gd name="T22" fmla="*/ 119 w 172"/>
                  <a:gd name="T23" fmla="*/ 62 h 175"/>
                  <a:gd name="T24" fmla="*/ 119 w 172"/>
                  <a:gd name="T25" fmla="*/ 69 h 175"/>
                  <a:gd name="T26" fmla="*/ 118 w 172"/>
                  <a:gd name="T27" fmla="*/ 73 h 175"/>
                  <a:gd name="T28" fmla="*/ 124 w 172"/>
                  <a:gd name="T29" fmla="*/ 81 h 175"/>
                  <a:gd name="T30" fmla="*/ 125 w 172"/>
                  <a:gd name="T31" fmla="*/ 83 h 175"/>
                  <a:gd name="T32" fmla="*/ 130 w 172"/>
                  <a:gd name="T33" fmla="*/ 89 h 175"/>
                  <a:gd name="T34" fmla="*/ 129 w 172"/>
                  <a:gd name="T35" fmla="*/ 95 h 175"/>
                  <a:gd name="T36" fmla="*/ 138 w 172"/>
                  <a:gd name="T37" fmla="*/ 97 h 175"/>
                  <a:gd name="T38" fmla="*/ 150 w 172"/>
                  <a:gd name="T39" fmla="*/ 105 h 175"/>
                  <a:gd name="T40" fmla="*/ 154 w 172"/>
                  <a:gd name="T41" fmla="*/ 111 h 175"/>
                  <a:gd name="T42" fmla="*/ 158 w 172"/>
                  <a:gd name="T43" fmla="*/ 123 h 175"/>
                  <a:gd name="T44" fmla="*/ 160 w 172"/>
                  <a:gd name="T45" fmla="*/ 136 h 175"/>
                  <a:gd name="T46" fmla="*/ 163 w 172"/>
                  <a:gd name="T47" fmla="*/ 145 h 175"/>
                  <a:gd name="T48" fmla="*/ 166 w 172"/>
                  <a:gd name="T49" fmla="*/ 148 h 175"/>
                  <a:gd name="T50" fmla="*/ 169 w 172"/>
                  <a:gd name="T51" fmla="*/ 151 h 175"/>
                  <a:gd name="T52" fmla="*/ 171 w 172"/>
                  <a:gd name="T53" fmla="*/ 155 h 175"/>
                  <a:gd name="T54" fmla="*/ 164 w 172"/>
                  <a:gd name="T55" fmla="*/ 155 h 175"/>
                  <a:gd name="T56" fmla="*/ 158 w 172"/>
                  <a:gd name="T57" fmla="*/ 155 h 175"/>
                  <a:gd name="T58" fmla="*/ 150 w 172"/>
                  <a:gd name="T59" fmla="*/ 153 h 175"/>
                  <a:gd name="T60" fmla="*/ 147 w 172"/>
                  <a:gd name="T61" fmla="*/ 156 h 175"/>
                  <a:gd name="T62" fmla="*/ 141 w 172"/>
                  <a:gd name="T63" fmla="*/ 169 h 175"/>
                  <a:gd name="T64" fmla="*/ 127 w 172"/>
                  <a:gd name="T65" fmla="*/ 173 h 175"/>
                  <a:gd name="T66" fmla="*/ 104 w 172"/>
                  <a:gd name="T67" fmla="*/ 172 h 175"/>
                  <a:gd name="T68" fmla="*/ 82 w 172"/>
                  <a:gd name="T69" fmla="*/ 153 h 175"/>
                  <a:gd name="T70" fmla="*/ 63 w 172"/>
                  <a:gd name="T71" fmla="*/ 137 h 175"/>
                  <a:gd name="T72" fmla="*/ 44 w 172"/>
                  <a:gd name="T73" fmla="*/ 125 h 175"/>
                  <a:gd name="T74" fmla="*/ 28 w 172"/>
                  <a:gd name="T75" fmla="*/ 116 h 175"/>
                  <a:gd name="T76" fmla="*/ 7 w 172"/>
                  <a:gd name="T77" fmla="*/ 112 h 175"/>
                  <a:gd name="T78" fmla="*/ 5 w 172"/>
                  <a:gd name="T79" fmla="*/ 108 h 175"/>
                  <a:gd name="T80" fmla="*/ 3 w 172"/>
                  <a:gd name="T81" fmla="*/ 95 h 175"/>
                  <a:gd name="T82" fmla="*/ 10 w 172"/>
                  <a:gd name="T83" fmla="*/ 81 h 175"/>
                  <a:gd name="T84" fmla="*/ 30 w 172"/>
                  <a:gd name="T85" fmla="*/ 69 h 175"/>
                  <a:gd name="T86" fmla="*/ 41 w 172"/>
                  <a:gd name="T87" fmla="*/ 61 h 175"/>
                  <a:gd name="T88" fmla="*/ 43 w 172"/>
                  <a:gd name="T89" fmla="*/ 45 h 175"/>
                  <a:gd name="T90" fmla="*/ 46 w 172"/>
                  <a:gd name="T91" fmla="*/ 36 h 175"/>
                  <a:gd name="T92" fmla="*/ 44 w 172"/>
                  <a:gd name="T93" fmla="*/ 26 h 175"/>
                  <a:gd name="T94" fmla="*/ 47 w 172"/>
                  <a:gd name="T95" fmla="*/ 18 h 175"/>
                  <a:gd name="T96" fmla="*/ 58 w 172"/>
                  <a:gd name="T97" fmla="*/ 12 h 175"/>
                  <a:gd name="T98" fmla="*/ 63 w 172"/>
                  <a:gd name="T99" fmla="*/ 6 h 175"/>
                  <a:gd name="T100" fmla="*/ 71 w 172"/>
                  <a:gd name="T101" fmla="*/ 0 h 175"/>
                  <a:gd name="T102" fmla="*/ 78 w 172"/>
                  <a:gd name="T103" fmla="*/ 1 h 175"/>
                  <a:gd name="T104" fmla="*/ 85 w 172"/>
                  <a:gd name="T105" fmla="*/ 3 h 175"/>
                  <a:gd name="T106" fmla="*/ 93 w 172"/>
                  <a:gd name="T107" fmla="*/ 1 h 175"/>
                  <a:gd name="T108" fmla="*/ 96 w 172"/>
                  <a:gd name="T109" fmla="*/ 3 h 175"/>
                  <a:gd name="T110" fmla="*/ 97 w 172"/>
                  <a:gd name="T111" fmla="*/ 9 h 175"/>
                  <a:gd name="T112" fmla="*/ 100 w 172"/>
                  <a:gd name="T113" fmla="*/ 6 h 175"/>
                  <a:gd name="T114" fmla="*/ 105 w 172"/>
                  <a:gd name="T115" fmla="*/ 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75">
                    <a:moveTo>
                      <a:pt x="105" y="6"/>
                    </a:moveTo>
                    <a:lnTo>
                      <a:pt x="105" y="6"/>
                    </a:lnTo>
                    <a:lnTo>
                      <a:pt x="107" y="8"/>
                    </a:lnTo>
                    <a:lnTo>
                      <a:pt x="108" y="12"/>
                    </a:lnTo>
                    <a:lnTo>
                      <a:pt x="108" y="14"/>
                    </a:lnTo>
                    <a:lnTo>
                      <a:pt x="110" y="14"/>
                    </a:lnTo>
                    <a:lnTo>
                      <a:pt x="110" y="15"/>
                    </a:lnTo>
                    <a:lnTo>
                      <a:pt x="110" y="15"/>
                    </a:lnTo>
                    <a:lnTo>
                      <a:pt x="110" y="17"/>
                    </a:lnTo>
                    <a:lnTo>
                      <a:pt x="110" y="18"/>
                    </a:lnTo>
                    <a:lnTo>
                      <a:pt x="111" y="20"/>
                    </a:lnTo>
                    <a:lnTo>
                      <a:pt x="111" y="22"/>
                    </a:lnTo>
                    <a:lnTo>
                      <a:pt x="111" y="22"/>
                    </a:lnTo>
                    <a:lnTo>
                      <a:pt x="113" y="22"/>
                    </a:lnTo>
                    <a:lnTo>
                      <a:pt x="113" y="22"/>
                    </a:lnTo>
                    <a:lnTo>
                      <a:pt x="114" y="23"/>
                    </a:lnTo>
                    <a:lnTo>
                      <a:pt x="116" y="29"/>
                    </a:lnTo>
                    <a:lnTo>
                      <a:pt x="116" y="29"/>
                    </a:lnTo>
                    <a:lnTo>
                      <a:pt x="118" y="29"/>
                    </a:lnTo>
                    <a:lnTo>
                      <a:pt x="118" y="29"/>
                    </a:lnTo>
                    <a:lnTo>
                      <a:pt x="119" y="31"/>
                    </a:lnTo>
                    <a:lnTo>
                      <a:pt x="121" y="33"/>
                    </a:lnTo>
                    <a:lnTo>
                      <a:pt x="122" y="34"/>
                    </a:lnTo>
                    <a:lnTo>
                      <a:pt x="124" y="34"/>
                    </a:lnTo>
                    <a:lnTo>
                      <a:pt x="127" y="34"/>
                    </a:lnTo>
                    <a:lnTo>
                      <a:pt x="130" y="34"/>
                    </a:lnTo>
                    <a:lnTo>
                      <a:pt x="132" y="36"/>
                    </a:lnTo>
                    <a:lnTo>
                      <a:pt x="132" y="36"/>
                    </a:lnTo>
                    <a:lnTo>
                      <a:pt x="130" y="36"/>
                    </a:lnTo>
                    <a:lnTo>
                      <a:pt x="129" y="37"/>
                    </a:lnTo>
                    <a:lnTo>
                      <a:pt x="127" y="39"/>
                    </a:lnTo>
                    <a:lnTo>
                      <a:pt x="127" y="40"/>
                    </a:lnTo>
                    <a:lnTo>
                      <a:pt x="127" y="42"/>
                    </a:lnTo>
                    <a:lnTo>
                      <a:pt x="127" y="42"/>
                    </a:lnTo>
                    <a:lnTo>
                      <a:pt x="129" y="45"/>
                    </a:lnTo>
                    <a:lnTo>
                      <a:pt x="130" y="45"/>
                    </a:lnTo>
                    <a:lnTo>
                      <a:pt x="130" y="47"/>
                    </a:lnTo>
                    <a:lnTo>
                      <a:pt x="130" y="48"/>
                    </a:lnTo>
                    <a:lnTo>
                      <a:pt x="130" y="50"/>
                    </a:lnTo>
                    <a:lnTo>
                      <a:pt x="129" y="50"/>
                    </a:lnTo>
                    <a:lnTo>
                      <a:pt x="125" y="51"/>
                    </a:lnTo>
                    <a:lnTo>
                      <a:pt x="122" y="56"/>
                    </a:lnTo>
                    <a:lnTo>
                      <a:pt x="121" y="58"/>
                    </a:lnTo>
                    <a:lnTo>
                      <a:pt x="121" y="61"/>
                    </a:lnTo>
                    <a:lnTo>
                      <a:pt x="121" y="61"/>
                    </a:lnTo>
                    <a:lnTo>
                      <a:pt x="119" y="61"/>
                    </a:lnTo>
                    <a:lnTo>
                      <a:pt x="119" y="61"/>
                    </a:lnTo>
                    <a:lnTo>
                      <a:pt x="119" y="62"/>
                    </a:lnTo>
                    <a:lnTo>
                      <a:pt x="118" y="62"/>
                    </a:lnTo>
                    <a:lnTo>
                      <a:pt x="118" y="64"/>
                    </a:lnTo>
                    <a:lnTo>
                      <a:pt x="119" y="67"/>
                    </a:lnTo>
                    <a:lnTo>
                      <a:pt x="119" y="69"/>
                    </a:lnTo>
                    <a:lnTo>
                      <a:pt x="119" y="70"/>
                    </a:lnTo>
                    <a:lnTo>
                      <a:pt x="118" y="72"/>
                    </a:lnTo>
                    <a:lnTo>
                      <a:pt x="116" y="73"/>
                    </a:lnTo>
                    <a:lnTo>
                      <a:pt x="118" y="73"/>
                    </a:lnTo>
                    <a:lnTo>
                      <a:pt x="118" y="75"/>
                    </a:lnTo>
                    <a:lnTo>
                      <a:pt x="122" y="80"/>
                    </a:lnTo>
                    <a:lnTo>
                      <a:pt x="122" y="81"/>
                    </a:lnTo>
                    <a:lnTo>
                      <a:pt x="124" y="81"/>
                    </a:lnTo>
                    <a:lnTo>
                      <a:pt x="125" y="81"/>
                    </a:lnTo>
                    <a:lnTo>
                      <a:pt x="125" y="81"/>
                    </a:lnTo>
                    <a:lnTo>
                      <a:pt x="125" y="81"/>
                    </a:lnTo>
                    <a:lnTo>
                      <a:pt x="125" y="83"/>
                    </a:lnTo>
                    <a:lnTo>
                      <a:pt x="125" y="84"/>
                    </a:lnTo>
                    <a:lnTo>
                      <a:pt x="127" y="84"/>
                    </a:lnTo>
                    <a:lnTo>
                      <a:pt x="127" y="86"/>
                    </a:lnTo>
                    <a:lnTo>
                      <a:pt x="130" y="89"/>
                    </a:lnTo>
                    <a:lnTo>
                      <a:pt x="130" y="90"/>
                    </a:lnTo>
                    <a:lnTo>
                      <a:pt x="129" y="92"/>
                    </a:lnTo>
                    <a:lnTo>
                      <a:pt x="129" y="94"/>
                    </a:lnTo>
                    <a:lnTo>
                      <a:pt x="129" y="95"/>
                    </a:lnTo>
                    <a:lnTo>
                      <a:pt x="129" y="95"/>
                    </a:lnTo>
                    <a:lnTo>
                      <a:pt x="133" y="95"/>
                    </a:lnTo>
                    <a:lnTo>
                      <a:pt x="133" y="95"/>
                    </a:lnTo>
                    <a:lnTo>
                      <a:pt x="138" y="97"/>
                    </a:lnTo>
                    <a:lnTo>
                      <a:pt x="141" y="100"/>
                    </a:lnTo>
                    <a:lnTo>
                      <a:pt x="144" y="103"/>
                    </a:lnTo>
                    <a:lnTo>
                      <a:pt x="147" y="105"/>
                    </a:lnTo>
                    <a:lnTo>
                      <a:pt x="150" y="105"/>
                    </a:lnTo>
                    <a:lnTo>
                      <a:pt x="150" y="105"/>
                    </a:lnTo>
                    <a:lnTo>
                      <a:pt x="152" y="106"/>
                    </a:lnTo>
                    <a:lnTo>
                      <a:pt x="152" y="108"/>
                    </a:lnTo>
                    <a:lnTo>
                      <a:pt x="154" y="111"/>
                    </a:lnTo>
                    <a:lnTo>
                      <a:pt x="155" y="112"/>
                    </a:lnTo>
                    <a:lnTo>
                      <a:pt x="157" y="116"/>
                    </a:lnTo>
                    <a:lnTo>
                      <a:pt x="160" y="119"/>
                    </a:lnTo>
                    <a:lnTo>
                      <a:pt x="158" y="123"/>
                    </a:lnTo>
                    <a:lnTo>
                      <a:pt x="157" y="126"/>
                    </a:lnTo>
                    <a:lnTo>
                      <a:pt x="157" y="133"/>
                    </a:lnTo>
                    <a:lnTo>
                      <a:pt x="157" y="136"/>
                    </a:lnTo>
                    <a:lnTo>
                      <a:pt x="160" y="136"/>
                    </a:lnTo>
                    <a:lnTo>
                      <a:pt x="163" y="136"/>
                    </a:lnTo>
                    <a:lnTo>
                      <a:pt x="163" y="139"/>
                    </a:lnTo>
                    <a:lnTo>
                      <a:pt x="163" y="142"/>
                    </a:lnTo>
                    <a:lnTo>
                      <a:pt x="163" y="145"/>
                    </a:lnTo>
                    <a:lnTo>
                      <a:pt x="163" y="147"/>
                    </a:lnTo>
                    <a:lnTo>
                      <a:pt x="164" y="147"/>
                    </a:lnTo>
                    <a:lnTo>
                      <a:pt x="166" y="148"/>
                    </a:lnTo>
                    <a:lnTo>
                      <a:pt x="166" y="148"/>
                    </a:lnTo>
                    <a:lnTo>
                      <a:pt x="168" y="148"/>
                    </a:lnTo>
                    <a:lnTo>
                      <a:pt x="168" y="150"/>
                    </a:lnTo>
                    <a:lnTo>
                      <a:pt x="169" y="151"/>
                    </a:lnTo>
                    <a:lnTo>
                      <a:pt x="169" y="151"/>
                    </a:lnTo>
                    <a:lnTo>
                      <a:pt x="169" y="151"/>
                    </a:lnTo>
                    <a:lnTo>
                      <a:pt x="169" y="153"/>
                    </a:lnTo>
                    <a:lnTo>
                      <a:pt x="171" y="155"/>
                    </a:lnTo>
                    <a:lnTo>
                      <a:pt x="171" y="155"/>
                    </a:lnTo>
                    <a:lnTo>
                      <a:pt x="172" y="156"/>
                    </a:lnTo>
                    <a:lnTo>
                      <a:pt x="171" y="156"/>
                    </a:lnTo>
                    <a:lnTo>
                      <a:pt x="169" y="156"/>
                    </a:lnTo>
                    <a:lnTo>
                      <a:pt x="164" y="155"/>
                    </a:lnTo>
                    <a:lnTo>
                      <a:pt x="163" y="155"/>
                    </a:lnTo>
                    <a:lnTo>
                      <a:pt x="161" y="155"/>
                    </a:lnTo>
                    <a:lnTo>
                      <a:pt x="161" y="156"/>
                    </a:lnTo>
                    <a:lnTo>
                      <a:pt x="158" y="155"/>
                    </a:lnTo>
                    <a:lnTo>
                      <a:pt x="157" y="153"/>
                    </a:lnTo>
                    <a:lnTo>
                      <a:pt x="157" y="153"/>
                    </a:lnTo>
                    <a:lnTo>
                      <a:pt x="154" y="153"/>
                    </a:lnTo>
                    <a:lnTo>
                      <a:pt x="150" y="153"/>
                    </a:lnTo>
                    <a:lnTo>
                      <a:pt x="149" y="155"/>
                    </a:lnTo>
                    <a:lnTo>
                      <a:pt x="147" y="156"/>
                    </a:lnTo>
                    <a:lnTo>
                      <a:pt x="147" y="156"/>
                    </a:lnTo>
                    <a:lnTo>
                      <a:pt x="147" y="156"/>
                    </a:lnTo>
                    <a:lnTo>
                      <a:pt x="146" y="159"/>
                    </a:lnTo>
                    <a:lnTo>
                      <a:pt x="144" y="162"/>
                    </a:lnTo>
                    <a:lnTo>
                      <a:pt x="143" y="164"/>
                    </a:lnTo>
                    <a:lnTo>
                      <a:pt x="141" y="169"/>
                    </a:lnTo>
                    <a:lnTo>
                      <a:pt x="139" y="170"/>
                    </a:lnTo>
                    <a:lnTo>
                      <a:pt x="136" y="173"/>
                    </a:lnTo>
                    <a:lnTo>
                      <a:pt x="133" y="175"/>
                    </a:lnTo>
                    <a:lnTo>
                      <a:pt x="127" y="173"/>
                    </a:lnTo>
                    <a:lnTo>
                      <a:pt x="119" y="173"/>
                    </a:lnTo>
                    <a:lnTo>
                      <a:pt x="111" y="172"/>
                    </a:lnTo>
                    <a:lnTo>
                      <a:pt x="105" y="172"/>
                    </a:lnTo>
                    <a:lnTo>
                      <a:pt x="104" y="172"/>
                    </a:lnTo>
                    <a:lnTo>
                      <a:pt x="99" y="167"/>
                    </a:lnTo>
                    <a:lnTo>
                      <a:pt x="94" y="162"/>
                    </a:lnTo>
                    <a:lnTo>
                      <a:pt x="88" y="158"/>
                    </a:lnTo>
                    <a:lnTo>
                      <a:pt x="82" y="153"/>
                    </a:lnTo>
                    <a:lnTo>
                      <a:pt x="77" y="148"/>
                    </a:lnTo>
                    <a:lnTo>
                      <a:pt x="72" y="145"/>
                    </a:lnTo>
                    <a:lnTo>
                      <a:pt x="68" y="141"/>
                    </a:lnTo>
                    <a:lnTo>
                      <a:pt x="63" y="137"/>
                    </a:lnTo>
                    <a:lnTo>
                      <a:pt x="58" y="134"/>
                    </a:lnTo>
                    <a:lnTo>
                      <a:pt x="53" y="131"/>
                    </a:lnTo>
                    <a:lnTo>
                      <a:pt x="50" y="128"/>
                    </a:lnTo>
                    <a:lnTo>
                      <a:pt x="44" y="125"/>
                    </a:lnTo>
                    <a:lnTo>
                      <a:pt x="39" y="122"/>
                    </a:lnTo>
                    <a:lnTo>
                      <a:pt x="36" y="120"/>
                    </a:lnTo>
                    <a:lnTo>
                      <a:pt x="30" y="117"/>
                    </a:lnTo>
                    <a:lnTo>
                      <a:pt x="28" y="116"/>
                    </a:lnTo>
                    <a:lnTo>
                      <a:pt x="22" y="116"/>
                    </a:lnTo>
                    <a:lnTo>
                      <a:pt x="18" y="114"/>
                    </a:lnTo>
                    <a:lnTo>
                      <a:pt x="11" y="112"/>
                    </a:lnTo>
                    <a:lnTo>
                      <a:pt x="7" y="112"/>
                    </a:lnTo>
                    <a:lnTo>
                      <a:pt x="10" y="109"/>
                    </a:lnTo>
                    <a:lnTo>
                      <a:pt x="8" y="108"/>
                    </a:lnTo>
                    <a:lnTo>
                      <a:pt x="7" y="108"/>
                    </a:lnTo>
                    <a:lnTo>
                      <a:pt x="5" y="108"/>
                    </a:lnTo>
                    <a:lnTo>
                      <a:pt x="3" y="105"/>
                    </a:lnTo>
                    <a:lnTo>
                      <a:pt x="5" y="105"/>
                    </a:lnTo>
                    <a:lnTo>
                      <a:pt x="3" y="100"/>
                    </a:lnTo>
                    <a:lnTo>
                      <a:pt x="3" y="95"/>
                    </a:lnTo>
                    <a:lnTo>
                      <a:pt x="2" y="90"/>
                    </a:lnTo>
                    <a:lnTo>
                      <a:pt x="0" y="86"/>
                    </a:lnTo>
                    <a:lnTo>
                      <a:pt x="5" y="83"/>
                    </a:lnTo>
                    <a:lnTo>
                      <a:pt x="10" y="81"/>
                    </a:lnTo>
                    <a:lnTo>
                      <a:pt x="14" y="78"/>
                    </a:lnTo>
                    <a:lnTo>
                      <a:pt x="19" y="75"/>
                    </a:lnTo>
                    <a:lnTo>
                      <a:pt x="24" y="72"/>
                    </a:lnTo>
                    <a:lnTo>
                      <a:pt x="30" y="69"/>
                    </a:lnTo>
                    <a:lnTo>
                      <a:pt x="35" y="65"/>
                    </a:lnTo>
                    <a:lnTo>
                      <a:pt x="38" y="65"/>
                    </a:lnTo>
                    <a:lnTo>
                      <a:pt x="39" y="64"/>
                    </a:lnTo>
                    <a:lnTo>
                      <a:pt x="41" y="61"/>
                    </a:lnTo>
                    <a:lnTo>
                      <a:pt x="43" y="56"/>
                    </a:lnTo>
                    <a:lnTo>
                      <a:pt x="43" y="56"/>
                    </a:lnTo>
                    <a:lnTo>
                      <a:pt x="43" y="51"/>
                    </a:lnTo>
                    <a:lnTo>
                      <a:pt x="43" y="45"/>
                    </a:lnTo>
                    <a:lnTo>
                      <a:pt x="44" y="42"/>
                    </a:lnTo>
                    <a:lnTo>
                      <a:pt x="44" y="40"/>
                    </a:lnTo>
                    <a:lnTo>
                      <a:pt x="46" y="37"/>
                    </a:lnTo>
                    <a:lnTo>
                      <a:pt x="46" y="36"/>
                    </a:lnTo>
                    <a:lnTo>
                      <a:pt x="46" y="34"/>
                    </a:lnTo>
                    <a:lnTo>
                      <a:pt x="44" y="31"/>
                    </a:lnTo>
                    <a:lnTo>
                      <a:pt x="44" y="29"/>
                    </a:lnTo>
                    <a:lnTo>
                      <a:pt x="44" y="26"/>
                    </a:lnTo>
                    <a:lnTo>
                      <a:pt x="44" y="25"/>
                    </a:lnTo>
                    <a:lnTo>
                      <a:pt x="44" y="22"/>
                    </a:lnTo>
                    <a:lnTo>
                      <a:pt x="46" y="20"/>
                    </a:lnTo>
                    <a:lnTo>
                      <a:pt x="47" y="18"/>
                    </a:lnTo>
                    <a:lnTo>
                      <a:pt x="50" y="18"/>
                    </a:lnTo>
                    <a:lnTo>
                      <a:pt x="53" y="17"/>
                    </a:lnTo>
                    <a:lnTo>
                      <a:pt x="57" y="14"/>
                    </a:lnTo>
                    <a:lnTo>
                      <a:pt x="58" y="12"/>
                    </a:lnTo>
                    <a:lnTo>
                      <a:pt x="61" y="9"/>
                    </a:lnTo>
                    <a:lnTo>
                      <a:pt x="63" y="8"/>
                    </a:lnTo>
                    <a:lnTo>
                      <a:pt x="63" y="6"/>
                    </a:lnTo>
                    <a:lnTo>
                      <a:pt x="63" y="6"/>
                    </a:lnTo>
                    <a:lnTo>
                      <a:pt x="64" y="6"/>
                    </a:lnTo>
                    <a:lnTo>
                      <a:pt x="68" y="3"/>
                    </a:lnTo>
                    <a:lnTo>
                      <a:pt x="71" y="1"/>
                    </a:lnTo>
                    <a:lnTo>
                      <a:pt x="71" y="0"/>
                    </a:lnTo>
                    <a:lnTo>
                      <a:pt x="72" y="1"/>
                    </a:lnTo>
                    <a:lnTo>
                      <a:pt x="74" y="1"/>
                    </a:lnTo>
                    <a:lnTo>
                      <a:pt x="77" y="0"/>
                    </a:lnTo>
                    <a:lnTo>
                      <a:pt x="78" y="1"/>
                    </a:lnTo>
                    <a:lnTo>
                      <a:pt x="78" y="1"/>
                    </a:lnTo>
                    <a:lnTo>
                      <a:pt x="80" y="1"/>
                    </a:lnTo>
                    <a:lnTo>
                      <a:pt x="83" y="3"/>
                    </a:lnTo>
                    <a:lnTo>
                      <a:pt x="85" y="3"/>
                    </a:lnTo>
                    <a:lnTo>
                      <a:pt x="86" y="3"/>
                    </a:lnTo>
                    <a:lnTo>
                      <a:pt x="89" y="3"/>
                    </a:lnTo>
                    <a:lnTo>
                      <a:pt x="91" y="3"/>
                    </a:lnTo>
                    <a:lnTo>
                      <a:pt x="93" y="1"/>
                    </a:lnTo>
                    <a:lnTo>
                      <a:pt x="93" y="1"/>
                    </a:lnTo>
                    <a:lnTo>
                      <a:pt x="94" y="1"/>
                    </a:lnTo>
                    <a:lnTo>
                      <a:pt x="94" y="3"/>
                    </a:lnTo>
                    <a:lnTo>
                      <a:pt x="96" y="3"/>
                    </a:lnTo>
                    <a:lnTo>
                      <a:pt x="96" y="4"/>
                    </a:lnTo>
                    <a:lnTo>
                      <a:pt x="96" y="8"/>
                    </a:lnTo>
                    <a:lnTo>
                      <a:pt x="96" y="8"/>
                    </a:lnTo>
                    <a:lnTo>
                      <a:pt x="97" y="9"/>
                    </a:lnTo>
                    <a:lnTo>
                      <a:pt x="97" y="9"/>
                    </a:lnTo>
                    <a:lnTo>
                      <a:pt x="97" y="8"/>
                    </a:lnTo>
                    <a:lnTo>
                      <a:pt x="99" y="8"/>
                    </a:lnTo>
                    <a:lnTo>
                      <a:pt x="100" y="6"/>
                    </a:lnTo>
                    <a:lnTo>
                      <a:pt x="102" y="4"/>
                    </a:lnTo>
                    <a:lnTo>
                      <a:pt x="104" y="4"/>
                    </a:lnTo>
                    <a:lnTo>
                      <a:pt x="104" y="4"/>
                    </a:lnTo>
                    <a:lnTo>
                      <a:pt x="105" y="4"/>
                    </a:lnTo>
                    <a:lnTo>
                      <a:pt x="105"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3" name="Freeform 100">
                <a:extLst>
                  <a:ext uri="{FF2B5EF4-FFF2-40B4-BE49-F238E27FC236}">
                    <a16:creationId xmlns:a16="http://schemas.microsoft.com/office/drawing/2014/main" id="{1AA04ABE-08C3-8771-BEFD-E9C1DED00A11}"/>
                  </a:ext>
                </a:extLst>
              </p:cNvPr>
              <p:cNvSpPr>
                <a:spLocks noEditPoints="1"/>
              </p:cNvSpPr>
              <p:nvPr/>
            </p:nvSpPr>
            <p:spPr bwMode="gray">
              <a:xfrm>
                <a:off x="3448" y="819"/>
                <a:ext cx="337" cy="305"/>
              </a:xfrm>
              <a:custGeom>
                <a:avLst/>
                <a:gdLst>
                  <a:gd name="T0" fmla="*/ 198 w 337"/>
                  <a:gd name="T1" fmla="*/ 275 h 305"/>
                  <a:gd name="T2" fmla="*/ 214 w 337"/>
                  <a:gd name="T3" fmla="*/ 270 h 305"/>
                  <a:gd name="T4" fmla="*/ 328 w 337"/>
                  <a:gd name="T5" fmla="*/ 264 h 305"/>
                  <a:gd name="T6" fmla="*/ 328 w 337"/>
                  <a:gd name="T7" fmla="*/ 244 h 305"/>
                  <a:gd name="T8" fmla="*/ 303 w 337"/>
                  <a:gd name="T9" fmla="*/ 223 h 305"/>
                  <a:gd name="T10" fmla="*/ 312 w 337"/>
                  <a:gd name="T11" fmla="*/ 190 h 305"/>
                  <a:gd name="T12" fmla="*/ 294 w 337"/>
                  <a:gd name="T13" fmla="*/ 169 h 305"/>
                  <a:gd name="T14" fmla="*/ 297 w 337"/>
                  <a:gd name="T15" fmla="*/ 136 h 305"/>
                  <a:gd name="T16" fmla="*/ 292 w 337"/>
                  <a:gd name="T17" fmla="*/ 120 h 305"/>
                  <a:gd name="T18" fmla="*/ 297 w 337"/>
                  <a:gd name="T19" fmla="*/ 112 h 305"/>
                  <a:gd name="T20" fmla="*/ 300 w 337"/>
                  <a:gd name="T21" fmla="*/ 100 h 305"/>
                  <a:gd name="T22" fmla="*/ 301 w 337"/>
                  <a:gd name="T23" fmla="*/ 89 h 305"/>
                  <a:gd name="T24" fmla="*/ 300 w 337"/>
                  <a:gd name="T25" fmla="*/ 70 h 305"/>
                  <a:gd name="T26" fmla="*/ 268 w 337"/>
                  <a:gd name="T27" fmla="*/ 54 h 305"/>
                  <a:gd name="T28" fmla="*/ 254 w 337"/>
                  <a:gd name="T29" fmla="*/ 46 h 305"/>
                  <a:gd name="T30" fmla="*/ 234 w 337"/>
                  <a:gd name="T31" fmla="*/ 40 h 305"/>
                  <a:gd name="T32" fmla="*/ 220 w 337"/>
                  <a:gd name="T33" fmla="*/ 34 h 305"/>
                  <a:gd name="T34" fmla="*/ 203 w 337"/>
                  <a:gd name="T35" fmla="*/ 37 h 305"/>
                  <a:gd name="T36" fmla="*/ 179 w 337"/>
                  <a:gd name="T37" fmla="*/ 54 h 305"/>
                  <a:gd name="T38" fmla="*/ 172 w 337"/>
                  <a:gd name="T39" fmla="*/ 64 h 305"/>
                  <a:gd name="T40" fmla="*/ 107 w 337"/>
                  <a:gd name="T41" fmla="*/ 53 h 305"/>
                  <a:gd name="T42" fmla="*/ 86 w 337"/>
                  <a:gd name="T43" fmla="*/ 35 h 305"/>
                  <a:gd name="T44" fmla="*/ 75 w 337"/>
                  <a:gd name="T45" fmla="*/ 25 h 305"/>
                  <a:gd name="T46" fmla="*/ 73 w 337"/>
                  <a:gd name="T47" fmla="*/ 18 h 305"/>
                  <a:gd name="T48" fmla="*/ 75 w 337"/>
                  <a:gd name="T49" fmla="*/ 9 h 305"/>
                  <a:gd name="T50" fmla="*/ 56 w 337"/>
                  <a:gd name="T51" fmla="*/ 9 h 305"/>
                  <a:gd name="T52" fmla="*/ 26 w 337"/>
                  <a:gd name="T53" fmla="*/ 18 h 305"/>
                  <a:gd name="T54" fmla="*/ 17 w 337"/>
                  <a:gd name="T55" fmla="*/ 7 h 305"/>
                  <a:gd name="T56" fmla="*/ 6 w 337"/>
                  <a:gd name="T57" fmla="*/ 7 h 305"/>
                  <a:gd name="T58" fmla="*/ 3 w 337"/>
                  <a:gd name="T59" fmla="*/ 15 h 305"/>
                  <a:gd name="T60" fmla="*/ 4 w 337"/>
                  <a:gd name="T61" fmla="*/ 31 h 305"/>
                  <a:gd name="T62" fmla="*/ 4 w 337"/>
                  <a:gd name="T63" fmla="*/ 37 h 305"/>
                  <a:gd name="T64" fmla="*/ 9 w 337"/>
                  <a:gd name="T65" fmla="*/ 46 h 305"/>
                  <a:gd name="T66" fmla="*/ 12 w 337"/>
                  <a:gd name="T67" fmla="*/ 57 h 305"/>
                  <a:gd name="T68" fmla="*/ 18 w 337"/>
                  <a:gd name="T69" fmla="*/ 73 h 305"/>
                  <a:gd name="T70" fmla="*/ 28 w 337"/>
                  <a:gd name="T71" fmla="*/ 84 h 305"/>
                  <a:gd name="T72" fmla="*/ 36 w 337"/>
                  <a:gd name="T73" fmla="*/ 90 h 305"/>
                  <a:gd name="T74" fmla="*/ 37 w 337"/>
                  <a:gd name="T75" fmla="*/ 101 h 305"/>
                  <a:gd name="T76" fmla="*/ 26 w 337"/>
                  <a:gd name="T77" fmla="*/ 114 h 305"/>
                  <a:gd name="T78" fmla="*/ 25 w 337"/>
                  <a:gd name="T79" fmla="*/ 125 h 305"/>
                  <a:gd name="T80" fmla="*/ 32 w 337"/>
                  <a:gd name="T81" fmla="*/ 134 h 305"/>
                  <a:gd name="T82" fmla="*/ 36 w 337"/>
                  <a:gd name="T83" fmla="*/ 148 h 305"/>
                  <a:gd name="T84" fmla="*/ 59 w 337"/>
                  <a:gd name="T85" fmla="*/ 159 h 305"/>
                  <a:gd name="T86" fmla="*/ 70 w 337"/>
                  <a:gd name="T87" fmla="*/ 189 h 305"/>
                  <a:gd name="T88" fmla="*/ 76 w 337"/>
                  <a:gd name="T89" fmla="*/ 204 h 305"/>
                  <a:gd name="T90" fmla="*/ 86 w 337"/>
                  <a:gd name="T91" fmla="*/ 203 h 305"/>
                  <a:gd name="T92" fmla="*/ 87 w 337"/>
                  <a:gd name="T93" fmla="*/ 201 h 305"/>
                  <a:gd name="T94" fmla="*/ 114 w 337"/>
                  <a:gd name="T95" fmla="*/ 217 h 305"/>
                  <a:gd name="T96" fmla="*/ 123 w 337"/>
                  <a:gd name="T97" fmla="*/ 234 h 305"/>
                  <a:gd name="T98" fmla="*/ 148 w 337"/>
                  <a:gd name="T99" fmla="*/ 256 h 305"/>
                  <a:gd name="T100" fmla="*/ 179 w 337"/>
                  <a:gd name="T101" fmla="*/ 273 h 305"/>
                  <a:gd name="T102" fmla="*/ 209 w 337"/>
                  <a:gd name="T103" fmla="*/ 267 h 305"/>
                  <a:gd name="T104" fmla="*/ 231 w 337"/>
                  <a:gd name="T105" fmla="*/ 284 h 305"/>
                  <a:gd name="T106" fmla="*/ 259 w 337"/>
                  <a:gd name="T107" fmla="*/ 297 h 305"/>
                  <a:gd name="T108" fmla="*/ 290 w 337"/>
                  <a:gd name="T109" fmla="*/ 300 h 305"/>
                  <a:gd name="T110" fmla="*/ 309 w 337"/>
                  <a:gd name="T111" fmla="*/ 294 h 305"/>
                  <a:gd name="T112" fmla="*/ 317 w 337"/>
                  <a:gd name="T113" fmla="*/ 281 h 305"/>
                  <a:gd name="T114" fmla="*/ 322 w 337"/>
                  <a:gd name="T115" fmla="*/ 276 h 305"/>
                  <a:gd name="T116" fmla="*/ 337 w 337"/>
                  <a:gd name="T117" fmla="*/ 27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7" h="305">
                    <a:moveTo>
                      <a:pt x="214" y="269"/>
                    </a:moveTo>
                    <a:lnTo>
                      <a:pt x="211" y="269"/>
                    </a:lnTo>
                    <a:lnTo>
                      <a:pt x="208" y="270"/>
                    </a:lnTo>
                    <a:lnTo>
                      <a:pt x="206" y="269"/>
                    </a:lnTo>
                    <a:lnTo>
                      <a:pt x="206" y="270"/>
                    </a:lnTo>
                    <a:lnTo>
                      <a:pt x="206" y="270"/>
                    </a:lnTo>
                    <a:lnTo>
                      <a:pt x="206" y="272"/>
                    </a:lnTo>
                    <a:lnTo>
                      <a:pt x="201" y="273"/>
                    </a:lnTo>
                    <a:lnTo>
                      <a:pt x="198" y="275"/>
                    </a:lnTo>
                    <a:lnTo>
                      <a:pt x="198" y="275"/>
                    </a:lnTo>
                    <a:lnTo>
                      <a:pt x="198" y="275"/>
                    </a:lnTo>
                    <a:lnTo>
                      <a:pt x="198" y="276"/>
                    </a:lnTo>
                    <a:lnTo>
                      <a:pt x="198" y="276"/>
                    </a:lnTo>
                    <a:lnTo>
                      <a:pt x="200" y="276"/>
                    </a:lnTo>
                    <a:lnTo>
                      <a:pt x="201" y="275"/>
                    </a:lnTo>
                    <a:lnTo>
                      <a:pt x="204" y="275"/>
                    </a:lnTo>
                    <a:lnTo>
                      <a:pt x="206" y="275"/>
                    </a:lnTo>
                    <a:lnTo>
                      <a:pt x="208" y="273"/>
                    </a:lnTo>
                    <a:lnTo>
                      <a:pt x="208" y="273"/>
                    </a:lnTo>
                    <a:lnTo>
                      <a:pt x="209" y="273"/>
                    </a:lnTo>
                    <a:lnTo>
                      <a:pt x="212" y="272"/>
                    </a:lnTo>
                    <a:lnTo>
                      <a:pt x="214" y="270"/>
                    </a:lnTo>
                    <a:lnTo>
                      <a:pt x="215" y="269"/>
                    </a:lnTo>
                    <a:lnTo>
                      <a:pt x="214" y="269"/>
                    </a:lnTo>
                    <a:close/>
                    <a:moveTo>
                      <a:pt x="337" y="266"/>
                    </a:moveTo>
                    <a:lnTo>
                      <a:pt x="337" y="266"/>
                    </a:lnTo>
                    <a:lnTo>
                      <a:pt x="337" y="266"/>
                    </a:lnTo>
                    <a:lnTo>
                      <a:pt x="337" y="264"/>
                    </a:lnTo>
                    <a:lnTo>
                      <a:pt x="336" y="264"/>
                    </a:lnTo>
                    <a:lnTo>
                      <a:pt x="336" y="262"/>
                    </a:lnTo>
                    <a:lnTo>
                      <a:pt x="331" y="264"/>
                    </a:lnTo>
                    <a:lnTo>
                      <a:pt x="329" y="264"/>
                    </a:lnTo>
                    <a:lnTo>
                      <a:pt x="328" y="264"/>
                    </a:lnTo>
                    <a:lnTo>
                      <a:pt x="328" y="262"/>
                    </a:lnTo>
                    <a:lnTo>
                      <a:pt x="328" y="262"/>
                    </a:lnTo>
                    <a:lnTo>
                      <a:pt x="328" y="261"/>
                    </a:lnTo>
                    <a:lnTo>
                      <a:pt x="329" y="259"/>
                    </a:lnTo>
                    <a:lnTo>
                      <a:pt x="329" y="258"/>
                    </a:lnTo>
                    <a:lnTo>
                      <a:pt x="329" y="253"/>
                    </a:lnTo>
                    <a:lnTo>
                      <a:pt x="328" y="248"/>
                    </a:lnTo>
                    <a:lnTo>
                      <a:pt x="328" y="245"/>
                    </a:lnTo>
                    <a:lnTo>
                      <a:pt x="328" y="244"/>
                    </a:lnTo>
                    <a:lnTo>
                      <a:pt x="328" y="244"/>
                    </a:lnTo>
                    <a:lnTo>
                      <a:pt x="328" y="244"/>
                    </a:lnTo>
                    <a:lnTo>
                      <a:pt x="325" y="244"/>
                    </a:lnTo>
                    <a:lnTo>
                      <a:pt x="323" y="240"/>
                    </a:lnTo>
                    <a:lnTo>
                      <a:pt x="322" y="240"/>
                    </a:lnTo>
                    <a:lnTo>
                      <a:pt x="317" y="239"/>
                    </a:lnTo>
                    <a:lnTo>
                      <a:pt x="315" y="239"/>
                    </a:lnTo>
                    <a:lnTo>
                      <a:pt x="314" y="237"/>
                    </a:lnTo>
                    <a:lnTo>
                      <a:pt x="311" y="236"/>
                    </a:lnTo>
                    <a:lnTo>
                      <a:pt x="309" y="233"/>
                    </a:lnTo>
                    <a:lnTo>
                      <a:pt x="308" y="231"/>
                    </a:lnTo>
                    <a:lnTo>
                      <a:pt x="306" y="228"/>
                    </a:lnTo>
                    <a:lnTo>
                      <a:pt x="303" y="223"/>
                    </a:lnTo>
                    <a:lnTo>
                      <a:pt x="303" y="222"/>
                    </a:lnTo>
                    <a:lnTo>
                      <a:pt x="303" y="222"/>
                    </a:lnTo>
                    <a:lnTo>
                      <a:pt x="300" y="217"/>
                    </a:lnTo>
                    <a:lnTo>
                      <a:pt x="298" y="215"/>
                    </a:lnTo>
                    <a:lnTo>
                      <a:pt x="295" y="211"/>
                    </a:lnTo>
                    <a:lnTo>
                      <a:pt x="295" y="211"/>
                    </a:lnTo>
                    <a:lnTo>
                      <a:pt x="300" y="206"/>
                    </a:lnTo>
                    <a:lnTo>
                      <a:pt x="303" y="201"/>
                    </a:lnTo>
                    <a:lnTo>
                      <a:pt x="308" y="197"/>
                    </a:lnTo>
                    <a:lnTo>
                      <a:pt x="311" y="192"/>
                    </a:lnTo>
                    <a:lnTo>
                      <a:pt x="312" y="190"/>
                    </a:lnTo>
                    <a:lnTo>
                      <a:pt x="312" y="187"/>
                    </a:lnTo>
                    <a:lnTo>
                      <a:pt x="311" y="183"/>
                    </a:lnTo>
                    <a:lnTo>
                      <a:pt x="309" y="181"/>
                    </a:lnTo>
                    <a:lnTo>
                      <a:pt x="303" y="179"/>
                    </a:lnTo>
                    <a:lnTo>
                      <a:pt x="300" y="179"/>
                    </a:lnTo>
                    <a:lnTo>
                      <a:pt x="295" y="178"/>
                    </a:lnTo>
                    <a:lnTo>
                      <a:pt x="295" y="178"/>
                    </a:lnTo>
                    <a:lnTo>
                      <a:pt x="294" y="175"/>
                    </a:lnTo>
                    <a:lnTo>
                      <a:pt x="294" y="173"/>
                    </a:lnTo>
                    <a:lnTo>
                      <a:pt x="294" y="170"/>
                    </a:lnTo>
                    <a:lnTo>
                      <a:pt x="294" y="169"/>
                    </a:lnTo>
                    <a:lnTo>
                      <a:pt x="295" y="164"/>
                    </a:lnTo>
                    <a:lnTo>
                      <a:pt x="295" y="162"/>
                    </a:lnTo>
                    <a:lnTo>
                      <a:pt x="292" y="156"/>
                    </a:lnTo>
                    <a:lnTo>
                      <a:pt x="292" y="151"/>
                    </a:lnTo>
                    <a:lnTo>
                      <a:pt x="290" y="147"/>
                    </a:lnTo>
                    <a:lnTo>
                      <a:pt x="290" y="145"/>
                    </a:lnTo>
                    <a:lnTo>
                      <a:pt x="290" y="143"/>
                    </a:lnTo>
                    <a:lnTo>
                      <a:pt x="292" y="140"/>
                    </a:lnTo>
                    <a:lnTo>
                      <a:pt x="294" y="139"/>
                    </a:lnTo>
                    <a:lnTo>
                      <a:pt x="295" y="137"/>
                    </a:lnTo>
                    <a:lnTo>
                      <a:pt x="297" y="136"/>
                    </a:lnTo>
                    <a:lnTo>
                      <a:pt x="297" y="136"/>
                    </a:lnTo>
                    <a:lnTo>
                      <a:pt x="294" y="136"/>
                    </a:lnTo>
                    <a:lnTo>
                      <a:pt x="292" y="136"/>
                    </a:lnTo>
                    <a:lnTo>
                      <a:pt x="290" y="134"/>
                    </a:lnTo>
                    <a:lnTo>
                      <a:pt x="289" y="134"/>
                    </a:lnTo>
                    <a:lnTo>
                      <a:pt x="289" y="133"/>
                    </a:lnTo>
                    <a:lnTo>
                      <a:pt x="289" y="129"/>
                    </a:lnTo>
                    <a:lnTo>
                      <a:pt x="289" y="125"/>
                    </a:lnTo>
                    <a:lnTo>
                      <a:pt x="290" y="122"/>
                    </a:lnTo>
                    <a:lnTo>
                      <a:pt x="292" y="120"/>
                    </a:lnTo>
                    <a:lnTo>
                      <a:pt x="292" y="120"/>
                    </a:lnTo>
                    <a:lnTo>
                      <a:pt x="295" y="118"/>
                    </a:lnTo>
                    <a:lnTo>
                      <a:pt x="294" y="117"/>
                    </a:lnTo>
                    <a:lnTo>
                      <a:pt x="294" y="115"/>
                    </a:lnTo>
                    <a:lnTo>
                      <a:pt x="294" y="115"/>
                    </a:lnTo>
                    <a:lnTo>
                      <a:pt x="294" y="115"/>
                    </a:lnTo>
                    <a:lnTo>
                      <a:pt x="294" y="115"/>
                    </a:lnTo>
                    <a:lnTo>
                      <a:pt x="294" y="114"/>
                    </a:lnTo>
                    <a:lnTo>
                      <a:pt x="294" y="114"/>
                    </a:lnTo>
                    <a:lnTo>
                      <a:pt x="295" y="114"/>
                    </a:lnTo>
                    <a:lnTo>
                      <a:pt x="297" y="112"/>
                    </a:lnTo>
                    <a:lnTo>
                      <a:pt x="297" y="112"/>
                    </a:lnTo>
                    <a:lnTo>
                      <a:pt x="297" y="111"/>
                    </a:lnTo>
                    <a:lnTo>
                      <a:pt x="297" y="111"/>
                    </a:lnTo>
                    <a:lnTo>
                      <a:pt x="298" y="109"/>
                    </a:lnTo>
                    <a:lnTo>
                      <a:pt x="298" y="107"/>
                    </a:lnTo>
                    <a:lnTo>
                      <a:pt x="298" y="106"/>
                    </a:lnTo>
                    <a:lnTo>
                      <a:pt x="300" y="104"/>
                    </a:lnTo>
                    <a:lnTo>
                      <a:pt x="300" y="104"/>
                    </a:lnTo>
                    <a:lnTo>
                      <a:pt x="300" y="103"/>
                    </a:lnTo>
                    <a:lnTo>
                      <a:pt x="300" y="101"/>
                    </a:lnTo>
                    <a:lnTo>
                      <a:pt x="300" y="100"/>
                    </a:lnTo>
                    <a:lnTo>
                      <a:pt x="300" y="100"/>
                    </a:lnTo>
                    <a:lnTo>
                      <a:pt x="300" y="98"/>
                    </a:lnTo>
                    <a:lnTo>
                      <a:pt x="301" y="98"/>
                    </a:lnTo>
                    <a:lnTo>
                      <a:pt x="301" y="97"/>
                    </a:lnTo>
                    <a:lnTo>
                      <a:pt x="301" y="95"/>
                    </a:lnTo>
                    <a:lnTo>
                      <a:pt x="301" y="95"/>
                    </a:lnTo>
                    <a:lnTo>
                      <a:pt x="303" y="93"/>
                    </a:lnTo>
                    <a:lnTo>
                      <a:pt x="303" y="93"/>
                    </a:lnTo>
                    <a:lnTo>
                      <a:pt x="303" y="92"/>
                    </a:lnTo>
                    <a:lnTo>
                      <a:pt x="301" y="90"/>
                    </a:lnTo>
                    <a:lnTo>
                      <a:pt x="301" y="90"/>
                    </a:lnTo>
                    <a:lnTo>
                      <a:pt x="301" y="89"/>
                    </a:lnTo>
                    <a:lnTo>
                      <a:pt x="301" y="86"/>
                    </a:lnTo>
                    <a:lnTo>
                      <a:pt x="301" y="84"/>
                    </a:lnTo>
                    <a:lnTo>
                      <a:pt x="300" y="84"/>
                    </a:lnTo>
                    <a:lnTo>
                      <a:pt x="300" y="84"/>
                    </a:lnTo>
                    <a:lnTo>
                      <a:pt x="301" y="82"/>
                    </a:lnTo>
                    <a:lnTo>
                      <a:pt x="301" y="81"/>
                    </a:lnTo>
                    <a:lnTo>
                      <a:pt x="301" y="79"/>
                    </a:lnTo>
                    <a:lnTo>
                      <a:pt x="301" y="78"/>
                    </a:lnTo>
                    <a:lnTo>
                      <a:pt x="300" y="75"/>
                    </a:lnTo>
                    <a:lnTo>
                      <a:pt x="300" y="71"/>
                    </a:lnTo>
                    <a:lnTo>
                      <a:pt x="300" y="70"/>
                    </a:lnTo>
                    <a:lnTo>
                      <a:pt x="292" y="70"/>
                    </a:lnTo>
                    <a:lnTo>
                      <a:pt x="286" y="70"/>
                    </a:lnTo>
                    <a:lnTo>
                      <a:pt x="286" y="68"/>
                    </a:lnTo>
                    <a:lnTo>
                      <a:pt x="283" y="65"/>
                    </a:lnTo>
                    <a:lnTo>
                      <a:pt x="281" y="62"/>
                    </a:lnTo>
                    <a:lnTo>
                      <a:pt x="281" y="62"/>
                    </a:lnTo>
                    <a:lnTo>
                      <a:pt x="279" y="61"/>
                    </a:lnTo>
                    <a:lnTo>
                      <a:pt x="275" y="59"/>
                    </a:lnTo>
                    <a:lnTo>
                      <a:pt x="272" y="57"/>
                    </a:lnTo>
                    <a:lnTo>
                      <a:pt x="270" y="56"/>
                    </a:lnTo>
                    <a:lnTo>
                      <a:pt x="268" y="54"/>
                    </a:lnTo>
                    <a:lnTo>
                      <a:pt x="268" y="51"/>
                    </a:lnTo>
                    <a:lnTo>
                      <a:pt x="268" y="51"/>
                    </a:lnTo>
                    <a:lnTo>
                      <a:pt x="268" y="50"/>
                    </a:lnTo>
                    <a:lnTo>
                      <a:pt x="267" y="50"/>
                    </a:lnTo>
                    <a:lnTo>
                      <a:pt x="267" y="50"/>
                    </a:lnTo>
                    <a:lnTo>
                      <a:pt x="267" y="50"/>
                    </a:lnTo>
                    <a:lnTo>
                      <a:pt x="261" y="46"/>
                    </a:lnTo>
                    <a:lnTo>
                      <a:pt x="259" y="46"/>
                    </a:lnTo>
                    <a:lnTo>
                      <a:pt x="258" y="46"/>
                    </a:lnTo>
                    <a:lnTo>
                      <a:pt x="256" y="46"/>
                    </a:lnTo>
                    <a:lnTo>
                      <a:pt x="254" y="46"/>
                    </a:lnTo>
                    <a:lnTo>
                      <a:pt x="253" y="48"/>
                    </a:lnTo>
                    <a:lnTo>
                      <a:pt x="251" y="48"/>
                    </a:lnTo>
                    <a:lnTo>
                      <a:pt x="250" y="48"/>
                    </a:lnTo>
                    <a:lnTo>
                      <a:pt x="250" y="46"/>
                    </a:lnTo>
                    <a:lnTo>
                      <a:pt x="247" y="45"/>
                    </a:lnTo>
                    <a:lnTo>
                      <a:pt x="245" y="43"/>
                    </a:lnTo>
                    <a:lnTo>
                      <a:pt x="243" y="43"/>
                    </a:lnTo>
                    <a:lnTo>
                      <a:pt x="240" y="42"/>
                    </a:lnTo>
                    <a:lnTo>
                      <a:pt x="237" y="42"/>
                    </a:lnTo>
                    <a:lnTo>
                      <a:pt x="234" y="40"/>
                    </a:lnTo>
                    <a:lnTo>
                      <a:pt x="234" y="40"/>
                    </a:lnTo>
                    <a:lnTo>
                      <a:pt x="233" y="40"/>
                    </a:lnTo>
                    <a:lnTo>
                      <a:pt x="233" y="39"/>
                    </a:lnTo>
                    <a:lnTo>
                      <a:pt x="233" y="37"/>
                    </a:lnTo>
                    <a:lnTo>
                      <a:pt x="233" y="37"/>
                    </a:lnTo>
                    <a:lnTo>
                      <a:pt x="233" y="35"/>
                    </a:lnTo>
                    <a:lnTo>
                      <a:pt x="231" y="34"/>
                    </a:lnTo>
                    <a:lnTo>
                      <a:pt x="229" y="35"/>
                    </a:lnTo>
                    <a:lnTo>
                      <a:pt x="226" y="35"/>
                    </a:lnTo>
                    <a:lnTo>
                      <a:pt x="223" y="34"/>
                    </a:lnTo>
                    <a:lnTo>
                      <a:pt x="222" y="34"/>
                    </a:lnTo>
                    <a:lnTo>
                      <a:pt x="220" y="34"/>
                    </a:lnTo>
                    <a:lnTo>
                      <a:pt x="217" y="34"/>
                    </a:lnTo>
                    <a:lnTo>
                      <a:pt x="217" y="34"/>
                    </a:lnTo>
                    <a:lnTo>
                      <a:pt x="215" y="35"/>
                    </a:lnTo>
                    <a:lnTo>
                      <a:pt x="215" y="37"/>
                    </a:lnTo>
                    <a:lnTo>
                      <a:pt x="215" y="37"/>
                    </a:lnTo>
                    <a:lnTo>
                      <a:pt x="214" y="37"/>
                    </a:lnTo>
                    <a:lnTo>
                      <a:pt x="214" y="37"/>
                    </a:lnTo>
                    <a:lnTo>
                      <a:pt x="212" y="37"/>
                    </a:lnTo>
                    <a:lnTo>
                      <a:pt x="211" y="37"/>
                    </a:lnTo>
                    <a:lnTo>
                      <a:pt x="208" y="37"/>
                    </a:lnTo>
                    <a:lnTo>
                      <a:pt x="203" y="37"/>
                    </a:lnTo>
                    <a:lnTo>
                      <a:pt x="198" y="39"/>
                    </a:lnTo>
                    <a:lnTo>
                      <a:pt x="197" y="40"/>
                    </a:lnTo>
                    <a:lnTo>
                      <a:pt x="193" y="42"/>
                    </a:lnTo>
                    <a:lnTo>
                      <a:pt x="190" y="45"/>
                    </a:lnTo>
                    <a:lnTo>
                      <a:pt x="190" y="45"/>
                    </a:lnTo>
                    <a:lnTo>
                      <a:pt x="187" y="51"/>
                    </a:lnTo>
                    <a:lnTo>
                      <a:pt x="187" y="51"/>
                    </a:lnTo>
                    <a:lnTo>
                      <a:pt x="186" y="51"/>
                    </a:lnTo>
                    <a:lnTo>
                      <a:pt x="184" y="51"/>
                    </a:lnTo>
                    <a:lnTo>
                      <a:pt x="182" y="53"/>
                    </a:lnTo>
                    <a:lnTo>
                      <a:pt x="179" y="54"/>
                    </a:lnTo>
                    <a:lnTo>
                      <a:pt x="178" y="54"/>
                    </a:lnTo>
                    <a:lnTo>
                      <a:pt x="173" y="54"/>
                    </a:lnTo>
                    <a:lnTo>
                      <a:pt x="173" y="57"/>
                    </a:lnTo>
                    <a:lnTo>
                      <a:pt x="175" y="62"/>
                    </a:lnTo>
                    <a:lnTo>
                      <a:pt x="175" y="64"/>
                    </a:lnTo>
                    <a:lnTo>
                      <a:pt x="175" y="65"/>
                    </a:lnTo>
                    <a:lnTo>
                      <a:pt x="175" y="65"/>
                    </a:lnTo>
                    <a:lnTo>
                      <a:pt x="173" y="65"/>
                    </a:lnTo>
                    <a:lnTo>
                      <a:pt x="170" y="65"/>
                    </a:lnTo>
                    <a:lnTo>
                      <a:pt x="168" y="65"/>
                    </a:lnTo>
                    <a:lnTo>
                      <a:pt x="172" y="64"/>
                    </a:lnTo>
                    <a:lnTo>
                      <a:pt x="173" y="64"/>
                    </a:lnTo>
                    <a:lnTo>
                      <a:pt x="170" y="64"/>
                    </a:lnTo>
                    <a:lnTo>
                      <a:pt x="164" y="64"/>
                    </a:lnTo>
                    <a:lnTo>
                      <a:pt x="143" y="70"/>
                    </a:lnTo>
                    <a:lnTo>
                      <a:pt x="136" y="70"/>
                    </a:lnTo>
                    <a:lnTo>
                      <a:pt x="125" y="67"/>
                    </a:lnTo>
                    <a:lnTo>
                      <a:pt x="122" y="65"/>
                    </a:lnTo>
                    <a:lnTo>
                      <a:pt x="114" y="61"/>
                    </a:lnTo>
                    <a:lnTo>
                      <a:pt x="111" y="59"/>
                    </a:lnTo>
                    <a:lnTo>
                      <a:pt x="109" y="54"/>
                    </a:lnTo>
                    <a:lnTo>
                      <a:pt x="107" y="53"/>
                    </a:lnTo>
                    <a:lnTo>
                      <a:pt x="107" y="53"/>
                    </a:lnTo>
                    <a:lnTo>
                      <a:pt x="104" y="51"/>
                    </a:lnTo>
                    <a:lnTo>
                      <a:pt x="100" y="51"/>
                    </a:lnTo>
                    <a:lnTo>
                      <a:pt x="95" y="51"/>
                    </a:lnTo>
                    <a:lnTo>
                      <a:pt x="93" y="50"/>
                    </a:lnTo>
                    <a:lnTo>
                      <a:pt x="90" y="48"/>
                    </a:lnTo>
                    <a:lnTo>
                      <a:pt x="89" y="46"/>
                    </a:lnTo>
                    <a:lnTo>
                      <a:pt x="87" y="45"/>
                    </a:lnTo>
                    <a:lnTo>
                      <a:pt x="86" y="42"/>
                    </a:lnTo>
                    <a:lnTo>
                      <a:pt x="86" y="39"/>
                    </a:lnTo>
                    <a:lnTo>
                      <a:pt x="86" y="35"/>
                    </a:lnTo>
                    <a:lnTo>
                      <a:pt x="84" y="31"/>
                    </a:lnTo>
                    <a:lnTo>
                      <a:pt x="84" y="29"/>
                    </a:lnTo>
                    <a:lnTo>
                      <a:pt x="84" y="29"/>
                    </a:lnTo>
                    <a:lnTo>
                      <a:pt x="81" y="31"/>
                    </a:lnTo>
                    <a:lnTo>
                      <a:pt x="81" y="31"/>
                    </a:lnTo>
                    <a:lnTo>
                      <a:pt x="79" y="31"/>
                    </a:lnTo>
                    <a:lnTo>
                      <a:pt x="76" y="26"/>
                    </a:lnTo>
                    <a:lnTo>
                      <a:pt x="76" y="26"/>
                    </a:lnTo>
                    <a:lnTo>
                      <a:pt x="76" y="26"/>
                    </a:lnTo>
                    <a:lnTo>
                      <a:pt x="75" y="26"/>
                    </a:lnTo>
                    <a:lnTo>
                      <a:pt x="75" y="25"/>
                    </a:lnTo>
                    <a:lnTo>
                      <a:pt x="75" y="25"/>
                    </a:lnTo>
                    <a:lnTo>
                      <a:pt x="73" y="25"/>
                    </a:lnTo>
                    <a:lnTo>
                      <a:pt x="73" y="23"/>
                    </a:lnTo>
                    <a:lnTo>
                      <a:pt x="73" y="23"/>
                    </a:lnTo>
                    <a:lnTo>
                      <a:pt x="70" y="21"/>
                    </a:lnTo>
                    <a:lnTo>
                      <a:pt x="70" y="20"/>
                    </a:lnTo>
                    <a:lnTo>
                      <a:pt x="70" y="20"/>
                    </a:lnTo>
                    <a:lnTo>
                      <a:pt x="70" y="20"/>
                    </a:lnTo>
                    <a:lnTo>
                      <a:pt x="70" y="18"/>
                    </a:lnTo>
                    <a:lnTo>
                      <a:pt x="71" y="18"/>
                    </a:lnTo>
                    <a:lnTo>
                      <a:pt x="73" y="18"/>
                    </a:lnTo>
                    <a:lnTo>
                      <a:pt x="75" y="17"/>
                    </a:lnTo>
                    <a:lnTo>
                      <a:pt x="75" y="17"/>
                    </a:lnTo>
                    <a:lnTo>
                      <a:pt x="75" y="15"/>
                    </a:lnTo>
                    <a:lnTo>
                      <a:pt x="75" y="15"/>
                    </a:lnTo>
                    <a:lnTo>
                      <a:pt x="73" y="14"/>
                    </a:lnTo>
                    <a:lnTo>
                      <a:pt x="71" y="14"/>
                    </a:lnTo>
                    <a:lnTo>
                      <a:pt x="71" y="12"/>
                    </a:lnTo>
                    <a:lnTo>
                      <a:pt x="71" y="12"/>
                    </a:lnTo>
                    <a:lnTo>
                      <a:pt x="71" y="10"/>
                    </a:lnTo>
                    <a:lnTo>
                      <a:pt x="71" y="10"/>
                    </a:lnTo>
                    <a:lnTo>
                      <a:pt x="75" y="9"/>
                    </a:lnTo>
                    <a:lnTo>
                      <a:pt x="75" y="7"/>
                    </a:lnTo>
                    <a:lnTo>
                      <a:pt x="75" y="7"/>
                    </a:lnTo>
                    <a:lnTo>
                      <a:pt x="75" y="7"/>
                    </a:lnTo>
                    <a:lnTo>
                      <a:pt x="71" y="4"/>
                    </a:lnTo>
                    <a:lnTo>
                      <a:pt x="70" y="1"/>
                    </a:lnTo>
                    <a:lnTo>
                      <a:pt x="67" y="1"/>
                    </a:lnTo>
                    <a:lnTo>
                      <a:pt x="65" y="3"/>
                    </a:lnTo>
                    <a:lnTo>
                      <a:pt x="62" y="4"/>
                    </a:lnTo>
                    <a:lnTo>
                      <a:pt x="61" y="6"/>
                    </a:lnTo>
                    <a:lnTo>
                      <a:pt x="57" y="7"/>
                    </a:lnTo>
                    <a:lnTo>
                      <a:pt x="56" y="9"/>
                    </a:lnTo>
                    <a:lnTo>
                      <a:pt x="53" y="12"/>
                    </a:lnTo>
                    <a:lnTo>
                      <a:pt x="51" y="14"/>
                    </a:lnTo>
                    <a:lnTo>
                      <a:pt x="50" y="14"/>
                    </a:lnTo>
                    <a:lnTo>
                      <a:pt x="48" y="15"/>
                    </a:lnTo>
                    <a:lnTo>
                      <a:pt x="43" y="20"/>
                    </a:lnTo>
                    <a:lnTo>
                      <a:pt x="43" y="20"/>
                    </a:lnTo>
                    <a:lnTo>
                      <a:pt x="40" y="20"/>
                    </a:lnTo>
                    <a:lnTo>
                      <a:pt x="37" y="20"/>
                    </a:lnTo>
                    <a:lnTo>
                      <a:pt x="36" y="20"/>
                    </a:lnTo>
                    <a:lnTo>
                      <a:pt x="32" y="20"/>
                    </a:lnTo>
                    <a:lnTo>
                      <a:pt x="26" y="18"/>
                    </a:lnTo>
                    <a:lnTo>
                      <a:pt x="25" y="17"/>
                    </a:lnTo>
                    <a:lnTo>
                      <a:pt x="23" y="15"/>
                    </a:lnTo>
                    <a:lnTo>
                      <a:pt x="23" y="15"/>
                    </a:lnTo>
                    <a:lnTo>
                      <a:pt x="23" y="14"/>
                    </a:lnTo>
                    <a:lnTo>
                      <a:pt x="23" y="14"/>
                    </a:lnTo>
                    <a:lnTo>
                      <a:pt x="21" y="12"/>
                    </a:lnTo>
                    <a:lnTo>
                      <a:pt x="20" y="12"/>
                    </a:lnTo>
                    <a:lnTo>
                      <a:pt x="20" y="12"/>
                    </a:lnTo>
                    <a:lnTo>
                      <a:pt x="18" y="10"/>
                    </a:lnTo>
                    <a:lnTo>
                      <a:pt x="18" y="9"/>
                    </a:lnTo>
                    <a:lnTo>
                      <a:pt x="17" y="7"/>
                    </a:lnTo>
                    <a:lnTo>
                      <a:pt x="14" y="3"/>
                    </a:lnTo>
                    <a:lnTo>
                      <a:pt x="14" y="3"/>
                    </a:lnTo>
                    <a:lnTo>
                      <a:pt x="14" y="3"/>
                    </a:lnTo>
                    <a:lnTo>
                      <a:pt x="12" y="1"/>
                    </a:lnTo>
                    <a:lnTo>
                      <a:pt x="9" y="0"/>
                    </a:lnTo>
                    <a:lnTo>
                      <a:pt x="9" y="0"/>
                    </a:lnTo>
                    <a:lnTo>
                      <a:pt x="9" y="1"/>
                    </a:lnTo>
                    <a:lnTo>
                      <a:pt x="7" y="3"/>
                    </a:lnTo>
                    <a:lnTo>
                      <a:pt x="6" y="7"/>
                    </a:lnTo>
                    <a:lnTo>
                      <a:pt x="6" y="7"/>
                    </a:lnTo>
                    <a:lnTo>
                      <a:pt x="6" y="7"/>
                    </a:lnTo>
                    <a:lnTo>
                      <a:pt x="3" y="7"/>
                    </a:lnTo>
                    <a:lnTo>
                      <a:pt x="1" y="7"/>
                    </a:lnTo>
                    <a:lnTo>
                      <a:pt x="0" y="9"/>
                    </a:lnTo>
                    <a:lnTo>
                      <a:pt x="0" y="9"/>
                    </a:lnTo>
                    <a:lnTo>
                      <a:pt x="0" y="9"/>
                    </a:lnTo>
                    <a:lnTo>
                      <a:pt x="0" y="10"/>
                    </a:lnTo>
                    <a:lnTo>
                      <a:pt x="1" y="10"/>
                    </a:lnTo>
                    <a:lnTo>
                      <a:pt x="1" y="12"/>
                    </a:lnTo>
                    <a:lnTo>
                      <a:pt x="1" y="14"/>
                    </a:lnTo>
                    <a:lnTo>
                      <a:pt x="3" y="14"/>
                    </a:lnTo>
                    <a:lnTo>
                      <a:pt x="3" y="15"/>
                    </a:lnTo>
                    <a:lnTo>
                      <a:pt x="3" y="15"/>
                    </a:lnTo>
                    <a:lnTo>
                      <a:pt x="3" y="17"/>
                    </a:lnTo>
                    <a:lnTo>
                      <a:pt x="3" y="17"/>
                    </a:lnTo>
                    <a:lnTo>
                      <a:pt x="1" y="17"/>
                    </a:lnTo>
                    <a:lnTo>
                      <a:pt x="3" y="18"/>
                    </a:lnTo>
                    <a:lnTo>
                      <a:pt x="3" y="20"/>
                    </a:lnTo>
                    <a:lnTo>
                      <a:pt x="4" y="21"/>
                    </a:lnTo>
                    <a:lnTo>
                      <a:pt x="4" y="25"/>
                    </a:lnTo>
                    <a:lnTo>
                      <a:pt x="4" y="25"/>
                    </a:lnTo>
                    <a:lnTo>
                      <a:pt x="4" y="28"/>
                    </a:lnTo>
                    <a:lnTo>
                      <a:pt x="4" y="31"/>
                    </a:lnTo>
                    <a:lnTo>
                      <a:pt x="4" y="31"/>
                    </a:lnTo>
                    <a:lnTo>
                      <a:pt x="4" y="31"/>
                    </a:lnTo>
                    <a:lnTo>
                      <a:pt x="6" y="31"/>
                    </a:lnTo>
                    <a:lnTo>
                      <a:pt x="7" y="31"/>
                    </a:lnTo>
                    <a:lnTo>
                      <a:pt x="7" y="31"/>
                    </a:lnTo>
                    <a:lnTo>
                      <a:pt x="7" y="32"/>
                    </a:lnTo>
                    <a:lnTo>
                      <a:pt x="7" y="32"/>
                    </a:lnTo>
                    <a:lnTo>
                      <a:pt x="6" y="34"/>
                    </a:lnTo>
                    <a:lnTo>
                      <a:pt x="6" y="35"/>
                    </a:lnTo>
                    <a:lnTo>
                      <a:pt x="6" y="35"/>
                    </a:lnTo>
                    <a:lnTo>
                      <a:pt x="4" y="37"/>
                    </a:lnTo>
                    <a:lnTo>
                      <a:pt x="4" y="37"/>
                    </a:lnTo>
                    <a:lnTo>
                      <a:pt x="4" y="39"/>
                    </a:lnTo>
                    <a:lnTo>
                      <a:pt x="3" y="40"/>
                    </a:lnTo>
                    <a:lnTo>
                      <a:pt x="3" y="42"/>
                    </a:lnTo>
                    <a:lnTo>
                      <a:pt x="3" y="42"/>
                    </a:lnTo>
                    <a:lnTo>
                      <a:pt x="6" y="42"/>
                    </a:lnTo>
                    <a:lnTo>
                      <a:pt x="6" y="43"/>
                    </a:lnTo>
                    <a:lnTo>
                      <a:pt x="9" y="45"/>
                    </a:lnTo>
                    <a:lnTo>
                      <a:pt x="9" y="46"/>
                    </a:lnTo>
                    <a:lnTo>
                      <a:pt x="9" y="46"/>
                    </a:lnTo>
                    <a:lnTo>
                      <a:pt x="9" y="46"/>
                    </a:lnTo>
                    <a:lnTo>
                      <a:pt x="9" y="48"/>
                    </a:lnTo>
                    <a:lnTo>
                      <a:pt x="9" y="48"/>
                    </a:lnTo>
                    <a:lnTo>
                      <a:pt x="9" y="50"/>
                    </a:lnTo>
                    <a:lnTo>
                      <a:pt x="9" y="50"/>
                    </a:lnTo>
                    <a:lnTo>
                      <a:pt x="9" y="51"/>
                    </a:lnTo>
                    <a:lnTo>
                      <a:pt x="11" y="53"/>
                    </a:lnTo>
                    <a:lnTo>
                      <a:pt x="12" y="54"/>
                    </a:lnTo>
                    <a:lnTo>
                      <a:pt x="14" y="56"/>
                    </a:lnTo>
                    <a:lnTo>
                      <a:pt x="14" y="56"/>
                    </a:lnTo>
                    <a:lnTo>
                      <a:pt x="14" y="56"/>
                    </a:lnTo>
                    <a:lnTo>
                      <a:pt x="12" y="57"/>
                    </a:lnTo>
                    <a:lnTo>
                      <a:pt x="12" y="57"/>
                    </a:lnTo>
                    <a:lnTo>
                      <a:pt x="12" y="59"/>
                    </a:lnTo>
                    <a:lnTo>
                      <a:pt x="14" y="61"/>
                    </a:lnTo>
                    <a:lnTo>
                      <a:pt x="15" y="65"/>
                    </a:lnTo>
                    <a:lnTo>
                      <a:pt x="15" y="67"/>
                    </a:lnTo>
                    <a:lnTo>
                      <a:pt x="17" y="67"/>
                    </a:lnTo>
                    <a:lnTo>
                      <a:pt x="17" y="68"/>
                    </a:lnTo>
                    <a:lnTo>
                      <a:pt x="17" y="68"/>
                    </a:lnTo>
                    <a:lnTo>
                      <a:pt x="17" y="70"/>
                    </a:lnTo>
                    <a:lnTo>
                      <a:pt x="17" y="71"/>
                    </a:lnTo>
                    <a:lnTo>
                      <a:pt x="18" y="73"/>
                    </a:lnTo>
                    <a:lnTo>
                      <a:pt x="18" y="75"/>
                    </a:lnTo>
                    <a:lnTo>
                      <a:pt x="18" y="75"/>
                    </a:lnTo>
                    <a:lnTo>
                      <a:pt x="20" y="75"/>
                    </a:lnTo>
                    <a:lnTo>
                      <a:pt x="20" y="75"/>
                    </a:lnTo>
                    <a:lnTo>
                      <a:pt x="21" y="76"/>
                    </a:lnTo>
                    <a:lnTo>
                      <a:pt x="23" y="82"/>
                    </a:lnTo>
                    <a:lnTo>
                      <a:pt x="23" y="82"/>
                    </a:lnTo>
                    <a:lnTo>
                      <a:pt x="25" y="82"/>
                    </a:lnTo>
                    <a:lnTo>
                      <a:pt x="25" y="82"/>
                    </a:lnTo>
                    <a:lnTo>
                      <a:pt x="26" y="84"/>
                    </a:lnTo>
                    <a:lnTo>
                      <a:pt x="28" y="84"/>
                    </a:lnTo>
                    <a:lnTo>
                      <a:pt x="29" y="87"/>
                    </a:lnTo>
                    <a:lnTo>
                      <a:pt x="31" y="87"/>
                    </a:lnTo>
                    <a:lnTo>
                      <a:pt x="31" y="87"/>
                    </a:lnTo>
                    <a:lnTo>
                      <a:pt x="31" y="87"/>
                    </a:lnTo>
                    <a:lnTo>
                      <a:pt x="34" y="87"/>
                    </a:lnTo>
                    <a:lnTo>
                      <a:pt x="37" y="87"/>
                    </a:lnTo>
                    <a:lnTo>
                      <a:pt x="39" y="89"/>
                    </a:lnTo>
                    <a:lnTo>
                      <a:pt x="39" y="89"/>
                    </a:lnTo>
                    <a:lnTo>
                      <a:pt x="39" y="89"/>
                    </a:lnTo>
                    <a:lnTo>
                      <a:pt x="37" y="89"/>
                    </a:lnTo>
                    <a:lnTo>
                      <a:pt x="36" y="90"/>
                    </a:lnTo>
                    <a:lnTo>
                      <a:pt x="36" y="90"/>
                    </a:lnTo>
                    <a:lnTo>
                      <a:pt x="36" y="90"/>
                    </a:lnTo>
                    <a:lnTo>
                      <a:pt x="34" y="92"/>
                    </a:lnTo>
                    <a:lnTo>
                      <a:pt x="34" y="93"/>
                    </a:lnTo>
                    <a:lnTo>
                      <a:pt x="34" y="95"/>
                    </a:lnTo>
                    <a:lnTo>
                      <a:pt x="34" y="95"/>
                    </a:lnTo>
                    <a:lnTo>
                      <a:pt x="36" y="98"/>
                    </a:lnTo>
                    <a:lnTo>
                      <a:pt x="37" y="98"/>
                    </a:lnTo>
                    <a:lnTo>
                      <a:pt x="37" y="100"/>
                    </a:lnTo>
                    <a:lnTo>
                      <a:pt x="37" y="101"/>
                    </a:lnTo>
                    <a:lnTo>
                      <a:pt x="37" y="101"/>
                    </a:lnTo>
                    <a:lnTo>
                      <a:pt x="37" y="103"/>
                    </a:lnTo>
                    <a:lnTo>
                      <a:pt x="36" y="103"/>
                    </a:lnTo>
                    <a:lnTo>
                      <a:pt x="32" y="104"/>
                    </a:lnTo>
                    <a:lnTo>
                      <a:pt x="29" y="109"/>
                    </a:lnTo>
                    <a:lnTo>
                      <a:pt x="28" y="111"/>
                    </a:lnTo>
                    <a:lnTo>
                      <a:pt x="28" y="112"/>
                    </a:lnTo>
                    <a:lnTo>
                      <a:pt x="28" y="114"/>
                    </a:lnTo>
                    <a:lnTo>
                      <a:pt x="28" y="114"/>
                    </a:lnTo>
                    <a:lnTo>
                      <a:pt x="26" y="114"/>
                    </a:lnTo>
                    <a:lnTo>
                      <a:pt x="26" y="114"/>
                    </a:lnTo>
                    <a:lnTo>
                      <a:pt x="26" y="114"/>
                    </a:lnTo>
                    <a:lnTo>
                      <a:pt x="26" y="115"/>
                    </a:lnTo>
                    <a:lnTo>
                      <a:pt x="26" y="115"/>
                    </a:lnTo>
                    <a:lnTo>
                      <a:pt x="25" y="115"/>
                    </a:lnTo>
                    <a:lnTo>
                      <a:pt x="25" y="117"/>
                    </a:lnTo>
                    <a:lnTo>
                      <a:pt x="26" y="120"/>
                    </a:lnTo>
                    <a:lnTo>
                      <a:pt x="26" y="122"/>
                    </a:lnTo>
                    <a:lnTo>
                      <a:pt x="26" y="122"/>
                    </a:lnTo>
                    <a:lnTo>
                      <a:pt x="26" y="122"/>
                    </a:lnTo>
                    <a:lnTo>
                      <a:pt x="26" y="123"/>
                    </a:lnTo>
                    <a:lnTo>
                      <a:pt x="26" y="123"/>
                    </a:lnTo>
                    <a:lnTo>
                      <a:pt x="25" y="125"/>
                    </a:lnTo>
                    <a:lnTo>
                      <a:pt x="23" y="126"/>
                    </a:lnTo>
                    <a:lnTo>
                      <a:pt x="25" y="126"/>
                    </a:lnTo>
                    <a:lnTo>
                      <a:pt x="25" y="128"/>
                    </a:lnTo>
                    <a:lnTo>
                      <a:pt x="29" y="133"/>
                    </a:lnTo>
                    <a:lnTo>
                      <a:pt x="29" y="134"/>
                    </a:lnTo>
                    <a:lnTo>
                      <a:pt x="31" y="134"/>
                    </a:lnTo>
                    <a:lnTo>
                      <a:pt x="31" y="134"/>
                    </a:lnTo>
                    <a:lnTo>
                      <a:pt x="32" y="134"/>
                    </a:lnTo>
                    <a:lnTo>
                      <a:pt x="32" y="134"/>
                    </a:lnTo>
                    <a:lnTo>
                      <a:pt x="32" y="134"/>
                    </a:lnTo>
                    <a:lnTo>
                      <a:pt x="32" y="134"/>
                    </a:lnTo>
                    <a:lnTo>
                      <a:pt x="32" y="136"/>
                    </a:lnTo>
                    <a:lnTo>
                      <a:pt x="32" y="137"/>
                    </a:lnTo>
                    <a:lnTo>
                      <a:pt x="34" y="137"/>
                    </a:lnTo>
                    <a:lnTo>
                      <a:pt x="34" y="139"/>
                    </a:lnTo>
                    <a:lnTo>
                      <a:pt x="37" y="142"/>
                    </a:lnTo>
                    <a:lnTo>
                      <a:pt x="37" y="143"/>
                    </a:lnTo>
                    <a:lnTo>
                      <a:pt x="37" y="143"/>
                    </a:lnTo>
                    <a:lnTo>
                      <a:pt x="36" y="145"/>
                    </a:lnTo>
                    <a:lnTo>
                      <a:pt x="36" y="147"/>
                    </a:lnTo>
                    <a:lnTo>
                      <a:pt x="36" y="147"/>
                    </a:lnTo>
                    <a:lnTo>
                      <a:pt x="36" y="148"/>
                    </a:lnTo>
                    <a:lnTo>
                      <a:pt x="40" y="148"/>
                    </a:lnTo>
                    <a:lnTo>
                      <a:pt x="40" y="148"/>
                    </a:lnTo>
                    <a:lnTo>
                      <a:pt x="45" y="150"/>
                    </a:lnTo>
                    <a:lnTo>
                      <a:pt x="45" y="150"/>
                    </a:lnTo>
                    <a:lnTo>
                      <a:pt x="48" y="153"/>
                    </a:lnTo>
                    <a:lnTo>
                      <a:pt x="51" y="156"/>
                    </a:lnTo>
                    <a:lnTo>
                      <a:pt x="54" y="158"/>
                    </a:lnTo>
                    <a:lnTo>
                      <a:pt x="57" y="158"/>
                    </a:lnTo>
                    <a:lnTo>
                      <a:pt x="57" y="158"/>
                    </a:lnTo>
                    <a:lnTo>
                      <a:pt x="59" y="159"/>
                    </a:lnTo>
                    <a:lnTo>
                      <a:pt x="59" y="159"/>
                    </a:lnTo>
                    <a:lnTo>
                      <a:pt x="59" y="161"/>
                    </a:lnTo>
                    <a:lnTo>
                      <a:pt x="61" y="164"/>
                    </a:lnTo>
                    <a:lnTo>
                      <a:pt x="62" y="165"/>
                    </a:lnTo>
                    <a:lnTo>
                      <a:pt x="64" y="169"/>
                    </a:lnTo>
                    <a:lnTo>
                      <a:pt x="67" y="172"/>
                    </a:lnTo>
                    <a:lnTo>
                      <a:pt x="65" y="176"/>
                    </a:lnTo>
                    <a:lnTo>
                      <a:pt x="64" y="179"/>
                    </a:lnTo>
                    <a:lnTo>
                      <a:pt x="64" y="187"/>
                    </a:lnTo>
                    <a:lnTo>
                      <a:pt x="67" y="189"/>
                    </a:lnTo>
                    <a:lnTo>
                      <a:pt x="70" y="189"/>
                    </a:lnTo>
                    <a:lnTo>
                      <a:pt x="70" y="189"/>
                    </a:lnTo>
                    <a:lnTo>
                      <a:pt x="70" y="192"/>
                    </a:lnTo>
                    <a:lnTo>
                      <a:pt x="70" y="195"/>
                    </a:lnTo>
                    <a:lnTo>
                      <a:pt x="70" y="198"/>
                    </a:lnTo>
                    <a:lnTo>
                      <a:pt x="70" y="200"/>
                    </a:lnTo>
                    <a:lnTo>
                      <a:pt x="71" y="200"/>
                    </a:lnTo>
                    <a:lnTo>
                      <a:pt x="73" y="201"/>
                    </a:lnTo>
                    <a:lnTo>
                      <a:pt x="73" y="201"/>
                    </a:lnTo>
                    <a:lnTo>
                      <a:pt x="75" y="201"/>
                    </a:lnTo>
                    <a:lnTo>
                      <a:pt x="75" y="203"/>
                    </a:lnTo>
                    <a:lnTo>
                      <a:pt x="76" y="204"/>
                    </a:lnTo>
                    <a:lnTo>
                      <a:pt x="76" y="204"/>
                    </a:lnTo>
                    <a:lnTo>
                      <a:pt x="76" y="204"/>
                    </a:lnTo>
                    <a:lnTo>
                      <a:pt x="76" y="206"/>
                    </a:lnTo>
                    <a:lnTo>
                      <a:pt x="78" y="208"/>
                    </a:lnTo>
                    <a:lnTo>
                      <a:pt x="78" y="208"/>
                    </a:lnTo>
                    <a:lnTo>
                      <a:pt x="79" y="209"/>
                    </a:lnTo>
                    <a:lnTo>
                      <a:pt x="79" y="209"/>
                    </a:lnTo>
                    <a:lnTo>
                      <a:pt x="81" y="208"/>
                    </a:lnTo>
                    <a:lnTo>
                      <a:pt x="84" y="208"/>
                    </a:lnTo>
                    <a:lnTo>
                      <a:pt x="84" y="208"/>
                    </a:lnTo>
                    <a:lnTo>
                      <a:pt x="86" y="206"/>
                    </a:lnTo>
                    <a:lnTo>
                      <a:pt x="86" y="203"/>
                    </a:lnTo>
                    <a:lnTo>
                      <a:pt x="86" y="201"/>
                    </a:lnTo>
                    <a:lnTo>
                      <a:pt x="86" y="200"/>
                    </a:lnTo>
                    <a:lnTo>
                      <a:pt x="87" y="200"/>
                    </a:lnTo>
                    <a:lnTo>
                      <a:pt x="87" y="198"/>
                    </a:lnTo>
                    <a:lnTo>
                      <a:pt x="89" y="198"/>
                    </a:lnTo>
                    <a:lnTo>
                      <a:pt x="90" y="198"/>
                    </a:lnTo>
                    <a:lnTo>
                      <a:pt x="92" y="200"/>
                    </a:lnTo>
                    <a:lnTo>
                      <a:pt x="90" y="201"/>
                    </a:lnTo>
                    <a:lnTo>
                      <a:pt x="89" y="200"/>
                    </a:lnTo>
                    <a:lnTo>
                      <a:pt x="87" y="200"/>
                    </a:lnTo>
                    <a:lnTo>
                      <a:pt x="87" y="201"/>
                    </a:lnTo>
                    <a:lnTo>
                      <a:pt x="87" y="201"/>
                    </a:lnTo>
                    <a:lnTo>
                      <a:pt x="89" y="203"/>
                    </a:lnTo>
                    <a:lnTo>
                      <a:pt x="95" y="206"/>
                    </a:lnTo>
                    <a:lnTo>
                      <a:pt x="97" y="208"/>
                    </a:lnTo>
                    <a:lnTo>
                      <a:pt x="104" y="204"/>
                    </a:lnTo>
                    <a:lnTo>
                      <a:pt x="106" y="204"/>
                    </a:lnTo>
                    <a:lnTo>
                      <a:pt x="107" y="208"/>
                    </a:lnTo>
                    <a:lnTo>
                      <a:pt x="107" y="211"/>
                    </a:lnTo>
                    <a:lnTo>
                      <a:pt x="109" y="211"/>
                    </a:lnTo>
                    <a:lnTo>
                      <a:pt x="111" y="215"/>
                    </a:lnTo>
                    <a:lnTo>
                      <a:pt x="114" y="217"/>
                    </a:lnTo>
                    <a:lnTo>
                      <a:pt x="115" y="220"/>
                    </a:lnTo>
                    <a:lnTo>
                      <a:pt x="117" y="222"/>
                    </a:lnTo>
                    <a:lnTo>
                      <a:pt x="115" y="225"/>
                    </a:lnTo>
                    <a:lnTo>
                      <a:pt x="117" y="225"/>
                    </a:lnTo>
                    <a:lnTo>
                      <a:pt x="118" y="226"/>
                    </a:lnTo>
                    <a:lnTo>
                      <a:pt x="120" y="228"/>
                    </a:lnTo>
                    <a:lnTo>
                      <a:pt x="120" y="228"/>
                    </a:lnTo>
                    <a:lnTo>
                      <a:pt x="120" y="230"/>
                    </a:lnTo>
                    <a:lnTo>
                      <a:pt x="120" y="231"/>
                    </a:lnTo>
                    <a:lnTo>
                      <a:pt x="123" y="233"/>
                    </a:lnTo>
                    <a:lnTo>
                      <a:pt x="123" y="234"/>
                    </a:lnTo>
                    <a:lnTo>
                      <a:pt x="123" y="239"/>
                    </a:lnTo>
                    <a:lnTo>
                      <a:pt x="125" y="240"/>
                    </a:lnTo>
                    <a:lnTo>
                      <a:pt x="126" y="244"/>
                    </a:lnTo>
                    <a:lnTo>
                      <a:pt x="126" y="245"/>
                    </a:lnTo>
                    <a:lnTo>
                      <a:pt x="131" y="250"/>
                    </a:lnTo>
                    <a:lnTo>
                      <a:pt x="132" y="251"/>
                    </a:lnTo>
                    <a:lnTo>
                      <a:pt x="134" y="251"/>
                    </a:lnTo>
                    <a:lnTo>
                      <a:pt x="137" y="251"/>
                    </a:lnTo>
                    <a:lnTo>
                      <a:pt x="140" y="251"/>
                    </a:lnTo>
                    <a:lnTo>
                      <a:pt x="143" y="255"/>
                    </a:lnTo>
                    <a:lnTo>
                      <a:pt x="148" y="256"/>
                    </a:lnTo>
                    <a:lnTo>
                      <a:pt x="150" y="258"/>
                    </a:lnTo>
                    <a:lnTo>
                      <a:pt x="151" y="261"/>
                    </a:lnTo>
                    <a:lnTo>
                      <a:pt x="151" y="262"/>
                    </a:lnTo>
                    <a:lnTo>
                      <a:pt x="157" y="266"/>
                    </a:lnTo>
                    <a:lnTo>
                      <a:pt x="164" y="269"/>
                    </a:lnTo>
                    <a:lnTo>
                      <a:pt x="165" y="269"/>
                    </a:lnTo>
                    <a:lnTo>
                      <a:pt x="165" y="272"/>
                    </a:lnTo>
                    <a:lnTo>
                      <a:pt x="170" y="273"/>
                    </a:lnTo>
                    <a:lnTo>
                      <a:pt x="172" y="273"/>
                    </a:lnTo>
                    <a:lnTo>
                      <a:pt x="176" y="273"/>
                    </a:lnTo>
                    <a:lnTo>
                      <a:pt x="179" y="273"/>
                    </a:lnTo>
                    <a:lnTo>
                      <a:pt x="184" y="276"/>
                    </a:lnTo>
                    <a:lnTo>
                      <a:pt x="186" y="278"/>
                    </a:lnTo>
                    <a:lnTo>
                      <a:pt x="189" y="278"/>
                    </a:lnTo>
                    <a:lnTo>
                      <a:pt x="190" y="276"/>
                    </a:lnTo>
                    <a:lnTo>
                      <a:pt x="195" y="273"/>
                    </a:lnTo>
                    <a:lnTo>
                      <a:pt x="198" y="272"/>
                    </a:lnTo>
                    <a:lnTo>
                      <a:pt x="200" y="273"/>
                    </a:lnTo>
                    <a:lnTo>
                      <a:pt x="201" y="272"/>
                    </a:lnTo>
                    <a:lnTo>
                      <a:pt x="203" y="269"/>
                    </a:lnTo>
                    <a:lnTo>
                      <a:pt x="204" y="269"/>
                    </a:lnTo>
                    <a:lnTo>
                      <a:pt x="209" y="267"/>
                    </a:lnTo>
                    <a:lnTo>
                      <a:pt x="212" y="266"/>
                    </a:lnTo>
                    <a:lnTo>
                      <a:pt x="215" y="264"/>
                    </a:lnTo>
                    <a:lnTo>
                      <a:pt x="215" y="264"/>
                    </a:lnTo>
                    <a:lnTo>
                      <a:pt x="223" y="266"/>
                    </a:lnTo>
                    <a:lnTo>
                      <a:pt x="225" y="267"/>
                    </a:lnTo>
                    <a:lnTo>
                      <a:pt x="226" y="269"/>
                    </a:lnTo>
                    <a:lnTo>
                      <a:pt x="226" y="270"/>
                    </a:lnTo>
                    <a:lnTo>
                      <a:pt x="228" y="272"/>
                    </a:lnTo>
                    <a:lnTo>
                      <a:pt x="229" y="275"/>
                    </a:lnTo>
                    <a:lnTo>
                      <a:pt x="229" y="281"/>
                    </a:lnTo>
                    <a:lnTo>
                      <a:pt x="231" y="284"/>
                    </a:lnTo>
                    <a:lnTo>
                      <a:pt x="231" y="287"/>
                    </a:lnTo>
                    <a:lnTo>
                      <a:pt x="233" y="289"/>
                    </a:lnTo>
                    <a:lnTo>
                      <a:pt x="233" y="292"/>
                    </a:lnTo>
                    <a:lnTo>
                      <a:pt x="240" y="294"/>
                    </a:lnTo>
                    <a:lnTo>
                      <a:pt x="242" y="294"/>
                    </a:lnTo>
                    <a:lnTo>
                      <a:pt x="243" y="294"/>
                    </a:lnTo>
                    <a:lnTo>
                      <a:pt x="245" y="295"/>
                    </a:lnTo>
                    <a:lnTo>
                      <a:pt x="248" y="295"/>
                    </a:lnTo>
                    <a:lnTo>
                      <a:pt x="250" y="295"/>
                    </a:lnTo>
                    <a:lnTo>
                      <a:pt x="254" y="295"/>
                    </a:lnTo>
                    <a:lnTo>
                      <a:pt x="259" y="297"/>
                    </a:lnTo>
                    <a:lnTo>
                      <a:pt x="264" y="298"/>
                    </a:lnTo>
                    <a:lnTo>
                      <a:pt x="267" y="298"/>
                    </a:lnTo>
                    <a:lnTo>
                      <a:pt x="270" y="298"/>
                    </a:lnTo>
                    <a:lnTo>
                      <a:pt x="273" y="300"/>
                    </a:lnTo>
                    <a:lnTo>
                      <a:pt x="276" y="300"/>
                    </a:lnTo>
                    <a:lnTo>
                      <a:pt x="278" y="300"/>
                    </a:lnTo>
                    <a:lnTo>
                      <a:pt x="281" y="300"/>
                    </a:lnTo>
                    <a:lnTo>
                      <a:pt x="287" y="302"/>
                    </a:lnTo>
                    <a:lnTo>
                      <a:pt x="289" y="298"/>
                    </a:lnTo>
                    <a:lnTo>
                      <a:pt x="290" y="298"/>
                    </a:lnTo>
                    <a:lnTo>
                      <a:pt x="290" y="300"/>
                    </a:lnTo>
                    <a:lnTo>
                      <a:pt x="292" y="302"/>
                    </a:lnTo>
                    <a:lnTo>
                      <a:pt x="300" y="303"/>
                    </a:lnTo>
                    <a:lnTo>
                      <a:pt x="301" y="305"/>
                    </a:lnTo>
                    <a:lnTo>
                      <a:pt x="304" y="305"/>
                    </a:lnTo>
                    <a:lnTo>
                      <a:pt x="306" y="305"/>
                    </a:lnTo>
                    <a:lnTo>
                      <a:pt x="308" y="303"/>
                    </a:lnTo>
                    <a:lnTo>
                      <a:pt x="308" y="303"/>
                    </a:lnTo>
                    <a:lnTo>
                      <a:pt x="308" y="303"/>
                    </a:lnTo>
                    <a:lnTo>
                      <a:pt x="309" y="302"/>
                    </a:lnTo>
                    <a:lnTo>
                      <a:pt x="309" y="295"/>
                    </a:lnTo>
                    <a:lnTo>
                      <a:pt x="309" y="294"/>
                    </a:lnTo>
                    <a:lnTo>
                      <a:pt x="309" y="292"/>
                    </a:lnTo>
                    <a:lnTo>
                      <a:pt x="309" y="292"/>
                    </a:lnTo>
                    <a:lnTo>
                      <a:pt x="311" y="291"/>
                    </a:lnTo>
                    <a:lnTo>
                      <a:pt x="311" y="291"/>
                    </a:lnTo>
                    <a:lnTo>
                      <a:pt x="311" y="287"/>
                    </a:lnTo>
                    <a:lnTo>
                      <a:pt x="311" y="287"/>
                    </a:lnTo>
                    <a:lnTo>
                      <a:pt x="312" y="284"/>
                    </a:lnTo>
                    <a:lnTo>
                      <a:pt x="312" y="283"/>
                    </a:lnTo>
                    <a:lnTo>
                      <a:pt x="312" y="283"/>
                    </a:lnTo>
                    <a:lnTo>
                      <a:pt x="317" y="281"/>
                    </a:lnTo>
                    <a:lnTo>
                      <a:pt x="317" y="281"/>
                    </a:lnTo>
                    <a:lnTo>
                      <a:pt x="317" y="281"/>
                    </a:lnTo>
                    <a:lnTo>
                      <a:pt x="317" y="281"/>
                    </a:lnTo>
                    <a:lnTo>
                      <a:pt x="317" y="281"/>
                    </a:lnTo>
                    <a:lnTo>
                      <a:pt x="319" y="281"/>
                    </a:lnTo>
                    <a:lnTo>
                      <a:pt x="320" y="281"/>
                    </a:lnTo>
                    <a:lnTo>
                      <a:pt x="320" y="281"/>
                    </a:lnTo>
                    <a:lnTo>
                      <a:pt x="320" y="280"/>
                    </a:lnTo>
                    <a:lnTo>
                      <a:pt x="320" y="278"/>
                    </a:lnTo>
                    <a:lnTo>
                      <a:pt x="320" y="278"/>
                    </a:lnTo>
                    <a:lnTo>
                      <a:pt x="322" y="278"/>
                    </a:lnTo>
                    <a:lnTo>
                      <a:pt x="322" y="276"/>
                    </a:lnTo>
                    <a:lnTo>
                      <a:pt x="323" y="276"/>
                    </a:lnTo>
                    <a:lnTo>
                      <a:pt x="323" y="276"/>
                    </a:lnTo>
                    <a:lnTo>
                      <a:pt x="326" y="276"/>
                    </a:lnTo>
                    <a:lnTo>
                      <a:pt x="328" y="275"/>
                    </a:lnTo>
                    <a:lnTo>
                      <a:pt x="329" y="275"/>
                    </a:lnTo>
                    <a:lnTo>
                      <a:pt x="334" y="275"/>
                    </a:lnTo>
                    <a:lnTo>
                      <a:pt x="336" y="275"/>
                    </a:lnTo>
                    <a:lnTo>
                      <a:pt x="336" y="275"/>
                    </a:lnTo>
                    <a:lnTo>
                      <a:pt x="336" y="272"/>
                    </a:lnTo>
                    <a:lnTo>
                      <a:pt x="337" y="270"/>
                    </a:lnTo>
                    <a:lnTo>
                      <a:pt x="337" y="270"/>
                    </a:lnTo>
                    <a:lnTo>
                      <a:pt x="337" y="269"/>
                    </a:lnTo>
                    <a:lnTo>
                      <a:pt x="337" y="267"/>
                    </a:lnTo>
                    <a:lnTo>
                      <a:pt x="337" y="26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4" name="Freeform 101">
                <a:extLst>
                  <a:ext uri="{FF2B5EF4-FFF2-40B4-BE49-F238E27FC236}">
                    <a16:creationId xmlns:a16="http://schemas.microsoft.com/office/drawing/2014/main" id="{142DBE79-D43C-491F-3A87-33D134AF7508}"/>
                  </a:ext>
                </a:extLst>
              </p:cNvPr>
              <p:cNvSpPr>
                <a:spLocks/>
              </p:cNvSpPr>
              <p:nvPr/>
            </p:nvSpPr>
            <p:spPr bwMode="gray">
              <a:xfrm>
                <a:off x="2245" y="2"/>
                <a:ext cx="193" cy="130"/>
              </a:xfrm>
              <a:custGeom>
                <a:avLst/>
                <a:gdLst>
                  <a:gd name="T0" fmla="*/ 188 w 193"/>
                  <a:gd name="T1" fmla="*/ 67 h 130"/>
                  <a:gd name="T2" fmla="*/ 177 w 193"/>
                  <a:gd name="T3" fmla="*/ 78 h 130"/>
                  <a:gd name="T4" fmla="*/ 171 w 193"/>
                  <a:gd name="T5" fmla="*/ 90 h 130"/>
                  <a:gd name="T6" fmla="*/ 141 w 193"/>
                  <a:gd name="T7" fmla="*/ 109 h 130"/>
                  <a:gd name="T8" fmla="*/ 116 w 193"/>
                  <a:gd name="T9" fmla="*/ 120 h 130"/>
                  <a:gd name="T10" fmla="*/ 110 w 193"/>
                  <a:gd name="T11" fmla="*/ 125 h 130"/>
                  <a:gd name="T12" fmla="*/ 83 w 193"/>
                  <a:gd name="T13" fmla="*/ 123 h 130"/>
                  <a:gd name="T14" fmla="*/ 71 w 193"/>
                  <a:gd name="T15" fmla="*/ 115 h 130"/>
                  <a:gd name="T16" fmla="*/ 66 w 193"/>
                  <a:gd name="T17" fmla="*/ 114 h 130"/>
                  <a:gd name="T18" fmla="*/ 57 w 193"/>
                  <a:gd name="T19" fmla="*/ 108 h 130"/>
                  <a:gd name="T20" fmla="*/ 30 w 193"/>
                  <a:gd name="T21" fmla="*/ 105 h 130"/>
                  <a:gd name="T22" fmla="*/ 42 w 193"/>
                  <a:gd name="T23" fmla="*/ 103 h 130"/>
                  <a:gd name="T24" fmla="*/ 50 w 193"/>
                  <a:gd name="T25" fmla="*/ 90 h 130"/>
                  <a:gd name="T26" fmla="*/ 46 w 193"/>
                  <a:gd name="T27" fmla="*/ 90 h 130"/>
                  <a:gd name="T28" fmla="*/ 50 w 193"/>
                  <a:gd name="T29" fmla="*/ 79 h 130"/>
                  <a:gd name="T30" fmla="*/ 38 w 193"/>
                  <a:gd name="T31" fmla="*/ 79 h 130"/>
                  <a:gd name="T32" fmla="*/ 14 w 193"/>
                  <a:gd name="T33" fmla="*/ 75 h 130"/>
                  <a:gd name="T34" fmla="*/ 11 w 193"/>
                  <a:gd name="T35" fmla="*/ 69 h 130"/>
                  <a:gd name="T36" fmla="*/ 24 w 193"/>
                  <a:gd name="T37" fmla="*/ 67 h 130"/>
                  <a:gd name="T38" fmla="*/ 38 w 193"/>
                  <a:gd name="T39" fmla="*/ 62 h 130"/>
                  <a:gd name="T40" fmla="*/ 36 w 193"/>
                  <a:gd name="T41" fmla="*/ 58 h 130"/>
                  <a:gd name="T42" fmla="*/ 44 w 193"/>
                  <a:gd name="T43" fmla="*/ 43 h 130"/>
                  <a:gd name="T44" fmla="*/ 13 w 193"/>
                  <a:gd name="T45" fmla="*/ 47 h 130"/>
                  <a:gd name="T46" fmla="*/ 6 w 193"/>
                  <a:gd name="T47" fmla="*/ 39 h 130"/>
                  <a:gd name="T48" fmla="*/ 6 w 193"/>
                  <a:gd name="T49" fmla="*/ 33 h 130"/>
                  <a:gd name="T50" fmla="*/ 16 w 193"/>
                  <a:gd name="T51" fmla="*/ 33 h 130"/>
                  <a:gd name="T52" fmla="*/ 14 w 193"/>
                  <a:gd name="T53" fmla="*/ 25 h 130"/>
                  <a:gd name="T54" fmla="*/ 17 w 193"/>
                  <a:gd name="T55" fmla="*/ 20 h 130"/>
                  <a:gd name="T56" fmla="*/ 21 w 193"/>
                  <a:gd name="T57" fmla="*/ 15 h 130"/>
                  <a:gd name="T58" fmla="*/ 30 w 193"/>
                  <a:gd name="T59" fmla="*/ 23 h 130"/>
                  <a:gd name="T60" fmla="*/ 35 w 193"/>
                  <a:gd name="T61" fmla="*/ 26 h 130"/>
                  <a:gd name="T62" fmla="*/ 27 w 193"/>
                  <a:gd name="T63" fmla="*/ 14 h 130"/>
                  <a:gd name="T64" fmla="*/ 31 w 193"/>
                  <a:gd name="T65" fmla="*/ 9 h 130"/>
                  <a:gd name="T66" fmla="*/ 28 w 193"/>
                  <a:gd name="T67" fmla="*/ 3 h 130"/>
                  <a:gd name="T68" fmla="*/ 47 w 193"/>
                  <a:gd name="T69" fmla="*/ 14 h 130"/>
                  <a:gd name="T70" fmla="*/ 57 w 193"/>
                  <a:gd name="T71" fmla="*/ 26 h 130"/>
                  <a:gd name="T72" fmla="*/ 53 w 193"/>
                  <a:gd name="T73" fmla="*/ 39 h 130"/>
                  <a:gd name="T74" fmla="*/ 53 w 193"/>
                  <a:gd name="T75" fmla="*/ 45 h 130"/>
                  <a:gd name="T76" fmla="*/ 60 w 193"/>
                  <a:gd name="T77" fmla="*/ 48 h 130"/>
                  <a:gd name="T78" fmla="*/ 67 w 193"/>
                  <a:gd name="T79" fmla="*/ 37 h 130"/>
                  <a:gd name="T80" fmla="*/ 72 w 193"/>
                  <a:gd name="T81" fmla="*/ 29 h 130"/>
                  <a:gd name="T82" fmla="*/ 83 w 193"/>
                  <a:gd name="T83" fmla="*/ 28 h 130"/>
                  <a:gd name="T84" fmla="*/ 89 w 193"/>
                  <a:gd name="T85" fmla="*/ 31 h 130"/>
                  <a:gd name="T86" fmla="*/ 99 w 193"/>
                  <a:gd name="T87" fmla="*/ 15 h 130"/>
                  <a:gd name="T88" fmla="*/ 111 w 193"/>
                  <a:gd name="T89" fmla="*/ 34 h 130"/>
                  <a:gd name="T90" fmla="*/ 108 w 193"/>
                  <a:gd name="T91" fmla="*/ 17 h 130"/>
                  <a:gd name="T92" fmla="*/ 122 w 193"/>
                  <a:gd name="T93" fmla="*/ 23 h 130"/>
                  <a:gd name="T94" fmla="*/ 133 w 193"/>
                  <a:gd name="T95" fmla="*/ 17 h 130"/>
                  <a:gd name="T96" fmla="*/ 141 w 193"/>
                  <a:gd name="T97" fmla="*/ 1 h 130"/>
                  <a:gd name="T98" fmla="*/ 155 w 193"/>
                  <a:gd name="T99" fmla="*/ 11 h 130"/>
                  <a:gd name="T100" fmla="*/ 174 w 193"/>
                  <a:gd name="T101" fmla="*/ 6 h 130"/>
                  <a:gd name="T102" fmla="*/ 166 w 193"/>
                  <a:gd name="T103" fmla="*/ 20 h 130"/>
                  <a:gd name="T104" fmla="*/ 171 w 193"/>
                  <a:gd name="T105" fmla="*/ 29 h 130"/>
                  <a:gd name="T106" fmla="*/ 177 w 193"/>
                  <a:gd name="T107" fmla="*/ 34 h 130"/>
                  <a:gd name="T108" fmla="*/ 186 w 193"/>
                  <a:gd name="T109" fmla="*/ 40 h 130"/>
                  <a:gd name="T110" fmla="*/ 189 w 193"/>
                  <a:gd name="T111" fmla="*/ 48 h 130"/>
                  <a:gd name="T112" fmla="*/ 191 w 193"/>
                  <a:gd name="T113" fmla="*/ 5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30">
                    <a:moveTo>
                      <a:pt x="193" y="59"/>
                    </a:moveTo>
                    <a:lnTo>
                      <a:pt x="193" y="61"/>
                    </a:lnTo>
                    <a:lnTo>
                      <a:pt x="191" y="62"/>
                    </a:lnTo>
                    <a:lnTo>
                      <a:pt x="191" y="64"/>
                    </a:lnTo>
                    <a:lnTo>
                      <a:pt x="191" y="64"/>
                    </a:lnTo>
                    <a:lnTo>
                      <a:pt x="188" y="64"/>
                    </a:lnTo>
                    <a:lnTo>
                      <a:pt x="186" y="65"/>
                    </a:lnTo>
                    <a:lnTo>
                      <a:pt x="188" y="67"/>
                    </a:lnTo>
                    <a:lnTo>
                      <a:pt x="188" y="69"/>
                    </a:lnTo>
                    <a:lnTo>
                      <a:pt x="186" y="70"/>
                    </a:lnTo>
                    <a:lnTo>
                      <a:pt x="185" y="73"/>
                    </a:lnTo>
                    <a:lnTo>
                      <a:pt x="183" y="75"/>
                    </a:lnTo>
                    <a:lnTo>
                      <a:pt x="182" y="76"/>
                    </a:lnTo>
                    <a:lnTo>
                      <a:pt x="178" y="76"/>
                    </a:lnTo>
                    <a:lnTo>
                      <a:pt x="177" y="75"/>
                    </a:lnTo>
                    <a:lnTo>
                      <a:pt x="177" y="78"/>
                    </a:lnTo>
                    <a:lnTo>
                      <a:pt x="175" y="79"/>
                    </a:lnTo>
                    <a:lnTo>
                      <a:pt x="177" y="81"/>
                    </a:lnTo>
                    <a:lnTo>
                      <a:pt x="177" y="83"/>
                    </a:lnTo>
                    <a:lnTo>
                      <a:pt x="177" y="84"/>
                    </a:lnTo>
                    <a:lnTo>
                      <a:pt x="175" y="86"/>
                    </a:lnTo>
                    <a:lnTo>
                      <a:pt x="174" y="87"/>
                    </a:lnTo>
                    <a:lnTo>
                      <a:pt x="174" y="89"/>
                    </a:lnTo>
                    <a:lnTo>
                      <a:pt x="171" y="90"/>
                    </a:lnTo>
                    <a:lnTo>
                      <a:pt x="168" y="92"/>
                    </a:lnTo>
                    <a:lnTo>
                      <a:pt x="166" y="94"/>
                    </a:lnTo>
                    <a:lnTo>
                      <a:pt x="163" y="94"/>
                    </a:lnTo>
                    <a:lnTo>
                      <a:pt x="158" y="95"/>
                    </a:lnTo>
                    <a:lnTo>
                      <a:pt x="152" y="98"/>
                    </a:lnTo>
                    <a:lnTo>
                      <a:pt x="149" y="101"/>
                    </a:lnTo>
                    <a:lnTo>
                      <a:pt x="146" y="105"/>
                    </a:lnTo>
                    <a:lnTo>
                      <a:pt x="141" y="109"/>
                    </a:lnTo>
                    <a:lnTo>
                      <a:pt x="138" y="111"/>
                    </a:lnTo>
                    <a:lnTo>
                      <a:pt x="136" y="111"/>
                    </a:lnTo>
                    <a:lnTo>
                      <a:pt x="133" y="112"/>
                    </a:lnTo>
                    <a:lnTo>
                      <a:pt x="130" y="114"/>
                    </a:lnTo>
                    <a:lnTo>
                      <a:pt x="121" y="115"/>
                    </a:lnTo>
                    <a:lnTo>
                      <a:pt x="117" y="117"/>
                    </a:lnTo>
                    <a:lnTo>
                      <a:pt x="117" y="119"/>
                    </a:lnTo>
                    <a:lnTo>
                      <a:pt x="116" y="120"/>
                    </a:lnTo>
                    <a:lnTo>
                      <a:pt x="116" y="120"/>
                    </a:lnTo>
                    <a:lnTo>
                      <a:pt x="116" y="122"/>
                    </a:lnTo>
                    <a:lnTo>
                      <a:pt x="116" y="122"/>
                    </a:lnTo>
                    <a:lnTo>
                      <a:pt x="114" y="123"/>
                    </a:lnTo>
                    <a:lnTo>
                      <a:pt x="113" y="125"/>
                    </a:lnTo>
                    <a:lnTo>
                      <a:pt x="111" y="125"/>
                    </a:lnTo>
                    <a:lnTo>
                      <a:pt x="110" y="125"/>
                    </a:lnTo>
                    <a:lnTo>
                      <a:pt x="110" y="125"/>
                    </a:lnTo>
                    <a:lnTo>
                      <a:pt x="110" y="125"/>
                    </a:lnTo>
                    <a:lnTo>
                      <a:pt x="110" y="125"/>
                    </a:lnTo>
                    <a:lnTo>
                      <a:pt x="110" y="126"/>
                    </a:lnTo>
                    <a:lnTo>
                      <a:pt x="108" y="128"/>
                    </a:lnTo>
                    <a:lnTo>
                      <a:pt x="102" y="130"/>
                    </a:lnTo>
                    <a:lnTo>
                      <a:pt x="92" y="128"/>
                    </a:lnTo>
                    <a:lnTo>
                      <a:pt x="88" y="126"/>
                    </a:lnTo>
                    <a:lnTo>
                      <a:pt x="83" y="123"/>
                    </a:lnTo>
                    <a:lnTo>
                      <a:pt x="80" y="123"/>
                    </a:lnTo>
                    <a:lnTo>
                      <a:pt x="75" y="123"/>
                    </a:lnTo>
                    <a:lnTo>
                      <a:pt x="72" y="120"/>
                    </a:lnTo>
                    <a:lnTo>
                      <a:pt x="71" y="119"/>
                    </a:lnTo>
                    <a:lnTo>
                      <a:pt x="71" y="117"/>
                    </a:lnTo>
                    <a:lnTo>
                      <a:pt x="71" y="117"/>
                    </a:lnTo>
                    <a:lnTo>
                      <a:pt x="71" y="115"/>
                    </a:lnTo>
                    <a:lnTo>
                      <a:pt x="71" y="115"/>
                    </a:lnTo>
                    <a:lnTo>
                      <a:pt x="72" y="115"/>
                    </a:lnTo>
                    <a:lnTo>
                      <a:pt x="72" y="115"/>
                    </a:lnTo>
                    <a:lnTo>
                      <a:pt x="72" y="114"/>
                    </a:lnTo>
                    <a:lnTo>
                      <a:pt x="71" y="114"/>
                    </a:lnTo>
                    <a:lnTo>
                      <a:pt x="69" y="115"/>
                    </a:lnTo>
                    <a:lnTo>
                      <a:pt x="67" y="115"/>
                    </a:lnTo>
                    <a:lnTo>
                      <a:pt x="66" y="115"/>
                    </a:lnTo>
                    <a:lnTo>
                      <a:pt x="66" y="114"/>
                    </a:lnTo>
                    <a:lnTo>
                      <a:pt x="63" y="114"/>
                    </a:lnTo>
                    <a:lnTo>
                      <a:pt x="61" y="112"/>
                    </a:lnTo>
                    <a:lnTo>
                      <a:pt x="60" y="111"/>
                    </a:lnTo>
                    <a:lnTo>
                      <a:pt x="58" y="109"/>
                    </a:lnTo>
                    <a:lnTo>
                      <a:pt x="60" y="108"/>
                    </a:lnTo>
                    <a:lnTo>
                      <a:pt x="60" y="108"/>
                    </a:lnTo>
                    <a:lnTo>
                      <a:pt x="58" y="108"/>
                    </a:lnTo>
                    <a:lnTo>
                      <a:pt x="57" y="108"/>
                    </a:lnTo>
                    <a:lnTo>
                      <a:pt x="55" y="111"/>
                    </a:lnTo>
                    <a:lnTo>
                      <a:pt x="53" y="111"/>
                    </a:lnTo>
                    <a:lnTo>
                      <a:pt x="38" y="112"/>
                    </a:lnTo>
                    <a:lnTo>
                      <a:pt x="33" y="112"/>
                    </a:lnTo>
                    <a:lnTo>
                      <a:pt x="33" y="112"/>
                    </a:lnTo>
                    <a:lnTo>
                      <a:pt x="31" y="111"/>
                    </a:lnTo>
                    <a:lnTo>
                      <a:pt x="31" y="108"/>
                    </a:lnTo>
                    <a:lnTo>
                      <a:pt x="30" y="105"/>
                    </a:lnTo>
                    <a:lnTo>
                      <a:pt x="31" y="103"/>
                    </a:lnTo>
                    <a:lnTo>
                      <a:pt x="31" y="103"/>
                    </a:lnTo>
                    <a:lnTo>
                      <a:pt x="33" y="103"/>
                    </a:lnTo>
                    <a:lnTo>
                      <a:pt x="33" y="103"/>
                    </a:lnTo>
                    <a:lnTo>
                      <a:pt x="35" y="105"/>
                    </a:lnTo>
                    <a:lnTo>
                      <a:pt x="35" y="106"/>
                    </a:lnTo>
                    <a:lnTo>
                      <a:pt x="41" y="105"/>
                    </a:lnTo>
                    <a:lnTo>
                      <a:pt x="42" y="103"/>
                    </a:lnTo>
                    <a:lnTo>
                      <a:pt x="44" y="101"/>
                    </a:lnTo>
                    <a:lnTo>
                      <a:pt x="46" y="100"/>
                    </a:lnTo>
                    <a:lnTo>
                      <a:pt x="46" y="98"/>
                    </a:lnTo>
                    <a:lnTo>
                      <a:pt x="47" y="97"/>
                    </a:lnTo>
                    <a:lnTo>
                      <a:pt x="47" y="94"/>
                    </a:lnTo>
                    <a:lnTo>
                      <a:pt x="49" y="92"/>
                    </a:lnTo>
                    <a:lnTo>
                      <a:pt x="50" y="92"/>
                    </a:lnTo>
                    <a:lnTo>
                      <a:pt x="50" y="90"/>
                    </a:lnTo>
                    <a:lnTo>
                      <a:pt x="53" y="90"/>
                    </a:lnTo>
                    <a:lnTo>
                      <a:pt x="52" y="89"/>
                    </a:lnTo>
                    <a:lnTo>
                      <a:pt x="50" y="89"/>
                    </a:lnTo>
                    <a:lnTo>
                      <a:pt x="44" y="94"/>
                    </a:lnTo>
                    <a:lnTo>
                      <a:pt x="42" y="94"/>
                    </a:lnTo>
                    <a:lnTo>
                      <a:pt x="42" y="92"/>
                    </a:lnTo>
                    <a:lnTo>
                      <a:pt x="44" y="92"/>
                    </a:lnTo>
                    <a:lnTo>
                      <a:pt x="46" y="90"/>
                    </a:lnTo>
                    <a:lnTo>
                      <a:pt x="44" y="90"/>
                    </a:lnTo>
                    <a:lnTo>
                      <a:pt x="44" y="89"/>
                    </a:lnTo>
                    <a:lnTo>
                      <a:pt x="44" y="87"/>
                    </a:lnTo>
                    <a:lnTo>
                      <a:pt x="44" y="84"/>
                    </a:lnTo>
                    <a:lnTo>
                      <a:pt x="49" y="81"/>
                    </a:lnTo>
                    <a:lnTo>
                      <a:pt x="50" y="81"/>
                    </a:lnTo>
                    <a:lnTo>
                      <a:pt x="50" y="79"/>
                    </a:lnTo>
                    <a:lnTo>
                      <a:pt x="50" y="79"/>
                    </a:lnTo>
                    <a:lnTo>
                      <a:pt x="49" y="79"/>
                    </a:lnTo>
                    <a:lnTo>
                      <a:pt x="46" y="83"/>
                    </a:lnTo>
                    <a:lnTo>
                      <a:pt x="42" y="84"/>
                    </a:lnTo>
                    <a:lnTo>
                      <a:pt x="41" y="84"/>
                    </a:lnTo>
                    <a:lnTo>
                      <a:pt x="39" y="83"/>
                    </a:lnTo>
                    <a:lnTo>
                      <a:pt x="39" y="83"/>
                    </a:lnTo>
                    <a:lnTo>
                      <a:pt x="38" y="81"/>
                    </a:lnTo>
                    <a:lnTo>
                      <a:pt x="38" y="79"/>
                    </a:lnTo>
                    <a:lnTo>
                      <a:pt x="39" y="76"/>
                    </a:lnTo>
                    <a:lnTo>
                      <a:pt x="39" y="76"/>
                    </a:lnTo>
                    <a:lnTo>
                      <a:pt x="38" y="76"/>
                    </a:lnTo>
                    <a:lnTo>
                      <a:pt x="36" y="73"/>
                    </a:lnTo>
                    <a:lnTo>
                      <a:pt x="31" y="73"/>
                    </a:lnTo>
                    <a:lnTo>
                      <a:pt x="21" y="72"/>
                    </a:lnTo>
                    <a:lnTo>
                      <a:pt x="17" y="73"/>
                    </a:lnTo>
                    <a:lnTo>
                      <a:pt x="14" y="75"/>
                    </a:lnTo>
                    <a:lnTo>
                      <a:pt x="11" y="76"/>
                    </a:lnTo>
                    <a:lnTo>
                      <a:pt x="11" y="75"/>
                    </a:lnTo>
                    <a:lnTo>
                      <a:pt x="10" y="73"/>
                    </a:lnTo>
                    <a:lnTo>
                      <a:pt x="10" y="73"/>
                    </a:lnTo>
                    <a:lnTo>
                      <a:pt x="8" y="70"/>
                    </a:lnTo>
                    <a:lnTo>
                      <a:pt x="8" y="69"/>
                    </a:lnTo>
                    <a:lnTo>
                      <a:pt x="10" y="69"/>
                    </a:lnTo>
                    <a:lnTo>
                      <a:pt x="11" y="69"/>
                    </a:lnTo>
                    <a:lnTo>
                      <a:pt x="14" y="69"/>
                    </a:lnTo>
                    <a:lnTo>
                      <a:pt x="17" y="67"/>
                    </a:lnTo>
                    <a:lnTo>
                      <a:pt x="21" y="67"/>
                    </a:lnTo>
                    <a:lnTo>
                      <a:pt x="21" y="67"/>
                    </a:lnTo>
                    <a:lnTo>
                      <a:pt x="22" y="65"/>
                    </a:lnTo>
                    <a:lnTo>
                      <a:pt x="22" y="65"/>
                    </a:lnTo>
                    <a:lnTo>
                      <a:pt x="24" y="65"/>
                    </a:lnTo>
                    <a:lnTo>
                      <a:pt x="24" y="67"/>
                    </a:lnTo>
                    <a:lnTo>
                      <a:pt x="28" y="65"/>
                    </a:lnTo>
                    <a:lnTo>
                      <a:pt x="30" y="64"/>
                    </a:lnTo>
                    <a:lnTo>
                      <a:pt x="30" y="64"/>
                    </a:lnTo>
                    <a:lnTo>
                      <a:pt x="30" y="62"/>
                    </a:lnTo>
                    <a:lnTo>
                      <a:pt x="31" y="64"/>
                    </a:lnTo>
                    <a:lnTo>
                      <a:pt x="33" y="64"/>
                    </a:lnTo>
                    <a:lnTo>
                      <a:pt x="35" y="64"/>
                    </a:lnTo>
                    <a:lnTo>
                      <a:pt x="38" y="62"/>
                    </a:lnTo>
                    <a:lnTo>
                      <a:pt x="46" y="62"/>
                    </a:lnTo>
                    <a:lnTo>
                      <a:pt x="47" y="62"/>
                    </a:lnTo>
                    <a:lnTo>
                      <a:pt x="47" y="61"/>
                    </a:lnTo>
                    <a:lnTo>
                      <a:pt x="47" y="58"/>
                    </a:lnTo>
                    <a:lnTo>
                      <a:pt x="47" y="58"/>
                    </a:lnTo>
                    <a:lnTo>
                      <a:pt x="42" y="59"/>
                    </a:lnTo>
                    <a:lnTo>
                      <a:pt x="42" y="59"/>
                    </a:lnTo>
                    <a:lnTo>
                      <a:pt x="36" y="58"/>
                    </a:lnTo>
                    <a:lnTo>
                      <a:pt x="35" y="56"/>
                    </a:lnTo>
                    <a:lnTo>
                      <a:pt x="36" y="56"/>
                    </a:lnTo>
                    <a:lnTo>
                      <a:pt x="38" y="53"/>
                    </a:lnTo>
                    <a:lnTo>
                      <a:pt x="41" y="50"/>
                    </a:lnTo>
                    <a:lnTo>
                      <a:pt x="46" y="48"/>
                    </a:lnTo>
                    <a:lnTo>
                      <a:pt x="47" y="47"/>
                    </a:lnTo>
                    <a:lnTo>
                      <a:pt x="47" y="47"/>
                    </a:lnTo>
                    <a:lnTo>
                      <a:pt x="44" y="43"/>
                    </a:lnTo>
                    <a:lnTo>
                      <a:pt x="38" y="45"/>
                    </a:lnTo>
                    <a:lnTo>
                      <a:pt x="36" y="42"/>
                    </a:lnTo>
                    <a:lnTo>
                      <a:pt x="33" y="40"/>
                    </a:lnTo>
                    <a:lnTo>
                      <a:pt x="30" y="42"/>
                    </a:lnTo>
                    <a:lnTo>
                      <a:pt x="28" y="40"/>
                    </a:lnTo>
                    <a:lnTo>
                      <a:pt x="24" y="42"/>
                    </a:lnTo>
                    <a:lnTo>
                      <a:pt x="16" y="45"/>
                    </a:lnTo>
                    <a:lnTo>
                      <a:pt x="13" y="47"/>
                    </a:lnTo>
                    <a:lnTo>
                      <a:pt x="10" y="48"/>
                    </a:lnTo>
                    <a:lnTo>
                      <a:pt x="8" y="47"/>
                    </a:lnTo>
                    <a:lnTo>
                      <a:pt x="5" y="45"/>
                    </a:lnTo>
                    <a:lnTo>
                      <a:pt x="0" y="43"/>
                    </a:lnTo>
                    <a:lnTo>
                      <a:pt x="0" y="43"/>
                    </a:lnTo>
                    <a:lnTo>
                      <a:pt x="3" y="40"/>
                    </a:lnTo>
                    <a:lnTo>
                      <a:pt x="5" y="39"/>
                    </a:lnTo>
                    <a:lnTo>
                      <a:pt x="6" y="39"/>
                    </a:lnTo>
                    <a:lnTo>
                      <a:pt x="10" y="42"/>
                    </a:lnTo>
                    <a:lnTo>
                      <a:pt x="11" y="42"/>
                    </a:lnTo>
                    <a:lnTo>
                      <a:pt x="8" y="39"/>
                    </a:lnTo>
                    <a:lnTo>
                      <a:pt x="8" y="37"/>
                    </a:lnTo>
                    <a:lnTo>
                      <a:pt x="8" y="36"/>
                    </a:lnTo>
                    <a:lnTo>
                      <a:pt x="8" y="36"/>
                    </a:lnTo>
                    <a:lnTo>
                      <a:pt x="6" y="33"/>
                    </a:lnTo>
                    <a:lnTo>
                      <a:pt x="6" y="33"/>
                    </a:lnTo>
                    <a:lnTo>
                      <a:pt x="8" y="33"/>
                    </a:lnTo>
                    <a:lnTo>
                      <a:pt x="10" y="33"/>
                    </a:lnTo>
                    <a:lnTo>
                      <a:pt x="16" y="36"/>
                    </a:lnTo>
                    <a:lnTo>
                      <a:pt x="17" y="36"/>
                    </a:lnTo>
                    <a:lnTo>
                      <a:pt x="19" y="34"/>
                    </a:lnTo>
                    <a:lnTo>
                      <a:pt x="21" y="33"/>
                    </a:lnTo>
                    <a:lnTo>
                      <a:pt x="21" y="33"/>
                    </a:lnTo>
                    <a:lnTo>
                      <a:pt x="16" y="33"/>
                    </a:lnTo>
                    <a:lnTo>
                      <a:pt x="14" y="33"/>
                    </a:lnTo>
                    <a:lnTo>
                      <a:pt x="13" y="31"/>
                    </a:lnTo>
                    <a:lnTo>
                      <a:pt x="13" y="31"/>
                    </a:lnTo>
                    <a:lnTo>
                      <a:pt x="11" y="29"/>
                    </a:lnTo>
                    <a:lnTo>
                      <a:pt x="11" y="28"/>
                    </a:lnTo>
                    <a:lnTo>
                      <a:pt x="13" y="28"/>
                    </a:lnTo>
                    <a:lnTo>
                      <a:pt x="17" y="28"/>
                    </a:lnTo>
                    <a:lnTo>
                      <a:pt x="14" y="25"/>
                    </a:lnTo>
                    <a:lnTo>
                      <a:pt x="13" y="23"/>
                    </a:lnTo>
                    <a:lnTo>
                      <a:pt x="13" y="22"/>
                    </a:lnTo>
                    <a:lnTo>
                      <a:pt x="13" y="20"/>
                    </a:lnTo>
                    <a:lnTo>
                      <a:pt x="13" y="20"/>
                    </a:lnTo>
                    <a:lnTo>
                      <a:pt x="13" y="20"/>
                    </a:lnTo>
                    <a:lnTo>
                      <a:pt x="17" y="22"/>
                    </a:lnTo>
                    <a:lnTo>
                      <a:pt x="19" y="22"/>
                    </a:lnTo>
                    <a:lnTo>
                      <a:pt x="17" y="20"/>
                    </a:lnTo>
                    <a:lnTo>
                      <a:pt x="16" y="18"/>
                    </a:lnTo>
                    <a:lnTo>
                      <a:pt x="16" y="18"/>
                    </a:lnTo>
                    <a:lnTo>
                      <a:pt x="16" y="17"/>
                    </a:lnTo>
                    <a:lnTo>
                      <a:pt x="17" y="17"/>
                    </a:lnTo>
                    <a:lnTo>
                      <a:pt x="17" y="15"/>
                    </a:lnTo>
                    <a:lnTo>
                      <a:pt x="19" y="15"/>
                    </a:lnTo>
                    <a:lnTo>
                      <a:pt x="19" y="15"/>
                    </a:lnTo>
                    <a:lnTo>
                      <a:pt x="21" y="15"/>
                    </a:lnTo>
                    <a:lnTo>
                      <a:pt x="25" y="18"/>
                    </a:lnTo>
                    <a:lnTo>
                      <a:pt x="25" y="20"/>
                    </a:lnTo>
                    <a:lnTo>
                      <a:pt x="25" y="22"/>
                    </a:lnTo>
                    <a:lnTo>
                      <a:pt x="25" y="23"/>
                    </a:lnTo>
                    <a:lnTo>
                      <a:pt x="25" y="23"/>
                    </a:lnTo>
                    <a:lnTo>
                      <a:pt x="27" y="23"/>
                    </a:lnTo>
                    <a:lnTo>
                      <a:pt x="28" y="23"/>
                    </a:lnTo>
                    <a:lnTo>
                      <a:pt x="30" y="23"/>
                    </a:lnTo>
                    <a:lnTo>
                      <a:pt x="31" y="22"/>
                    </a:lnTo>
                    <a:lnTo>
                      <a:pt x="31" y="22"/>
                    </a:lnTo>
                    <a:lnTo>
                      <a:pt x="33" y="23"/>
                    </a:lnTo>
                    <a:lnTo>
                      <a:pt x="33" y="23"/>
                    </a:lnTo>
                    <a:lnTo>
                      <a:pt x="33" y="25"/>
                    </a:lnTo>
                    <a:lnTo>
                      <a:pt x="33" y="28"/>
                    </a:lnTo>
                    <a:lnTo>
                      <a:pt x="33" y="28"/>
                    </a:lnTo>
                    <a:lnTo>
                      <a:pt x="35" y="26"/>
                    </a:lnTo>
                    <a:lnTo>
                      <a:pt x="36" y="26"/>
                    </a:lnTo>
                    <a:lnTo>
                      <a:pt x="36" y="26"/>
                    </a:lnTo>
                    <a:lnTo>
                      <a:pt x="36" y="23"/>
                    </a:lnTo>
                    <a:lnTo>
                      <a:pt x="36" y="20"/>
                    </a:lnTo>
                    <a:lnTo>
                      <a:pt x="36" y="20"/>
                    </a:lnTo>
                    <a:lnTo>
                      <a:pt x="30" y="15"/>
                    </a:lnTo>
                    <a:lnTo>
                      <a:pt x="28" y="15"/>
                    </a:lnTo>
                    <a:lnTo>
                      <a:pt x="27" y="14"/>
                    </a:lnTo>
                    <a:lnTo>
                      <a:pt x="27" y="12"/>
                    </a:lnTo>
                    <a:lnTo>
                      <a:pt x="28" y="12"/>
                    </a:lnTo>
                    <a:lnTo>
                      <a:pt x="30" y="11"/>
                    </a:lnTo>
                    <a:lnTo>
                      <a:pt x="35" y="11"/>
                    </a:lnTo>
                    <a:lnTo>
                      <a:pt x="35" y="11"/>
                    </a:lnTo>
                    <a:lnTo>
                      <a:pt x="35" y="11"/>
                    </a:lnTo>
                    <a:lnTo>
                      <a:pt x="33" y="9"/>
                    </a:lnTo>
                    <a:lnTo>
                      <a:pt x="31" y="9"/>
                    </a:lnTo>
                    <a:lnTo>
                      <a:pt x="31" y="7"/>
                    </a:lnTo>
                    <a:lnTo>
                      <a:pt x="30" y="9"/>
                    </a:lnTo>
                    <a:lnTo>
                      <a:pt x="27" y="9"/>
                    </a:lnTo>
                    <a:lnTo>
                      <a:pt x="24" y="7"/>
                    </a:lnTo>
                    <a:lnTo>
                      <a:pt x="24" y="7"/>
                    </a:lnTo>
                    <a:lnTo>
                      <a:pt x="25" y="6"/>
                    </a:lnTo>
                    <a:lnTo>
                      <a:pt x="27" y="4"/>
                    </a:lnTo>
                    <a:lnTo>
                      <a:pt x="28" y="3"/>
                    </a:lnTo>
                    <a:lnTo>
                      <a:pt x="31" y="4"/>
                    </a:lnTo>
                    <a:lnTo>
                      <a:pt x="35" y="3"/>
                    </a:lnTo>
                    <a:lnTo>
                      <a:pt x="36" y="4"/>
                    </a:lnTo>
                    <a:lnTo>
                      <a:pt x="38" y="6"/>
                    </a:lnTo>
                    <a:lnTo>
                      <a:pt x="41" y="9"/>
                    </a:lnTo>
                    <a:lnTo>
                      <a:pt x="44" y="11"/>
                    </a:lnTo>
                    <a:lnTo>
                      <a:pt x="44" y="12"/>
                    </a:lnTo>
                    <a:lnTo>
                      <a:pt x="47" y="14"/>
                    </a:lnTo>
                    <a:lnTo>
                      <a:pt x="50" y="18"/>
                    </a:lnTo>
                    <a:lnTo>
                      <a:pt x="53" y="22"/>
                    </a:lnTo>
                    <a:lnTo>
                      <a:pt x="55" y="22"/>
                    </a:lnTo>
                    <a:lnTo>
                      <a:pt x="53" y="23"/>
                    </a:lnTo>
                    <a:lnTo>
                      <a:pt x="52" y="23"/>
                    </a:lnTo>
                    <a:lnTo>
                      <a:pt x="52" y="25"/>
                    </a:lnTo>
                    <a:lnTo>
                      <a:pt x="55" y="25"/>
                    </a:lnTo>
                    <a:lnTo>
                      <a:pt x="57" y="26"/>
                    </a:lnTo>
                    <a:lnTo>
                      <a:pt x="57" y="28"/>
                    </a:lnTo>
                    <a:lnTo>
                      <a:pt x="55" y="31"/>
                    </a:lnTo>
                    <a:lnTo>
                      <a:pt x="55" y="34"/>
                    </a:lnTo>
                    <a:lnTo>
                      <a:pt x="53" y="34"/>
                    </a:lnTo>
                    <a:lnTo>
                      <a:pt x="53" y="36"/>
                    </a:lnTo>
                    <a:lnTo>
                      <a:pt x="50" y="34"/>
                    </a:lnTo>
                    <a:lnTo>
                      <a:pt x="50" y="36"/>
                    </a:lnTo>
                    <a:lnTo>
                      <a:pt x="53" y="39"/>
                    </a:lnTo>
                    <a:lnTo>
                      <a:pt x="53" y="39"/>
                    </a:lnTo>
                    <a:lnTo>
                      <a:pt x="53" y="40"/>
                    </a:lnTo>
                    <a:lnTo>
                      <a:pt x="53" y="40"/>
                    </a:lnTo>
                    <a:lnTo>
                      <a:pt x="55" y="40"/>
                    </a:lnTo>
                    <a:lnTo>
                      <a:pt x="55" y="40"/>
                    </a:lnTo>
                    <a:lnTo>
                      <a:pt x="55" y="42"/>
                    </a:lnTo>
                    <a:lnTo>
                      <a:pt x="55" y="43"/>
                    </a:lnTo>
                    <a:lnTo>
                      <a:pt x="53" y="45"/>
                    </a:lnTo>
                    <a:lnTo>
                      <a:pt x="53" y="45"/>
                    </a:lnTo>
                    <a:lnTo>
                      <a:pt x="55" y="45"/>
                    </a:lnTo>
                    <a:lnTo>
                      <a:pt x="57" y="45"/>
                    </a:lnTo>
                    <a:lnTo>
                      <a:pt x="57" y="47"/>
                    </a:lnTo>
                    <a:lnTo>
                      <a:pt x="58" y="53"/>
                    </a:lnTo>
                    <a:lnTo>
                      <a:pt x="60" y="54"/>
                    </a:lnTo>
                    <a:lnTo>
                      <a:pt x="60" y="53"/>
                    </a:lnTo>
                    <a:lnTo>
                      <a:pt x="60" y="48"/>
                    </a:lnTo>
                    <a:lnTo>
                      <a:pt x="61" y="47"/>
                    </a:lnTo>
                    <a:lnTo>
                      <a:pt x="61" y="47"/>
                    </a:lnTo>
                    <a:lnTo>
                      <a:pt x="61" y="47"/>
                    </a:lnTo>
                    <a:lnTo>
                      <a:pt x="61" y="45"/>
                    </a:lnTo>
                    <a:lnTo>
                      <a:pt x="63" y="40"/>
                    </a:lnTo>
                    <a:lnTo>
                      <a:pt x="64" y="39"/>
                    </a:lnTo>
                    <a:lnTo>
                      <a:pt x="66" y="37"/>
                    </a:lnTo>
                    <a:lnTo>
                      <a:pt x="67" y="37"/>
                    </a:lnTo>
                    <a:lnTo>
                      <a:pt x="67" y="37"/>
                    </a:lnTo>
                    <a:lnTo>
                      <a:pt x="69" y="40"/>
                    </a:lnTo>
                    <a:lnTo>
                      <a:pt x="71" y="40"/>
                    </a:lnTo>
                    <a:lnTo>
                      <a:pt x="71" y="40"/>
                    </a:lnTo>
                    <a:lnTo>
                      <a:pt x="72" y="39"/>
                    </a:lnTo>
                    <a:lnTo>
                      <a:pt x="72" y="34"/>
                    </a:lnTo>
                    <a:lnTo>
                      <a:pt x="72" y="31"/>
                    </a:lnTo>
                    <a:lnTo>
                      <a:pt x="72" y="29"/>
                    </a:lnTo>
                    <a:lnTo>
                      <a:pt x="72" y="25"/>
                    </a:lnTo>
                    <a:lnTo>
                      <a:pt x="72" y="22"/>
                    </a:lnTo>
                    <a:lnTo>
                      <a:pt x="74" y="18"/>
                    </a:lnTo>
                    <a:lnTo>
                      <a:pt x="75" y="18"/>
                    </a:lnTo>
                    <a:lnTo>
                      <a:pt x="77" y="18"/>
                    </a:lnTo>
                    <a:lnTo>
                      <a:pt x="78" y="20"/>
                    </a:lnTo>
                    <a:lnTo>
                      <a:pt x="82" y="26"/>
                    </a:lnTo>
                    <a:lnTo>
                      <a:pt x="83" y="28"/>
                    </a:lnTo>
                    <a:lnTo>
                      <a:pt x="85" y="31"/>
                    </a:lnTo>
                    <a:lnTo>
                      <a:pt x="85" y="31"/>
                    </a:lnTo>
                    <a:lnTo>
                      <a:pt x="86" y="33"/>
                    </a:lnTo>
                    <a:lnTo>
                      <a:pt x="88" y="33"/>
                    </a:lnTo>
                    <a:lnTo>
                      <a:pt x="88" y="33"/>
                    </a:lnTo>
                    <a:lnTo>
                      <a:pt x="89" y="31"/>
                    </a:lnTo>
                    <a:lnTo>
                      <a:pt x="89" y="31"/>
                    </a:lnTo>
                    <a:lnTo>
                      <a:pt x="89" y="31"/>
                    </a:lnTo>
                    <a:lnTo>
                      <a:pt x="88" y="23"/>
                    </a:lnTo>
                    <a:lnTo>
                      <a:pt x="89" y="22"/>
                    </a:lnTo>
                    <a:lnTo>
                      <a:pt x="89" y="20"/>
                    </a:lnTo>
                    <a:lnTo>
                      <a:pt x="92" y="18"/>
                    </a:lnTo>
                    <a:lnTo>
                      <a:pt x="94" y="17"/>
                    </a:lnTo>
                    <a:lnTo>
                      <a:pt x="97" y="15"/>
                    </a:lnTo>
                    <a:lnTo>
                      <a:pt x="97" y="15"/>
                    </a:lnTo>
                    <a:lnTo>
                      <a:pt x="99" y="15"/>
                    </a:lnTo>
                    <a:lnTo>
                      <a:pt x="100" y="15"/>
                    </a:lnTo>
                    <a:lnTo>
                      <a:pt x="102" y="17"/>
                    </a:lnTo>
                    <a:lnTo>
                      <a:pt x="103" y="20"/>
                    </a:lnTo>
                    <a:lnTo>
                      <a:pt x="107" y="25"/>
                    </a:lnTo>
                    <a:lnTo>
                      <a:pt x="110" y="28"/>
                    </a:lnTo>
                    <a:lnTo>
                      <a:pt x="110" y="31"/>
                    </a:lnTo>
                    <a:lnTo>
                      <a:pt x="111" y="33"/>
                    </a:lnTo>
                    <a:lnTo>
                      <a:pt x="111" y="34"/>
                    </a:lnTo>
                    <a:lnTo>
                      <a:pt x="111" y="34"/>
                    </a:lnTo>
                    <a:lnTo>
                      <a:pt x="111" y="33"/>
                    </a:lnTo>
                    <a:lnTo>
                      <a:pt x="113" y="33"/>
                    </a:lnTo>
                    <a:lnTo>
                      <a:pt x="113" y="31"/>
                    </a:lnTo>
                    <a:lnTo>
                      <a:pt x="113" y="29"/>
                    </a:lnTo>
                    <a:lnTo>
                      <a:pt x="111" y="26"/>
                    </a:lnTo>
                    <a:lnTo>
                      <a:pt x="108" y="18"/>
                    </a:lnTo>
                    <a:lnTo>
                      <a:pt x="108" y="17"/>
                    </a:lnTo>
                    <a:lnTo>
                      <a:pt x="108" y="15"/>
                    </a:lnTo>
                    <a:lnTo>
                      <a:pt x="111" y="15"/>
                    </a:lnTo>
                    <a:lnTo>
                      <a:pt x="116" y="17"/>
                    </a:lnTo>
                    <a:lnTo>
                      <a:pt x="117" y="17"/>
                    </a:lnTo>
                    <a:lnTo>
                      <a:pt x="121" y="23"/>
                    </a:lnTo>
                    <a:lnTo>
                      <a:pt x="121" y="23"/>
                    </a:lnTo>
                    <a:lnTo>
                      <a:pt x="122" y="25"/>
                    </a:lnTo>
                    <a:lnTo>
                      <a:pt x="122" y="23"/>
                    </a:lnTo>
                    <a:lnTo>
                      <a:pt x="124" y="23"/>
                    </a:lnTo>
                    <a:lnTo>
                      <a:pt x="124" y="22"/>
                    </a:lnTo>
                    <a:lnTo>
                      <a:pt x="125" y="18"/>
                    </a:lnTo>
                    <a:lnTo>
                      <a:pt x="128" y="14"/>
                    </a:lnTo>
                    <a:lnTo>
                      <a:pt x="130" y="14"/>
                    </a:lnTo>
                    <a:lnTo>
                      <a:pt x="130" y="14"/>
                    </a:lnTo>
                    <a:lnTo>
                      <a:pt x="132" y="15"/>
                    </a:lnTo>
                    <a:lnTo>
                      <a:pt x="133" y="17"/>
                    </a:lnTo>
                    <a:lnTo>
                      <a:pt x="135" y="17"/>
                    </a:lnTo>
                    <a:lnTo>
                      <a:pt x="136" y="17"/>
                    </a:lnTo>
                    <a:lnTo>
                      <a:pt x="138" y="15"/>
                    </a:lnTo>
                    <a:lnTo>
                      <a:pt x="141" y="14"/>
                    </a:lnTo>
                    <a:lnTo>
                      <a:pt x="141" y="12"/>
                    </a:lnTo>
                    <a:lnTo>
                      <a:pt x="141" y="11"/>
                    </a:lnTo>
                    <a:lnTo>
                      <a:pt x="139" y="3"/>
                    </a:lnTo>
                    <a:lnTo>
                      <a:pt x="141" y="1"/>
                    </a:lnTo>
                    <a:lnTo>
                      <a:pt x="144" y="0"/>
                    </a:lnTo>
                    <a:lnTo>
                      <a:pt x="149" y="0"/>
                    </a:lnTo>
                    <a:lnTo>
                      <a:pt x="149" y="0"/>
                    </a:lnTo>
                    <a:lnTo>
                      <a:pt x="152" y="4"/>
                    </a:lnTo>
                    <a:lnTo>
                      <a:pt x="153" y="6"/>
                    </a:lnTo>
                    <a:lnTo>
                      <a:pt x="153" y="7"/>
                    </a:lnTo>
                    <a:lnTo>
                      <a:pt x="155" y="11"/>
                    </a:lnTo>
                    <a:lnTo>
                      <a:pt x="155" y="11"/>
                    </a:lnTo>
                    <a:lnTo>
                      <a:pt x="157" y="12"/>
                    </a:lnTo>
                    <a:lnTo>
                      <a:pt x="160" y="12"/>
                    </a:lnTo>
                    <a:lnTo>
                      <a:pt x="163" y="11"/>
                    </a:lnTo>
                    <a:lnTo>
                      <a:pt x="164" y="11"/>
                    </a:lnTo>
                    <a:lnTo>
                      <a:pt x="168" y="7"/>
                    </a:lnTo>
                    <a:lnTo>
                      <a:pt x="169" y="6"/>
                    </a:lnTo>
                    <a:lnTo>
                      <a:pt x="172" y="6"/>
                    </a:lnTo>
                    <a:lnTo>
                      <a:pt x="174" y="6"/>
                    </a:lnTo>
                    <a:lnTo>
                      <a:pt x="174" y="6"/>
                    </a:lnTo>
                    <a:lnTo>
                      <a:pt x="172" y="7"/>
                    </a:lnTo>
                    <a:lnTo>
                      <a:pt x="171" y="7"/>
                    </a:lnTo>
                    <a:lnTo>
                      <a:pt x="168" y="11"/>
                    </a:lnTo>
                    <a:lnTo>
                      <a:pt x="166" y="15"/>
                    </a:lnTo>
                    <a:lnTo>
                      <a:pt x="164" y="17"/>
                    </a:lnTo>
                    <a:lnTo>
                      <a:pt x="164" y="18"/>
                    </a:lnTo>
                    <a:lnTo>
                      <a:pt x="166" y="20"/>
                    </a:lnTo>
                    <a:lnTo>
                      <a:pt x="169" y="22"/>
                    </a:lnTo>
                    <a:lnTo>
                      <a:pt x="171" y="20"/>
                    </a:lnTo>
                    <a:lnTo>
                      <a:pt x="171" y="20"/>
                    </a:lnTo>
                    <a:lnTo>
                      <a:pt x="172" y="22"/>
                    </a:lnTo>
                    <a:lnTo>
                      <a:pt x="172" y="23"/>
                    </a:lnTo>
                    <a:lnTo>
                      <a:pt x="172" y="25"/>
                    </a:lnTo>
                    <a:lnTo>
                      <a:pt x="172" y="26"/>
                    </a:lnTo>
                    <a:lnTo>
                      <a:pt x="171" y="29"/>
                    </a:lnTo>
                    <a:lnTo>
                      <a:pt x="169" y="31"/>
                    </a:lnTo>
                    <a:lnTo>
                      <a:pt x="169" y="33"/>
                    </a:lnTo>
                    <a:lnTo>
                      <a:pt x="169" y="33"/>
                    </a:lnTo>
                    <a:lnTo>
                      <a:pt x="171" y="33"/>
                    </a:lnTo>
                    <a:lnTo>
                      <a:pt x="177" y="31"/>
                    </a:lnTo>
                    <a:lnTo>
                      <a:pt x="177" y="31"/>
                    </a:lnTo>
                    <a:lnTo>
                      <a:pt x="177" y="33"/>
                    </a:lnTo>
                    <a:lnTo>
                      <a:pt x="177" y="34"/>
                    </a:lnTo>
                    <a:lnTo>
                      <a:pt x="178" y="36"/>
                    </a:lnTo>
                    <a:lnTo>
                      <a:pt x="178" y="36"/>
                    </a:lnTo>
                    <a:lnTo>
                      <a:pt x="178" y="37"/>
                    </a:lnTo>
                    <a:lnTo>
                      <a:pt x="175" y="40"/>
                    </a:lnTo>
                    <a:lnTo>
                      <a:pt x="178" y="39"/>
                    </a:lnTo>
                    <a:lnTo>
                      <a:pt x="182" y="37"/>
                    </a:lnTo>
                    <a:lnTo>
                      <a:pt x="185" y="39"/>
                    </a:lnTo>
                    <a:lnTo>
                      <a:pt x="186" y="40"/>
                    </a:lnTo>
                    <a:lnTo>
                      <a:pt x="188" y="42"/>
                    </a:lnTo>
                    <a:lnTo>
                      <a:pt x="189" y="42"/>
                    </a:lnTo>
                    <a:lnTo>
                      <a:pt x="189" y="42"/>
                    </a:lnTo>
                    <a:lnTo>
                      <a:pt x="191" y="43"/>
                    </a:lnTo>
                    <a:lnTo>
                      <a:pt x="191" y="45"/>
                    </a:lnTo>
                    <a:lnTo>
                      <a:pt x="191" y="47"/>
                    </a:lnTo>
                    <a:lnTo>
                      <a:pt x="189" y="48"/>
                    </a:lnTo>
                    <a:lnTo>
                      <a:pt x="189" y="48"/>
                    </a:lnTo>
                    <a:lnTo>
                      <a:pt x="188" y="50"/>
                    </a:lnTo>
                    <a:lnTo>
                      <a:pt x="188" y="50"/>
                    </a:lnTo>
                    <a:lnTo>
                      <a:pt x="188" y="51"/>
                    </a:lnTo>
                    <a:lnTo>
                      <a:pt x="189" y="53"/>
                    </a:lnTo>
                    <a:lnTo>
                      <a:pt x="191" y="53"/>
                    </a:lnTo>
                    <a:lnTo>
                      <a:pt x="191" y="53"/>
                    </a:lnTo>
                    <a:lnTo>
                      <a:pt x="191" y="54"/>
                    </a:lnTo>
                    <a:lnTo>
                      <a:pt x="191" y="54"/>
                    </a:lnTo>
                    <a:lnTo>
                      <a:pt x="189" y="56"/>
                    </a:lnTo>
                    <a:lnTo>
                      <a:pt x="189" y="56"/>
                    </a:lnTo>
                    <a:lnTo>
                      <a:pt x="188" y="58"/>
                    </a:lnTo>
                    <a:lnTo>
                      <a:pt x="191" y="59"/>
                    </a:lnTo>
                    <a:lnTo>
                      <a:pt x="193" y="5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5" name="Freeform 102">
                <a:extLst>
                  <a:ext uri="{FF2B5EF4-FFF2-40B4-BE49-F238E27FC236}">
                    <a16:creationId xmlns:a16="http://schemas.microsoft.com/office/drawing/2014/main" id="{1C77F218-53BF-A85A-84DC-669B6CD41A7B}"/>
                  </a:ext>
                </a:extLst>
              </p:cNvPr>
              <p:cNvSpPr>
                <a:spLocks noEditPoints="1"/>
              </p:cNvSpPr>
              <p:nvPr/>
            </p:nvSpPr>
            <p:spPr bwMode="gray">
              <a:xfrm>
                <a:off x="2791" y="642"/>
                <a:ext cx="208" cy="245"/>
              </a:xfrm>
              <a:custGeom>
                <a:avLst/>
                <a:gdLst>
                  <a:gd name="T0" fmla="*/ 153 w 208"/>
                  <a:gd name="T1" fmla="*/ 211 h 245"/>
                  <a:gd name="T2" fmla="*/ 137 w 208"/>
                  <a:gd name="T3" fmla="*/ 216 h 245"/>
                  <a:gd name="T4" fmla="*/ 117 w 208"/>
                  <a:gd name="T5" fmla="*/ 212 h 245"/>
                  <a:gd name="T6" fmla="*/ 105 w 208"/>
                  <a:gd name="T7" fmla="*/ 216 h 245"/>
                  <a:gd name="T8" fmla="*/ 116 w 208"/>
                  <a:gd name="T9" fmla="*/ 228 h 245"/>
                  <a:gd name="T10" fmla="*/ 139 w 208"/>
                  <a:gd name="T11" fmla="*/ 242 h 245"/>
                  <a:gd name="T12" fmla="*/ 150 w 208"/>
                  <a:gd name="T13" fmla="*/ 241 h 245"/>
                  <a:gd name="T14" fmla="*/ 148 w 208"/>
                  <a:gd name="T15" fmla="*/ 228 h 245"/>
                  <a:gd name="T16" fmla="*/ 33 w 208"/>
                  <a:gd name="T17" fmla="*/ 192 h 245"/>
                  <a:gd name="T18" fmla="*/ 128 w 208"/>
                  <a:gd name="T19" fmla="*/ 155 h 245"/>
                  <a:gd name="T20" fmla="*/ 30 w 208"/>
                  <a:gd name="T21" fmla="*/ 147 h 245"/>
                  <a:gd name="T22" fmla="*/ 51 w 208"/>
                  <a:gd name="T23" fmla="*/ 147 h 245"/>
                  <a:gd name="T24" fmla="*/ 36 w 208"/>
                  <a:gd name="T25" fmla="*/ 151 h 245"/>
                  <a:gd name="T26" fmla="*/ 30 w 208"/>
                  <a:gd name="T27" fmla="*/ 159 h 245"/>
                  <a:gd name="T28" fmla="*/ 34 w 208"/>
                  <a:gd name="T29" fmla="*/ 175 h 245"/>
                  <a:gd name="T30" fmla="*/ 31 w 208"/>
                  <a:gd name="T31" fmla="*/ 189 h 245"/>
                  <a:gd name="T32" fmla="*/ 44 w 208"/>
                  <a:gd name="T33" fmla="*/ 189 h 245"/>
                  <a:gd name="T34" fmla="*/ 55 w 208"/>
                  <a:gd name="T35" fmla="*/ 169 h 245"/>
                  <a:gd name="T36" fmla="*/ 64 w 208"/>
                  <a:gd name="T37" fmla="*/ 106 h 245"/>
                  <a:gd name="T38" fmla="*/ 206 w 208"/>
                  <a:gd name="T39" fmla="*/ 162 h 245"/>
                  <a:gd name="T40" fmla="*/ 167 w 208"/>
                  <a:gd name="T41" fmla="*/ 131 h 245"/>
                  <a:gd name="T42" fmla="*/ 128 w 208"/>
                  <a:gd name="T43" fmla="*/ 105 h 245"/>
                  <a:gd name="T44" fmla="*/ 98 w 208"/>
                  <a:gd name="T45" fmla="*/ 59 h 245"/>
                  <a:gd name="T46" fmla="*/ 100 w 208"/>
                  <a:gd name="T47" fmla="*/ 42 h 245"/>
                  <a:gd name="T48" fmla="*/ 114 w 208"/>
                  <a:gd name="T49" fmla="*/ 34 h 245"/>
                  <a:gd name="T50" fmla="*/ 125 w 208"/>
                  <a:gd name="T51" fmla="*/ 34 h 245"/>
                  <a:gd name="T52" fmla="*/ 123 w 208"/>
                  <a:gd name="T53" fmla="*/ 25 h 245"/>
                  <a:gd name="T54" fmla="*/ 120 w 208"/>
                  <a:gd name="T55" fmla="*/ 18 h 245"/>
                  <a:gd name="T56" fmla="*/ 105 w 208"/>
                  <a:gd name="T57" fmla="*/ 11 h 245"/>
                  <a:gd name="T58" fmla="*/ 98 w 208"/>
                  <a:gd name="T59" fmla="*/ 0 h 245"/>
                  <a:gd name="T60" fmla="*/ 78 w 208"/>
                  <a:gd name="T61" fmla="*/ 6 h 245"/>
                  <a:gd name="T62" fmla="*/ 67 w 208"/>
                  <a:gd name="T63" fmla="*/ 6 h 245"/>
                  <a:gd name="T64" fmla="*/ 64 w 208"/>
                  <a:gd name="T65" fmla="*/ 14 h 245"/>
                  <a:gd name="T66" fmla="*/ 61 w 208"/>
                  <a:gd name="T67" fmla="*/ 20 h 245"/>
                  <a:gd name="T68" fmla="*/ 56 w 208"/>
                  <a:gd name="T69" fmla="*/ 18 h 245"/>
                  <a:gd name="T70" fmla="*/ 47 w 208"/>
                  <a:gd name="T71" fmla="*/ 15 h 245"/>
                  <a:gd name="T72" fmla="*/ 42 w 208"/>
                  <a:gd name="T73" fmla="*/ 31 h 245"/>
                  <a:gd name="T74" fmla="*/ 39 w 208"/>
                  <a:gd name="T75" fmla="*/ 26 h 245"/>
                  <a:gd name="T76" fmla="*/ 33 w 208"/>
                  <a:gd name="T77" fmla="*/ 17 h 245"/>
                  <a:gd name="T78" fmla="*/ 22 w 208"/>
                  <a:gd name="T79" fmla="*/ 29 h 245"/>
                  <a:gd name="T80" fmla="*/ 3 w 208"/>
                  <a:gd name="T81" fmla="*/ 33 h 245"/>
                  <a:gd name="T82" fmla="*/ 9 w 208"/>
                  <a:gd name="T83" fmla="*/ 43 h 245"/>
                  <a:gd name="T84" fmla="*/ 1 w 208"/>
                  <a:gd name="T85" fmla="*/ 51 h 245"/>
                  <a:gd name="T86" fmla="*/ 6 w 208"/>
                  <a:gd name="T87" fmla="*/ 61 h 245"/>
                  <a:gd name="T88" fmla="*/ 6 w 208"/>
                  <a:gd name="T89" fmla="*/ 70 h 245"/>
                  <a:gd name="T90" fmla="*/ 16 w 208"/>
                  <a:gd name="T91" fmla="*/ 81 h 245"/>
                  <a:gd name="T92" fmla="*/ 45 w 208"/>
                  <a:gd name="T93" fmla="*/ 70 h 245"/>
                  <a:gd name="T94" fmla="*/ 69 w 208"/>
                  <a:gd name="T95" fmla="*/ 101 h 245"/>
                  <a:gd name="T96" fmla="*/ 78 w 208"/>
                  <a:gd name="T97" fmla="*/ 115 h 245"/>
                  <a:gd name="T98" fmla="*/ 109 w 208"/>
                  <a:gd name="T99" fmla="*/ 139 h 245"/>
                  <a:gd name="T100" fmla="*/ 131 w 208"/>
                  <a:gd name="T101" fmla="*/ 151 h 245"/>
                  <a:gd name="T102" fmla="*/ 139 w 208"/>
                  <a:gd name="T103" fmla="*/ 158 h 245"/>
                  <a:gd name="T104" fmla="*/ 155 w 208"/>
                  <a:gd name="T105" fmla="*/ 170 h 245"/>
                  <a:gd name="T106" fmla="*/ 164 w 208"/>
                  <a:gd name="T107" fmla="*/ 200 h 245"/>
                  <a:gd name="T108" fmla="*/ 167 w 208"/>
                  <a:gd name="T109" fmla="*/ 214 h 245"/>
                  <a:gd name="T110" fmla="*/ 184 w 208"/>
                  <a:gd name="T111" fmla="*/ 186 h 245"/>
                  <a:gd name="T112" fmla="*/ 186 w 208"/>
                  <a:gd name="T113" fmla="*/ 161 h 245"/>
                  <a:gd name="T114" fmla="*/ 208 w 208"/>
                  <a:gd name="T115" fmla="*/ 169 h 245"/>
                  <a:gd name="T116" fmla="*/ 102 w 208"/>
                  <a:gd name="T117" fmla="*/ 7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8" h="245">
                    <a:moveTo>
                      <a:pt x="95" y="244"/>
                    </a:moveTo>
                    <a:lnTo>
                      <a:pt x="95" y="242"/>
                    </a:lnTo>
                    <a:lnTo>
                      <a:pt x="94" y="242"/>
                    </a:lnTo>
                    <a:lnTo>
                      <a:pt x="94" y="242"/>
                    </a:lnTo>
                    <a:lnTo>
                      <a:pt x="94" y="244"/>
                    </a:lnTo>
                    <a:lnTo>
                      <a:pt x="95" y="244"/>
                    </a:lnTo>
                    <a:lnTo>
                      <a:pt x="95" y="244"/>
                    </a:lnTo>
                    <a:lnTo>
                      <a:pt x="95" y="244"/>
                    </a:lnTo>
                    <a:close/>
                    <a:moveTo>
                      <a:pt x="158" y="209"/>
                    </a:moveTo>
                    <a:lnTo>
                      <a:pt x="156" y="209"/>
                    </a:lnTo>
                    <a:lnTo>
                      <a:pt x="153" y="211"/>
                    </a:lnTo>
                    <a:lnTo>
                      <a:pt x="152" y="211"/>
                    </a:lnTo>
                    <a:lnTo>
                      <a:pt x="152" y="211"/>
                    </a:lnTo>
                    <a:lnTo>
                      <a:pt x="150" y="212"/>
                    </a:lnTo>
                    <a:lnTo>
                      <a:pt x="150" y="212"/>
                    </a:lnTo>
                    <a:lnTo>
                      <a:pt x="147" y="212"/>
                    </a:lnTo>
                    <a:lnTo>
                      <a:pt x="144" y="212"/>
                    </a:lnTo>
                    <a:lnTo>
                      <a:pt x="144" y="212"/>
                    </a:lnTo>
                    <a:lnTo>
                      <a:pt x="142" y="212"/>
                    </a:lnTo>
                    <a:lnTo>
                      <a:pt x="141" y="214"/>
                    </a:lnTo>
                    <a:lnTo>
                      <a:pt x="139" y="216"/>
                    </a:lnTo>
                    <a:lnTo>
                      <a:pt x="137" y="216"/>
                    </a:lnTo>
                    <a:lnTo>
                      <a:pt x="134" y="216"/>
                    </a:lnTo>
                    <a:lnTo>
                      <a:pt x="131" y="216"/>
                    </a:lnTo>
                    <a:lnTo>
                      <a:pt x="128" y="216"/>
                    </a:lnTo>
                    <a:lnTo>
                      <a:pt x="127" y="217"/>
                    </a:lnTo>
                    <a:lnTo>
                      <a:pt x="125" y="217"/>
                    </a:lnTo>
                    <a:lnTo>
                      <a:pt x="123" y="216"/>
                    </a:lnTo>
                    <a:lnTo>
                      <a:pt x="120" y="214"/>
                    </a:lnTo>
                    <a:lnTo>
                      <a:pt x="120" y="214"/>
                    </a:lnTo>
                    <a:lnTo>
                      <a:pt x="119" y="214"/>
                    </a:lnTo>
                    <a:lnTo>
                      <a:pt x="119" y="212"/>
                    </a:lnTo>
                    <a:lnTo>
                      <a:pt x="117" y="212"/>
                    </a:lnTo>
                    <a:lnTo>
                      <a:pt x="116" y="212"/>
                    </a:lnTo>
                    <a:lnTo>
                      <a:pt x="112" y="214"/>
                    </a:lnTo>
                    <a:lnTo>
                      <a:pt x="112" y="214"/>
                    </a:lnTo>
                    <a:lnTo>
                      <a:pt x="111" y="216"/>
                    </a:lnTo>
                    <a:lnTo>
                      <a:pt x="111" y="216"/>
                    </a:lnTo>
                    <a:lnTo>
                      <a:pt x="109" y="216"/>
                    </a:lnTo>
                    <a:lnTo>
                      <a:pt x="108" y="212"/>
                    </a:lnTo>
                    <a:lnTo>
                      <a:pt x="106" y="212"/>
                    </a:lnTo>
                    <a:lnTo>
                      <a:pt x="106" y="214"/>
                    </a:lnTo>
                    <a:lnTo>
                      <a:pt x="105" y="214"/>
                    </a:lnTo>
                    <a:lnTo>
                      <a:pt x="105" y="216"/>
                    </a:lnTo>
                    <a:lnTo>
                      <a:pt x="103" y="217"/>
                    </a:lnTo>
                    <a:lnTo>
                      <a:pt x="102" y="220"/>
                    </a:lnTo>
                    <a:lnTo>
                      <a:pt x="103" y="222"/>
                    </a:lnTo>
                    <a:lnTo>
                      <a:pt x="103" y="223"/>
                    </a:lnTo>
                    <a:lnTo>
                      <a:pt x="106" y="225"/>
                    </a:lnTo>
                    <a:lnTo>
                      <a:pt x="106" y="227"/>
                    </a:lnTo>
                    <a:lnTo>
                      <a:pt x="108" y="227"/>
                    </a:lnTo>
                    <a:lnTo>
                      <a:pt x="109" y="227"/>
                    </a:lnTo>
                    <a:lnTo>
                      <a:pt x="111" y="227"/>
                    </a:lnTo>
                    <a:lnTo>
                      <a:pt x="112" y="227"/>
                    </a:lnTo>
                    <a:lnTo>
                      <a:pt x="116" y="228"/>
                    </a:lnTo>
                    <a:lnTo>
                      <a:pt x="116" y="228"/>
                    </a:lnTo>
                    <a:lnTo>
                      <a:pt x="117" y="230"/>
                    </a:lnTo>
                    <a:lnTo>
                      <a:pt x="119" y="231"/>
                    </a:lnTo>
                    <a:lnTo>
                      <a:pt x="122" y="233"/>
                    </a:lnTo>
                    <a:lnTo>
                      <a:pt x="127" y="236"/>
                    </a:lnTo>
                    <a:lnTo>
                      <a:pt x="128" y="236"/>
                    </a:lnTo>
                    <a:lnTo>
                      <a:pt x="130" y="236"/>
                    </a:lnTo>
                    <a:lnTo>
                      <a:pt x="133" y="236"/>
                    </a:lnTo>
                    <a:lnTo>
                      <a:pt x="134" y="238"/>
                    </a:lnTo>
                    <a:lnTo>
                      <a:pt x="136" y="239"/>
                    </a:lnTo>
                    <a:lnTo>
                      <a:pt x="139" y="242"/>
                    </a:lnTo>
                    <a:lnTo>
                      <a:pt x="139" y="244"/>
                    </a:lnTo>
                    <a:lnTo>
                      <a:pt x="141" y="244"/>
                    </a:lnTo>
                    <a:lnTo>
                      <a:pt x="144" y="245"/>
                    </a:lnTo>
                    <a:lnTo>
                      <a:pt x="145" y="244"/>
                    </a:lnTo>
                    <a:lnTo>
                      <a:pt x="147" y="245"/>
                    </a:lnTo>
                    <a:lnTo>
                      <a:pt x="148" y="245"/>
                    </a:lnTo>
                    <a:lnTo>
                      <a:pt x="148" y="244"/>
                    </a:lnTo>
                    <a:lnTo>
                      <a:pt x="148" y="244"/>
                    </a:lnTo>
                    <a:lnTo>
                      <a:pt x="148" y="242"/>
                    </a:lnTo>
                    <a:lnTo>
                      <a:pt x="150" y="241"/>
                    </a:lnTo>
                    <a:lnTo>
                      <a:pt x="150" y="241"/>
                    </a:lnTo>
                    <a:lnTo>
                      <a:pt x="152" y="238"/>
                    </a:lnTo>
                    <a:lnTo>
                      <a:pt x="153" y="238"/>
                    </a:lnTo>
                    <a:lnTo>
                      <a:pt x="152" y="236"/>
                    </a:lnTo>
                    <a:lnTo>
                      <a:pt x="152" y="236"/>
                    </a:lnTo>
                    <a:lnTo>
                      <a:pt x="150" y="234"/>
                    </a:lnTo>
                    <a:lnTo>
                      <a:pt x="152" y="233"/>
                    </a:lnTo>
                    <a:lnTo>
                      <a:pt x="150" y="233"/>
                    </a:lnTo>
                    <a:lnTo>
                      <a:pt x="150" y="231"/>
                    </a:lnTo>
                    <a:lnTo>
                      <a:pt x="148" y="231"/>
                    </a:lnTo>
                    <a:lnTo>
                      <a:pt x="148" y="230"/>
                    </a:lnTo>
                    <a:lnTo>
                      <a:pt x="148" y="228"/>
                    </a:lnTo>
                    <a:lnTo>
                      <a:pt x="150" y="227"/>
                    </a:lnTo>
                    <a:lnTo>
                      <a:pt x="150" y="225"/>
                    </a:lnTo>
                    <a:lnTo>
                      <a:pt x="150" y="223"/>
                    </a:lnTo>
                    <a:lnTo>
                      <a:pt x="152" y="222"/>
                    </a:lnTo>
                    <a:lnTo>
                      <a:pt x="152" y="222"/>
                    </a:lnTo>
                    <a:lnTo>
                      <a:pt x="156" y="216"/>
                    </a:lnTo>
                    <a:lnTo>
                      <a:pt x="156" y="214"/>
                    </a:lnTo>
                    <a:lnTo>
                      <a:pt x="158" y="211"/>
                    </a:lnTo>
                    <a:lnTo>
                      <a:pt x="158" y="211"/>
                    </a:lnTo>
                    <a:lnTo>
                      <a:pt x="158" y="209"/>
                    </a:lnTo>
                    <a:close/>
                    <a:moveTo>
                      <a:pt x="33" y="192"/>
                    </a:moveTo>
                    <a:lnTo>
                      <a:pt x="31" y="192"/>
                    </a:lnTo>
                    <a:lnTo>
                      <a:pt x="31" y="192"/>
                    </a:lnTo>
                    <a:lnTo>
                      <a:pt x="31" y="194"/>
                    </a:lnTo>
                    <a:lnTo>
                      <a:pt x="31" y="195"/>
                    </a:lnTo>
                    <a:lnTo>
                      <a:pt x="33" y="192"/>
                    </a:lnTo>
                    <a:lnTo>
                      <a:pt x="33" y="192"/>
                    </a:lnTo>
                    <a:close/>
                    <a:moveTo>
                      <a:pt x="128" y="155"/>
                    </a:moveTo>
                    <a:lnTo>
                      <a:pt x="127" y="155"/>
                    </a:lnTo>
                    <a:lnTo>
                      <a:pt x="127" y="155"/>
                    </a:lnTo>
                    <a:lnTo>
                      <a:pt x="128" y="156"/>
                    </a:lnTo>
                    <a:lnTo>
                      <a:pt x="128" y="155"/>
                    </a:lnTo>
                    <a:lnTo>
                      <a:pt x="130" y="155"/>
                    </a:lnTo>
                    <a:lnTo>
                      <a:pt x="130" y="155"/>
                    </a:lnTo>
                    <a:lnTo>
                      <a:pt x="128" y="155"/>
                    </a:lnTo>
                    <a:close/>
                    <a:moveTo>
                      <a:pt x="30" y="145"/>
                    </a:moveTo>
                    <a:lnTo>
                      <a:pt x="30" y="147"/>
                    </a:lnTo>
                    <a:lnTo>
                      <a:pt x="28" y="148"/>
                    </a:lnTo>
                    <a:lnTo>
                      <a:pt x="28" y="148"/>
                    </a:lnTo>
                    <a:lnTo>
                      <a:pt x="28" y="148"/>
                    </a:lnTo>
                    <a:lnTo>
                      <a:pt x="30" y="147"/>
                    </a:lnTo>
                    <a:lnTo>
                      <a:pt x="30" y="147"/>
                    </a:lnTo>
                    <a:lnTo>
                      <a:pt x="30" y="147"/>
                    </a:lnTo>
                    <a:lnTo>
                      <a:pt x="30" y="145"/>
                    </a:lnTo>
                    <a:close/>
                    <a:moveTo>
                      <a:pt x="56" y="159"/>
                    </a:moveTo>
                    <a:lnTo>
                      <a:pt x="53" y="153"/>
                    </a:lnTo>
                    <a:lnTo>
                      <a:pt x="53" y="151"/>
                    </a:lnTo>
                    <a:lnTo>
                      <a:pt x="51" y="150"/>
                    </a:lnTo>
                    <a:lnTo>
                      <a:pt x="51" y="150"/>
                    </a:lnTo>
                    <a:lnTo>
                      <a:pt x="51" y="148"/>
                    </a:lnTo>
                    <a:lnTo>
                      <a:pt x="53" y="148"/>
                    </a:lnTo>
                    <a:lnTo>
                      <a:pt x="53" y="148"/>
                    </a:lnTo>
                    <a:lnTo>
                      <a:pt x="51" y="148"/>
                    </a:lnTo>
                    <a:lnTo>
                      <a:pt x="51" y="147"/>
                    </a:lnTo>
                    <a:lnTo>
                      <a:pt x="50" y="145"/>
                    </a:lnTo>
                    <a:lnTo>
                      <a:pt x="50" y="145"/>
                    </a:lnTo>
                    <a:lnTo>
                      <a:pt x="48" y="144"/>
                    </a:lnTo>
                    <a:lnTo>
                      <a:pt x="47" y="144"/>
                    </a:lnTo>
                    <a:lnTo>
                      <a:pt x="45" y="142"/>
                    </a:lnTo>
                    <a:lnTo>
                      <a:pt x="45" y="142"/>
                    </a:lnTo>
                    <a:lnTo>
                      <a:pt x="45" y="144"/>
                    </a:lnTo>
                    <a:lnTo>
                      <a:pt x="44" y="145"/>
                    </a:lnTo>
                    <a:lnTo>
                      <a:pt x="42" y="145"/>
                    </a:lnTo>
                    <a:lnTo>
                      <a:pt x="39" y="150"/>
                    </a:lnTo>
                    <a:lnTo>
                      <a:pt x="36" y="151"/>
                    </a:lnTo>
                    <a:lnTo>
                      <a:pt x="34" y="151"/>
                    </a:lnTo>
                    <a:lnTo>
                      <a:pt x="33" y="151"/>
                    </a:lnTo>
                    <a:lnTo>
                      <a:pt x="31" y="151"/>
                    </a:lnTo>
                    <a:lnTo>
                      <a:pt x="30" y="151"/>
                    </a:lnTo>
                    <a:lnTo>
                      <a:pt x="28" y="150"/>
                    </a:lnTo>
                    <a:lnTo>
                      <a:pt x="28" y="150"/>
                    </a:lnTo>
                    <a:lnTo>
                      <a:pt x="28" y="151"/>
                    </a:lnTo>
                    <a:lnTo>
                      <a:pt x="28" y="153"/>
                    </a:lnTo>
                    <a:lnTo>
                      <a:pt x="28" y="156"/>
                    </a:lnTo>
                    <a:lnTo>
                      <a:pt x="28" y="158"/>
                    </a:lnTo>
                    <a:lnTo>
                      <a:pt x="30" y="159"/>
                    </a:lnTo>
                    <a:lnTo>
                      <a:pt x="31" y="159"/>
                    </a:lnTo>
                    <a:lnTo>
                      <a:pt x="31" y="161"/>
                    </a:lnTo>
                    <a:lnTo>
                      <a:pt x="31" y="164"/>
                    </a:lnTo>
                    <a:lnTo>
                      <a:pt x="33" y="164"/>
                    </a:lnTo>
                    <a:lnTo>
                      <a:pt x="33" y="169"/>
                    </a:lnTo>
                    <a:lnTo>
                      <a:pt x="33" y="170"/>
                    </a:lnTo>
                    <a:lnTo>
                      <a:pt x="31" y="170"/>
                    </a:lnTo>
                    <a:lnTo>
                      <a:pt x="31" y="172"/>
                    </a:lnTo>
                    <a:lnTo>
                      <a:pt x="31" y="173"/>
                    </a:lnTo>
                    <a:lnTo>
                      <a:pt x="33" y="173"/>
                    </a:lnTo>
                    <a:lnTo>
                      <a:pt x="34" y="175"/>
                    </a:lnTo>
                    <a:lnTo>
                      <a:pt x="34" y="177"/>
                    </a:lnTo>
                    <a:lnTo>
                      <a:pt x="34" y="178"/>
                    </a:lnTo>
                    <a:lnTo>
                      <a:pt x="33" y="178"/>
                    </a:lnTo>
                    <a:lnTo>
                      <a:pt x="33" y="177"/>
                    </a:lnTo>
                    <a:lnTo>
                      <a:pt x="33" y="178"/>
                    </a:lnTo>
                    <a:lnTo>
                      <a:pt x="33" y="180"/>
                    </a:lnTo>
                    <a:lnTo>
                      <a:pt x="33" y="181"/>
                    </a:lnTo>
                    <a:lnTo>
                      <a:pt x="31" y="183"/>
                    </a:lnTo>
                    <a:lnTo>
                      <a:pt x="31" y="183"/>
                    </a:lnTo>
                    <a:lnTo>
                      <a:pt x="31" y="187"/>
                    </a:lnTo>
                    <a:lnTo>
                      <a:pt x="31" y="189"/>
                    </a:lnTo>
                    <a:lnTo>
                      <a:pt x="33" y="192"/>
                    </a:lnTo>
                    <a:lnTo>
                      <a:pt x="34" y="194"/>
                    </a:lnTo>
                    <a:lnTo>
                      <a:pt x="34" y="195"/>
                    </a:lnTo>
                    <a:lnTo>
                      <a:pt x="36" y="195"/>
                    </a:lnTo>
                    <a:lnTo>
                      <a:pt x="37" y="195"/>
                    </a:lnTo>
                    <a:lnTo>
                      <a:pt x="39" y="197"/>
                    </a:lnTo>
                    <a:lnTo>
                      <a:pt x="39" y="195"/>
                    </a:lnTo>
                    <a:lnTo>
                      <a:pt x="41" y="195"/>
                    </a:lnTo>
                    <a:lnTo>
                      <a:pt x="42" y="194"/>
                    </a:lnTo>
                    <a:lnTo>
                      <a:pt x="42" y="189"/>
                    </a:lnTo>
                    <a:lnTo>
                      <a:pt x="44" y="189"/>
                    </a:lnTo>
                    <a:lnTo>
                      <a:pt x="44" y="189"/>
                    </a:lnTo>
                    <a:lnTo>
                      <a:pt x="45" y="189"/>
                    </a:lnTo>
                    <a:lnTo>
                      <a:pt x="47" y="189"/>
                    </a:lnTo>
                    <a:lnTo>
                      <a:pt x="48" y="191"/>
                    </a:lnTo>
                    <a:lnTo>
                      <a:pt x="50" y="191"/>
                    </a:lnTo>
                    <a:lnTo>
                      <a:pt x="51" y="191"/>
                    </a:lnTo>
                    <a:lnTo>
                      <a:pt x="51" y="189"/>
                    </a:lnTo>
                    <a:lnTo>
                      <a:pt x="53" y="186"/>
                    </a:lnTo>
                    <a:lnTo>
                      <a:pt x="55" y="173"/>
                    </a:lnTo>
                    <a:lnTo>
                      <a:pt x="55" y="170"/>
                    </a:lnTo>
                    <a:lnTo>
                      <a:pt x="55" y="169"/>
                    </a:lnTo>
                    <a:lnTo>
                      <a:pt x="53" y="167"/>
                    </a:lnTo>
                    <a:lnTo>
                      <a:pt x="53" y="166"/>
                    </a:lnTo>
                    <a:lnTo>
                      <a:pt x="55" y="162"/>
                    </a:lnTo>
                    <a:lnTo>
                      <a:pt x="56" y="161"/>
                    </a:lnTo>
                    <a:lnTo>
                      <a:pt x="56" y="159"/>
                    </a:lnTo>
                    <a:lnTo>
                      <a:pt x="56" y="159"/>
                    </a:lnTo>
                    <a:close/>
                    <a:moveTo>
                      <a:pt x="67" y="106"/>
                    </a:moveTo>
                    <a:lnTo>
                      <a:pt x="67" y="106"/>
                    </a:lnTo>
                    <a:lnTo>
                      <a:pt x="66" y="105"/>
                    </a:lnTo>
                    <a:lnTo>
                      <a:pt x="66" y="106"/>
                    </a:lnTo>
                    <a:lnTo>
                      <a:pt x="64" y="106"/>
                    </a:lnTo>
                    <a:lnTo>
                      <a:pt x="64" y="106"/>
                    </a:lnTo>
                    <a:lnTo>
                      <a:pt x="61" y="106"/>
                    </a:lnTo>
                    <a:lnTo>
                      <a:pt x="61" y="106"/>
                    </a:lnTo>
                    <a:lnTo>
                      <a:pt x="62" y="108"/>
                    </a:lnTo>
                    <a:lnTo>
                      <a:pt x="62" y="108"/>
                    </a:lnTo>
                    <a:lnTo>
                      <a:pt x="66" y="108"/>
                    </a:lnTo>
                    <a:lnTo>
                      <a:pt x="67" y="108"/>
                    </a:lnTo>
                    <a:lnTo>
                      <a:pt x="67" y="106"/>
                    </a:lnTo>
                    <a:lnTo>
                      <a:pt x="67" y="106"/>
                    </a:lnTo>
                    <a:close/>
                    <a:moveTo>
                      <a:pt x="208" y="167"/>
                    </a:moveTo>
                    <a:lnTo>
                      <a:pt x="206" y="162"/>
                    </a:lnTo>
                    <a:lnTo>
                      <a:pt x="200" y="158"/>
                    </a:lnTo>
                    <a:lnTo>
                      <a:pt x="198" y="156"/>
                    </a:lnTo>
                    <a:lnTo>
                      <a:pt x="191" y="151"/>
                    </a:lnTo>
                    <a:lnTo>
                      <a:pt x="188" y="148"/>
                    </a:lnTo>
                    <a:lnTo>
                      <a:pt x="184" y="147"/>
                    </a:lnTo>
                    <a:lnTo>
                      <a:pt x="175" y="144"/>
                    </a:lnTo>
                    <a:lnTo>
                      <a:pt x="166" y="139"/>
                    </a:lnTo>
                    <a:lnTo>
                      <a:pt x="162" y="136"/>
                    </a:lnTo>
                    <a:lnTo>
                      <a:pt x="162" y="134"/>
                    </a:lnTo>
                    <a:lnTo>
                      <a:pt x="166" y="133"/>
                    </a:lnTo>
                    <a:lnTo>
                      <a:pt x="167" y="131"/>
                    </a:lnTo>
                    <a:lnTo>
                      <a:pt x="169" y="130"/>
                    </a:lnTo>
                    <a:lnTo>
                      <a:pt x="167" y="128"/>
                    </a:lnTo>
                    <a:lnTo>
                      <a:pt x="166" y="126"/>
                    </a:lnTo>
                    <a:lnTo>
                      <a:pt x="164" y="126"/>
                    </a:lnTo>
                    <a:lnTo>
                      <a:pt x="155" y="126"/>
                    </a:lnTo>
                    <a:lnTo>
                      <a:pt x="150" y="126"/>
                    </a:lnTo>
                    <a:lnTo>
                      <a:pt x="145" y="123"/>
                    </a:lnTo>
                    <a:lnTo>
                      <a:pt x="139" y="119"/>
                    </a:lnTo>
                    <a:lnTo>
                      <a:pt x="133" y="112"/>
                    </a:lnTo>
                    <a:lnTo>
                      <a:pt x="130" y="109"/>
                    </a:lnTo>
                    <a:lnTo>
                      <a:pt x="128" y="105"/>
                    </a:lnTo>
                    <a:lnTo>
                      <a:pt x="127" y="97"/>
                    </a:lnTo>
                    <a:lnTo>
                      <a:pt x="125" y="92"/>
                    </a:lnTo>
                    <a:lnTo>
                      <a:pt x="122" y="87"/>
                    </a:lnTo>
                    <a:lnTo>
                      <a:pt x="120" y="87"/>
                    </a:lnTo>
                    <a:lnTo>
                      <a:pt x="117" y="84"/>
                    </a:lnTo>
                    <a:lnTo>
                      <a:pt x="111" y="79"/>
                    </a:lnTo>
                    <a:lnTo>
                      <a:pt x="106" y="78"/>
                    </a:lnTo>
                    <a:lnTo>
                      <a:pt x="103" y="73"/>
                    </a:lnTo>
                    <a:lnTo>
                      <a:pt x="102" y="72"/>
                    </a:lnTo>
                    <a:lnTo>
                      <a:pt x="100" y="67"/>
                    </a:lnTo>
                    <a:lnTo>
                      <a:pt x="98" y="59"/>
                    </a:lnTo>
                    <a:lnTo>
                      <a:pt x="100" y="56"/>
                    </a:lnTo>
                    <a:lnTo>
                      <a:pt x="100" y="56"/>
                    </a:lnTo>
                    <a:lnTo>
                      <a:pt x="102" y="58"/>
                    </a:lnTo>
                    <a:lnTo>
                      <a:pt x="103" y="56"/>
                    </a:lnTo>
                    <a:lnTo>
                      <a:pt x="103" y="54"/>
                    </a:lnTo>
                    <a:lnTo>
                      <a:pt x="103" y="53"/>
                    </a:lnTo>
                    <a:lnTo>
                      <a:pt x="102" y="51"/>
                    </a:lnTo>
                    <a:lnTo>
                      <a:pt x="100" y="48"/>
                    </a:lnTo>
                    <a:lnTo>
                      <a:pt x="98" y="47"/>
                    </a:lnTo>
                    <a:lnTo>
                      <a:pt x="98" y="43"/>
                    </a:lnTo>
                    <a:lnTo>
                      <a:pt x="100" y="42"/>
                    </a:lnTo>
                    <a:lnTo>
                      <a:pt x="100" y="40"/>
                    </a:lnTo>
                    <a:lnTo>
                      <a:pt x="103" y="39"/>
                    </a:lnTo>
                    <a:lnTo>
                      <a:pt x="105" y="39"/>
                    </a:lnTo>
                    <a:lnTo>
                      <a:pt x="102" y="40"/>
                    </a:lnTo>
                    <a:lnTo>
                      <a:pt x="103" y="40"/>
                    </a:lnTo>
                    <a:lnTo>
                      <a:pt x="105" y="40"/>
                    </a:lnTo>
                    <a:lnTo>
                      <a:pt x="108" y="39"/>
                    </a:lnTo>
                    <a:lnTo>
                      <a:pt x="111" y="37"/>
                    </a:lnTo>
                    <a:lnTo>
                      <a:pt x="112" y="37"/>
                    </a:lnTo>
                    <a:lnTo>
                      <a:pt x="114" y="36"/>
                    </a:lnTo>
                    <a:lnTo>
                      <a:pt x="114" y="34"/>
                    </a:lnTo>
                    <a:lnTo>
                      <a:pt x="116" y="34"/>
                    </a:lnTo>
                    <a:lnTo>
                      <a:pt x="120" y="36"/>
                    </a:lnTo>
                    <a:lnTo>
                      <a:pt x="122" y="34"/>
                    </a:lnTo>
                    <a:lnTo>
                      <a:pt x="123" y="34"/>
                    </a:lnTo>
                    <a:lnTo>
                      <a:pt x="127" y="37"/>
                    </a:lnTo>
                    <a:lnTo>
                      <a:pt x="125" y="37"/>
                    </a:lnTo>
                    <a:lnTo>
                      <a:pt x="125" y="39"/>
                    </a:lnTo>
                    <a:lnTo>
                      <a:pt x="127" y="37"/>
                    </a:lnTo>
                    <a:lnTo>
                      <a:pt x="128" y="37"/>
                    </a:lnTo>
                    <a:lnTo>
                      <a:pt x="127" y="36"/>
                    </a:lnTo>
                    <a:lnTo>
                      <a:pt x="125" y="34"/>
                    </a:lnTo>
                    <a:lnTo>
                      <a:pt x="123" y="33"/>
                    </a:lnTo>
                    <a:lnTo>
                      <a:pt x="122" y="33"/>
                    </a:lnTo>
                    <a:lnTo>
                      <a:pt x="122" y="33"/>
                    </a:lnTo>
                    <a:lnTo>
                      <a:pt x="123" y="28"/>
                    </a:lnTo>
                    <a:lnTo>
                      <a:pt x="122" y="28"/>
                    </a:lnTo>
                    <a:lnTo>
                      <a:pt x="120" y="28"/>
                    </a:lnTo>
                    <a:lnTo>
                      <a:pt x="120" y="28"/>
                    </a:lnTo>
                    <a:lnTo>
                      <a:pt x="120" y="28"/>
                    </a:lnTo>
                    <a:lnTo>
                      <a:pt x="120" y="26"/>
                    </a:lnTo>
                    <a:lnTo>
                      <a:pt x="122" y="25"/>
                    </a:lnTo>
                    <a:lnTo>
                      <a:pt x="123" y="25"/>
                    </a:lnTo>
                    <a:lnTo>
                      <a:pt x="123" y="23"/>
                    </a:lnTo>
                    <a:lnTo>
                      <a:pt x="123" y="23"/>
                    </a:lnTo>
                    <a:lnTo>
                      <a:pt x="122" y="23"/>
                    </a:lnTo>
                    <a:lnTo>
                      <a:pt x="120" y="22"/>
                    </a:lnTo>
                    <a:lnTo>
                      <a:pt x="120" y="22"/>
                    </a:lnTo>
                    <a:lnTo>
                      <a:pt x="119" y="22"/>
                    </a:lnTo>
                    <a:lnTo>
                      <a:pt x="119" y="22"/>
                    </a:lnTo>
                    <a:lnTo>
                      <a:pt x="119" y="22"/>
                    </a:lnTo>
                    <a:lnTo>
                      <a:pt x="119" y="22"/>
                    </a:lnTo>
                    <a:lnTo>
                      <a:pt x="119" y="20"/>
                    </a:lnTo>
                    <a:lnTo>
                      <a:pt x="120" y="18"/>
                    </a:lnTo>
                    <a:lnTo>
                      <a:pt x="122" y="17"/>
                    </a:lnTo>
                    <a:lnTo>
                      <a:pt x="122" y="17"/>
                    </a:lnTo>
                    <a:lnTo>
                      <a:pt x="123" y="17"/>
                    </a:lnTo>
                    <a:lnTo>
                      <a:pt x="123" y="15"/>
                    </a:lnTo>
                    <a:lnTo>
                      <a:pt x="125" y="14"/>
                    </a:lnTo>
                    <a:lnTo>
                      <a:pt x="120" y="14"/>
                    </a:lnTo>
                    <a:lnTo>
                      <a:pt x="119" y="14"/>
                    </a:lnTo>
                    <a:lnTo>
                      <a:pt x="116" y="14"/>
                    </a:lnTo>
                    <a:lnTo>
                      <a:pt x="109" y="12"/>
                    </a:lnTo>
                    <a:lnTo>
                      <a:pt x="106" y="11"/>
                    </a:lnTo>
                    <a:lnTo>
                      <a:pt x="105" y="11"/>
                    </a:lnTo>
                    <a:lnTo>
                      <a:pt x="103" y="11"/>
                    </a:lnTo>
                    <a:lnTo>
                      <a:pt x="103" y="11"/>
                    </a:lnTo>
                    <a:lnTo>
                      <a:pt x="102" y="11"/>
                    </a:lnTo>
                    <a:lnTo>
                      <a:pt x="102" y="9"/>
                    </a:lnTo>
                    <a:lnTo>
                      <a:pt x="100" y="9"/>
                    </a:lnTo>
                    <a:lnTo>
                      <a:pt x="100" y="6"/>
                    </a:lnTo>
                    <a:lnTo>
                      <a:pt x="97" y="4"/>
                    </a:lnTo>
                    <a:lnTo>
                      <a:pt x="97" y="3"/>
                    </a:lnTo>
                    <a:lnTo>
                      <a:pt x="97" y="1"/>
                    </a:lnTo>
                    <a:lnTo>
                      <a:pt x="98" y="1"/>
                    </a:lnTo>
                    <a:lnTo>
                      <a:pt x="98" y="0"/>
                    </a:lnTo>
                    <a:lnTo>
                      <a:pt x="98" y="0"/>
                    </a:lnTo>
                    <a:lnTo>
                      <a:pt x="97" y="0"/>
                    </a:lnTo>
                    <a:lnTo>
                      <a:pt x="94" y="1"/>
                    </a:lnTo>
                    <a:lnTo>
                      <a:pt x="91" y="3"/>
                    </a:lnTo>
                    <a:lnTo>
                      <a:pt x="89" y="3"/>
                    </a:lnTo>
                    <a:lnTo>
                      <a:pt x="87" y="3"/>
                    </a:lnTo>
                    <a:lnTo>
                      <a:pt x="86" y="3"/>
                    </a:lnTo>
                    <a:lnTo>
                      <a:pt x="84" y="3"/>
                    </a:lnTo>
                    <a:lnTo>
                      <a:pt x="81" y="3"/>
                    </a:lnTo>
                    <a:lnTo>
                      <a:pt x="80" y="4"/>
                    </a:lnTo>
                    <a:lnTo>
                      <a:pt x="78" y="6"/>
                    </a:lnTo>
                    <a:lnTo>
                      <a:pt x="78" y="6"/>
                    </a:lnTo>
                    <a:lnTo>
                      <a:pt x="78" y="8"/>
                    </a:lnTo>
                    <a:lnTo>
                      <a:pt x="76" y="8"/>
                    </a:lnTo>
                    <a:lnTo>
                      <a:pt x="75" y="8"/>
                    </a:lnTo>
                    <a:lnTo>
                      <a:pt x="73" y="8"/>
                    </a:lnTo>
                    <a:lnTo>
                      <a:pt x="73" y="8"/>
                    </a:lnTo>
                    <a:lnTo>
                      <a:pt x="73" y="8"/>
                    </a:lnTo>
                    <a:lnTo>
                      <a:pt x="73" y="8"/>
                    </a:lnTo>
                    <a:lnTo>
                      <a:pt x="72" y="6"/>
                    </a:lnTo>
                    <a:lnTo>
                      <a:pt x="70" y="6"/>
                    </a:lnTo>
                    <a:lnTo>
                      <a:pt x="67" y="6"/>
                    </a:lnTo>
                    <a:lnTo>
                      <a:pt x="67" y="6"/>
                    </a:lnTo>
                    <a:lnTo>
                      <a:pt x="67" y="9"/>
                    </a:lnTo>
                    <a:lnTo>
                      <a:pt x="67" y="11"/>
                    </a:lnTo>
                    <a:lnTo>
                      <a:pt x="67" y="12"/>
                    </a:lnTo>
                    <a:lnTo>
                      <a:pt x="67" y="12"/>
                    </a:lnTo>
                    <a:lnTo>
                      <a:pt x="67" y="12"/>
                    </a:lnTo>
                    <a:lnTo>
                      <a:pt x="67" y="12"/>
                    </a:lnTo>
                    <a:lnTo>
                      <a:pt x="67" y="14"/>
                    </a:lnTo>
                    <a:lnTo>
                      <a:pt x="66" y="14"/>
                    </a:lnTo>
                    <a:lnTo>
                      <a:pt x="64" y="14"/>
                    </a:lnTo>
                    <a:lnTo>
                      <a:pt x="64" y="14"/>
                    </a:lnTo>
                    <a:lnTo>
                      <a:pt x="62" y="12"/>
                    </a:lnTo>
                    <a:lnTo>
                      <a:pt x="62" y="12"/>
                    </a:lnTo>
                    <a:lnTo>
                      <a:pt x="61" y="12"/>
                    </a:lnTo>
                    <a:lnTo>
                      <a:pt x="61" y="14"/>
                    </a:lnTo>
                    <a:lnTo>
                      <a:pt x="61" y="15"/>
                    </a:lnTo>
                    <a:lnTo>
                      <a:pt x="61" y="17"/>
                    </a:lnTo>
                    <a:lnTo>
                      <a:pt x="61" y="17"/>
                    </a:lnTo>
                    <a:lnTo>
                      <a:pt x="61" y="17"/>
                    </a:lnTo>
                    <a:lnTo>
                      <a:pt x="61" y="18"/>
                    </a:lnTo>
                    <a:lnTo>
                      <a:pt x="61" y="18"/>
                    </a:lnTo>
                    <a:lnTo>
                      <a:pt x="61" y="20"/>
                    </a:lnTo>
                    <a:lnTo>
                      <a:pt x="62" y="20"/>
                    </a:lnTo>
                    <a:lnTo>
                      <a:pt x="62" y="22"/>
                    </a:lnTo>
                    <a:lnTo>
                      <a:pt x="62" y="22"/>
                    </a:lnTo>
                    <a:lnTo>
                      <a:pt x="62" y="22"/>
                    </a:lnTo>
                    <a:lnTo>
                      <a:pt x="61" y="22"/>
                    </a:lnTo>
                    <a:lnTo>
                      <a:pt x="61" y="22"/>
                    </a:lnTo>
                    <a:lnTo>
                      <a:pt x="61" y="22"/>
                    </a:lnTo>
                    <a:lnTo>
                      <a:pt x="59" y="20"/>
                    </a:lnTo>
                    <a:lnTo>
                      <a:pt x="58" y="18"/>
                    </a:lnTo>
                    <a:lnTo>
                      <a:pt x="58" y="18"/>
                    </a:lnTo>
                    <a:lnTo>
                      <a:pt x="56" y="18"/>
                    </a:lnTo>
                    <a:lnTo>
                      <a:pt x="53" y="20"/>
                    </a:lnTo>
                    <a:lnTo>
                      <a:pt x="51" y="20"/>
                    </a:lnTo>
                    <a:lnTo>
                      <a:pt x="51" y="20"/>
                    </a:lnTo>
                    <a:lnTo>
                      <a:pt x="51" y="20"/>
                    </a:lnTo>
                    <a:lnTo>
                      <a:pt x="50" y="18"/>
                    </a:lnTo>
                    <a:lnTo>
                      <a:pt x="50" y="17"/>
                    </a:lnTo>
                    <a:lnTo>
                      <a:pt x="50" y="15"/>
                    </a:lnTo>
                    <a:lnTo>
                      <a:pt x="50" y="15"/>
                    </a:lnTo>
                    <a:lnTo>
                      <a:pt x="48" y="15"/>
                    </a:lnTo>
                    <a:lnTo>
                      <a:pt x="47" y="15"/>
                    </a:lnTo>
                    <a:lnTo>
                      <a:pt x="47" y="15"/>
                    </a:lnTo>
                    <a:lnTo>
                      <a:pt x="47" y="18"/>
                    </a:lnTo>
                    <a:lnTo>
                      <a:pt x="47" y="20"/>
                    </a:lnTo>
                    <a:lnTo>
                      <a:pt x="45" y="22"/>
                    </a:lnTo>
                    <a:lnTo>
                      <a:pt x="45" y="22"/>
                    </a:lnTo>
                    <a:lnTo>
                      <a:pt x="44" y="25"/>
                    </a:lnTo>
                    <a:lnTo>
                      <a:pt x="42" y="26"/>
                    </a:lnTo>
                    <a:lnTo>
                      <a:pt x="42" y="28"/>
                    </a:lnTo>
                    <a:lnTo>
                      <a:pt x="42" y="28"/>
                    </a:lnTo>
                    <a:lnTo>
                      <a:pt x="42" y="28"/>
                    </a:lnTo>
                    <a:lnTo>
                      <a:pt x="42" y="29"/>
                    </a:lnTo>
                    <a:lnTo>
                      <a:pt x="42" y="31"/>
                    </a:lnTo>
                    <a:lnTo>
                      <a:pt x="42" y="31"/>
                    </a:lnTo>
                    <a:lnTo>
                      <a:pt x="41" y="33"/>
                    </a:lnTo>
                    <a:lnTo>
                      <a:pt x="41" y="31"/>
                    </a:lnTo>
                    <a:lnTo>
                      <a:pt x="41" y="31"/>
                    </a:lnTo>
                    <a:lnTo>
                      <a:pt x="41" y="31"/>
                    </a:lnTo>
                    <a:lnTo>
                      <a:pt x="41" y="29"/>
                    </a:lnTo>
                    <a:lnTo>
                      <a:pt x="41" y="29"/>
                    </a:lnTo>
                    <a:lnTo>
                      <a:pt x="37" y="28"/>
                    </a:lnTo>
                    <a:lnTo>
                      <a:pt x="39" y="26"/>
                    </a:lnTo>
                    <a:lnTo>
                      <a:pt x="39" y="26"/>
                    </a:lnTo>
                    <a:lnTo>
                      <a:pt x="39" y="26"/>
                    </a:lnTo>
                    <a:lnTo>
                      <a:pt x="36" y="25"/>
                    </a:lnTo>
                    <a:lnTo>
                      <a:pt x="36" y="25"/>
                    </a:lnTo>
                    <a:lnTo>
                      <a:pt x="34" y="23"/>
                    </a:lnTo>
                    <a:lnTo>
                      <a:pt x="34" y="23"/>
                    </a:lnTo>
                    <a:lnTo>
                      <a:pt x="33" y="22"/>
                    </a:lnTo>
                    <a:lnTo>
                      <a:pt x="33" y="22"/>
                    </a:lnTo>
                    <a:lnTo>
                      <a:pt x="33" y="20"/>
                    </a:lnTo>
                    <a:lnTo>
                      <a:pt x="33" y="17"/>
                    </a:lnTo>
                    <a:lnTo>
                      <a:pt x="33" y="17"/>
                    </a:lnTo>
                    <a:lnTo>
                      <a:pt x="33" y="17"/>
                    </a:lnTo>
                    <a:lnTo>
                      <a:pt x="33" y="17"/>
                    </a:lnTo>
                    <a:lnTo>
                      <a:pt x="31" y="17"/>
                    </a:lnTo>
                    <a:lnTo>
                      <a:pt x="31" y="17"/>
                    </a:lnTo>
                    <a:lnTo>
                      <a:pt x="30" y="17"/>
                    </a:lnTo>
                    <a:lnTo>
                      <a:pt x="28" y="18"/>
                    </a:lnTo>
                    <a:lnTo>
                      <a:pt x="26" y="22"/>
                    </a:lnTo>
                    <a:lnTo>
                      <a:pt x="26" y="22"/>
                    </a:lnTo>
                    <a:lnTo>
                      <a:pt x="26" y="23"/>
                    </a:lnTo>
                    <a:lnTo>
                      <a:pt x="26" y="23"/>
                    </a:lnTo>
                    <a:lnTo>
                      <a:pt x="25" y="26"/>
                    </a:lnTo>
                    <a:lnTo>
                      <a:pt x="25" y="28"/>
                    </a:lnTo>
                    <a:lnTo>
                      <a:pt x="22" y="29"/>
                    </a:lnTo>
                    <a:lnTo>
                      <a:pt x="20" y="29"/>
                    </a:lnTo>
                    <a:lnTo>
                      <a:pt x="17" y="28"/>
                    </a:lnTo>
                    <a:lnTo>
                      <a:pt x="16" y="28"/>
                    </a:lnTo>
                    <a:lnTo>
                      <a:pt x="14" y="29"/>
                    </a:lnTo>
                    <a:lnTo>
                      <a:pt x="12" y="29"/>
                    </a:lnTo>
                    <a:lnTo>
                      <a:pt x="9" y="31"/>
                    </a:lnTo>
                    <a:lnTo>
                      <a:pt x="8" y="29"/>
                    </a:lnTo>
                    <a:lnTo>
                      <a:pt x="8" y="29"/>
                    </a:lnTo>
                    <a:lnTo>
                      <a:pt x="6" y="31"/>
                    </a:lnTo>
                    <a:lnTo>
                      <a:pt x="3" y="33"/>
                    </a:lnTo>
                    <a:lnTo>
                      <a:pt x="3" y="33"/>
                    </a:lnTo>
                    <a:lnTo>
                      <a:pt x="3" y="34"/>
                    </a:lnTo>
                    <a:lnTo>
                      <a:pt x="3" y="36"/>
                    </a:lnTo>
                    <a:lnTo>
                      <a:pt x="3" y="36"/>
                    </a:lnTo>
                    <a:lnTo>
                      <a:pt x="5" y="36"/>
                    </a:lnTo>
                    <a:lnTo>
                      <a:pt x="6" y="39"/>
                    </a:lnTo>
                    <a:lnTo>
                      <a:pt x="8" y="40"/>
                    </a:lnTo>
                    <a:lnTo>
                      <a:pt x="8" y="40"/>
                    </a:lnTo>
                    <a:lnTo>
                      <a:pt x="9" y="42"/>
                    </a:lnTo>
                    <a:lnTo>
                      <a:pt x="9" y="43"/>
                    </a:lnTo>
                    <a:lnTo>
                      <a:pt x="9" y="43"/>
                    </a:lnTo>
                    <a:lnTo>
                      <a:pt x="9" y="43"/>
                    </a:lnTo>
                    <a:lnTo>
                      <a:pt x="8" y="47"/>
                    </a:lnTo>
                    <a:lnTo>
                      <a:pt x="8" y="47"/>
                    </a:lnTo>
                    <a:lnTo>
                      <a:pt x="8" y="47"/>
                    </a:lnTo>
                    <a:lnTo>
                      <a:pt x="6" y="47"/>
                    </a:lnTo>
                    <a:lnTo>
                      <a:pt x="5" y="50"/>
                    </a:lnTo>
                    <a:lnTo>
                      <a:pt x="3" y="50"/>
                    </a:lnTo>
                    <a:lnTo>
                      <a:pt x="1" y="50"/>
                    </a:lnTo>
                    <a:lnTo>
                      <a:pt x="0" y="50"/>
                    </a:lnTo>
                    <a:lnTo>
                      <a:pt x="0" y="51"/>
                    </a:lnTo>
                    <a:lnTo>
                      <a:pt x="0" y="51"/>
                    </a:lnTo>
                    <a:lnTo>
                      <a:pt x="1" y="51"/>
                    </a:lnTo>
                    <a:lnTo>
                      <a:pt x="1" y="51"/>
                    </a:lnTo>
                    <a:lnTo>
                      <a:pt x="1" y="53"/>
                    </a:lnTo>
                    <a:lnTo>
                      <a:pt x="1" y="54"/>
                    </a:lnTo>
                    <a:lnTo>
                      <a:pt x="1" y="54"/>
                    </a:lnTo>
                    <a:lnTo>
                      <a:pt x="3" y="56"/>
                    </a:lnTo>
                    <a:lnTo>
                      <a:pt x="5" y="56"/>
                    </a:lnTo>
                    <a:lnTo>
                      <a:pt x="6" y="56"/>
                    </a:lnTo>
                    <a:lnTo>
                      <a:pt x="6" y="56"/>
                    </a:lnTo>
                    <a:lnTo>
                      <a:pt x="6" y="58"/>
                    </a:lnTo>
                    <a:lnTo>
                      <a:pt x="8" y="59"/>
                    </a:lnTo>
                    <a:lnTo>
                      <a:pt x="6" y="61"/>
                    </a:lnTo>
                    <a:lnTo>
                      <a:pt x="6" y="61"/>
                    </a:lnTo>
                    <a:lnTo>
                      <a:pt x="6" y="61"/>
                    </a:lnTo>
                    <a:lnTo>
                      <a:pt x="6" y="62"/>
                    </a:lnTo>
                    <a:lnTo>
                      <a:pt x="5" y="64"/>
                    </a:lnTo>
                    <a:lnTo>
                      <a:pt x="5" y="65"/>
                    </a:lnTo>
                    <a:lnTo>
                      <a:pt x="5" y="65"/>
                    </a:lnTo>
                    <a:lnTo>
                      <a:pt x="5" y="67"/>
                    </a:lnTo>
                    <a:lnTo>
                      <a:pt x="5" y="67"/>
                    </a:lnTo>
                    <a:lnTo>
                      <a:pt x="5" y="69"/>
                    </a:lnTo>
                    <a:lnTo>
                      <a:pt x="6" y="70"/>
                    </a:lnTo>
                    <a:lnTo>
                      <a:pt x="6" y="70"/>
                    </a:lnTo>
                    <a:lnTo>
                      <a:pt x="9" y="72"/>
                    </a:lnTo>
                    <a:lnTo>
                      <a:pt x="12" y="73"/>
                    </a:lnTo>
                    <a:lnTo>
                      <a:pt x="14" y="75"/>
                    </a:lnTo>
                    <a:lnTo>
                      <a:pt x="17" y="73"/>
                    </a:lnTo>
                    <a:lnTo>
                      <a:pt x="19" y="73"/>
                    </a:lnTo>
                    <a:lnTo>
                      <a:pt x="19" y="75"/>
                    </a:lnTo>
                    <a:lnTo>
                      <a:pt x="19" y="75"/>
                    </a:lnTo>
                    <a:lnTo>
                      <a:pt x="19" y="76"/>
                    </a:lnTo>
                    <a:lnTo>
                      <a:pt x="17" y="78"/>
                    </a:lnTo>
                    <a:lnTo>
                      <a:pt x="16" y="79"/>
                    </a:lnTo>
                    <a:lnTo>
                      <a:pt x="16" y="81"/>
                    </a:lnTo>
                    <a:lnTo>
                      <a:pt x="16" y="81"/>
                    </a:lnTo>
                    <a:lnTo>
                      <a:pt x="16" y="81"/>
                    </a:lnTo>
                    <a:lnTo>
                      <a:pt x="16" y="83"/>
                    </a:lnTo>
                    <a:lnTo>
                      <a:pt x="20" y="83"/>
                    </a:lnTo>
                    <a:lnTo>
                      <a:pt x="25" y="79"/>
                    </a:lnTo>
                    <a:lnTo>
                      <a:pt x="26" y="79"/>
                    </a:lnTo>
                    <a:lnTo>
                      <a:pt x="30" y="73"/>
                    </a:lnTo>
                    <a:lnTo>
                      <a:pt x="34" y="69"/>
                    </a:lnTo>
                    <a:lnTo>
                      <a:pt x="37" y="67"/>
                    </a:lnTo>
                    <a:lnTo>
                      <a:pt x="41" y="67"/>
                    </a:lnTo>
                    <a:lnTo>
                      <a:pt x="45" y="70"/>
                    </a:lnTo>
                    <a:lnTo>
                      <a:pt x="47" y="70"/>
                    </a:lnTo>
                    <a:lnTo>
                      <a:pt x="55" y="75"/>
                    </a:lnTo>
                    <a:lnTo>
                      <a:pt x="61" y="76"/>
                    </a:lnTo>
                    <a:lnTo>
                      <a:pt x="62" y="78"/>
                    </a:lnTo>
                    <a:lnTo>
                      <a:pt x="64" y="81"/>
                    </a:lnTo>
                    <a:lnTo>
                      <a:pt x="66" y="89"/>
                    </a:lnTo>
                    <a:lnTo>
                      <a:pt x="67" y="92"/>
                    </a:lnTo>
                    <a:lnTo>
                      <a:pt x="69" y="97"/>
                    </a:lnTo>
                    <a:lnTo>
                      <a:pt x="69" y="98"/>
                    </a:lnTo>
                    <a:lnTo>
                      <a:pt x="69" y="100"/>
                    </a:lnTo>
                    <a:lnTo>
                      <a:pt x="69" y="101"/>
                    </a:lnTo>
                    <a:lnTo>
                      <a:pt x="70" y="103"/>
                    </a:lnTo>
                    <a:lnTo>
                      <a:pt x="70" y="103"/>
                    </a:lnTo>
                    <a:lnTo>
                      <a:pt x="72" y="103"/>
                    </a:lnTo>
                    <a:lnTo>
                      <a:pt x="72" y="103"/>
                    </a:lnTo>
                    <a:lnTo>
                      <a:pt x="73" y="105"/>
                    </a:lnTo>
                    <a:lnTo>
                      <a:pt x="73" y="106"/>
                    </a:lnTo>
                    <a:lnTo>
                      <a:pt x="76" y="108"/>
                    </a:lnTo>
                    <a:lnTo>
                      <a:pt x="80" y="112"/>
                    </a:lnTo>
                    <a:lnTo>
                      <a:pt x="80" y="114"/>
                    </a:lnTo>
                    <a:lnTo>
                      <a:pt x="80" y="114"/>
                    </a:lnTo>
                    <a:lnTo>
                      <a:pt x="78" y="115"/>
                    </a:lnTo>
                    <a:lnTo>
                      <a:pt x="80" y="115"/>
                    </a:lnTo>
                    <a:lnTo>
                      <a:pt x="80" y="115"/>
                    </a:lnTo>
                    <a:lnTo>
                      <a:pt x="81" y="115"/>
                    </a:lnTo>
                    <a:lnTo>
                      <a:pt x="83" y="115"/>
                    </a:lnTo>
                    <a:lnTo>
                      <a:pt x="86" y="117"/>
                    </a:lnTo>
                    <a:lnTo>
                      <a:pt x="87" y="119"/>
                    </a:lnTo>
                    <a:lnTo>
                      <a:pt x="91" y="123"/>
                    </a:lnTo>
                    <a:lnTo>
                      <a:pt x="95" y="126"/>
                    </a:lnTo>
                    <a:lnTo>
                      <a:pt x="98" y="130"/>
                    </a:lnTo>
                    <a:lnTo>
                      <a:pt x="106" y="137"/>
                    </a:lnTo>
                    <a:lnTo>
                      <a:pt x="109" y="139"/>
                    </a:lnTo>
                    <a:lnTo>
                      <a:pt x="112" y="142"/>
                    </a:lnTo>
                    <a:lnTo>
                      <a:pt x="112" y="142"/>
                    </a:lnTo>
                    <a:lnTo>
                      <a:pt x="114" y="142"/>
                    </a:lnTo>
                    <a:lnTo>
                      <a:pt x="116" y="142"/>
                    </a:lnTo>
                    <a:lnTo>
                      <a:pt x="117" y="142"/>
                    </a:lnTo>
                    <a:lnTo>
                      <a:pt x="119" y="142"/>
                    </a:lnTo>
                    <a:lnTo>
                      <a:pt x="122" y="144"/>
                    </a:lnTo>
                    <a:lnTo>
                      <a:pt x="123" y="142"/>
                    </a:lnTo>
                    <a:lnTo>
                      <a:pt x="125" y="144"/>
                    </a:lnTo>
                    <a:lnTo>
                      <a:pt x="127" y="145"/>
                    </a:lnTo>
                    <a:lnTo>
                      <a:pt x="131" y="151"/>
                    </a:lnTo>
                    <a:lnTo>
                      <a:pt x="130" y="153"/>
                    </a:lnTo>
                    <a:lnTo>
                      <a:pt x="131" y="153"/>
                    </a:lnTo>
                    <a:lnTo>
                      <a:pt x="131" y="153"/>
                    </a:lnTo>
                    <a:lnTo>
                      <a:pt x="133" y="153"/>
                    </a:lnTo>
                    <a:lnTo>
                      <a:pt x="134" y="153"/>
                    </a:lnTo>
                    <a:lnTo>
                      <a:pt x="137" y="155"/>
                    </a:lnTo>
                    <a:lnTo>
                      <a:pt x="137" y="155"/>
                    </a:lnTo>
                    <a:lnTo>
                      <a:pt x="136" y="158"/>
                    </a:lnTo>
                    <a:lnTo>
                      <a:pt x="136" y="158"/>
                    </a:lnTo>
                    <a:lnTo>
                      <a:pt x="137" y="156"/>
                    </a:lnTo>
                    <a:lnTo>
                      <a:pt x="139" y="158"/>
                    </a:lnTo>
                    <a:lnTo>
                      <a:pt x="141" y="156"/>
                    </a:lnTo>
                    <a:lnTo>
                      <a:pt x="144" y="156"/>
                    </a:lnTo>
                    <a:lnTo>
                      <a:pt x="144" y="158"/>
                    </a:lnTo>
                    <a:lnTo>
                      <a:pt x="145" y="159"/>
                    </a:lnTo>
                    <a:lnTo>
                      <a:pt x="147" y="161"/>
                    </a:lnTo>
                    <a:lnTo>
                      <a:pt x="147" y="162"/>
                    </a:lnTo>
                    <a:lnTo>
                      <a:pt x="145" y="164"/>
                    </a:lnTo>
                    <a:lnTo>
                      <a:pt x="145" y="166"/>
                    </a:lnTo>
                    <a:lnTo>
                      <a:pt x="147" y="166"/>
                    </a:lnTo>
                    <a:lnTo>
                      <a:pt x="152" y="170"/>
                    </a:lnTo>
                    <a:lnTo>
                      <a:pt x="155" y="170"/>
                    </a:lnTo>
                    <a:lnTo>
                      <a:pt x="158" y="170"/>
                    </a:lnTo>
                    <a:lnTo>
                      <a:pt x="159" y="172"/>
                    </a:lnTo>
                    <a:lnTo>
                      <a:pt x="161" y="175"/>
                    </a:lnTo>
                    <a:lnTo>
                      <a:pt x="162" y="180"/>
                    </a:lnTo>
                    <a:lnTo>
                      <a:pt x="166" y="186"/>
                    </a:lnTo>
                    <a:lnTo>
                      <a:pt x="166" y="191"/>
                    </a:lnTo>
                    <a:lnTo>
                      <a:pt x="167" y="194"/>
                    </a:lnTo>
                    <a:lnTo>
                      <a:pt x="169" y="195"/>
                    </a:lnTo>
                    <a:lnTo>
                      <a:pt x="169" y="200"/>
                    </a:lnTo>
                    <a:lnTo>
                      <a:pt x="166" y="200"/>
                    </a:lnTo>
                    <a:lnTo>
                      <a:pt x="164" y="200"/>
                    </a:lnTo>
                    <a:lnTo>
                      <a:pt x="164" y="202"/>
                    </a:lnTo>
                    <a:lnTo>
                      <a:pt x="162" y="203"/>
                    </a:lnTo>
                    <a:lnTo>
                      <a:pt x="162" y="206"/>
                    </a:lnTo>
                    <a:lnTo>
                      <a:pt x="161" y="209"/>
                    </a:lnTo>
                    <a:lnTo>
                      <a:pt x="159" y="211"/>
                    </a:lnTo>
                    <a:lnTo>
                      <a:pt x="158" y="212"/>
                    </a:lnTo>
                    <a:lnTo>
                      <a:pt x="158" y="216"/>
                    </a:lnTo>
                    <a:lnTo>
                      <a:pt x="159" y="217"/>
                    </a:lnTo>
                    <a:lnTo>
                      <a:pt x="166" y="217"/>
                    </a:lnTo>
                    <a:lnTo>
                      <a:pt x="167" y="216"/>
                    </a:lnTo>
                    <a:lnTo>
                      <a:pt x="167" y="214"/>
                    </a:lnTo>
                    <a:lnTo>
                      <a:pt x="170" y="211"/>
                    </a:lnTo>
                    <a:lnTo>
                      <a:pt x="175" y="208"/>
                    </a:lnTo>
                    <a:lnTo>
                      <a:pt x="175" y="206"/>
                    </a:lnTo>
                    <a:lnTo>
                      <a:pt x="175" y="200"/>
                    </a:lnTo>
                    <a:lnTo>
                      <a:pt x="175" y="198"/>
                    </a:lnTo>
                    <a:lnTo>
                      <a:pt x="178" y="197"/>
                    </a:lnTo>
                    <a:lnTo>
                      <a:pt x="181" y="195"/>
                    </a:lnTo>
                    <a:lnTo>
                      <a:pt x="184" y="195"/>
                    </a:lnTo>
                    <a:lnTo>
                      <a:pt x="186" y="194"/>
                    </a:lnTo>
                    <a:lnTo>
                      <a:pt x="184" y="191"/>
                    </a:lnTo>
                    <a:lnTo>
                      <a:pt x="184" y="186"/>
                    </a:lnTo>
                    <a:lnTo>
                      <a:pt x="183" y="183"/>
                    </a:lnTo>
                    <a:lnTo>
                      <a:pt x="180" y="181"/>
                    </a:lnTo>
                    <a:lnTo>
                      <a:pt x="175" y="180"/>
                    </a:lnTo>
                    <a:lnTo>
                      <a:pt x="173" y="177"/>
                    </a:lnTo>
                    <a:lnTo>
                      <a:pt x="173" y="175"/>
                    </a:lnTo>
                    <a:lnTo>
                      <a:pt x="177" y="169"/>
                    </a:lnTo>
                    <a:lnTo>
                      <a:pt x="178" y="164"/>
                    </a:lnTo>
                    <a:lnTo>
                      <a:pt x="181" y="161"/>
                    </a:lnTo>
                    <a:lnTo>
                      <a:pt x="183" y="159"/>
                    </a:lnTo>
                    <a:lnTo>
                      <a:pt x="186" y="159"/>
                    </a:lnTo>
                    <a:lnTo>
                      <a:pt x="186" y="161"/>
                    </a:lnTo>
                    <a:lnTo>
                      <a:pt x="186" y="161"/>
                    </a:lnTo>
                    <a:lnTo>
                      <a:pt x="188" y="162"/>
                    </a:lnTo>
                    <a:lnTo>
                      <a:pt x="189" y="164"/>
                    </a:lnTo>
                    <a:lnTo>
                      <a:pt x="191" y="164"/>
                    </a:lnTo>
                    <a:lnTo>
                      <a:pt x="197" y="166"/>
                    </a:lnTo>
                    <a:lnTo>
                      <a:pt x="202" y="173"/>
                    </a:lnTo>
                    <a:lnTo>
                      <a:pt x="203" y="175"/>
                    </a:lnTo>
                    <a:lnTo>
                      <a:pt x="206" y="175"/>
                    </a:lnTo>
                    <a:lnTo>
                      <a:pt x="206" y="173"/>
                    </a:lnTo>
                    <a:lnTo>
                      <a:pt x="208" y="172"/>
                    </a:lnTo>
                    <a:lnTo>
                      <a:pt x="208" y="169"/>
                    </a:lnTo>
                    <a:lnTo>
                      <a:pt x="208" y="167"/>
                    </a:lnTo>
                    <a:close/>
                    <a:moveTo>
                      <a:pt x="102" y="128"/>
                    </a:moveTo>
                    <a:lnTo>
                      <a:pt x="102" y="128"/>
                    </a:lnTo>
                    <a:lnTo>
                      <a:pt x="102" y="128"/>
                    </a:lnTo>
                    <a:lnTo>
                      <a:pt x="102" y="128"/>
                    </a:lnTo>
                    <a:lnTo>
                      <a:pt x="102" y="128"/>
                    </a:lnTo>
                    <a:lnTo>
                      <a:pt x="102" y="128"/>
                    </a:lnTo>
                    <a:close/>
                    <a:moveTo>
                      <a:pt x="103" y="79"/>
                    </a:moveTo>
                    <a:lnTo>
                      <a:pt x="102" y="79"/>
                    </a:lnTo>
                    <a:lnTo>
                      <a:pt x="102" y="79"/>
                    </a:lnTo>
                    <a:lnTo>
                      <a:pt x="102" y="78"/>
                    </a:lnTo>
                    <a:lnTo>
                      <a:pt x="103" y="78"/>
                    </a:lnTo>
                    <a:lnTo>
                      <a:pt x="103" y="78"/>
                    </a:lnTo>
                    <a:lnTo>
                      <a:pt x="103" y="7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6" name="Freeform 103">
                <a:extLst>
                  <a:ext uri="{FF2B5EF4-FFF2-40B4-BE49-F238E27FC236}">
                    <a16:creationId xmlns:a16="http://schemas.microsoft.com/office/drawing/2014/main" id="{14380752-1D3E-3B65-FF6B-F9B8E1717F11}"/>
                  </a:ext>
                </a:extLst>
              </p:cNvPr>
              <p:cNvSpPr>
                <a:spLocks/>
              </p:cNvSpPr>
              <p:nvPr/>
            </p:nvSpPr>
            <p:spPr bwMode="gray">
              <a:xfrm>
                <a:off x="2636" y="585"/>
                <a:ext cx="3" cy="2"/>
              </a:xfrm>
              <a:custGeom>
                <a:avLst/>
                <a:gdLst>
                  <a:gd name="T0" fmla="*/ 3 w 3"/>
                  <a:gd name="T1" fmla="*/ 0 h 2"/>
                  <a:gd name="T2" fmla="*/ 3 w 3"/>
                  <a:gd name="T3" fmla="*/ 2 h 2"/>
                  <a:gd name="T4" fmla="*/ 3 w 3"/>
                  <a:gd name="T5" fmla="*/ 2 h 2"/>
                  <a:gd name="T6" fmla="*/ 2 w 3"/>
                  <a:gd name="T7" fmla="*/ 2 h 2"/>
                  <a:gd name="T8" fmla="*/ 0 w 3"/>
                  <a:gd name="T9" fmla="*/ 2 h 2"/>
                  <a:gd name="T10" fmla="*/ 0 w 3"/>
                  <a:gd name="T11" fmla="*/ 2 h 2"/>
                  <a:gd name="T12" fmla="*/ 0 w 3"/>
                  <a:gd name="T13" fmla="*/ 0 h 2"/>
                  <a:gd name="T14" fmla="*/ 2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2"/>
                    </a:lnTo>
                    <a:lnTo>
                      <a:pt x="3" y="2"/>
                    </a:lnTo>
                    <a:lnTo>
                      <a:pt x="2" y="2"/>
                    </a:lnTo>
                    <a:lnTo>
                      <a:pt x="0" y="2"/>
                    </a:lnTo>
                    <a:lnTo>
                      <a:pt x="0" y="2"/>
                    </a:lnTo>
                    <a:lnTo>
                      <a:pt x="0" y="0"/>
                    </a:lnTo>
                    <a:lnTo>
                      <a:pt x="2" y="0"/>
                    </a:lnTo>
                    <a:lnTo>
                      <a:pt x="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7" name="Freeform 104">
                <a:extLst>
                  <a:ext uri="{FF2B5EF4-FFF2-40B4-BE49-F238E27FC236}">
                    <a16:creationId xmlns:a16="http://schemas.microsoft.com/office/drawing/2014/main" id="{50A81CC7-241F-0DDC-14D6-895DB65BA92E}"/>
                  </a:ext>
                </a:extLst>
              </p:cNvPr>
              <p:cNvSpPr>
                <a:spLocks/>
              </p:cNvSpPr>
              <p:nvPr/>
            </p:nvSpPr>
            <p:spPr bwMode="gray">
              <a:xfrm>
                <a:off x="1299" y="1247"/>
                <a:ext cx="38" cy="16"/>
              </a:xfrm>
              <a:custGeom>
                <a:avLst/>
                <a:gdLst>
                  <a:gd name="T0" fmla="*/ 19 w 38"/>
                  <a:gd name="T1" fmla="*/ 2 h 16"/>
                  <a:gd name="T2" fmla="*/ 22 w 38"/>
                  <a:gd name="T3" fmla="*/ 3 h 16"/>
                  <a:gd name="T4" fmla="*/ 24 w 38"/>
                  <a:gd name="T5" fmla="*/ 3 h 16"/>
                  <a:gd name="T6" fmla="*/ 25 w 38"/>
                  <a:gd name="T7" fmla="*/ 3 h 16"/>
                  <a:gd name="T8" fmla="*/ 25 w 38"/>
                  <a:gd name="T9" fmla="*/ 3 h 16"/>
                  <a:gd name="T10" fmla="*/ 28 w 38"/>
                  <a:gd name="T11" fmla="*/ 5 h 16"/>
                  <a:gd name="T12" fmla="*/ 30 w 38"/>
                  <a:gd name="T13" fmla="*/ 7 h 16"/>
                  <a:gd name="T14" fmla="*/ 36 w 38"/>
                  <a:gd name="T15" fmla="*/ 8 h 16"/>
                  <a:gd name="T16" fmla="*/ 38 w 38"/>
                  <a:gd name="T17" fmla="*/ 11 h 16"/>
                  <a:gd name="T18" fmla="*/ 38 w 38"/>
                  <a:gd name="T19" fmla="*/ 13 h 16"/>
                  <a:gd name="T20" fmla="*/ 36 w 38"/>
                  <a:gd name="T21" fmla="*/ 13 h 16"/>
                  <a:gd name="T22" fmla="*/ 35 w 38"/>
                  <a:gd name="T23" fmla="*/ 13 h 16"/>
                  <a:gd name="T24" fmla="*/ 33 w 38"/>
                  <a:gd name="T25" fmla="*/ 13 h 16"/>
                  <a:gd name="T26" fmla="*/ 32 w 38"/>
                  <a:gd name="T27" fmla="*/ 13 h 16"/>
                  <a:gd name="T28" fmla="*/ 30 w 38"/>
                  <a:gd name="T29" fmla="*/ 11 h 16"/>
                  <a:gd name="T30" fmla="*/ 28 w 38"/>
                  <a:gd name="T31" fmla="*/ 11 h 16"/>
                  <a:gd name="T32" fmla="*/ 28 w 38"/>
                  <a:gd name="T33" fmla="*/ 11 h 16"/>
                  <a:gd name="T34" fmla="*/ 28 w 38"/>
                  <a:gd name="T35" fmla="*/ 11 h 16"/>
                  <a:gd name="T36" fmla="*/ 27 w 38"/>
                  <a:gd name="T37" fmla="*/ 11 h 16"/>
                  <a:gd name="T38" fmla="*/ 27 w 38"/>
                  <a:gd name="T39" fmla="*/ 13 h 16"/>
                  <a:gd name="T40" fmla="*/ 25 w 38"/>
                  <a:gd name="T41" fmla="*/ 13 h 16"/>
                  <a:gd name="T42" fmla="*/ 24 w 38"/>
                  <a:gd name="T43" fmla="*/ 13 h 16"/>
                  <a:gd name="T44" fmla="*/ 24 w 38"/>
                  <a:gd name="T45" fmla="*/ 13 h 16"/>
                  <a:gd name="T46" fmla="*/ 22 w 38"/>
                  <a:gd name="T47" fmla="*/ 13 h 16"/>
                  <a:gd name="T48" fmla="*/ 22 w 38"/>
                  <a:gd name="T49" fmla="*/ 13 h 16"/>
                  <a:gd name="T50" fmla="*/ 21 w 38"/>
                  <a:gd name="T51" fmla="*/ 16 h 16"/>
                  <a:gd name="T52" fmla="*/ 19 w 38"/>
                  <a:gd name="T53" fmla="*/ 14 h 16"/>
                  <a:gd name="T54" fmla="*/ 17 w 38"/>
                  <a:gd name="T55" fmla="*/ 13 h 16"/>
                  <a:gd name="T56" fmla="*/ 16 w 38"/>
                  <a:gd name="T57" fmla="*/ 13 h 16"/>
                  <a:gd name="T58" fmla="*/ 13 w 38"/>
                  <a:gd name="T59" fmla="*/ 13 h 16"/>
                  <a:gd name="T60" fmla="*/ 11 w 38"/>
                  <a:gd name="T61" fmla="*/ 13 h 16"/>
                  <a:gd name="T62" fmla="*/ 10 w 38"/>
                  <a:gd name="T63" fmla="*/ 11 h 16"/>
                  <a:gd name="T64" fmla="*/ 10 w 38"/>
                  <a:gd name="T65" fmla="*/ 10 h 16"/>
                  <a:gd name="T66" fmla="*/ 8 w 38"/>
                  <a:gd name="T67" fmla="*/ 10 h 16"/>
                  <a:gd name="T68" fmla="*/ 7 w 38"/>
                  <a:gd name="T69" fmla="*/ 7 h 16"/>
                  <a:gd name="T70" fmla="*/ 5 w 38"/>
                  <a:gd name="T71" fmla="*/ 7 h 16"/>
                  <a:gd name="T72" fmla="*/ 2 w 38"/>
                  <a:gd name="T73" fmla="*/ 7 h 16"/>
                  <a:gd name="T74" fmla="*/ 0 w 38"/>
                  <a:gd name="T75" fmla="*/ 5 h 16"/>
                  <a:gd name="T76" fmla="*/ 2 w 38"/>
                  <a:gd name="T77" fmla="*/ 3 h 16"/>
                  <a:gd name="T78" fmla="*/ 2 w 38"/>
                  <a:gd name="T79" fmla="*/ 3 h 16"/>
                  <a:gd name="T80" fmla="*/ 3 w 38"/>
                  <a:gd name="T81" fmla="*/ 2 h 16"/>
                  <a:gd name="T82" fmla="*/ 5 w 38"/>
                  <a:gd name="T83" fmla="*/ 2 h 16"/>
                  <a:gd name="T84" fmla="*/ 7 w 38"/>
                  <a:gd name="T85" fmla="*/ 2 h 16"/>
                  <a:gd name="T86" fmla="*/ 8 w 38"/>
                  <a:gd name="T87" fmla="*/ 2 h 16"/>
                  <a:gd name="T88" fmla="*/ 10 w 38"/>
                  <a:gd name="T89" fmla="*/ 0 h 16"/>
                  <a:gd name="T90" fmla="*/ 16 w 38"/>
                  <a:gd name="T91" fmla="*/ 2 h 16"/>
                  <a:gd name="T92" fmla="*/ 17 w 38"/>
                  <a:gd name="T93" fmla="*/ 2 h 16"/>
                  <a:gd name="T94" fmla="*/ 19 w 38"/>
                  <a:gd name="T95"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6">
                    <a:moveTo>
                      <a:pt x="19" y="2"/>
                    </a:moveTo>
                    <a:lnTo>
                      <a:pt x="22" y="3"/>
                    </a:lnTo>
                    <a:lnTo>
                      <a:pt x="24" y="3"/>
                    </a:lnTo>
                    <a:lnTo>
                      <a:pt x="25" y="3"/>
                    </a:lnTo>
                    <a:lnTo>
                      <a:pt x="25" y="3"/>
                    </a:lnTo>
                    <a:lnTo>
                      <a:pt x="28" y="5"/>
                    </a:lnTo>
                    <a:lnTo>
                      <a:pt x="30" y="7"/>
                    </a:lnTo>
                    <a:lnTo>
                      <a:pt x="36" y="8"/>
                    </a:lnTo>
                    <a:lnTo>
                      <a:pt x="38" y="11"/>
                    </a:lnTo>
                    <a:lnTo>
                      <a:pt x="38" y="13"/>
                    </a:lnTo>
                    <a:lnTo>
                      <a:pt x="36" y="13"/>
                    </a:lnTo>
                    <a:lnTo>
                      <a:pt x="35" y="13"/>
                    </a:lnTo>
                    <a:lnTo>
                      <a:pt x="33" y="13"/>
                    </a:lnTo>
                    <a:lnTo>
                      <a:pt x="32" y="13"/>
                    </a:lnTo>
                    <a:lnTo>
                      <a:pt x="30" y="11"/>
                    </a:lnTo>
                    <a:lnTo>
                      <a:pt x="28" y="11"/>
                    </a:lnTo>
                    <a:lnTo>
                      <a:pt x="28" y="11"/>
                    </a:lnTo>
                    <a:lnTo>
                      <a:pt x="28" y="11"/>
                    </a:lnTo>
                    <a:lnTo>
                      <a:pt x="27" y="11"/>
                    </a:lnTo>
                    <a:lnTo>
                      <a:pt x="27" y="13"/>
                    </a:lnTo>
                    <a:lnTo>
                      <a:pt x="25" y="13"/>
                    </a:lnTo>
                    <a:lnTo>
                      <a:pt x="24" y="13"/>
                    </a:lnTo>
                    <a:lnTo>
                      <a:pt x="24" y="13"/>
                    </a:lnTo>
                    <a:lnTo>
                      <a:pt x="22" y="13"/>
                    </a:lnTo>
                    <a:lnTo>
                      <a:pt x="22" y="13"/>
                    </a:lnTo>
                    <a:lnTo>
                      <a:pt x="21" y="16"/>
                    </a:lnTo>
                    <a:lnTo>
                      <a:pt x="19" y="14"/>
                    </a:lnTo>
                    <a:lnTo>
                      <a:pt x="17" y="13"/>
                    </a:lnTo>
                    <a:lnTo>
                      <a:pt x="16" y="13"/>
                    </a:lnTo>
                    <a:lnTo>
                      <a:pt x="13" y="13"/>
                    </a:lnTo>
                    <a:lnTo>
                      <a:pt x="11" y="13"/>
                    </a:lnTo>
                    <a:lnTo>
                      <a:pt x="10" y="11"/>
                    </a:lnTo>
                    <a:lnTo>
                      <a:pt x="10" y="10"/>
                    </a:lnTo>
                    <a:lnTo>
                      <a:pt x="8" y="10"/>
                    </a:lnTo>
                    <a:lnTo>
                      <a:pt x="7" y="7"/>
                    </a:lnTo>
                    <a:lnTo>
                      <a:pt x="5" y="7"/>
                    </a:lnTo>
                    <a:lnTo>
                      <a:pt x="2" y="7"/>
                    </a:lnTo>
                    <a:lnTo>
                      <a:pt x="0" y="5"/>
                    </a:lnTo>
                    <a:lnTo>
                      <a:pt x="2" y="3"/>
                    </a:lnTo>
                    <a:lnTo>
                      <a:pt x="2" y="3"/>
                    </a:lnTo>
                    <a:lnTo>
                      <a:pt x="3" y="2"/>
                    </a:lnTo>
                    <a:lnTo>
                      <a:pt x="5" y="2"/>
                    </a:lnTo>
                    <a:lnTo>
                      <a:pt x="7" y="2"/>
                    </a:lnTo>
                    <a:lnTo>
                      <a:pt x="8" y="2"/>
                    </a:lnTo>
                    <a:lnTo>
                      <a:pt x="10" y="0"/>
                    </a:lnTo>
                    <a:lnTo>
                      <a:pt x="16" y="2"/>
                    </a:lnTo>
                    <a:lnTo>
                      <a:pt x="17" y="2"/>
                    </a:lnTo>
                    <a:lnTo>
                      <a:pt x="19"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8" name="Freeform 105">
                <a:extLst>
                  <a:ext uri="{FF2B5EF4-FFF2-40B4-BE49-F238E27FC236}">
                    <a16:creationId xmlns:a16="http://schemas.microsoft.com/office/drawing/2014/main" id="{47A4A483-804E-60E0-8EF0-AF438F9119DC}"/>
                  </a:ext>
                </a:extLst>
              </p:cNvPr>
              <p:cNvSpPr>
                <a:spLocks/>
              </p:cNvSpPr>
              <p:nvPr/>
            </p:nvSpPr>
            <p:spPr bwMode="gray">
              <a:xfrm>
                <a:off x="3288" y="958"/>
                <a:ext cx="77" cy="86"/>
              </a:xfrm>
              <a:custGeom>
                <a:avLst/>
                <a:gdLst>
                  <a:gd name="T0" fmla="*/ 72 w 77"/>
                  <a:gd name="T1" fmla="*/ 28 h 86"/>
                  <a:gd name="T2" fmla="*/ 67 w 77"/>
                  <a:gd name="T3" fmla="*/ 30 h 86"/>
                  <a:gd name="T4" fmla="*/ 56 w 77"/>
                  <a:gd name="T5" fmla="*/ 33 h 86"/>
                  <a:gd name="T6" fmla="*/ 45 w 77"/>
                  <a:gd name="T7" fmla="*/ 36 h 86"/>
                  <a:gd name="T8" fmla="*/ 36 w 77"/>
                  <a:gd name="T9" fmla="*/ 39 h 86"/>
                  <a:gd name="T10" fmla="*/ 42 w 77"/>
                  <a:gd name="T11" fmla="*/ 47 h 86"/>
                  <a:gd name="T12" fmla="*/ 49 w 77"/>
                  <a:gd name="T13" fmla="*/ 53 h 86"/>
                  <a:gd name="T14" fmla="*/ 53 w 77"/>
                  <a:gd name="T15" fmla="*/ 59 h 86"/>
                  <a:gd name="T16" fmla="*/ 49 w 77"/>
                  <a:gd name="T17" fmla="*/ 62 h 86"/>
                  <a:gd name="T18" fmla="*/ 47 w 77"/>
                  <a:gd name="T19" fmla="*/ 62 h 86"/>
                  <a:gd name="T20" fmla="*/ 45 w 77"/>
                  <a:gd name="T21" fmla="*/ 69 h 86"/>
                  <a:gd name="T22" fmla="*/ 39 w 77"/>
                  <a:gd name="T23" fmla="*/ 70 h 86"/>
                  <a:gd name="T24" fmla="*/ 31 w 77"/>
                  <a:gd name="T25" fmla="*/ 72 h 86"/>
                  <a:gd name="T26" fmla="*/ 30 w 77"/>
                  <a:gd name="T27" fmla="*/ 76 h 86"/>
                  <a:gd name="T28" fmla="*/ 24 w 77"/>
                  <a:gd name="T29" fmla="*/ 83 h 86"/>
                  <a:gd name="T30" fmla="*/ 19 w 77"/>
                  <a:gd name="T31" fmla="*/ 86 h 86"/>
                  <a:gd name="T32" fmla="*/ 11 w 77"/>
                  <a:gd name="T33" fmla="*/ 84 h 86"/>
                  <a:gd name="T34" fmla="*/ 5 w 77"/>
                  <a:gd name="T35" fmla="*/ 83 h 86"/>
                  <a:gd name="T36" fmla="*/ 2 w 77"/>
                  <a:gd name="T37" fmla="*/ 80 h 86"/>
                  <a:gd name="T38" fmla="*/ 2 w 77"/>
                  <a:gd name="T39" fmla="*/ 73 h 86"/>
                  <a:gd name="T40" fmla="*/ 2 w 77"/>
                  <a:gd name="T41" fmla="*/ 70 h 86"/>
                  <a:gd name="T42" fmla="*/ 3 w 77"/>
                  <a:gd name="T43" fmla="*/ 65 h 86"/>
                  <a:gd name="T44" fmla="*/ 3 w 77"/>
                  <a:gd name="T45" fmla="*/ 61 h 86"/>
                  <a:gd name="T46" fmla="*/ 5 w 77"/>
                  <a:gd name="T47" fmla="*/ 56 h 86"/>
                  <a:gd name="T48" fmla="*/ 6 w 77"/>
                  <a:gd name="T49" fmla="*/ 51 h 86"/>
                  <a:gd name="T50" fmla="*/ 9 w 77"/>
                  <a:gd name="T51" fmla="*/ 47 h 86"/>
                  <a:gd name="T52" fmla="*/ 8 w 77"/>
                  <a:gd name="T53" fmla="*/ 45 h 86"/>
                  <a:gd name="T54" fmla="*/ 8 w 77"/>
                  <a:gd name="T55" fmla="*/ 42 h 86"/>
                  <a:gd name="T56" fmla="*/ 9 w 77"/>
                  <a:gd name="T57" fmla="*/ 37 h 86"/>
                  <a:gd name="T58" fmla="*/ 11 w 77"/>
                  <a:gd name="T59" fmla="*/ 34 h 86"/>
                  <a:gd name="T60" fmla="*/ 11 w 77"/>
                  <a:gd name="T61" fmla="*/ 26 h 86"/>
                  <a:gd name="T62" fmla="*/ 11 w 77"/>
                  <a:gd name="T63" fmla="*/ 20 h 86"/>
                  <a:gd name="T64" fmla="*/ 11 w 77"/>
                  <a:gd name="T65" fmla="*/ 15 h 86"/>
                  <a:gd name="T66" fmla="*/ 13 w 77"/>
                  <a:gd name="T67" fmla="*/ 14 h 86"/>
                  <a:gd name="T68" fmla="*/ 16 w 77"/>
                  <a:gd name="T69" fmla="*/ 14 h 86"/>
                  <a:gd name="T70" fmla="*/ 17 w 77"/>
                  <a:gd name="T71" fmla="*/ 15 h 86"/>
                  <a:gd name="T72" fmla="*/ 22 w 77"/>
                  <a:gd name="T73" fmla="*/ 19 h 86"/>
                  <a:gd name="T74" fmla="*/ 25 w 77"/>
                  <a:gd name="T75" fmla="*/ 20 h 86"/>
                  <a:gd name="T76" fmla="*/ 33 w 77"/>
                  <a:gd name="T77" fmla="*/ 22 h 86"/>
                  <a:gd name="T78" fmla="*/ 42 w 77"/>
                  <a:gd name="T79" fmla="*/ 17 h 86"/>
                  <a:gd name="T80" fmla="*/ 50 w 77"/>
                  <a:gd name="T81" fmla="*/ 11 h 86"/>
                  <a:gd name="T82" fmla="*/ 58 w 77"/>
                  <a:gd name="T83" fmla="*/ 6 h 86"/>
                  <a:gd name="T84" fmla="*/ 67 w 77"/>
                  <a:gd name="T85" fmla="*/ 0 h 86"/>
                  <a:gd name="T86" fmla="*/ 70 w 77"/>
                  <a:gd name="T87" fmla="*/ 9 h 86"/>
                  <a:gd name="T88" fmla="*/ 72 w 77"/>
                  <a:gd name="T89" fmla="*/ 19 h 86"/>
                  <a:gd name="T90" fmla="*/ 72 w 77"/>
                  <a:gd name="T91" fmla="*/ 22 h 86"/>
                  <a:gd name="T92" fmla="*/ 75 w 77"/>
                  <a:gd name="T93" fmla="*/ 22 h 86"/>
                  <a:gd name="T94" fmla="*/ 74 w 77"/>
                  <a:gd name="T95" fmla="*/ 2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 h="86">
                    <a:moveTo>
                      <a:pt x="74" y="26"/>
                    </a:moveTo>
                    <a:lnTo>
                      <a:pt x="72" y="28"/>
                    </a:lnTo>
                    <a:lnTo>
                      <a:pt x="70" y="30"/>
                    </a:lnTo>
                    <a:lnTo>
                      <a:pt x="67" y="30"/>
                    </a:lnTo>
                    <a:lnTo>
                      <a:pt x="61" y="31"/>
                    </a:lnTo>
                    <a:lnTo>
                      <a:pt x="56" y="33"/>
                    </a:lnTo>
                    <a:lnTo>
                      <a:pt x="50" y="34"/>
                    </a:lnTo>
                    <a:lnTo>
                      <a:pt x="45" y="36"/>
                    </a:lnTo>
                    <a:lnTo>
                      <a:pt x="41" y="37"/>
                    </a:lnTo>
                    <a:lnTo>
                      <a:pt x="36" y="39"/>
                    </a:lnTo>
                    <a:lnTo>
                      <a:pt x="38" y="42"/>
                    </a:lnTo>
                    <a:lnTo>
                      <a:pt x="42" y="47"/>
                    </a:lnTo>
                    <a:lnTo>
                      <a:pt x="45" y="48"/>
                    </a:lnTo>
                    <a:lnTo>
                      <a:pt x="49" y="53"/>
                    </a:lnTo>
                    <a:lnTo>
                      <a:pt x="50" y="56"/>
                    </a:lnTo>
                    <a:lnTo>
                      <a:pt x="53" y="59"/>
                    </a:lnTo>
                    <a:lnTo>
                      <a:pt x="52" y="61"/>
                    </a:lnTo>
                    <a:lnTo>
                      <a:pt x="49" y="62"/>
                    </a:lnTo>
                    <a:lnTo>
                      <a:pt x="47" y="62"/>
                    </a:lnTo>
                    <a:lnTo>
                      <a:pt x="47" y="62"/>
                    </a:lnTo>
                    <a:lnTo>
                      <a:pt x="45" y="67"/>
                    </a:lnTo>
                    <a:lnTo>
                      <a:pt x="45" y="69"/>
                    </a:lnTo>
                    <a:lnTo>
                      <a:pt x="44" y="70"/>
                    </a:lnTo>
                    <a:lnTo>
                      <a:pt x="39" y="70"/>
                    </a:lnTo>
                    <a:lnTo>
                      <a:pt x="34" y="72"/>
                    </a:lnTo>
                    <a:lnTo>
                      <a:pt x="31" y="72"/>
                    </a:lnTo>
                    <a:lnTo>
                      <a:pt x="31" y="73"/>
                    </a:lnTo>
                    <a:lnTo>
                      <a:pt x="30" y="76"/>
                    </a:lnTo>
                    <a:lnTo>
                      <a:pt x="27" y="80"/>
                    </a:lnTo>
                    <a:lnTo>
                      <a:pt x="24" y="83"/>
                    </a:lnTo>
                    <a:lnTo>
                      <a:pt x="20" y="86"/>
                    </a:lnTo>
                    <a:lnTo>
                      <a:pt x="19" y="86"/>
                    </a:lnTo>
                    <a:lnTo>
                      <a:pt x="16" y="86"/>
                    </a:lnTo>
                    <a:lnTo>
                      <a:pt x="11" y="84"/>
                    </a:lnTo>
                    <a:lnTo>
                      <a:pt x="8" y="84"/>
                    </a:lnTo>
                    <a:lnTo>
                      <a:pt x="5" y="83"/>
                    </a:lnTo>
                    <a:lnTo>
                      <a:pt x="0" y="83"/>
                    </a:lnTo>
                    <a:lnTo>
                      <a:pt x="2" y="80"/>
                    </a:lnTo>
                    <a:lnTo>
                      <a:pt x="0" y="78"/>
                    </a:lnTo>
                    <a:lnTo>
                      <a:pt x="2" y="73"/>
                    </a:lnTo>
                    <a:lnTo>
                      <a:pt x="2" y="72"/>
                    </a:lnTo>
                    <a:lnTo>
                      <a:pt x="2" y="70"/>
                    </a:lnTo>
                    <a:lnTo>
                      <a:pt x="3" y="67"/>
                    </a:lnTo>
                    <a:lnTo>
                      <a:pt x="3" y="65"/>
                    </a:lnTo>
                    <a:lnTo>
                      <a:pt x="3" y="62"/>
                    </a:lnTo>
                    <a:lnTo>
                      <a:pt x="3" y="61"/>
                    </a:lnTo>
                    <a:lnTo>
                      <a:pt x="5" y="59"/>
                    </a:lnTo>
                    <a:lnTo>
                      <a:pt x="5" y="56"/>
                    </a:lnTo>
                    <a:lnTo>
                      <a:pt x="6" y="53"/>
                    </a:lnTo>
                    <a:lnTo>
                      <a:pt x="6" y="51"/>
                    </a:lnTo>
                    <a:lnTo>
                      <a:pt x="8" y="50"/>
                    </a:lnTo>
                    <a:lnTo>
                      <a:pt x="9" y="47"/>
                    </a:lnTo>
                    <a:lnTo>
                      <a:pt x="8" y="45"/>
                    </a:lnTo>
                    <a:lnTo>
                      <a:pt x="8" y="45"/>
                    </a:lnTo>
                    <a:lnTo>
                      <a:pt x="8" y="42"/>
                    </a:lnTo>
                    <a:lnTo>
                      <a:pt x="8" y="42"/>
                    </a:lnTo>
                    <a:lnTo>
                      <a:pt x="9" y="39"/>
                    </a:lnTo>
                    <a:lnTo>
                      <a:pt x="9" y="37"/>
                    </a:lnTo>
                    <a:lnTo>
                      <a:pt x="9" y="36"/>
                    </a:lnTo>
                    <a:lnTo>
                      <a:pt x="11" y="34"/>
                    </a:lnTo>
                    <a:lnTo>
                      <a:pt x="11" y="30"/>
                    </a:lnTo>
                    <a:lnTo>
                      <a:pt x="11" y="26"/>
                    </a:lnTo>
                    <a:lnTo>
                      <a:pt x="11" y="23"/>
                    </a:lnTo>
                    <a:lnTo>
                      <a:pt x="11" y="20"/>
                    </a:lnTo>
                    <a:lnTo>
                      <a:pt x="11" y="15"/>
                    </a:lnTo>
                    <a:lnTo>
                      <a:pt x="11" y="15"/>
                    </a:lnTo>
                    <a:lnTo>
                      <a:pt x="11" y="15"/>
                    </a:lnTo>
                    <a:lnTo>
                      <a:pt x="13" y="14"/>
                    </a:lnTo>
                    <a:lnTo>
                      <a:pt x="14" y="14"/>
                    </a:lnTo>
                    <a:lnTo>
                      <a:pt x="16" y="14"/>
                    </a:lnTo>
                    <a:lnTo>
                      <a:pt x="17" y="14"/>
                    </a:lnTo>
                    <a:lnTo>
                      <a:pt x="17" y="15"/>
                    </a:lnTo>
                    <a:lnTo>
                      <a:pt x="20" y="17"/>
                    </a:lnTo>
                    <a:lnTo>
                      <a:pt x="22" y="19"/>
                    </a:lnTo>
                    <a:lnTo>
                      <a:pt x="24" y="19"/>
                    </a:lnTo>
                    <a:lnTo>
                      <a:pt x="25" y="20"/>
                    </a:lnTo>
                    <a:lnTo>
                      <a:pt x="27" y="22"/>
                    </a:lnTo>
                    <a:lnTo>
                      <a:pt x="33" y="22"/>
                    </a:lnTo>
                    <a:lnTo>
                      <a:pt x="38" y="19"/>
                    </a:lnTo>
                    <a:lnTo>
                      <a:pt x="42" y="17"/>
                    </a:lnTo>
                    <a:lnTo>
                      <a:pt x="47" y="14"/>
                    </a:lnTo>
                    <a:lnTo>
                      <a:pt x="50" y="11"/>
                    </a:lnTo>
                    <a:lnTo>
                      <a:pt x="55" y="8"/>
                    </a:lnTo>
                    <a:lnTo>
                      <a:pt x="58" y="6"/>
                    </a:lnTo>
                    <a:lnTo>
                      <a:pt x="63" y="3"/>
                    </a:lnTo>
                    <a:lnTo>
                      <a:pt x="67" y="0"/>
                    </a:lnTo>
                    <a:lnTo>
                      <a:pt x="69" y="4"/>
                    </a:lnTo>
                    <a:lnTo>
                      <a:pt x="70" y="9"/>
                    </a:lnTo>
                    <a:lnTo>
                      <a:pt x="70" y="14"/>
                    </a:lnTo>
                    <a:lnTo>
                      <a:pt x="72" y="19"/>
                    </a:lnTo>
                    <a:lnTo>
                      <a:pt x="70" y="19"/>
                    </a:lnTo>
                    <a:lnTo>
                      <a:pt x="72" y="22"/>
                    </a:lnTo>
                    <a:lnTo>
                      <a:pt x="74" y="22"/>
                    </a:lnTo>
                    <a:lnTo>
                      <a:pt x="75" y="22"/>
                    </a:lnTo>
                    <a:lnTo>
                      <a:pt x="77" y="23"/>
                    </a:lnTo>
                    <a:lnTo>
                      <a:pt x="74" y="2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79" name="Freeform 106">
                <a:extLst>
                  <a:ext uri="{FF2B5EF4-FFF2-40B4-BE49-F238E27FC236}">
                    <a16:creationId xmlns:a16="http://schemas.microsoft.com/office/drawing/2014/main" id="{757E439F-037D-86DE-408F-2C4832027523}"/>
                  </a:ext>
                </a:extLst>
              </p:cNvPr>
              <p:cNvSpPr>
                <a:spLocks noEditPoints="1"/>
              </p:cNvSpPr>
              <p:nvPr/>
            </p:nvSpPr>
            <p:spPr bwMode="gray">
              <a:xfrm>
                <a:off x="4845" y="682"/>
                <a:ext cx="390" cy="459"/>
              </a:xfrm>
              <a:custGeom>
                <a:avLst/>
                <a:gdLst>
                  <a:gd name="T0" fmla="*/ 8 w 390"/>
                  <a:gd name="T1" fmla="*/ 457 h 459"/>
                  <a:gd name="T2" fmla="*/ 79 w 390"/>
                  <a:gd name="T3" fmla="*/ 412 h 459"/>
                  <a:gd name="T4" fmla="*/ 74 w 390"/>
                  <a:gd name="T5" fmla="*/ 421 h 459"/>
                  <a:gd name="T6" fmla="*/ 93 w 390"/>
                  <a:gd name="T7" fmla="*/ 387 h 459"/>
                  <a:gd name="T8" fmla="*/ 104 w 390"/>
                  <a:gd name="T9" fmla="*/ 376 h 459"/>
                  <a:gd name="T10" fmla="*/ 107 w 390"/>
                  <a:gd name="T11" fmla="*/ 377 h 459"/>
                  <a:gd name="T12" fmla="*/ 127 w 390"/>
                  <a:gd name="T13" fmla="*/ 338 h 459"/>
                  <a:gd name="T14" fmla="*/ 119 w 390"/>
                  <a:gd name="T15" fmla="*/ 295 h 459"/>
                  <a:gd name="T16" fmla="*/ 91 w 390"/>
                  <a:gd name="T17" fmla="*/ 288 h 459"/>
                  <a:gd name="T18" fmla="*/ 94 w 390"/>
                  <a:gd name="T19" fmla="*/ 285 h 459"/>
                  <a:gd name="T20" fmla="*/ 104 w 390"/>
                  <a:gd name="T21" fmla="*/ 276 h 459"/>
                  <a:gd name="T22" fmla="*/ 140 w 390"/>
                  <a:gd name="T23" fmla="*/ 276 h 459"/>
                  <a:gd name="T24" fmla="*/ 121 w 390"/>
                  <a:gd name="T25" fmla="*/ 266 h 459"/>
                  <a:gd name="T26" fmla="*/ 104 w 390"/>
                  <a:gd name="T27" fmla="*/ 279 h 459"/>
                  <a:gd name="T28" fmla="*/ 108 w 390"/>
                  <a:gd name="T29" fmla="*/ 291 h 459"/>
                  <a:gd name="T30" fmla="*/ 114 w 390"/>
                  <a:gd name="T31" fmla="*/ 280 h 459"/>
                  <a:gd name="T32" fmla="*/ 116 w 390"/>
                  <a:gd name="T33" fmla="*/ 307 h 459"/>
                  <a:gd name="T34" fmla="*/ 121 w 390"/>
                  <a:gd name="T35" fmla="*/ 316 h 459"/>
                  <a:gd name="T36" fmla="*/ 124 w 390"/>
                  <a:gd name="T37" fmla="*/ 324 h 459"/>
                  <a:gd name="T38" fmla="*/ 143 w 390"/>
                  <a:gd name="T39" fmla="*/ 293 h 459"/>
                  <a:gd name="T40" fmla="*/ 157 w 390"/>
                  <a:gd name="T41" fmla="*/ 259 h 459"/>
                  <a:gd name="T42" fmla="*/ 193 w 390"/>
                  <a:gd name="T43" fmla="*/ 262 h 459"/>
                  <a:gd name="T44" fmla="*/ 168 w 390"/>
                  <a:gd name="T45" fmla="*/ 265 h 459"/>
                  <a:gd name="T46" fmla="*/ 152 w 390"/>
                  <a:gd name="T47" fmla="*/ 276 h 459"/>
                  <a:gd name="T48" fmla="*/ 161 w 390"/>
                  <a:gd name="T49" fmla="*/ 290 h 459"/>
                  <a:gd name="T50" fmla="*/ 188 w 390"/>
                  <a:gd name="T51" fmla="*/ 273 h 459"/>
                  <a:gd name="T52" fmla="*/ 197 w 390"/>
                  <a:gd name="T53" fmla="*/ 252 h 459"/>
                  <a:gd name="T54" fmla="*/ 99 w 390"/>
                  <a:gd name="T55" fmla="*/ 255 h 459"/>
                  <a:gd name="T56" fmla="*/ 169 w 390"/>
                  <a:gd name="T57" fmla="*/ 216 h 459"/>
                  <a:gd name="T58" fmla="*/ 257 w 390"/>
                  <a:gd name="T59" fmla="*/ 180 h 459"/>
                  <a:gd name="T60" fmla="*/ 311 w 390"/>
                  <a:gd name="T61" fmla="*/ 107 h 459"/>
                  <a:gd name="T62" fmla="*/ 310 w 390"/>
                  <a:gd name="T63" fmla="*/ 105 h 459"/>
                  <a:gd name="T64" fmla="*/ 293 w 390"/>
                  <a:gd name="T65" fmla="*/ 104 h 459"/>
                  <a:gd name="T66" fmla="*/ 285 w 390"/>
                  <a:gd name="T67" fmla="*/ 130 h 459"/>
                  <a:gd name="T68" fmla="*/ 285 w 390"/>
                  <a:gd name="T69" fmla="*/ 152 h 459"/>
                  <a:gd name="T70" fmla="*/ 258 w 390"/>
                  <a:gd name="T71" fmla="*/ 194 h 459"/>
                  <a:gd name="T72" fmla="*/ 235 w 390"/>
                  <a:gd name="T73" fmla="*/ 194 h 459"/>
                  <a:gd name="T74" fmla="*/ 218 w 390"/>
                  <a:gd name="T75" fmla="*/ 223 h 459"/>
                  <a:gd name="T76" fmla="*/ 185 w 390"/>
                  <a:gd name="T77" fmla="*/ 230 h 459"/>
                  <a:gd name="T78" fmla="*/ 147 w 390"/>
                  <a:gd name="T79" fmla="*/ 244 h 459"/>
                  <a:gd name="T80" fmla="*/ 132 w 390"/>
                  <a:gd name="T81" fmla="*/ 263 h 459"/>
                  <a:gd name="T82" fmla="*/ 165 w 390"/>
                  <a:gd name="T83" fmla="*/ 255 h 459"/>
                  <a:gd name="T84" fmla="*/ 196 w 390"/>
                  <a:gd name="T85" fmla="*/ 248 h 459"/>
                  <a:gd name="T86" fmla="*/ 207 w 390"/>
                  <a:gd name="T87" fmla="*/ 271 h 459"/>
                  <a:gd name="T88" fmla="*/ 230 w 390"/>
                  <a:gd name="T89" fmla="*/ 241 h 459"/>
                  <a:gd name="T90" fmla="*/ 240 w 390"/>
                  <a:gd name="T91" fmla="*/ 248 h 459"/>
                  <a:gd name="T92" fmla="*/ 266 w 390"/>
                  <a:gd name="T93" fmla="*/ 240 h 459"/>
                  <a:gd name="T94" fmla="*/ 279 w 390"/>
                  <a:gd name="T95" fmla="*/ 235 h 459"/>
                  <a:gd name="T96" fmla="*/ 290 w 390"/>
                  <a:gd name="T97" fmla="*/ 229 h 459"/>
                  <a:gd name="T98" fmla="*/ 294 w 390"/>
                  <a:gd name="T99" fmla="*/ 237 h 459"/>
                  <a:gd name="T100" fmla="*/ 301 w 390"/>
                  <a:gd name="T101" fmla="*/ 202 h 459"/>
                  <a:gd name="T102" fmla="*/ 313 w 390"/>
                  <a:gd name="T103" fmla="*/ 163 h 459"/>
                  <a:gd name="T104" fmla="*/ 279 w 390"/>
                  <a:gd name="T105" fmla="*/ 80 h 459"/>
                  <a:gd name="T106" fmla="*/ 310 w 390"/>
                  <a:gd name="T107" fmla="*/ 8 h 459"/>
                  <a:gd name="T108" fmla="*/ 377 w 390"/>
                  <a:gd name="T109" fmla="*/ 46 h 459"/>
                  <a:gd name="T110" fmla="*/ 354 w 390"/>
                  <a:gd name="T111" fmla="*/ 35 h 459"/>
                  <a:gd name="T112" fmla="*/ 316 w 390"/>
                  <a:gd name="T113" fmla="*/ 3 h 459"/>
                  <a:gd name="T114" fmla="*/ 310 w 390"/>
                  <a:gd name="T115" fmla="*/ 57 h 459"/>
                  <a:gd name="T116" fmla="*/ 286 w 390"/>
                  <a:gd name="T117" fmla="*/ 69 h 459"/>
                  <a:gd name="T118" fmla="*/ 291 w 390"/>
                  <a:gd name="T119" fmla="*/ 97 h 459"/>
                  <a:gd name="T120" fmla="*/ 294 w 390"/>
                  <a:gd name="T121" fmla="*/ 80 h 459"/>
                  <a:gd name="T122" fmla="*/ 338 w 390"/>
                  <a:gd name="T123" fmla="*/ 82 h 459"/>
                  <a:gd name="T124" fmla="*/ 374 w 390"/>
                  <a:gd name="T125" fmla="*/ 6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0" h="459">
                    <a:moveTo>
                      <a:pt x="2" y="456"/>
                    </a:moveTo>
                    <a:lnTo>
                      <a:pt x="2" y="456"/>
                    </a:lnTo>
                    <a:lnTo>
                      <a:pt x="2" y="456"/>
                    </a:lnTo>
                    <a:lnTo>
                      <a:pt x="0" y="457"/>
                    </a:lnTo>
                    <a:lnTo>
                      <a:pt x="0" y="457"/>
                    </a:lnTo>
                    <a:lnTo>
                      <a:pt x="2" y="457"/>
                    </a:lnTo>
                    <a:lnTo>
                      <a:pt x="3" y="459"/>
                    </a:lnTo>
                    <a:lnTo>
                      <a:pt x="5" y="457"/>
                    </a:lnTo>
                    <a:lnTo>
                      <a:pt x="5" y="457"/>
                    </a:lnTo>
                    <a:lnTo>
                      <a:pt x="5" y="456"/>
                    </a:lnTo>
                    <a:lnTo>
                      <a:pt x="2" y="456"/>
                    </a:lnTo>
                    <a:close/>
                    <a:moveTo>
                      <a:pt x="11" y="453"/>
                    </a:moveTo>
                    <a:lnTo>
                      <a:pt x="10" y="454"/>
                    </a:lnTo>
                    <a:lnTo>
                      <a:pt x="10" y="454"/>
                    </a:lnTo>
                    <a:lnTo>
                      <a:pt x="8" y="454"/>
                    </a:lnTo>
                    <a:lnTo>
                      <a:pt x="8" y="454"/>
                    </a:lnTo>
                    <a:lnTo>
                      <a:pt x="8" y="457"/>
                    </a:lnTo>
                    <a:lnTo>
                      <a:pt x="10" y="457"/>
                    </a:lnTo>
                    <a:lnTo>
                      <a:pt x="10" y="456"/>
                    </a:lnTo>
                    <a:lnTo>
                      <a:pt x="11" y="453"/>
                    </a:lnTo>
                    <a:lnTo>
                      <a:pt x="11" y="453"/>
                    </a:lnTo>
                    <a:lnTo>
                      <a:pt x="11" y="453"/>
                    </a:lnTo>
                    <a:close/>
                    <a:moveTo>
                      <a:pt x="32" y="448"/>
                    </a:moveTo>
                    <a:lnTo>
                      <a:pt x="30" y="448"/>
                    </a:lnTo>
                    <a:lnTo>
                      <a:pt x="30" y="446"/>
                    </a:lnTo>
                    <a:lnTo>
                      <a:pt x="28" y="446"/>
                    </a:lnTo>
                    <a:lnTo>
                      <a:pt x="28" y="449"/>
                    </a:lnTo>
                    <a:lnTo>
                      <a:pt x="30" y="449"/>
                    </a:lnTo>
                    <a:lnTo>
                      <a:pt x="32" y="449"/>
                    </a:lnTo>
                    <a:lnTo>
                      <a:pt x="32" y="448"/>
                    </a:lnTo>
                    <a:close/>
                    <a:moveTo>
                      <a:pt x="82" y="407"/>
                    </a:moveTo>
                    <a:lnTo>
                      <a:pt x="80" y="409"/>
                    </a:lnTo>
                    <a:lnTo>
                      <a:pt x="79" y="410"/>
                    </a:lnTo>
                    <a:lnTo>
                      <a:pt x="79" y="412"/>
                    </a:lnTo>
                    <a:lnTo>
                      <a:pt x="77" y="412"/>
                    </a:lnTo>
                    <a:lnTo>
                      <a:pt x="77" y="412"/>
                    </a:lnTo>
                    <a:lnTo>
                      <a:pt x="77" y="412"/>
                    </a:lnTo>
                    <a:lnTo>
                      <a:pt x="75" y="410"/>
                    </a:lnTo>
                    <a:lnTo>
                      <a:pt x="75" y="412"/>
                    </a:lnTo>
                    <a:lnTo>
                      <a:pt x="74" y="412"/>
                    </a:lnTo>
                    <a:lnTo>
                      <a:pt x="75" y="413"/>
                    </a:lnTo>
                    <a:lnTo>
                      <a:pt x="75" y="413"/>
                    </a:lnTo>
                    <a:lnTo>
                      <a:pt x="74" y="415"/>
                    </a:lnTo>
                    <a:lnTo>
                      <a:pt x="72" y="417"/>
                    </a:lnTo>
                    <a:lnTo>
                      <a:pt x="72" y="417"/>
                    </a:lnTo>
                    <a:lnTo>
                      <a:pt x="72" y="418"/>
                    </a:lnTo>
                    <a:lnTo>
                      <a:pt x="71" y="421"/>
                    </a:lnTo>
                    <a:lnTo>
                      <a:pt x="71" y="421"/>
                    </a:lnTo>
                    <a:lnTo>
                      <a:pt x="71" y="423"/>
                    </a:lnTo>
                    <a:lnTo>
                      <a:pt x="72" y="423"/>
                    </a:lnTo>
                    <a:lnTo>
                      <a:pt x="74" y="421"/>
                    </a:lnTo>
                    <a:lnTo>
                      <a:pt x="74" y="421"/>
                    </a:lnTo>
                    <a:lnTo>
                      <a:pt x="72" y="421"/>
                    </a:lnTo>
                    <a:lnTo>
                      <a:pt x="72" y="420"/>
                    </a:lnTo>
                    <a:lnTo>
                      <a:pt x="74" y="418"/>
                    </a:lnTo>
                    <a:lnTo>
                      <a:pt x="75" y="418"/>
                    </a:lnTo>
                    <a:lnTo>
                      <a:pt x="74" y="417"/>
                    </a:lnTo>
                    <a:lnTo>
                      <a:pt x="74" y="417"/>
                    </a:lnTo>
                    <a:lnTo>
                      <a:pt x="75" y="415"/>
                    </a:lnTo>
                    <a:lnTo>
                      <a:pt x="77" y="413"/>
                    </a:lnTo>
                    <a:lnTo>
                      <a:pt x="79" y="413"/>
                    </a:lnTo>
                    <a:lnTo>
                      <a:pt x="80" y="413"/>
                    </a:lnTo>
                    <a:lnTo>
                      <a:pt x="82" y="412"/>
                    </a:lnTo>
                    <a:lnTo>
                      <a:pt x="82" y="410"/>
                    </a:lnTo>
                    <a:lnTo>
                      <a:pt x="82" y="409"/>
                    </a:lnTo>
                    <a:lnTo>
                      <a:pt x="82" y="407"/>
                    </a:lnTo>
                    <a:close/>
                    <a:moveTo>
                      <a:pt x="94" y="388"/>
                    </a:moveTo>
                    <a:lnTo>
                      <a:pt x="93" y="387"/>
                    </a:lnTo>
                    <a:lnTo>
                      <a:pt x="93" y="387"/>
                    </a:lnTo>
                    <a:lnTo>
                      <a:pt x="93" y="388"/>
                    </a:lnTo>
                    <a:lnTo>
                      <a:pt x="93" y="392"/>
                    </a:lnTo>
                    <a:lnTo>
                      <a:pt x="93" y="392"/>
                    </a:lnTo>
                    <a:lnTo>
                      <a:pt x="94" y="392"/>
                    </a:lnTo>
                    <a:lnTo>
                      <a:pt x="94" y="390"/>
                    </a:lnTo>
                    <a:lnTo>
                      <a:pt x="94" y="388"/>
                    </a:lnTo>
                    <a:close/>
                    <a:moveTo>
                      <a:pt x="100" y="384"/>
                    </a:moveTo>
                    <a:lnTo>
                      <a:pt x="99" y="382"/>
                    </a:lnTo>
                    <a:lnTo>
                      <a:pt x="99" y="382"/>
                    </a:lnTo>
                    <a:lnTo>
                      <a:pt x="97" y="382"/>
                    </a:lnTo>
                    <a:lnTo>
                      <a:pt x="99" y="384"/>
                    </a:lnTo>
                    <a:lnTo>
                      <a:pt x="100" y="384"/>
                    </a:lnTo>
                    <a:lnTo>
                      <a:pt x="100" y="384"/>
                    </a:lnTo>
                    <a:close/>
                    <a:moveTo>
                      <a:pt x="107" y="376"/>
                    </a:moveTo>
                    <a:lnTo>
                      <a:pt x="105" y="376"/>
                    </a:lnTo>
                    <a:lnTo>
                      <a:pt x="104" y="376"/>
                    </a:lnTo>
                    <a:lnTo>
                      <a:pt x="104" y="377"/>
                    </a:lnTo>
                    <a:lnTo>
                      <a:pt x="104" y="377"/>
                    </a:lnTo>
                    <a:lnTo>
                      <a:pt x="102" y="377"/>
                    </a:lnTo>
                    <a:lnTo>
                      <a:pt x="100" y="379"/>
                    </a:lnTo>
                    <a:lnTo>
                      <a:pt x="99" y="379"/>
                    </a:lnTo>
                    <a:lnTo>
                      <a:pt x="99" y="379"/>
                    </a:lnTo>
                    <a:lnTo>
                      <a:pt x="97" y="381"/>
                    </a:lnTo>
                    <a:lnTo>
                      <a:pt x="97" y="381"/>
                    </a:lnTo>
                    <a:lnTo>
                      <a:pt x="99" y="382"/>
                    </a:lnTo>
                    <a:lnTo>
                      <a:pt x="100" y="382"/>
                    </a:lnTo>
                    <a:lnTo>
                      <a:pt x="102" y="381"/>
                    </a:lnTo>
                    <a:lnTo>
                      <a:pt x="102" y="381"/>
                    </a:lnTo>
                    <a:lnTo>
                      <a:pt x="102" y="381"/>
                    </a:lnTo>
                    <a:lnTo>
                      <a:pt x="104" y="379"/>
                    </a:lnTo>
                    <a:lnTo>
                      <a:pt x="104" y="377"/>
                    </a:lnTo>
                    <a:lnTo>
                      <a:pt x="105" y="377"/>
                    </a:lnTo>
                    <a:lnTo>
                      <a:pt x="107" y="377"/>
                    </a:lnTo>
                    <a:lnTo>
                      <a:pt x="107" y="376"/>
                    </a:lnTo>
                    <a:lnTo>
                      <a:pt x="107" y="376"/>
                    </a:lnTo>
                    <a:close/>
                    <a:moveTo>
                      <a:pt x="122" y="337"/>
                    </a:moveTo>
                    <a:lnTo>
                      <a:pt x="121" y="337"/>
                    </a:lnTo>
                    <a:lnTo>
                      <a:pt x="119" y="338"/>
                    </a:lnTo>
                    <a:lnTo>
                      <a:pt x="119" y="340"/>
                    </a:lnTo>
                    <a:lnTo>
                      <a:pt x="121" y="340"/>
                    </a:lnTo>
                    <a:lnTo>
                      <a:pt x="122" y="340"/>
                    </a:lnTo>
                    <a:lnTo>
                      <a:pt x="124" y="338"/>
                    </a:lnTo>
                    <a:lnTo>
                      <a:pt x="122" y="337"/>
                    </a:lnTo>
                    <a:close/>
                    <a:moveTo>
                      <a:pt x="130" y="329"/>
                    </a:moveTo>
                    <a:lnTo>
                      <a:pt x="130" y="329"/>
                    </a:lnTo>
                    <a:lnTo>
                      <a:pt x="130" y="329"/>
                    </a:lnTo>
                    <a:lnTo>
                      <a:pt x="129" y="332"/>
                    </a:lnTo>
                    <a:lnTo>
                      <a:pt x="129" y="334"/>
                    </a:lnTo>
                    <a:lnTo>
                      <a:pt x="127" y="337"/>
                    </a:lnTo>
                    <a:lnTo>
                      <a:pt x="127" y="338"/>
                    </a:lnTo>
                    <a:lnTo>
                      <a:pt x="129" y="337"/>
                    </a:lnTo>
                    <a:lnTo>
                      <a:pt x="129" y="335"/>
                    </a:lnTo>
                    <a:lnTo>
                      <a:pt x="130" y="332"/>
                    </a:lnTo>
                    <a:lnTo>
                      <a:pt x="130" y="329"/>
                    </a:lnTo>
                    <a:lnTo>
                      <a:pt x="130" y="329"/>
                    </a:lnTo>
                    <a:close/>
                    <a:moveTo>
                      <a:pt x="108" y="309"/>
                    </a:moveTo>
                    <a:lnTo>
                      <a:pt x="107" y="310"/>
                    </a:lnTo>
                    <a:lnTo>
                      <a:pt x="107" y="312"/>
                    </a:lnTo>
                    <a:lnTo>
                      <a:pt x="107" y="312"/>
                    </a:lnTo>
                    <a:lnTo>
                      <a:pt x="108" y="310"/>
                    </a:lnTo>
                    <a:lnTo>
                      <a:pt x="108" y="309"/>
                    </a:lnTo>
                    <a:close/>
                    <a:moveTo>
                      <a:pt x="118" y="293"/>
                    </a:moveTo>
                    <a:lnTo>
                      <a:pt x="116" y="295"/>
                    </a:lnTo>
                    <a:lnTo>
                      <a:pt x="116" y="296"/>
                    </a:lnTo>
                    <a:lnTo>
                      <a:pt x="116" y="296"/>
                    </a:lnTo>
                    <a:lnTo>
                      <a:pt x="118" y="296"/>
                    </a:lnTo>
                    <a:lnTo>
                      <a:pt x="119" y="295"/>
                    </a:lnTo>
                    <a:lnTo>
                      <a:pt x="119" y="295"/>
                    </a:lnTo>
                    <a:lnTo>
                      <a:pt x="118" y="293"/>
                    </a:lnTo>
                    <a:close/>
                    <a:moveTo>
                      <a:pt x="114" y="295"/>
                    </a:moveTo>
                    <a:lnTo>
                      <a:pt x="114" y="293"/>
                    </a:lnTo>
                    <a:lnTo>
                      <a:pt x="111" y="295"/>
                    </a:lnTo>
                    <a:lnTo>
                      <a:pt x="111" y="295"/>
                    </a:lnTo>
                    <a:lnTo>
                      <a:pt x="111" y="298"/>
                    </a:lnTo>
                    <a:lnTo>
                      <a:pt x="111" y="298"/>
                    </a:lnTo>
                    <a:lnTo>
                      <a:pt x="111" y="299"/>
                    </a:lnTo>
                    <a:lnTo>
                      <a:pt x="111" y="299"/>
                    </a:lnTo>
                    <a:lnTo>
                      <a:pt x="111" y="299"/>
                    </a:lnTo>
                    <a:lnTo>
                      <a:pt x="111" y="301"/>
                    </a:lnTo>
                    <a:lnTo>
                      <a:pt x="113" y="299"/>
                    </a:lnTo>
                    <a:lnTo>
                      <a:pt x="114" y="298"/>
                    </a:lnTo>
                    <a:lnTo>
                      <a:pt x="114" y="295"/>
                    </a:lnTo>
                    <a:close/>
                    <a:moveTo>
                      <a:pt x="93" y="290"/>
                    </a:moveTo>
                    <a:lnTo>
                      <a:pt x="91" y="288"/>
                    </a:lnTo>
                    <a:lnTo>
                      <a:pt x="91" y="288"/>
                    </a:lnTo>
                    <a:lnTo>
                      <a:pt x="89" y="288"/>
                    </a:lnTo>
                    <a:lnTo>
                      <a:pt x="89" y="288"/>
                    </a:lnTo>
                    <a:lnTo>
                      <a:pt x="88" y="288"/>
                    </a:lnTo>
                    <a:lnTo>
                      <a:pt x="88" y="291"/>
                    </a:lnTo>
                    <a:lnTo>
                      <a:pt x="88" y="291"/>
                    </a:lnTo>
                    <a:lnTo>
                      <a:pt x="89" y="291"/>
                    </a:lnTo>
                    <a:lnTo>
                      <a:pt x="89" y="293"/>
                    </a:lnTo>
                    <a:lnTo>
                      <a:pt x="91" y="291"/>
                    </a:lnTo>
                    <a:lnTo>
                      <a:pt x="91" y="291"/>
                    </a:lnTo>
                    <a:lnTo>
                      <a:pt x="93" y="291"/>
                    </a:lnTo>
                    <a:lnTo>
                      <a:pt x="93" y="290"/>
                    </a:lnTo>
                    <a:close/>
                    <a:moveTo>
                      <a:pt x="97" y="284"/>
                    </a:moveTo>
                    <a:lnTo>
                      <a:pt x="96" y="282"/>
                    </a:lnTo>
                    <a:lnTo>
                      <a:pt x="96" y="280"/>
                    </a:lnTo>
                    <a:lnTo>
                      <a:pt x="94" y="285"/>
                    </a:lnTo>
                    <a:lnTo>
                      <a:pt x="94" y="285"/>
                    </a:lnTo>
                    <a:lnTo>
                      <a:pt x="94" y="285"/>
                    </a:lnTo>
                    <a:lnTo>
                      <a:pt x="96" y="287"/>
                    </a:lnTo>
                    <a:lnTo>
                      <a:pt x="96" y="287"/>
                    </a:lnTo>
                    <a:lnTo>
                      <a:pt x="96" y="285"/>
                    </a:lnTo>
                    <a:lnTo>
                      <a:pt x="97" y="285"/>
                    </a:lnTo>
                    <a:lnTo>
                      <a:pt x="97" y="284"/>
                    </a:lnTo>
                    <a:lnTo>
                      <a:pt x="97" y="284"/>
                    </a:lnTo>
                    <a:close/>
                    <a:moveTo>
                      <a:pt x="104" y="276"/>
                    </a:moveTo>
                    <a:lnTo>
                      <a:pt x="102" y="277"/>
                    </a:lnTo>
                    <a:lnTo>
                      <a:pt x="102" y="279"/>
                    </a:lnTo>
                    <a:lnTo>
                      <a:pt x="102" y="279"/>
                    </a:lnTo>
                    <a:lnTo>
                      <a:pt x="100" y="280"/>
                    </a:lnTo>
                    <a:lnTo>
                      <a:pt x="102" y="280"/>
                    </a:lnTo>
                    <a:lnTo>
                      <a:pt x="102" y="279"/>
                    </a:lnTo>
                    <a:lnTo>
                      <a:pt x="104" y="277"/>
                    </a:lnTo>
                    <a:lnTo>
                      <a:pt x="104" y="276"/>
                    </a:lnTo>
                    <a:lnTo>
                      <a:pt x="104" y="276"/>
                    </a:lnTo>
                    <a:close/>
                    <a:moveTo>
                      <a:pt x="108" y="266"/>
                    </a:moveTo>
                    <a:lnTo>
                      <a:pt x="107" y="266"/>
                    </a:lnTo>
                    <a:lnTo>
                      <a:pt x="107" y="266"/>
                    </a:lnTo>
                    <a:lnTo>
                      <a:pt x="107" y="268"/>
                    </a:lnTo>
                    <a:lnTo>
                      <a:pt x="107" y="270"/>
                    </a:lnTo>
                    <a:lnTo>
                      <a:pt x="108" y="268"/>
                    </a:lnTo>
                    <a:lnTo>
                      <a:pt x="108" y="266"/>
                    </a:lnTo>
                    <a:close/>
                    <a:moveTo>
                      <a:pt x="146" y="285"/>
                    </a:moveTo>
                    <a:lnTo>
                      <a:pt x="146" y="284"/>
                    </a:lnTo>
                    <a:lnTo>
                      <a:pt x="146" y="284"/>
                    </a:lnTo>
                    <a:lnTo>
                      <a:pt x="146" y="282"/>
                    </a:lnTo>
                    <a:lnTo>
                      <a:pt x="144" y="282"/>
                    </a:lnTo>
                    <a:lnTo>
                      <a:pt x="144" y="280"/>
                    </a:lnTo>
                    <a:lnTo>
                      <a:pt x="144" y="279"/>
                    </a:lnTo>
                    <a:lnTo>
                      <a:pt x="141" y="279"/>
                    </a:lnTo>
                    <a:lnTo>
                      <a:pt x="138" y="279"/>
                    </a:lnTo>
                    <a:lnTo>
                      <a:pt x="140" y="276"/>
                    </a:lnTo>
                    <a:lnTo>
                      <a:pt x="141" y="273"/>
                    </a:lnTo>
                    <a:lnTo>
                      <a:pt x="143" y="273"/>
                    </a:lnTo>
                    <a:lnTo>
                      <a:pt x="141" y="271"/>
                    </a:lnTo>
                    <a:lnTo>
                      <a:pt x="141" y="271"/>
                    </a:lnTo>
                    <a:lnTo>
                      <a:pt x="140" y="270"/>
                    </a:lnTo>
                    <a:lnTo>
                      <a:pt x="138" y="271"/>
                    </a:lnTo>
                    <a:lnTo>
                      <a:pt x="136" y="271"/>
                    </a:lnTo>
                    <a:lnTo>
                      <a:pt x="136" y="273"/>
                    </a:lnTo>
                    <a:lnTo>
                      <a:pt x="135" y="273"/>
                    </a:lnTo>
                    <a:lnTo>
                      <a:pt x="132" y="271"/>
                    </a:lnTo>
                    <a:lnTo>
                      <a:pt x="130" y="270"/>
                    </a:lnTo>
                    <a:lnTo>
                      <a:pt x="129" y="268"/>
                    </a:lnTo>
                    <a:lnTo>
                      <a:pt x="129" y="266"/>
                    </a:lnTo>
                    <a:lnTo>
                      <a:pt x="127" y="265"/>
                    </a:lnTo>
                    <a:lnTo>
                      <a:pt x="124" y="265"/>
                    </a:lnTo>
                    <a:lnTo>
                      <a:pt x="124" y="265"/>
                    </a:lnTo>
                    <a:lnTo>
                      <a:pt x="121" y="266"/>
                    </a:lnTo>
                    <a:lnTo>
                      <a:pt x="119" y="268"/>
                    </a:lnTo>
                    <a:lnTo>
                      <a:pt x="119" y="268"/>
                    </a:lnTo>
                    <a:lnTo>
                      <a:pt x="118" y="271"/>
                    </a:lnTo>
                    <a:lnTo>
                      <a:pt x="116" y="271"/>
                    </a:lnTo>
                    <a:lnTo>
                      <a:pt x="114" y="271"/>
                    </a:lnTo>
                    <a:lnTo>
                      <a:pt x="114" y="271"/>
                    </a:lnTo>
                    <a:lnTo>
                      <a:pt x="113" y="273"/>
                    </a:lnTo>
                    <a:lnTo>
                      <a:pt x="113" y="273"/>
                    </a:lnTo>
                    <a:lnTo>
                      <a:pt x="110" y="274"/>
                    </a:lnTo>
                    <a:lnTo>
                      <a:pt x="108" y="274"/>
                    </a:lnTo>
                    <a:lnTo>
                      <a:pt x="108" y="276"/>
                    </a:lnTo>
                    <a:lnTo>
                      <a:pt x="110" y="276"/>
                    </a:lnTo>
                    <a:lnTo>
                      <a:pt x="108" y="277"/>
                    </a:lnTo>
                    <a:lnTo>
                      <a:pt x="107" y="276"/>
                    </a:lnTo>
                    <a:lnTo>
                      <a:pt x="105" y="276"/>
                    </a:lnTo>
                    <a:lnTo>
                      <a:pt x="105" y="277"/>
                    </a:lnTo>
                    <a:lnTo>
                      <a:pt x="104" y="279"/>
                    </a:lnTo>
                    <a:lnTo>
                      <a:pt x="105" y="280"/>
                    </a:lnTo>
                    <a:lnTo>
                      <a:pt x="108" y="282"/>
                    </a:lnTo>
                    <a:lnTo>
                      <a:pt x="110" y="284"/>
                    </a:lnTo>
                    <a:lnTo>
                      <a:pt x="110" y="284"/>
                    </a:lnTo>
                    <a:lnTo>
                      <a:pt x="111" y="287"/>
                    </a:lnTo>
                    <a:lnTo>
                      <a:pt x="110" y="287"/>
                    </a:lnTo>
                    <a:lnTo>
                      <a:pt x="108" y="287"/>
                    </a:lnTo>
                    <a:lnTo>
                      <a:pt x="108" y="284"/>
                    </a:lnTo>
                    <a:lnTo>
                      <a:pt x="107" y="282"/>
                    </a:lnTo>
                    <a:lnTo>
                      <a:pt x="105" y="284"/>
                    </a:lnTo>
                    <a:lnTo>
                      <a:pt x="105" y="285"/>
                    </a:lnTo>
                    <a:lnTo>
                      <a:pt x="107" y="287"/>
                    </a:lnTo>
                    <a:lnTo>
                      <a:pt x="108" y="288"/>
                    </a:lnTo>
                    <a:lnTo>
                      <a:pt x="108" y="290"/>
                    </a:lnTo>
                    <a:lnTo>
                      <a:pt x="108" y="291"/>
                    </a:lnTo>
                    <a:lnTo>
                      <a:pt x="108" y="293"/>
                    </a:lnTo>
                    <a:lnTo>
                      <a:pt x="108" y="291"/>
                    </a:lnTo>
                    <a:lnTo>
                      <a:pt x="111" y="290"/>
                    </a:lnTo>
                    <a:lnTo>
                      <a:pt x="113" y="288"/>
                    </a:lnTo>
                    <a:lnTo>
                      <a:pt x="114" y="290"/>
                    </a:lnTo>
                    <a:lnTo>
                      <a:pt x="114" y="290"/>
                    </a:lnTo>
                    <a:lnTo>
                      <a:pt x="116" y="291"/>
                    </a:lnTo>
                    <a:lnTo>
                      <a:pt x="116" y="291"/>
                    </a:lnTo>
                    <a:lnTo>
                      <a:pt x="118" y="290"/>
                    </a:lnTo>
                    <a:lnTo>
                      <a:pt x="118" y="288"/>
                    </a:lnTo>
                    <a:lnTo>
                      <a:pt x="118" y="288"/>
                    </a:lnTo>
                    <a:lnTo>
                      <a:pt x="118" y="287"/>
                    </a:lnTo>
                    <a:lnTo>
                      <a:pt x="116" y="287"/>
                    </a:lnTo>
                    <a:lnTo>
                      <a:pt x="116" y="287"/>
                    </a:lnTo>
                    <a:lnTo>
                      <a:pt x="114" y="287"/>
                    </a:lnTo>
                    <a:lnTo>
                      <a:pt x="114" y="285"/>
                    </a:lnTo>
                    <a:lnTo>
                      <a:pt x="114" y="284"/>
                    </a:lnTo>
                    <a:lnTo>
                      <a:pt x="114" y="282"/>
                    </a:lnTo>
                    <a:lnTo>
                      <a:pt x="114" y="280"/>
                    </a:lnTo>
                    <a:lnTo>
                      <a:pt x="116" y="280"/>
                    </a:lnTo>
                    <a:lnTo>
                      <a:pt x="116" y="280"/>
                    </a:lnTo>
                    <a:lnTo>
                      <a:pt x="118" y="282"/>
                    </a:lnTo>
                    <a:lnTo>
                      <a:pt x="119" y="285"/>
                    </a:lnTo>
                    <a:lnTo>
                      <a:pt x="121" y="287"/>
                    </a:lnTo>
                    <a:lnTo>
                      <a:pt x="122" y="290"/>
                    </a:lnTo>
                    <a:lnTo>
                      <a:pt x="121" y="291"/>
                    </a:lnTo>
                    <a:lnTo>
                      <a:pt x="121" y="291"/>
                    </a:lnTo>
                    <a:lnTo>
                      <a:pt x="122" y="291"/>
                    </a:lnTo>
                    <a:lnTo>
                      <a:pt x="121" y="295"/>
                    </a:lnTo>
                    <a:lnTo>
                      <a:pt x="119" y="298"/>
                    </a:lnTo>
                    <a:lnTo>
                      <a:pt x="119" y="301"/>
                    </a:lnTo>
                    <a:lnTo>
                      <a:pt x="118" y="302"/>
                    </a:lnTo>
                    <a:lnTo>
                      <a:pt x="116" y="302"/>
                    </a:lnTo>
                    <a:lnTo>
                      <a:pt x="114" y="302"/>
                    </a:lnTo>
                    <a:lnTo>
                      <a:pt x="114" y="306"/>
                    </a:lnTo>
                    <a:lnTo>
                      <a:pt x="116" y="307"/>
                    </a:lnTo>
                    <a:lnTo>
                      <a:pt x="114" y="309"/>
                    </a:lnTo>
                    <a:lnTo>
                      <a:pt x="116" y="310"/>
                    </a:lnTo>
                    <a:lnTo>
                      <a:pt x="116" y="310"/>
                    </a:lnTo>
                    <a:lnTo>
                      <a:pt x="118" y="313"/>
                    </a:lnTo>
                    <a:lnTo>
                      <a:pt x="118" y="315"/>
                    </a:lnTo>
                    <a:lnTo>
                      <a:pt x="116" y="316"/>
                    </a:lnTo>
                    <a:lnTo>
                      <a:pt x="116" y="316"/>
                    </a:lnTo>
                    <a:lnTo>
                      <a:pt x="114" y="316"/>
                    </a:lnTo>
                    <a:lnTo>
                      <a:pt x="114" y="320"/>
                    </a:lnTo>
                    <a:lnTo>
                      <a:pt x="116" y="320"/>
                    </a:lnTo>
                    <a:lnTo>
                      <a:pt x="118" y="320"/>
                    </a:lnTo>
                    <a:lnTo>
                      <a:pt x="122" y="321"/>
                    </a:lnTo>
                    <a:lnTo>
                      <a:pt x="122" y="321"/>
                    </a:lnTo>
                    <a:lnTo>
                      <a:pt x="122" y="320"/>
                    </a:lnTo>
                    <a:lnTo>
                      <a:pt x="122" y="318"/>
                    </a:lnTo>
                    <a:lnTo>
                      <a:pt x="121" y="316"/>
                    </a:lnTo>
                    <a:lnTo>
                      <a:pt x="121" y="316"/>
                    </a:lnTo>
                    <a:lnTo>
                      <a:pt x="121" y="313"/>
                    </a:lnTo>
                    <a:lnTo>
                      <a:pt x="122" y="312"/>
                    </a:lnTo>
                    <a:lnTo>
                      <a:pt x="124" y="310"/>
                    </a:lnTo>
                    <a:lnTo>
                      <a:pt x="124" y="310"/>
                    </a:lnTo>
                    <a:lnTo>
                      <a:pt x="125" y="310"/>
                    </a:lnTo>
                    <a:lnTo>
                      <a:pt x="125" y="312"/>
                    </a:lnTo>
                    <a:lnTo>
                      <a:pt x="125" y="312"/>
                    </a:lnTo>
                    <a:lnTo>
                      <a:pt x="125" y="313"/>
                    </a:lnTo>
                    <a:lnTo>
                      <a:pt x="125" y="313"/>
                    </a:lnTo>
                    <a:lnTo>
                      <a:pt x="124" y="313"/>
                    </a:lnTo>
                    <a:lnTo>
                      <a:pt x="124" y="315"/>
                    </a:lnTo>
                    <a:lnTo>
                      <a:pt x="125" y="318"/>
                    </a:lnTo>
                    <a:lnTo>
                      <a:pt x="125" y="320"/>
                    </a:lnTo>
                    <a:lnTo>
                      <a:pt x="125" y="323"/>
                    </a:lnTo>
                    <a:lnTo>
                      <a:pt x="124" y="323"/>
                    </a:lnTo>
                    <a:lnTo>
                      <a:pt x="124" y="323"/>
                    </a:lnTo>
                    <a:lnTo>
                      <a:pt x="124" y="324"/>
                    </a:lnTo>
                    <a:lnTo>
                      <a:pt x="124" y="324"/>
                    </a:lnTo>
                    <a:lnTo>
                      <a:pt x="127" y="323"/>
                    </a:lnTo>
                    <a:lnTo>
                      <a:pt x="130" y="320"/>
                    </a:lnTo>
                    <a:lnTo>
                      <a:pt x="130" y="318"/>
                    </a:lnTo>
                    <a:lnTo>
                      <a:pt x="130" y="316"/>
                    </a:lnTo>
                    <a:lnTo>
                      <a:pt x="132" y="316"/>
                    </a:lnTo>
                    <a:lnTo>
                      <a:pt x="133" y="316"/>
                    </a:lnTo>
                    <a:lnTo>
                      <a:pt x="135" y="316"/>
                    </a:lnTo>
                    <a:lnTo>
                      <a:pt x="138" y="312"/>
                    </a:lnTo>
                    <a:lnTo>
                      <a:pt x="138" y="309"/>
                    </a:lnTo>
                    <a:lnTo>
                      <a:pt x="138" y="307"/>
                    </a:lnTo>
                    <a:lnTo>
                      <a:pt x="138" y="304"/>
                    </a:lnTo>
                    <a:lnTo>
                      <a:pt x="138" y="302"/>
                    </a:lnTo>
                    <a:lnTo>
                      <a:pt x="140" y="301"/>
                    </a:lnTo>
                    <a:lnTo>
                      <a:pt x="140" y="298"/>
                    </a:lnTo>
                    <a:lnTo>
                      <a:pt x="141" y="295"/>
                    </a:lnTo>
                    <a:lnTo>
                      <a:pt x="143" y="293"/>
                    </a:lnTo>
                    <a:lnTo>
                      <a:pt x="146" y="287"/>
                    </a:lnTo>
                    <a:lnTo>
                      <a:pt x="147" y="287"/>
                    </a:lnTo>
                    <a:lnTo>
                      <a:pt x="147" y="285"/>
                    </a:lnTo>
                    <a:lnTo>
                      <a:pt x="146" y="285"/>
                    </a:lnTo>
                    <a:close/>
                    <a:moveTo>
                      <a:pt x="154" y="265"/>
                    </a:moveTo>
                    <a:lnTo>
                      <a:pt x="152" y="265"/>
                    </a:lnTo>
                    <a:lnTo>
                      <a:pt x="152" y="265"/>
                    </a:lnTo>
                    <a:lnTo>
                      <a:pt x="150" y="265"/>
                    </a:lnTo>
                    <a:lnTo>
                      <a:pt x="150" y="265"/>
                    </a:lnTo>
                    <a:lnTo>
                      <a:pt x="150" y="266"/>
                    </a:lnTo>
                    <a:lnTo>
                      <a:pt x="152" y="266"/>
                    </a:lnTo>
                    <a:lnTo>
                      <a:pt x="154" y="266"/>
                    </a:lnTo>
                    <a:lnTo>
                      <a:pt x="154" y="265"/>
                    </a:lnTo>
                    <a:lnTo>
                      <a:pt x="155" y="265"/>
                    </a:lnTo>
                    <a:lnTo>
                      <a:pt x="154" y="265"/>
                    </a:lnTo>
                    <a:close/>
                    <a:moveTo>
                      <a:pt x="157" y="260"/>
                    </a:moveTo>
                    <a:lnTo>
                      <a:pt x="157" y="259"/>
                    </a:lnTo>
                    <a:lnTo>
                      <a:pt x="155" y="260"/>
                    </a:lnTo>
                    <a:lnTo>
                      <a:pt x="155" y="260"/>
                    </a:lnTo>
                    <a:lnTo>
                      <a:pt x="155" y="262"/>
                    </a:lnTo>
                    <a:lnTo>
                      <a:pt x="157" y="262"/>
                    </a:lnTo>
                    <a:lnTo>
                      <a:pt x="157" y="260"/>
                    </a:lnTo>
                    <a:lnTo>
                      <a:pt x="157" y="260"/>
                    </a:lnTo>
                    <a:close/>
                    <a:moveTo>
                      <a:pt x="97" y="255"/>
                    </a:moveTo>
                    <a:lnTo>
                      <a:pt x="97" y="260"/>
                    </a:lnTo>
                    <a:lnTo>
                      <a:pt x="97" y="262"/>
                    </a:lnTo>
                    <a:lnTo>
                      <a:pt x="99" y="260"/>
                    </a:lnTo>
                    <a:lnTo>
                      <a:pt x="100" y="259"/>
                    </a:lnTo>
                    <a:lnTo>
                      <a:pt x="100" y="257"/>
                    </a:lnTo>
                    <a:lnTo>
                      <a:pt x="97" y="255"/>
                    </a:lnTo>
                    <a:close/>
                    <a:moveTo>
                      <a:pt x="194" y="266"/>
                    </a:moveTo>
                    <a:lnTo>
                      <a:pt x="194" y="265"/>
                    </a:lnTo>
                    <a:lnTo>
                      <a:pt x="193" y="263"/>
                    </a:lnTo>
                    <a:lnTo>
                      <a:pt x="193" y="262"/>
                    </a:lnTo>
                    <a:lnTo>
                      <a:pt x="193" y="259"/>
                    </a:lnTo>
                    <a:lnTo>
                      <a:pt x="191" y="259"/>
                    </a:lnTo>
                    <a:lnTo>
                      <a:pt x="188" y="257"/>
                    </a:lnTo>
                    <a:lnTo>
                      <a:pt x="186" y="257"/>
                    </a:lnTo>
                    <a:lnTo>
                      <a:pt x="183" y="255"/>
                    </a:lnTo>
                    <a:lnTo>
                      <a:pt x="180" y="255"/>
                    </a:lnTo>
                    <a:lnTo>
                      <a:pt x="179" y="257"/>
                    </a:lnTo>
                    <a:lnTo>
                      <a:pt x="177" y="259"/>
                    </a:lnTo>
                    <a:lnTo>
                      <a:pt x="175" y="259"/>
                    </a:lnTo>
                    <a:lnTo>
                      <a:pt x="175" y="259"/>
                    </a:lnTo>
                    <a:lnTo>
                      <a:pt x="175" y="260"/>
                    </a:lnTo>
                    <a:lnTo>
                      <a:pt x="175" y="262"/>
                    </a:lnTo>
                    <a:lnTo>
                      <a:pt x="174" y="263"/>
                    </a:lnTo>
                    <a:lnTo>
                      <a:pt x="172" y="263"/>
                    </a:lnTo>
                    <a:lnTo>
                      <a:pt x="171" y="263"/>
                    </a:lnTo>
                    <a:lnTo>
                      <a:pt x="169" y="263"/>
                    </a:lnTo>
                    <a:lnTo>
                      <a:pt x="168" y="265"/>
                    </a:lnTo>
                    <a:lnTo>
                      <a:pt x="166" y="265"/>
                    </a:lnTo>
                    <a:lnTo>
                      <a:pt x="165" y="263"/>
                    </a:lnTo>
                    <a:lnTo>
                      <a:pt x="165" y="262"/>
                    </a:lnTo>
                    <a:lnTo>
                      <a:pt x="163" y="262"/>
                    </a:lnTo>
                    <a:lnTo>
                      <a:pt x="161" y="263"/>
                    </a:lnTo>
                    <a:lnTo>
                      <a:pt x="160" y="263"/>
                    </a:lnTo>
                    <a:lnTo>
                      <a:pt x="160" y="265"/>
                    </a:lnTo>
                    <a:lnTo>
                      <a:pt x="160" y="266"/>
                    </a:lnTo>
                    <a:lnTo>
                      <a:pt x="158" y="268"/>
                    </a:lnTo>
                    <a:lnTo>
                      <a:pt x="158" y="270"/>
                    </a:lnTo>
                    <a:lnTo>
                      <a:pt x="157" y="271"/>
                    </a:lnTo>
                    <a:lnTo>
                      <a:pt x="154" y="273"/>
                    </a:lnTo>
                    <a:lnTo>
                      <a:pt x="152" y="274"/>
                    </a:lnTo>
                    <a:lnTo>
                      <a:pt x="149" y="276"/>
                    </a:lnTo>
                    <a:lnTo>
                      <a:pt x="147" y="277"/>
                    </a:lnTo>
                    <a:lnTo>
                      <a:pt x="149" y="277"/>
                    </a:lnTo>
                    <a:lnTo>
                      <a:pt x="152" y="276"/>
                    </a:lnTo>
                    <a:lnTo>
                      <a:pt x="154" y="274"/>
                    </a:lnTo>
                    <a:lnTo>
                      <a:pt x="154" y="274"/>
                    </a:lnTo>
                    <a:lnTo>
                      <a:pt x="154" y="277"/>
                    </a:lnTo>
                    <a:lnTo>
                      <a:pt x="155" y="277"/>
                    </a:lnTo>
                    <a:lnTo>
                      <a:pt x="155" y="277"/>
                    </a:lnTo>
                    <a:lnTo>
                      <a:pt x="155" y="279"/>
                    </a:lnTo>
                    <a:lnTo>
                      <a:pt x="155" y="279"/>
                    </a:lnTo>
                    <a:lnTo>
                      <a:pt x="155" y="280"/>
                    </a:lnTo>
                    <a:lnTo>
                      <a:pt x="155" y="282"/>
                    </a:lnTo>
                    <a:lnTo>
                      <a:pt x="154" y="282"/>
                    </a:lnTo>
                    <a:lnTo>
                      <a:pt x="155" y="284"/>
                    </a:lnTo>
                    <a:lnTo>
                      <a:pt x="155" y="285"/>
                    </a:lnTo>
                    <a:lnTo>
                      <a:pt x="157" y="285"/>
                    </a:lnTo>
                    <a:lnTo>
                      <a:pt x="160" y="287"/>
                    </a:lnTo>
                    <a:lnTo>
                      <a:pt x="158" y="288"/>
                    </a:lnTo>
                    <a:lnTo>
                      <a:pt x="158" y="288"/>
                    </a:lnTo>
                    <a:lnTo>
                      <a:pt x="161" y="290"/>
                    </a:lnTo>
                    <a:lnTo>
                      <a:pt x="161" y="288"/>
                    </a:lnTo>
                    <a:lnTo>
                      <a:pt x="165" y="287"/>
                    </a:lnTo>
                    <a:lnTo>
                      <a:pt x="165" y="284"/>
                    </a:lnTo>
                    <a:lnTo>
                      <a:pt x="165" y="284"/>
                    </a:lnTo>
                    <a:lnTo>
                      <a:pt x="166" y="284"/>
                    </a:lnTo>
                    <a:lnTo>
                      <a:pt x="166" y="282"/>
                    </a:lnTo>
                    <a:lnTo>
                      <a:pt x="169" y="279"/>
                    </a:lnTo>
                    <a:lnTo>
                      <a:pt x="169" y="276"/>
                    </a:lnTo>
                    <a:lnTo>
                      <a:pt x="175" y="273"/>
                    </a:lnTo>
                    <a:lnTo>
                      <a:pt x="177" y="273"/>
                    </a:lnTo>
                    <a:lnTo>
                      <a:pt x="179" y="274"/>
                    </a:lnTo>
                    <a:lnTo>
                      <a:pt x="182" y="274"/>
                    </a:lnTo>
                    <a:lnTo>
                      <a:pt x="183" y="277"/>
                    </a:lnTo>
                    <a:lnTo>
                      <a:pt x="185" y="279"/>
                    </a:lnTo>
                    <a:lnTo>
                      <a:pt x="185" y="277"/>
                    </a:lnTo>
                    <a:lnTo>
                      <a:pt x="186" y="274"/>
                    </a:lnTo>
                    <a:lnTo>
                      <a:pt x="188" y="273"/>
                    </a:lnTo>
                    <a:lnTo>
                      <a:pt x="188" y="271"/>
                    </a:lnTo>
                    <a:lnTo>
                      <a:pt x="191" y="268"/>
                    </a:lnTo>
                    <a:lnTo>
                      <a:pt x="194" y="266"/>
                    </a:lnTo>
                    <a:lnTo>
                      <a:pt x="194" y="266"/>
                    </a:lnTo>
                    <a:close/>
                    <a:moveTo>
                      <a:pt x="188" y="252"/>
                    </a:moveTo>
                    <a:lnTo>
                      <a:pt x="185" y="252"/>
                    </a:lnTo>
                    <a:lnTo>
                      <a:pt x="185" y="252"/>
                    </a:lnTo>
                    <a:lnTo>
                      <a:pt x="186" y="252"/>
                    </a:lnTo>
                    <a:lnTo>
                      <a:pt x="186" y="254"/>
                    </a:lnTo>
                    <a:lnTo>
                      <a:pt x="188" y="252"/>
                    </a:lnTo>
                    <a:lnTo>
                      <a:pt x="188" y="254"/>
                    </a:lnTo>
                    <a:lnTo>
                      <a:pt x="188" y="252"/>
                    </a:lnTo>
                    <a:lnTo>
                      <a:pt x="188" y="252"/>
                    </a:lnTo>
                    <a:lnTo>
                      <a:pt x="188" y="252"/>
                    </a:lnTo>
                    <a:close/>
                    <a:moveTo>
                      <a:pt x="199" y="251"/>
                    </a:moveTo>
                    <a:lnTo>
                      <a:pt x="199" y="251"/>
                    </a:lnTo>
                    <a:lnTo>
                      <a:pt x="197" y="252"/>
                    </a:lnTo>
                    <a:lnTo>
                      <a:pt x="196" y="252"/>
                    </a:lnTo>
                    <a:lnTo>
                      <a:pt x="196" y="255"/>
                    </a:lnTo>
                    <a:lnTo>
                      <a:pt x="194" y="257"/>
                    </a:lnTo>
                    <a:lnTo>
                      <a:pt x="194" y="257"/>
                    </a:lnTo>
                    <a:lnTo>
                      <a:pt x="194" y="259"/>
                    </a:lnTo>
                    <a:lnTo>
                      <a:pt x="196" y="259"/>
                    </a:lnTo>
                    <a:lnTo>
                      <a:pt x="199" y="257"/>
                    </a:lnTo>
                    <a:lnTo>
                      <a:pt x="197" y="254"/>
                    </a:lnTo>
                    <a:lnTo>
                      <a:pt x="199" y="251"/>
                    </a:lnTo>
                    <a:close/>
                    <a:moveTo>
                      <a:pt x="102" y="249"/>
                    </a:moveTo>
                    <a:lnTo>
                      <a:pt x="102" y="249"/>
                    </a:lnTo>
                    <a:lnTo>
                      <a:pt x="102" y="249"/>
                    </a:lnTo>
                    <a:lnTo>
                      <a:pt x="102" y="249"/>
                    </a:lnTo>
                    <a:lnTo>
                      <a:pt x="100" y="251"/>
                    </a:lnTo>
                    <a:lnTo>
                      <a:pt x="100" y="251"/>
                    </a:lnTo>
                    <a:lnTo>
                      <a:pt x="100" y="252"/>
                    </a:lnTo>
                    <a:lnTo>
                      <a:pt x="99" y="255"/>
                    </a:lnTo>
                    <a:lnTo>
                      <a:pt x="99" y="255"/>
                    </a:lnTo>
                    <a:lnTo>
                      <a:pt x="100" y="257"/>
                    </a:lnTo>
                    <a:lnTo>
                      <a:pt x="100" y="255"/>
                    </a:lnTo>
                    <a:lnTo>
                      <a:pt x="100" y="254"/>
                    </a:lnTo>
                    <a:lnTo>
                      <a:pt x="102" y="251"/>
                    </a:lnTo>
                    <a:lnTo>
                      <a:pt x="102" y="249"/>
                    </a:lnTo>
                    <a:close/>
                    <a:moveTo>
                      <a:pt x="277" y="246"/>
                    </a:moveTo>
                    <a:lnTo>
                      <a:pt x="276" y="246"/>
                    </a:lnTo>
                    <a:lnTo>
                      <a:pt x="276" y="248"/>
                    </a:lnTo>
                    <a:lnTo>
                      <a:pt x="277" y="248"/>
                    </a:lnTo>
                    <a:lnTo>
                      <a:pt x="277" y="249"/>
                    </a:lnTo>
                    <a:lnTo>
                      <a:pt x="277" y="248"/>
                    </a:lnTo>
                    <a:lnTo>
                      <a:pt x="277" y="246"/>
                    </a:lnTo>
                    <a:close/>
                    <a:moveTo>
                      <a:pt x="169" y="213"/>
                    </a:moveTo>
                    <a:lnTo>
                      <a:pt x="168" y="213"/>
                    </a:lnTo>
                    <a:lnTo>
                      <a:pt x="168" y="215"/>
                    </a:lnTo>
                    <a:lnTo>
                      <a:pt x="169" y="216"/>
                    </a:lnTo>
                    <a:lnTo>
                      <a:pt x="169" y="216"/>
                    </a:lnTo>
                    <a:lnTo>
                      <a:pt x="171" y="216"/>
                    </a:lnTo>
                    <a:lnTo>
                      <a:pt x="171" y="215"/>
                    </a:lnTo>
                    <a:lnTo>
                      <a:pt x="169" y="213"/>
                    </a:lnTo>
                    <a:close/>
                    <a:moveTo>
                      <a:pt x="260" y="174"/>
                    </a:moveTo>
                    <a:lnTo>
                      <a:pt x="260" y="174"/>
                    </a:lnTo>
                    <a:lnTo>
                      <a:pt x="261" y="171"/>
                    </a:lnTo>
                    <a:lnTo>
                      <a:pt x="261" y="169"/>
                    </a:lnTo>
                    <a:lnTo>
                      <a:pt x="260" y="169"/>
                    </a:lnTo>
                    <a:lnTo>
                      <a:pt x="257" y="172"/>
                    </a:lnTo>
                    <a:lnTo>
                      <a:pt x="257" y="174"/>
                    </a:lnTo>
                    <a:lnTo>
                      <a:pt x="257" y="177"/>
                    </a:lnTo>
                    <a:lnTo>
                      <a:pt x="258" y="177"/>
                    </a:lnTo>
                    <a:lnTo>
                      <a:pt x="258" y="177"/>
                    </a:lnTo>
                    <a:lnTo>
                      <a:pt x="257" y="179"/>
                    </a:lnTo>
                    <a:lnTo>
                      <a:pt x="257" y="180"/>
                    </a:lnTo>
                    <a:lnTo>
                      <a:pt x="257" y="180"/>
                    </a:lnTo>
                    <a:lnTo>
                      <a:pt x="257" y="180"/>
                    </a:lnTo>
                    <a:lnTo>
                      <a:pt x="258" y="180"/>
                    </a:lnTo>
                    <a:lnTo>
                      <a:pt x="261" y="179"/>
                    </a:lnTo>
                    <a:lnTo>
                      <a:pt x="261" y="176"/>
                    </a:lnTo>
                    <a:lnTo>
                      <a:pt x="260" y="174"/>
                    </a:lnTo>
                    <a:close/>
                    <a:moveTo>
                      <a:pt x="322" y="138"/>
                    </a:moveTo>
                    <a:lnTo>
                      <a:pt x="322" y="137"/>
                    </a:lnTo>
                    <a:lnTo>
                      <a:pt x="322" y="135"/>
                    </a:lnTo>
                    <a:lnTo>
                      <a:pt x="321" y="132"/>
                    </a:lnTo>
                    <a:lnTo>
                      <a:pt x="321" y="130"/>
                    </a:lnTo>
                    <a:lnTo>
                      <a:pt x="319" y="124"/>
                    </a:lnTo>
                    <a:lnTo>
                      <a:pt x="316" y="121"/>
                    </a:lnTo>
                    <a:lnTo>
                      <a:pt x="315" y="119"/>
                    </a:lnTo>
                    <a:lnTo>
                      <a:pt x="313" y="118"/>
                    </a:lnTo>
                    <a:lnTo>
                      <a:pt x="311" y="115"/>
                    </a:lnTo>
                    <a:lnTo>
                      <a:pt x="311" y="111"/>
                    </a:lnTo>
                    <a:lnTo>
                      <a:pt x="311" y="107"/>
                    </a:lnTo>
                    <a:lnTo>
                      <a:pt x="311" y="102"/>
                    </a:lnTo>
                    <a:lnTo>
                      <a:pt x="313" y="99"/>
                    </a:lnTo>
                    <a:lnTo>
                      <a:pt x="310" y="101"/>
                    </a:lnTo>
                    <a:lnTo>
                      <a:pt x="308" y="101"/>
                    </a:lnTo>
                    <a:lnTo>
                      <a:pt x="307" y="97"/>
                    </a:lnTo>
                    <a:lnTo>
                      <a:pt x="305" y="97"/>
                    </a:lnTo>
                    <a:lnTo>
                      <a:pt x="304" y="96"/>
                    </a:lnTo>
                    <a:lnTo>
                      <a:pt x="302" y="97"/>
                    </a:lnTo>
                    <a:lnTo>
                      <a:pt x="302" y="99"/>
                    </a:lnTo>
                    <a:lnTo>
                      <a:pt x="301" y="102"/>
                    </a:lnTo>
                    <a:lnTo>
                      <a:pt x="301" y="105"/>
                    </a:lnTo>
                    <a:lnTo>
                      <a:pt x="305" y="104"/>
                    </a:lnTo>
                    <a:lnTo>
                      <a:pt x="307" y="104"/>
                    </a:lnTo>
                    <a:lnTo>
                      <a:pt x="307" y="102"/>
                    </a:lnTo>
                    <a:lnTo>
                      <a:pt x="308" y="102"/>
                    </a:lnTo>
                    <a:lnTo>
                      <a:pt x="308" y="104"/>
                    </a:lnTo>
                    <a:lnTo>
                      <a:pt x="310" y="105"/>
                    </a:lnTo>
                    <a:lnTo>
                      <a:pt x="308" y="108"/>
                    </a:lnTo>
                    <a:lnTo>
                      <a:pt x="308" y="110"/>
                    </a:lnTo>
                    <a:lnTo>
                      <a:pt x="307" y="111"/>
                    </a:lnTo>
                    <a:lnTo>
                      <a:pt x="304" y="110"/>
                    </a:lnTo>
                    <a:lnTo>
                      <a:pt x="302" y="110"/>
                    </a:lnTo>
                    <a:lnTo>
                      <a:pt x="302" y="111"/>
                    </a:lnTo>
                    <a:lnTo>
                      <a:pt x="301" y="111"/>
                    </a:lnTo>
                    <a:lnTo>
                      <a:pt x="301" y="113"/>
                    </a:lnTo>
                    <a:lnTo>
                      <a:pt x="299" y="111"/>
                    </a:lnTo>
                    <a:lnTo>
                      <a:pt x="299" y="111"/>
                    </a:lnTo>
                    <a:lnTo>
                      <a:pt x="299" y="105"/>
                    </a:lnTo>
                    <a:lnTo>
                      <a:pt x="299" y="104"/>
                    </a:lnTo>
                    <a:lnTo>
                      <a:pt x="297" y="104"/>
                    </a:lnTo>
                    <a:lnTo>
                      <a:pt x="296" y="104"/>
                    </a:lnTo>
                    <a:lnTo>
                      <a:pt x="294" y="104"/>
                    </a:lnTo>
                    <a:lnTo>
                      <a:pt x="294" y="104"/>
                    </a:lnTo>
                    <a:lnTo>
                      <a:pt x="293" y="104"/>
                    </a:lnTo>
                    <a:lnTo>
                      <a:pt x="293" y="105"/>
                    </a:lnTo>
                    <a:lnTo>
                      <a:pt x="293" y="108"/>
                    </a:lnTo>
                    <a:lnTo>
                      <a:pt x="293" y="110"/>
                    </a:lnTo>
                    <a:lnTo>
                      <a:pt x="293" y="111"/>
                    </a:lnTo>
                    <a:lnTo>
                      <a:pt x="291" y="113"/>
                    </a:lnTo>
                    <a:lnTo>
                      <a:pt x="291" y="113"/>
                    </a:lnTo>
                    <a:lnTo>
                      <a:pt x="290" y="115"/>
                    </a:lnTo>
                    <a:lnTo>
                      <a:pt x="288" y="115"/>
                    </a:lnTo>
                    <a:lnTo>
                      <a:pt x="288" y="115"/>
                    </a:lnTo>
                    <a:lnTo>
                      <a:pt x="286" y="116"/>
                    </a:lnTo>
                    <a:lnTo>
                      <a:pt x="286" y="118"/>
                    </a:lnTo>
                    <a:lnTo>
                      <a:pt x="286" y="119"/>
                    </a:lnTo>
                    <a:lnTo>
                      <a:pt x="286" y="122"/>
                    </a:lnTo>
                    <a:lnTo>
                      <a:pt x="288" y="124"/>
                    </a:lnTo>
                    <a:lnTo>
                      <a:pt x="288" y="126"/>
                    </a:lnTo>
                    <a:lnTo>
                      <a:pt x="286" y="129"/>
                    </a:lnTo>
                    <a:lnTo>
                      <a:pt x="285" y="130"/>
                    </a:lnTo>
                    <a:lnTo>
                      <a:pt x="285" y="132"/>
                    </a:lnTo>
                    <a:lnTo>
                      <a:pt x="285" y="132"/>
                    </a:lnTo>
                    <a:lnTo>
                      <a:pt x="283" y="132"/>
                    </a:lnTo>
                    <a:lnTo>
                      <a:pt x="283" y="133"/>
                    </a:lnTo>
                    <a:lnTo>
                      <a:pt x="283" y="135"/>
                    </a:lnTo>
                    <a:lnTo>
                      <a:pt x="285" y="133"/>
                    </a:lnTo>
                    <a:lnTo>
                      <a:pt x="286" y="133"/>
                    </a:lnTo>
                    <a:lnTo>
                      <a:pt x="286" y="135"/>
                    </a:lnTo>
                    <a:lnTo>
                      <a:pt x="288" y="137"/>
                    </a:lnTo>
                    <a:lnTo>
                      <a:pt x="288" y="140"/>
                    </a:lnTo>
                    <a:lnTo>
                      <a:pt x="288" y="144"/>
                    </a:lnTo>
                    <a:lnTo>
                      <a:pt x="288" y="144"/>
                    </a:lnTo>
                    <a:lnTo>
                      <a:pt x="288" y="146"/>
                    </a:lnTo>
                    <a:lnTo>
                      <a:pt x="286" y="147"/>
                    </a:lnTo>
                    <a:lnTo>
                      <a:pt x="286" y="147"/>
                    </a:lnTo>
                    <a:lnTo>
                      <a:pt x="285" y="149"/>
                    </a:lnTo>
                    <a:lnTo>
                      <a:pt x="285" y="152"/>
                    </a:lnTo>
                    <a:lnTo>
                      <a:pt x="283" y="157"/>
                    </a:lnTo>
                    <a:lnTo>
                      <a:pt x="283" y="158"/>
                    </a:lnTo>
                    <a:lnTo>
                      <a:pt x="282" y="162"/>
                    </a:lnTo>
                    <a:lnTo>
                      <a:pt x="280" y="163"/>
                    </a:lnTo>
                    <a:lnTo>
                      <a:pt x="279" y="165"/>
                    </a:lnTo>
                    <a:lnTo>
                      <a:pt x="279" y="168"/>
                    </a:lnTo>
                    <a:lnTo>
                      <a:pt x="277" y="171"/>
                    </a:lnTo>
                    <a:lnTo>
                      <a:pt x="277" y="172"/>
                    </a:lnTo>
                    <a:lnTo>
                      <a:pt x="276" y="174"/>
                    </a:lnTo>
                    <a:lnTo>
                      <a:pt x="274" y="176"/>
                    </a:lnTo>
                    <a:lnTo>
                      <a:pt x="268" y="180"/>
                    </a:lnTo>
                    <a:lnTo>
                      <a:pt x="266" y="182"/>
                    </a:lnTo>
                    <a:lnTo>
                      <a:pt x="266" y="183"/>
                    </a:lnTo>
                    <a:lnTo>
                      <a:pt x="265" y="187"/>
                    </a:lnTo>
                    <a:lnTo>
                      <a:pt x="263" y="188"/>
                    </a:lnTo>
                    <a:lnTo>
                      <a:pt x="261" y="190"/>
                    </a:lnTo>
                    <a:lnTo>
                      <a:pt x="258" y="194"/>
                    </a:lnTo>
                    <a:lnTo>
                      <a:pt x="255" y="194"/>
                    </a:lnTo>
                    <a:lnTo>
                      <a:pt x="254" y="194"/>
                    </a:lnTo>
                    <a:lnTo>
                      <a:pt x="251" y="198"/>
                    </a:lnTo>
                    <a:lnTo>
                      <a:pt x="244" y="199"/>
                    </a:lnTo>
                    <a:lnTo>
                      <a:pt x="243" y="201"/>
                    </a:lnTo>
                    <a:lnTo>
                      <a:pt x="241" y="204"/>
                    </a:lnTo>
                    <a:lnTo>
                      <a:pt x="240" y="204"/>
                    </a:lnTo>
                    <a:lnTo>
                      <a:pt x="240" y="204"/>
                    </a:lnTo>
                    <a:lnTo>
                      <a:pt x="236" y="204"/>
                    </a:lnTo>
                    <a:lnTo>
                      <a:pt x="235" y="202"/>
                    </a:lnTo>
                    <a:lnTo>
                      <a:pt x="235" y="201"/>
                    </a:lnTo>
                    <a:lnTo>
                      <a:pt x="235" y="199"/>
                    </a:lnTo>
                    <a:lnTo>
                      <a:pt x="235" y="198"/>
                    </a:lnTo>
                    <a:lnTo>
                      <a:pt x="233" y="196"/>
                    </a:lnTo>
                    <a:lnTo>
                      <a:pt x="233" y="194"/>
                    </a:lnTo>
                    <a:lnTo>
                      <a:pt x="235" y="194"/>
                    </a:lnTo>
                    <a:lnTo>
                      <a:pt x="235" y="194"/>
                    </a:lnTo>
                    <a:lnTo>
                      <a:pt x="236" y="193"/>
                    </a:lnTo>
                    <a:lnTo>
                      <a:pt x="241" y="188"/>
                    </a:lnTo>
                    <a:lnTo>
                      <a:pt x="241" y="188"/>
                    </a:lnTo>
                    <a:lnTo>
                      <a:pt x="240" y="187"/>
                    </a:lnTo>
                    <a:lnTo>
                      <a:pt x="238" y="188"/>
                    </a:lnTo>
                    <a:lnTo>
                      <a:pt x="233" y="190"/>
                    </a:lnTo>
                    <a:lnTo>
                      <a:pt x="232" y="190"/>
                    </a:lnTo>
                    <a:lnTo>
                      <a:pt x="230" y="194"/>
                    </a:lnTo>
                    <a:lnTo>
                      <a:pt x="230" y="199"/>
                    </a:lnTo>
                    <a:lnTo>
                      <a:pt x="229" y="204"/>
                    </a:lnTo>
                    <a:lnTo>
                      <a:pt x="227" y="208"/>
                    </a:lnTo>
                    <a:lnTo>
                      <a:pt x="224" y="212"/>
                    </a:lnTo>
                    <a:lnTo>
                      <a:pt x="221" y="215"/>
                    </a:lnTo>
                    <a:lnTo>
                      <a:pt x="219" y="215"/>
                    </a:lnTo>
                    <a:lnTo>
                      <a:pt x="218" y="218"/>
                    </a:lnTo>
                    <a:lnTo>
                      <a:pt x="218" y="221"/>
                    </a:lnTo>
                    <a:lnTo>
                      <a:pt x="218" y="223"/>
                    </a:lnTo>
                    <a:lnTo>
                      <a:pt x="219" y="226"/>
                    </a:lnTo>
                    <a:lnTo>
                      <a:pt x="218" y="227"/>
                    </a:lnTo>
                    <a:lnTo>
                      <a:pt x="215" y="229"/>
                    </a:lnTo>
                    <a:lnTo>
                      <a:pt x="213" y="230"/>
                    </a:lnTo>
                    <a:lnTo>
                      <a:pt x="211" y="230"/>
                    </a:lnTo>
                    <a:lnTo>
                      <a:pt x="210" y="230"/>
                    </a:lnTo>
                    <a:lnTo>
                      <a:pt x="205" y="230"/>
                    </a:lnTo>
                    <a:lnTo>
                      <a:pt x="204" y="230"/>
                    </a:lnTo>
                    <a:lnTo>
                      <a:pt x="204" y="229"/>
                    </a:lnTo>
                    <a:lnTo>
                      <a:pt x="204" y="227"/>
                    </a:lnTo>
                    <a:lnTo>
                      <a:pt x="204" y="226"/>
                    </a:lnTo>
                    <a:lnTo>
                      <a:pt x="204" y="226"/>
                    </a:lnTo>
                    <a:lnTo>
                      <a:pt x="202" y="226"/>
                    </a:lnTo>
                    <a:lnTo>
                      <a:pt x="197" y="227"/>
                    </a:lnTo>
                    <a:lnTo>
                      <a:pt x="190" y="229"/>
                    </a:lnTo>
                    <a:lnTo>
                      <a:pt x="188" y="229"/>
                    </a:lnTo>
                    <a:lnTo>
                      <a:pt x="185" y="230"/>
                    </a:lnTo>
                    <a:lnTo>
                      <a:pt x="182" y="230"/>
                    </a:lnTo>
                    <a:lnTo>
                      <a:pt x="180" y="230"/>
                    </a:lnTo>
                    <a:lnTo>
                      <a:pt x="177" y="230"/>
                    </a:lnTo>
                    <a:lnTo>
                      <a:pt x="175" y="230"/>
                    </a:lnTo>
                    <a:lnTo>
                      <a:pt x="172" y="230"/>
                    </a:lnTo>
                    <a:lnTo>
                      <a:pt x="172" y="232"/>
                    </a:lnTo>
                    <a:lnTo>
                      <a:pt x="171" y="232"/>
                    </a:lnTo>
                    <a:lnTo>
                      <a:pt x="169" y="230"/>
                    </a:lnTo>
                    <a:lnTo>
                      <a:pt x="168" y="230"/>
                    </a:lnTo>
                    <a:lnTo>
                      <a:pt x="163" y="230"/>
                    </a:lnTo>
                    <a:lnTo>
                      <a:pt x="160" y="232"/>
                    </a:lnTo>
                    <a:lnTo>
                      <a:pt x="158" y="234"/>
                    </a:lnTo>
                    <a:lnTo>
                      <a:pt x="158" y="235"/>
                    </a:lnTo>
                    <a:lnTo>
                      <a:pt x="154" y="238"/>
                    </a:lnTo>
                    <a:lnTo>
                      <a:pt x="152" y="241"/>
                    </a:lnTo>
                    <a:lnTo>
                      <a:pt x="149" y="243"/>
                    </a:lnTo>
                    <a:lnTo>
                      <a:pt x="147" y="244"/>
                    </a:lnTo>
                    <a:lnTo>
                      <a:pt x="146" y="246"/>
                    </a:lnTo>
                    <a:lnTo>
                      <a:pt x="144" y="248"/>
                    </a:lnTo>
                    <a:lnTo>
                      <a:pt x="143" y="249"/>
                    </a:lnTo>
                    <a:lnTo>
                      <a:pt x="140" y="249"/>
                    </a:lnTo>
                    <a:lnTo>
                      <a:pt x="138" y="251"/>
                    </a:lnTo>
                    <a:lnTo>
                      <a:pt x="136" y="252"/>
                    </a:lnTo>
                    <a:lnTo>
                      <a:pt x="135" y="254"/>
                    </a:lnTo>
                    <a:lnTo>
                      <a:pt x="133" y="254"/>
                    </a:lnTo>
                    <a:lnTo>
                      <a:pt x="132" y="254"/>
                    </a:lnTo>
                    <a:lnTo>
                      <a:pt x="129" y="254"/>
                    </a:lnTo>
                    <a:lnTo>
                      <a:pt x="129" y="255"/>
                    </a:lnTo>
                    <a:lnTo>
                      <a:pt x="127" y="257"/>
                    </a:lnTo>
                    <a:lnTo>
                      <a:pt x="127" y="257"/>
                    </a:lnTo>
                    <a:lnTo>
                      <a:pt x="129" y="263"/>
                    </a:lnTo>
                    <a:lnTo>
                      <a:pt x="129" y="263"/>
                    </a:lnTo>
                    <a:lnTo>
                      <a:pt x="130" y="263"/>
                    </a:lnTo>
                    <a:lnTo>
                      <a:pt x="132" y="263"/>
                    </a:lnTo>
                    <a:lnTo>
                      <a:pt x="133" y="263"/>
                    </a:lnTo>
                    <a:lnTo>
                      <a:pt x="135" y="263"/>
                    </a:lnTo>
                    <a:lnTo>
                      <a:pt x="136" y="263"/>
                    </a:lnTo>
                    <a:lnTo>
                      <a:pt x="138" y="263"/>
                    </a:lnTo>
                    <a:lnTo>
                      <a:pt x="143" y="262"/>
                    </a:lnTo>
                    <a:lnTo>
                      <a:pt x="143" y="262"/>
                    </a:lnTo>
                    <a:lnTo>
                      <a:pt x="149" y="266"/>
                    </a:lnTo>
                    <a:lnTo>
                      <a:pt x="149" y="266"/>
                    </a:lnTo>
                    <a:lnTo>
                      <a:pt x="149" y="265"/>
                    </a:lnTo>
                    <a:lnTo>
                      <a:pt x="150" y="262"/>
                    </a:lnTo>
                    <a:lnTo>
                      <a:pt x="150" y="259"/>
                    </a:lnTo>
                    <a:lnTo>
                      <a:pt x="152" y="255"/>
                    </a:lnTo>
                    <a:lnTo>
                      <a:pt x="154" y="255"/>
                    </a:lnTo>
                    <a:lnTo>
                      <a:pt x="157" y="257"/>
                    </a:lnTo>
                    <a:lnTo>
                      <a:pt x="158" y="257"/>
                    </a:lnTo>
                    <a:lnTo>
                      <a:pt x="160" y="257"/>
                    </a:lnTo>
                    <a:lnTo>
                      <a:pt x="165" y="255"/>
                    </a:lnTo>
                    <a:lnTo>
                      <a:pt x="166" y="257"/>
                    </a:lnTo>
                    <a:lnTo>
                      <a:pt x="168" y="255"/>
                    </a:lnTo>
                    <a:lnTo>
                      <a:pt x="171" y="255"/>
                    </a:lnTo>
                    <a:lnTo>
                      <a:pt x="172" y="254"/>
                    </a:lnTo>
                    <a:lnTo>
                      <a:pt x="172" y="254"/>
                    </a:lnTo>
                    <a:lnTo>
                      <a:pt x="174" y="254"/>
                    </a:lnTo>
                    <a:lnTo>
                      <a:pt x="175" y="252"/>
                    </a:lnTo>
                    <a:lnTo>
                      <a:pt x="180" y="252"/>
                    </a:lnTo>
                    <a:lnTo>
                      <a:pt x="182" y="252"/>
                    </a:lnTo>
                    <a:lnTo>
                      <a:pt x="183" y="251"/>
                    </a:lnTo>
                    <a:lnTo>
                      <a:pt x="185" y="248"/>
                    </a:lnTo>
                    <a:lnTo>
                      <a:pt x="186" y="248"/>
                    </a:lnTo>
                    <a:lnTo>
                      <a:pt x="188" y="248"/>
                    </a:lnTo>
                    <a:lnTo>
                      <a:pt x="190" y="248"/>
                    </a:lnTo>
                    <a:lnTo>
                      <a:pt x="193" y="246"/>
                    </a:lnTo>
                    <a:lnTo>
                      <a:pt x="194" y="246"/>
                    </a:lnTo>
                    <a:lnTo>
                      <a:pt x="196" y="248"/>
                    </a:lnTo>
                    <a:lnTo>
                      <a:pt x="199" y="249"/>
                    </a:lnTo>
                    <a:lnTo>
                      <a:pt x="200" y="249"/>
                    </a:lnTo>
                    <a:lnTo>
                      <a:pt x="204" y="249"/>
                    </a:lnTo>
                    <a:lnTo>
                      <a:pt x="205" y="249"/>
                    </a:lnTo>
                    <a:lnTo>
                      <a:pt x="207" y="249"/>
                    </a:lnTo>
                    <a:lnTo>
                      <a:pt x="207" y="251"/>
                    </a:lnTo>
                    <a:lnTo>
                      <a:pt x="207" y="252"/>
                    </a:lnTo>
                    <a:lnTo>
                      <a:pt x="205" y="254"/>
                    </a:lnTo>
                    <a:lnTo>
                      <a:pt x="204" y="255"/>
                    </a:lnTo>
                    <a:lnTo>
                      <a:pt x="202" y="257"/>
                    </a:lnTo>
                    <a:lnTo>
                      <a:pt x="200" y="257"/>
                    </a:lnTo>
                    <a:lnTo>
                      <a:pt x="202" y="259"/>
                    </a:lnTo>
                    <a:lnTo>
                      <a:pt x="202" y="263"/>
                    </a:lnTo>
                    <a:lnTo>
                      <a:pt x="202" y="265"/>
                    </a:lnTo>
                    <a:lnTo>
                      <a:pt x="204" y="266"/>
                    </a:lnTo>
                    <a:lnTo>
                      <a:pt x="205" y="270"/>
                    </a:lnTo>
                    <a:lnTo>
                      <a:pt x="207" y="271"/>
                    </a:lnTo>
                    <a:lnTo>
                      <a:pt x="207" y="273"/>
                    </a:lnTo>
                    <a:lnTo>
                      <a:pt x="211" y="274"/>
                    </a:lnTo>
                    <a:lnTo>
                      <a:pt x="216" y="273"/>
                    </a:lnTo>
                    <a:lnTo>
                      <a:pt x="218" y="268"/>
                    </a:lnTo>
                    <a:lnTo>
                      <a:pt x="222" y="262"/>
                    </a:lnTo>
                    <a:lnTo>
                      <a:pt x="222" y="259"/>
                    </a:lnTo>
                    <a:lnTo>
                      <a:pt x="227" y="257"/>
                    </a:lnTo>
                    <a:lnTo>
                      <a:pt x="230" y="257"/>
                    </a:lnTo>
                    <a:lnTo>
                      <a:pt x="232" y="255"/>
                    </a:lnTo>
                    <a:lnTo>
                      <a:pt x="232" y="255"/>
                    </a:lnTo>
                    <a:lnTo>
                      <a:pt x="232" y="254"/>
                    </a:lnTo>
                    <a:lnTo>
                      <a:pt x="232" y="254"/>
                    </a:lnTo>
                    <a:lnTo>
                      <a:pt x="227" y="251"/>
                    </a:lnTo>
                    <a:lnTo>
                      <a:pt x="227" y="249"/>
                    </a:lnTo>
                    <a:lnTo>
                      <a:pt x="227" y="246"/>
                    </a:lnTo>
                    <a:lnTo>
                      <a:pt x="229" y="241"/>
                    </a:lnTo>
                    <a:lnTo>
                      <a:pt x="230" y="241"/>
                    </a:lnTo>
                    <a:lnTo>
                      <a:pt x="232" y="241"/>
                    </a:lnTo>
                    <a:lnTo>
                      <a:pt x="232" y="240"/>
                    </a:lnTo>
                    <a:lnTo>
                      <a:pt x="233" y="241"/>
                    </a:lnTo>
                    <a:lnTo>
                      <a:pt x="232" y="243"/>
                    </a:lnTo>
                    <a:lnTo>
                      <a:pt x="232" y="243"/>
                    </a:lnTo>
                    <a:lnTo>
                      <a:pt x="232" y="246"/>
                    </a:lnTo>
                    <a:lnTo>
                      <a:pt x="232" y="248"/>
                    </a:lnTo>
                    <a:lnTo>
                      <a:pt x="233" y="248"/>
                    </a:lnTo>
                    <a:lnTo>
                      <a:pt x="233" y="248"/>
                    </a:lnTo>
                    <a:lnTo>
                      <a:pt x="233" y="246"/>
                    </a:lnTo>
                    <a:lnTo>
                      <a:pt x="233" y="246"/>
                    </a:lnTo>
                    <a:lnTo>
                      <a:pt x="235" y="246"/>
                    </a:lnTo>
                    <a:lnTo>
                      <a:pt x="235" y="246"/>
                    </a:lnTo>
                    <a:lnTo>
                      <a:pt x="236" y="248"/>
                    </a:lnTo>
                    <a:lnTo>
                      <a:pt x="238" y="246"/>
                    </a:lnTo>
                    <a:lnTo>
                      <a:pt x="240" y="246"/>
                    </a:lnTo>
                    <a:lnTo>
                      <a:pt x="240" y="248"/>
                    </a:lnTo>
                    <a:lnTo>
                      <a:pt x="240" y="248"/>
                    </a:lnTo>
                    <a:lnTo>
                      <a:pt x="236" y="249"/>
                    </a:lnTo>
                    <a:lnTo>
                      <a:pt x="235" y="251"/>
                    </a:lnTo>
                    <a:lnTo>
                      <a:pt x="240" y="249"/>
                    </a:lnTo>
                    <a:lnTo>
                      <a:pt x="244" y="249"/>
                    </a:lnTo>
                    <a:lnTo>
                      <a:pt x="247" y="249"/>
                    </a:lnTo>
                    <a:lnTo>
                      <a:pt x="249" y="249"/>
                    </a:lnTo>
                    <a:lnTo>
                      <a:pt x="252" y="249"/>
                    </a:lnTo>
                    <a:lnTo>
                      <a:pt x="255" y="251"/>
                    </a:lnTo>
                    <a:lnTo>
                      <a:pt x="257" y="248"/>
                    </a:lnTo>
                    <a:lnTo>
                      <a:pt x="258" y="244"/>
                    </a:lnTo>
                    <a:lnTo>
                      <a:pt x="260" y="243"/>
                    </a:lnTo>
                    <a:lnTo>
                      <a:pt x="261" y="241"/>
                    </a:lnTo>
                    <a:lnTo>
                      <a:pt x="261" y="241"/>
                    </a:lnTo>
                    <a:lnTo>
                      <a:pt x="261" y="240"/>
                    </a:lnTo>
                    <a:lnTo>
                      <a:pt x="265" y="240"/>
                    </a:lnTo>
                    <a:lnTo>
                      <a:pt x="266" y="240"/>
                    </a:lnTo>
                    <a:lnTo>
                      <a:pt x="268" y="241"/>
                    </a:lnTo>
                    <a:lnTo>
                      <a:pt x="266" y="243"/>
                    </a:lnTo>
                    <a:lnTo>
                      <a:pt x="266" y="244"/>
                    </a:lnTo>
                    <a:lnTo>
                      <a:pt x="266" y="248"/>
                    </a:lnTo>
                    <a:lnTo>
                      <a:pt x="266" y="249"/>
                    </a:lnTo>
                    <a:lnTo>
                      <a:pt x="266" y="249"/>
                    </a:lnTo>
                    <a:lnTo>
                      <a:pt x="268" y="249"/>
                    </a:lnTo>
                    <a:lnTo>
                      <a:pt x="269" y="248"/>
                    </a:lnTo>
                    <a:lnTo>
                      <a:pt x="269" y="248"/>
                    </a:lnTo>
                    <a:lnTo>
                      <a:pt x="271" y="244"/>
                    </a:lnTo>
                    <a:lnTo>
                      <a:pt x="272" y="243"/>
                    </a:lnTo>
                    <a:lnTo>
                      <a:pt x="272" y="240"/>
                    </a:lnTo>
                    <a:lnTo>
                      <a:pt x="272" y="238"/>
                    </a:lnTo>
                    <a:lnTo>
                      <a:pt x="272" y="237"/>
                    </a:lnTo>
                    <a:lnTo>
                      <a:pt x="274" y="235"/>
                    </a:lnTo>
                    <a:lnTo>
                      <a:pt x="276" y="235"/>
                    </a:lnTo>
                    <a:lnTo>
                      <a:pt x="279" y="235"/>
                    </a:lnTo>
                    <a:lnTo>
                      <a:pt x="280" y="237"/>
                    </a:lnTo>
                    <a:lnTo>
                      <a:pt x="280" y="238"/>
                    </a:lnTo>
                    <a:lnTo>
                      <a:pt x="282" y="238"/>
                    </a:lnTo>
                    <a:lnTo>
                      <a:pt x="282" y="237"/>
                    </a:lnTo>
                    <a:lnTo>
                      <a:pt x="283" y="237"/>
                    </a:lnTo>
                    <a:lnTo>
                      <a:pt x="282" y="237"/>
                    </a:lnTo>
                    <a:lnTo>
                      <a:pt x="282" y="235"/>
                    </a:lnTo>
                    <a:lnTo>
                      <a:pt x="282" y="234"/>
                    </a:lnTo>
                    <a:lnTo>
                      <a:pt x="283" y="230"/>
                    </a:lnTo>
                    <a:lnTo>
                      <a:pt x="283" y="230"/>
                    </a:lnTo>
                    <a:lnTo>
                      <a:pt x="283" y="230"/>
                    </a:lnTo>
                    <a:lnTo>
                      <a:pt x="283" y="229"/>
                    </a:lnTo>
                    <a:lnTo>
                      <a:pt x="285" y="227"/>
                    </a:lnTo>
                    <a:lnTo>
                      <a:pt x="285" y="227"/>
                    </a:lnTo>
                    <a:lnTo>
                      <a:pt x="286" y="227"/>
                    </a:lnTo>
                    <a:lnTo>
                      <a:pt x="288" y="229"/>
                    </a:lnTo>
                    <a:lnTo>
                      <a:pt x="290" y="229"/>
                    </a:lnTo>
                    <a:lnTo>
                      <a:pt x="288" y="230"/>
                    </a:lnTo>
                    <a:lnTo>
                      <a:pt x="288" y="232"/>
                    </a:lnTo>
                    <a:lnTo>
                      <a:pt x="286" y="232"/>
                    </a:lnTo>
                    <a:lnTo>
                      <a:pt x="285" y="235"/>
                    </a:lnTo>
                    <a:lnTo>
                      <a:pt x="283" y="235"/>
                    </a:lnTo>
                    <a:lnTo>
                      <a:pt x="285" y="237"/>
                    </a:lnTo>
                    <a:lnTo>
                      <a:pt x="285" y="240"/>
                    </a:lnTo>
                    <a:lnTo>
                      <a:pt x="285" y="241"/>
                    </a:lnTo>
                    <a:lnTo>
                      <a:pt x="283" y="243"/>
                    </a:lnTo>
                    <a:lnTo>
                      <a:pt x="285" y="243"/>
                    </a:lnTo>
                    <a:lnTo>
                      <a:pt x="286" y="244"/>
                    </a:lnTo>
                    <a:lnTo>
                      <a:pt x="286" y="243"/>
                    </a:lnTo>
                    <a:lnTo>
                      <a:pt x="288" y="241"/>
                    </a:lnTo>
                    <a:lnTo>
                      <a:pt x="290" y="240"/>
                    </a:lnTo>
                    <a:lnTo>
                      <a:pt x="293" y="238"/>
                    </a:lnTo>
                    <a:lnTo>
                      <a:pt x="293" y="238"/>
                    </a:lnTo>
                    <a:lnTo>
                      <a:pt x="294" y="237"/>
                    </a:lnTo>
                    <a:lnTo>
                      <a:pt x="294" y="237"/>
                    </a:lnTo>
                    <a:lnTo>
                      <a:pt x="294" y="234"/>
                    </a:lnTo>
                    <a:lnTo>
                      <a:pt x="296" y="230"/>
                    </a:lnTo>
                    <a:lnTo>
                      <a:pt x="297" y="229"/>
                    </a:lnTo>
                    <a:lnTo>
                      <a:pt x="299" y="227"/>
                    </a:lnTo>
                    <a:lnTo>
                      <a:pt x="302" y="226"/>
                    </a:lnTo>
                    <a:lnTo>
                      <a:pt x="302" y="226"/>
                    </a:lnTo>
                    <a:lnTo>
                      <a:pt x="301" y="224"/>
                    </a:lnTo>
                    <a:lnTo>
                      <a:pt x="297" y="219"/>
                    </a:lnTo>
                    <a:lnTo>
                      <a:pt x="297" y="218"/>
                    </a:lnTo>
                    <a:lnTo>
                      <a:pt x="297" y="215"/>
                    </a:lnTo>
                    <a:lnTo>
                      <a:pt x="297" y="213"/>
                    </a:lnTo>
                    <a:lnTo>
                      <a:pt x="297" y="212"/>
                    </a:lnTo>
                    <a:lnTo>
                      <a:pt x="297" y="210"/>
                    </a:lnTo>
                    <a:lnTo>
                      <a:pt x="297" y="210"/>
                    </a:lnTo>
                    <a:lnTo>
                      <a:pt x="301" y="204"/>
                    </a:lnTo>
                    <a:lnTo>
                      <a:pt x="301" y="202"/>
                    </a:lnTo>
                    <a:lnTo>
                      <a:pt x="302" y="201"/>
                    </a:lnTo>
                    <a:lnTo>
                      <a:pt x="302" y="201"/>
                    </a:lnTo>
                    <a:lnTo>
                      <a:pt x="304" y="199"/>
                    </a:lnTo>
                    <a:lnTo>
                      <a:pt x="305" y="196"/>
                    </a:lnTo>
                    <a:lnTo>
                      <a:pt x="305" y="188"/>
                    </a:lnTo>
                    <a:lnTo>
                      <a:pt x="305" y="183"/>
                    </a:lnTo>
                    <a:lnTo>
                      <a:pt x="304" y="180"/>
                    </a:lnTo>
                    <a:lnTo>
                      <a:pt x="304" y="177"/>
                    </a:lnTo>
                    <a:lnTo>
                      <a:pt x="304" y="176"/>
                    </a:lnTo>
                    <a:lnTo>
                      <a:pt x="304" y="172"/>
                    </a:lnTo>
                    <a:lnTo>
                      <a:pt x="307" y="169"/>
                    </a:lnTo>
                    <a:lnTo>
                      <a:pt x="307" y="169"/>
                    </a:lnTo>
                    <a:lnTo>
                      <a:pt x="310" y="168"/>
                    </a:lnTo>
                    <a:lnTo>
                      <a:pt x="311" y="168"/>
                    </a:lnTo>
                    <a:lnTo>
                      <a:pt x="313" y="168"/>
                    </a:lnTo>
                    <a:lnTo>
                      <a:pt x="313" y="165"/>
                    </a:lnTo>
                    <a:lnTo>
                      <a:pt x="313" y="163"/>
                    </a:lnTo>
                    <a:lnTo>
                      <a:pt x="315" y="160"/>
                    </a:lnTo>
                    <a:lnTo>
                      <a:pt x="315" y="158"/>
                    </a:lnTo>
                    <a:lnTo>
                      <a:pt x="316" y="157"/>
                    </a:lnTo>
                    <a:lnTo>
                      <a:pt x="316" y="155"/>
                    </a:lnTo>
                    <a:lnTo>
                      <a:pt x="316" y="155"/>
                    </a:lnTo>
                    <a:lnTo>
                      <a:pt x="316" y="154"/>
                    </a:lnTo>
                    <a:lnTo>
                      <a:pt x="318" y="154"/>
                    </a:lnTo>
                    <a:lnTo>
                      <a:pt x="318" y="154"/>
                    </a:lnTo>
                    <a:lnTo>
                      <a:pt x="319" y="154"/>
                    </a:lnTo>
                    <a:lnTo>
                      <a:pt x="319" y="152"/>
                    </a:lnTo>
                    <a:lnTo>
                      <a:pt x="321" y="152"/>
                    </a:lnTo>
                    <a:lnTo>
                      <a:pt x="321" y="149"/>
                    </a:lnTo>
                    <a:lnTo>
                      <a:pt x="322" y="144"/>
                    </a:lnTo>
                    <a:lnTo>
                      <a:pt x="322" y="140"/>
                    </a:lnTo>
                    <a:lnTo>
                      <a:pt x="322" y="140"/>
                    </a:lnTo>
                    <a:lnTo>
                      <a:pt x="322" y="138"/>
                    </a:lnTo>
                    <a:close/>
                    <a:moveTo>
                      <a:pt x="279" y="80"/>
                    </a:moveTo>
                    <a:lnTo>
                      <a:pt x="277" y="80"/>
                    </a:lnTo>
                    <a:lnTo>
                      <a:pt x="277" y="82"/>
                    </a:lnTo>
                    <a:lnTo>
                      <a:pt x="277" y="83"/>
                    </a:lnTo>
                    <a:lnTo>
                      <a:pt x="277" y="83"/>
                    </a:lnTo>
                    <a:lnTo>
                      <a:pt x="279" y="83"/>
                    </a:lnTo>
                    <a:lnTo>
                      <a:pt x="279" y="83"/>
                    </a:lnTo>
                    <a:lnTo>
                      <a:pt x="279" y="80"/>
                    </a:lnTo>
                    <a:lnTo>
                      <a:pt x="279" y="80"/>
                    </a:lnTo>
                    <a:close/>
                    <a:moveTo>
                      <a:pt x="310" y="8"/>
                    </a:moveTo>
                    <a:lnTo>
                      <a:pt x="308" y="7"/>
                    </a:lnTo>
                    <a:lnTo>
                      <a:pt x="308" y="7"/>
                    </a:lnTo>
                    <a:lnTo>
                      <a:pt x="307" y="8"/>
                    </a:lnTo>
                    <a:lnTo>
                      <a:pt x="307" y="8"/>
                    </a:lnTo>
                    <a:lnTo>
                      <a:pt x="308" y="10"/>
                    </a:lnTo>
                    <a:lnTo>
                      <a:pt x="310" y="10"/>
                    </a:lnTo>
                    <a:lnTo>
                      <a:pt x="310" y="8"/>
                    </a:lnTo>
                    <a:lnTo>
                      <a:pt x="310" y="8"/>
                    </a:lnTo>
                    <a:close/>
                    <a:moveTo>
                      <a:pt x="305" y="2"/>
                    </a:moveTo>
                    <a:lnTo>
                      <a:pt x="305" y="2"/>
                    </a:lnTo>
                    <a:lnTo>
                      <a:pt x="305" y="0"/>
                    </a:lnTo>
                    <a:lnTo>
                      <a:pt x="304" y="0"/>
                    </a:lnTo>
                    <a:lnTo>
                      <a:pt x="304" y="3"/>
                    </a:lnTo>
                    <a:lnTo>
                      <a:pt x="305" y="7"/>
                    </a:lnTo>
                    <a:lnTo>
                      <a:pt x="305" y="5"/>
                    </a:lnTo>
                    <a:lnTo>
                      <a:pt x="305" y="2"/>
                    </a:lnTo>
                    <a:close/>
                    <a:moveTo>
                      <a:pt x="388" y="52"/>
                    </a:moveTo>
                    <a:lnTo>
                      <a:pt x="387" y="52"/>
                    </a:lnTo>
                    <a:lnTo>
                      <a:pt x="385" y="54"/>
                    </a:lnTo>
                    <a:lnTo>
                      <a:pt x="383" y="55"/>
                    </a:lnTo>
                    <a:lnTo>
                      <a:pt x="382" y="55"/>
                    </a:lnTo>
                    <a:lnTo>
                      <a:pt x="380" y="54"/>
                    </a:lnTo>
                    <a:lnTo>
                      <a:pt x="380" y="50"/>
                    </a:lnTo>
                    <a:lnTo>
                      <a:pt x="379" y="47"/>
                    </a:lnTo>
                    <a:lnTo>
                      <a:pt x="377" y="46"/>
                    </a:lnTo>
                    <a:lnTo>
                      <a:pt x="377" y="43"/>
                    </a:lnTo>
                    <a:lnTo>
                      <a:pt x="377" y="41"/>
                    </a:lnTo>
                    <a:lnTo>
                      <a:pt x="379" y="35"/>
                    </a:lnTo>
                    <a:lnTo>
                      <a:pt x="382" y="32"/>
                    </a:lnTo>
                    <a:lnTo>
                      <a:pt x="382" y="30"/>
                    </a:lnTo>
                    <a:lnTo>
                      <a:pt x="382" y="29"/>
                    </a:lnTo>
                    <a:lnTo>
                      <a:pt x="380" y="29"/>
                    </a:lnTo>
                    <a:lnTo>
                      <a:pt x="377" y="33"/>
                    </a:lnTo>
                    <a:lnTo>
                      <a:pt x="372" y="38"/>
                    </a:lnTo>
                    <a:lnTo>
                      <a:pt x="371" y="38"/>
                    </a:lnTo>
                    <a:lnTo>
                      <a:pt x="369" y="39"/>
                    </a:lnTo>
                    <a:lnTo>
                      <a:pt x="368" y="39"/>
                    </a:lnTo>
                    <a:lnTo>
                      <a:pt x="366" y="38"/>
                    </a:lnTo>
                    <a:lnTo>
                      <a:pt x="358" y="35"/>
                    </a:lnTo>
                    <a:lnTo>
                      <a:pt x="357" y="35"/>
                    </a:lnTo>
                    <a:lnTo>
                      <a:pt x="357" y="35"/>
                    </a:lnTo>
                    <a:lnTo>
                      <a:pt x="354" y="35"/>
                    </a:lnTo>
                    <a:lnTo>
                      <a:pt x="354" y="33"/>
                    </a:lnTo>
                    <a:lnTo>
                      <a:pt x="351" y="32"/>
                    </a:lnTo>
                    <a:lnTo>
                      <a:pt x="349" y="30"/>
                    </a:lnTo>
                    <a:lnTo>
                      <a:pt x="344" y="27"/>
                    </a:lnTo>
                    <a:lnTo>
                      <a:pt x="341" y="24"/>
                    </a:lnTo>
                    <a:lnTo>
                      <a:pt x="338" y="21"/>
                    </a:lnTo>
                    <a:lnTo>
                      <a:pt x="335" y="18"/>
                    </a:lnTo>
                    <a:lnTo>
                      <a:pt x="330" y="10"/>
                    </a:lnTo>
                    <a:lnTo>
                      <a:pt x="326" y="5"/>
                    </a:lnTo>
                    <a:lnTo>
                      <a:pt x="322" y="2"/>
                    </a:lnTo>
                    <a:lnTo>
                      <a:pt x="322" y="0"/>
                    </a:lnTo>
                    <a:lnTo>
                      <a:pt x="321" y="0"/>
                    </a:lnTo>
                    <a:lnTo>
                      <a:pt x="321" y="0"/>
                    </a:lnTo>
                    <a:lnTo>
                      <a:pt x="319" y="2"/>
                    </a:lnTo>
                    <a:lnTo>
                      <a:pt x="318" y="2"/>
                    </a:lnTo>
                    <a:lnTo>
                      <a:pt x="316" y="2"/>
                    </a:lnTo>
                    <a:lnTo>
                      <a:pt x="316" y="3"/>
                    </a:lnTo>
                    <a:lnTo>
                      <a:pt x="316" y="3"/>
                    </a:lnTo>
                    <a:lnTo>
                      <a:pt x="315" y="7"/>
                    </a:lnTo>
                    <a:lnTo>
                      <a:pt x="315" y="8"/>
                    </a:lnTo>
                    <a:lnTo>
                      <a:pt x="316" y="11"/>
                    </a:lnTo>
                    <a:lnTo>
                      <a:pt x="318" y="14"/>
                    </a:lnTo>
                    <a:lnTo>
                      <a:pt x="318" y="19"/>
                    </a:lnTo>
                    <a:lnTo>
                      <a:pt x="318" y="25"/>
                    </a:lnTo>
                    <a:lnTo>
                      <a:pt x="318" y="29"/>
                    </a:lnTo>
                    <a:lnTo>
                      <a:pt x="316" y="30"/>
                    </a:lnTo>
                    <a:lnTo>
                      <a:pt x="316" y="36"/>
                    </a:lnTo>
                    <a:lnTo>
                      <a:pt x="315" y="39"/>
                    </a:lnTo>
                    <a:lnTo>
                      <a:pt x="313" y="43"/>
                    </a:lnTo>
                    <a:lnTo>
                      <a:pt x="311" y="46"/>
                    </a:lnTo>
                    <a:lnTo>
                      <a:pt x="311" y="49"/>
                    </a:lnTo>
                    <a:lnTo>
                      <a:pt x="311" y="52"/>
                    </a:lnTo>
                    <a:lnTo>
                      <a:pt x="311" y="55"/>
                    </a:lnTo>
                    <a:lnTo>
                      <a:pt x="310" y="57"/>
                    </a:lnTo>
                    <a:lnTo>
                      <a:pt x="308" y="57"/>
                    </a:lnTo>
                    <a:lnTo>
                      <a:pt x="307" y="57"/>
                    </a:lnTo>
                    <a:lnTo>
                      <a:pt x="304" y="57"/>
                    </a:lnTo>
                    <a:lnTo>
                      <a:pt x="302" y="57"/>
                    </a:lnTo>
                    <a:lnTo>
                      <a:pt x="301" y="57"/>
                    </a:lnTo>
                    <a:lnTo>
                      <a:pt x="297" y="54"/>
                    </a:lnTo>
                    <a:lnTo>
                      <a:pt x="296" y="54"/>
                    </a:lnTo>
                    <a:lnTo>
                      <a:pt x="294" y="54"/>
                    </a:lnTo>
                    <a:lnTo>
                      <a:pt x="294" y="55"/>
                    </a:lnTo>
                    <a:lnTo>
                      <a:pt x="294" y="57"/>
                    </a:lnTo>
                    <a:lnTo>
                      <a:pt x="296" y="60"/>
                    </a:lnTo>
                    <a:lnTo>
                      <a:pt x="294" y="63"/>
                    </a:lnTo>
                    <a:lnTo>
                      <a:pt x="293" y="65"/>
                    </a:lnTo>
                    <a:lnTo>
                      <a:pt x="291" y="66"/>
                    </a:lnTo>
                    <a:lnTo>
                      <a:pt x="290" y="68"/>
                    </a:lnTo>
                    <a:lnTo>
                      <a:pt x="288" y="69"/>
                    </a:lnTo>
                    <a:lnTo>
                      <a:pt x="286" y="69"/>
                    </a:lnTo>
                    <a:lnTo>
                      <a:pt x="285" y="69"/>
                    </a:lnTo>
                    <a:lnTo>
                      <a:pt x="285" y="71"/>
                    </a:lnTo>
                    <a:lnTo>
                      <a:pt x="285" y="74"/>
                    </a:lnTo>
                    <a:lnTo>
                      <a:pt x="283" y="75"/>
                    </a:lnTo>
                    <a:lnTo>
                      <a:pt x="285" y="79"/>
                    </a:lnTo>
                    <a:lnTo>
                      <a:pt x="285" y="80"/>
                    </a:lnTo>
                    <a:lnTo>
                      <a:pt x="288" y="83"/>
                    </a:lnTo>
                    <a:lnTo>
                      <a:pt x="288" y="83"/>
                    </a:lnTo>
                    <a:lnTo>
                      <a:pt x="290" y="86"/>
                    </a:lnTo>
                    <a:lnTo>
                      <a:pt x="288" y="90"/>
                    </a:lnTo>
                    <a:lnTo>
                      <a:pt x="288" y="93"/>
                    </a:lnTo>
                    <a:lnTo>
                      <a:pt x="286" y="94"/>
                    </a:lnTo>
                    <a:lnTo>
                      <a:pt x="288" y="96"/>
                    </a:lnTo>
                    <a:lnTo>
                      <a:pt x="288" y="97"/>
                    </a:lnTo>
                    <a:lnTo>
                      <a:pt x="288" y="99"/>
                    </a:lnTo>
                    <a:lnTo>
                      <a:pt x="290" y="99"/>
                    </a:lnTo>
                    <a:lnTo>
                      <a:pt x="291" y="97"/>
                    </a:lnTo>
                    <a:lnTo>
                      <a:pt x="294" y="96"/>
                    </a:lnTo>
                    <a:lnTo>
                      <a:pt x="294" y="96"/>
                    </a:lnTo>
                    <a:lnTo>
                      <a:pt x="296" y="93"/>
                    </a:lnTo>
                    <a:lnTo>
                      <a:pt x="297" y="91"/>
                    </a:lnTo>
                    <a:lnTo>
                      <a:pt x="299" y="90"/>
                    </a:lnTo>
                    <a:lnTo>
                      <a:pt x="302" y="91"/>
                    </a:lnTo>
                    <a:lnTo>
                      <a:pt x="304" y="91"/>
                    </a:lnTo>
                    <a:lnTo>
                      <a:pt x="305" y="91"/>
                    </a:lnTo>
                    <a:lnTo>
                      <a:pt x="307" y="91"/>
                    </a:lnTo>
                    <a:lnTo>
                      <a:pt x="307" y="90"/>
                    </a:lnTo>
                    <a:lnTo>
                      <a:pt x="307" y="88"/>
                    </a:lnTo>
                    <a:lnTo>
                      <a:pt x="304" y="85"/>
                    </a:lnTo>
                    <a:lnTo>
                      <a:pt x="301" y="82"/>
                    </a:lnTo>
                    <a:lnTo>
                      <a:pt x="299" y="82"/>
                    </a:lnTo>
                    <a:lnTo>
                      <a:pt x="297" y="82"/>
                    </a:lnTo>
                    <a:lnTo>
                      <a:pt x="296" y="82"/>
                    </a:lnTo>
                    <a:lnTo>
                      <a:pt x="294" y="80"/>
                    </a:lnTo>
                    <a:lnTo>
                      <a:pt x="293" y="79"/>
                    </a:lnTo>
                    <a:lnTo>
                      <a:pt x="293" y="77"/>
                    </a:lnTo>
                    <a:lnTo>
                      <a:pt x="293" y="75"/>
                    </a:lnTo>
                    <a:lnTo>
                      <a:pt x="293" y="75"/>
                    </a:lnTo>
                    <a:lnTo>
                      <a:pt x="294" y="74"/>
                    </a:lnTo>
                    <a:lnTo>
                      <a:pt x="296" y="72"/>
                    </a:lnTo>
                    <a:lnTo>
                      <a:pt x="297" y="72"/>
                    </a:lnTo>
                    <a:lnTo>
                      <a:pt x="297" y="71"/>
                    </a:lnTo>
                    <a:lnTo>
                      <a:pt x="299" y="72"/>
                    </a:lnTo>
                    <a:lnTo>
                      <a:pt x="301" y="74"/>
                    </a:lnTo>
                    <a:lnTo>
                      <a:pt x="304" y="77"/>
                    </a:lnTo>
                    <a:lnTo>
                      <a:pt x="304" y="77"/>
                    </a:lnTo>
                    <a:lnTo>
                      <a:pt x="311" y="72"/>
                    </a:lnTo>
                    <a:lnTo>
                      <a:pt x="319" y="71"/>
                    </a:lnTo>
                    <a:lnTo>
                      <a:pt x="324" y="74"/>
                    </a:lnTo>
                    <a:lnTo>
                      <a:pt x="332" y="79"/>
                    </a:lnTo>
                    <a:lnTo>
                      <a:pt x="338" y="82"/>
                    </a:lnTo>
                    <a:lnTo>
                      <a:pt x="341" y="85"/>
                    </a:lnTo>
                    <a:lnTo>
                      <a:pt x="344" y="85"/>
                    </a:lnTo>
                    <a:lnTo>
                      <a:pt x="344" y="85"/>
                    </a:lnTo>
                    <a:lnTo>
                      <a:pt x="346" y="83"/>
                    </a:lnTo>
                    <a:lnTo>
                      <a:pt x="346" y="82"/>
                    </a:lnTo>
                    <a:lnTo>
                      <a:pt x="346" y="80"/>
                    </a:lnTo>
                    <a:lnTo>
                      <a:pt x="346" y="77"/>
                    </a:lnTo>
                    <a:lnTo>
                      <a:pt x="347" y="75"/>
                    </a:lnTo>
                    <a:lnTo>
                      <a:pt x="351" y="71"/>
                    </a:lnTo>
                    <a:lnTo>
                      <a:pt x="354" y="68"/>
                    </a:lnTo>
                    <a:lnTo>
                      <a:pt x="357" y="65"/>
                    </a:lnTo>
                    <a:lnTo>
                      <a:pt x="362" y="61"/>
                    </a:lnTo>
                    <a:lnTo>
                      <a:pt x="363" y="61"/>
                    </a:lnTo>
                    <a:lnTo>
                      <a:pt x="366" y="63"/>
                    </a:lnTo>
                    <a:lnTo>
                      <a:pt x="368" y="63"/>
                    </a:lnTo>
                    <a:lnTo>
                      <a:pt x="371" y="61"/>
                    </a:lnTo>
                    <a:lnTo>
                      <a:pt x="374" y="61"/>
                    </a:lnTo>
                    <a:lnTo>
                      <a:pt x="376" y="60"/>
                    </a:lnTo>
                    <a:lnTo>
                      <a:pt x="377" y="60"/>
                    </a:lnTo>
                    <a:lnTo>
                      <a:pt x="379" y="58"/>
                    </a:lnTo>
                    <a:lnTo>
                      <a:pt x="380" y="57"/>
                    </a:lnTo>
                    <a:lnTo>
                      <a:pt x="382" y="57"/>
                    </a:lnTo>
                    <a:lnTo>
                      <a:pt x="383" y="57"/>
                    </a:lnTo>
                    <a:lnTo>
                      <a:pt x="385" y="57"/>
                    </a:lnTo>
                    <a:lnTo>
                      <a:pt x="387" y="54"/>
                    </a:lnTo>
                    <a:lnTo>
                      <a:pt x="388" y="54"/>
                    </a:lnTo>
                    <a:lnTo>
                      <a:pt x="390" y="52"/>
                    </a:lnTo>
                    <a:lnTo>
                      <a:pt x="388" y="5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0" name="Freeform 107">
                <a:extLst>
                  <a:ext uri="{FF2B5EF4-FFF2-40B4-BE49-F238E27FC236}">
                    <a16:creationId xmlns:a16="http://schemas.microsoft.com/office/drawing/2014/main" id="{18E8AB3F-8D48-284F-5533-A02F45A6A12A}"/>
                  </a:ext>
                </a:extLst>
              </p:cNvPr>
              <p:cNvSpPr>
                <a:spLocks/>
              </p:cNvSpPr>
              <p:nvPr/>
            </p:nvSpPr>
            <p:spPr bwMode="gray">
              <a:xfrm>
                <a:off x="3424" y="1879"/>
                <a:ext cx="2" cy="0"/>
              </a:xfrm>
              <a:custGeom>
                <a:avLst/>
                <a:gdLst>
                  <a:gd name="T0" fmla="*/ 2 w 2"/>
                  <a:gd name="T1" fmla="*/ 2 w 2"/>
                  <a:gd name="T2" fmla="*/ 2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2" y="0"/>
                    </a:lnTo>
                    <a:lnTo>
                      <a:pt x="0" y="0"/>
                    </a:lnTo>
                    <a:lnTo>
                      <a:pt x="2" y="0"/>
                    </a:lnTo>
                    <a:lnTo>
                      <a:pt x="2" y="0"/>
                    </a:lnTo>
                    <a:lnTo>
                      <a:pt x="2"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1" name="Freeform 108">
                <a:extLst>
                  <a:ext uri="{FF2B5EF4-FFF2-40B4-BE49-F238E27FC236}">
                    <a16:creationId xmlns:a16="http://schemas.microsoft.com/office/drawing/2014/main" id="{1D867514-54B2-E86E-8E35-EE35E25893AE}"/>
                  </a:ext>
                </a:extLst>
              </p:cNvPr>
              <p:cNvSpPr>
                <a:spLocks noEditPoints="1"/>
              </p:cNvSpPr>
              <p:nvPr/>
            </p:nvSpPr>
            <p:spPr bwMode="gray">
              <a:xfrm>
                <a:off x="3269" y="1480"/>
                <a:ext cx="141" cy="179"/>
              </a:xfrm>
              <a:custGeom>
                <a:avLst/>
                <a:gdLst>
                  <a:gd name="T0" fmla="*/ 125 w 141"/>
                  <a:gd name="T1" fmla="*/ 135 h 179"/>
                  <a:gd name="T2" fmla="*/ 129 w 141"/>
                  <a:gd name="T3" fmla="*/ 133 h 179"/>
                  <a:gd name="T4" fmla="*/ 133 w 141"/>
                  <a:gd name="T5" fmla="*/ 27 h 179"/>
                  <a:gd name="T6" fmla="*/ 129 w 141"/>
                  <a:gd name="T7" fmla="*/ 27 h 179"/>
                  <a:gd name="T8" fmla="*/ 121 w 141"/>
                  <a:gd name="T9" fmla="*/ 22 h 179"/>
                  <a:gd name="T10" fmla="*/ 113 w 141"/>
                  <a:gd name="T11" fmla="*/ 25 h 179"/>
                  <a:gd name="T12" fmla="*/ 102 w 141"/>
                  <a:gd name="T13" fmla="*/ 35 h 179"/>
                  <a:gd name="T14" fmla="*/ 94 w 141"/>
                  <a:gd name="T15" fmla="*/ 36 h 179"/>
                  <a:gd name="T16" fmla="*/ 93 w 141"/>
                  <a:gd name="T17" fmla="*/ 36 h 179"/>
                  <a:gd name="T18" fmla="*/ 86 w 141"/>
                  <a:gd name="T19" fmla="*/ 35 h 179"/>
                  <a:gd name="T20" fmla="*/ 85 w 141"/>
                  <a:gd name="T21" fmla="*/ 35 h 179"/>
                  <a:gd name="T22" fmla="*/ 80 w 141"/>
                  <a:gd name="T23" fmla="*/ 33 h 179"/>
                  <a:gd name="T24" fmla="*/ 69 w 141"/>
                  <a:gd name="T25" fmla="*/ 30 h 179"/>
                  <a:gd name="T26" fmla="*/ 53 w 141"/>
                  <a:gd name="T27" fmla="*/ 19 h 179"/>
                  <a:gd name="T28" fmla="*/ 47 w 141"/>
                  <a:gd name="T29" fmla="*/ 19 h 179"/>
                  <a:gd name="T30" fmla="*/ 38 w 141"/>
                  <a:gd name="T31" fmla="*/ 19 h 179"/>
                  <a:gd name="T32" fmla="*/ 33 w 141"/>
                  <a:gd name="T33" fmla="*/ 13 h 179"/>
                  <a:gd name="T34" fmla="*/ 35 w 141"/>
                  <a:gd name="T35" fmla="*/ 7 h 179"/>
                  <a:gd name="T36" fmla="*/ 33 w 141"/>
                  <a:gd name="T37" fmla="*/ 4 h 179"/>
                  <a:gd name="T38" fmla="*/ 25 w 141"/>
                  <a:gd name="T39" fmla="*/ 4 h 179"/>
                  <a:gd name="T40" fmla="*/ 25 w 141"/>
                  <a:gd name="T41" fmla="*/ 2 h 179"/>
                  <a:gd name="T42" fmla="*/ 22 w 141"/>
                  <a:gd name="T43" fmla="*/ 4 h 179"/>
                  <a:gd name="T44" fmla="*/ 10 w 141"/>
                  <a:gd name="T45" fmla="*/ 16 h 179"/>
                  <a:gd name="T46" fmla="*/ 2 w 141"/>
                  <a:gd name="T47" fmla="*/ 24 h 179"/>
                  <a:gd name="T48" fmla="*/ 5 w 141"/>
                  <a:gd name="T49" fmla="*/ 30 h 179"/>
                  <a:gd name="T50" fmla="*/ 10 w 141"/>
                  <a:gd name="T51" fmla="*/ 33 h 179"/>
                  <a:gd name="T52" fmla="*/ 10 w 141"/>
                  <a:gd name="T53" fmla="*/ 41 h 179"/>
                  <a:gd name="T54" fmla="*/ 16 w 141"/>
                  <a:gd name="T55" fmla="*/ 47 h 179"/>
                  <a:gd name="T56" fmla="*/ 18 w 141"/>
                  <a:gd name="T57" fmla="*/ 50 h 179"/>
                  <a:gd name="T58" fmla="*/ 18 w 141"/>
                  <a:gd name="T59" fmla="*/ 55 h 179"/>
                  <a:gd name="T60" fmla="*/ 19 w 141"/>
                  <a:gd name="T61" fmla="*/ 65 h 179"/>
                  <a:gd name="T62" fmla="*/ 19 w 141"/>
                  <a:gd name="T63" fmla="*/ 69 h 179"/>
                  <a:gd name="T64" fmla="*/ 16 w 141"/>
                  <a:gd name="T65" fmla="*/ 72 h 179"/>
                  <a:gd name="T66" fmla="*/ 16 w 141"/>
                  <a:gd name="T67" fmla="*/ 76 h 179"/>
                  <a:gd name="T68" fmla="*/ 11 w 141"/>
                  <a:gd name="T69" fmla="*/ 79 h 179"/>
                  <a:gd name="T70" fmla="*/ 5 w 141"/>
                  <a:gd name="T71" fmla="*/ 86 h 179"/>
                  <a:gd name="T72" fmla="*/ 2 w 141"/>
                  <a:gd name="T73" fmla="*/ 94 h 179"/>
                  <a:gd name="T74" fmla="*/ 0 w 141"/>
                  <a:gd name="T75" fmla="*/ 115 h 179"/>
                  <a:gd name="T76" fmla="*/ 8 w 141"/>
                  <a:gd name="T77" fmla="*/ 118 h 179"/>
                  <a:gd name="T78" fmla="*/ 24 w 141"/>
                  <a:gd name="T79" fmla="*/ 126 h 179"/>
                  <a:gd name="T80" fmla="*/ 39 w 141"/>
                  <a:gd name="T81" fmla="*/ 135 h 179"/>
                  <a:gd name="T82" fmla="*/ 53 w 141"/>
                  <a:gd name="T83" fmla="*/ 143 h 179"/>
                  <a:gd name="T84" fmla="*/ 64 w 141"/>
                  <a:gd name="T85" fmla="*/ 149 h 179"/>
                  <a:gd name="T86" fmla="*/ 68 w 141"/>
                  <a:gd name="T87" fmla="*/ 152 h 179"/>
                  <a:gd name="T88" fmla="*/ 66 w 141"/>
                  <a:gd name="T89" fmla="*/ 157 h 179"/>
                  <a:gd name="T90" fmla="*/ 68 w 141"/>
                  <a:gd name="T91" fmla="*/ 158 h 179"/>
                  <a:gd name="T92" fmla="*/ 69 w 141"/>
                  <a:gd name="T93" fmla="*/ 162 h 179"/>
                  <a:gd name="T94" fmla="*/ 93 w 141"/>
                  <a:gd name="T95" fmla="*/ 177 h 179"/>
                  <a:gd name="T96" fmla="*/ 96 w 141"/>
                  <a:gd name="T97" fmla="*/ 177 h 179"/>
                  <a:gd name="T98" fmla="*/ 102 w 141"/>
                  <a:gd name="T99" fmla="*/ 169 h 179"/>
                  <a:gd name="T100" fmla="*/ 104 w 141"/>
                  <a:gd name="T101" fmla="*/ 165 h 179"/>
                  <a:gd name="T102" fmla="*/ 107 w 141"/>
                  <a:gd name="T103" fmla="*/ 157 h 179"/>
                  <a:gd name="T104" fmla="*/ 111 w 141"/>
                  <a:gd name="T105" fmla="*/ 149 h 179"/>
                  <a:gd name="T106" fmla="*/ 114 w 141"/>
                  <a:gd name="T107" fmla="*/ 141 h 179"/>
                  <a:gd name="T108" fmla="*/ 124 w 141"/>
                  <a:gd name="T109" fmla="*/ 137 h 179"/>
                  <a:gd name="T110" fmla="*/ 124 w 141"/>
                  <a:gd name="T111" fmla="*/ 132 h 179"/>
                  <a:gd name="T112" fmla="*/ 127 w 141"/>
                  <a:gd name="T113" fmla="*/ 132 h 179"/>
                  <a:gd name="T114" fmla="*/ 135 w 141"/>
                  <a:gd name="T115" fmla="*/ 127 h 179"/>
                  <a:gd name="T116" fmla="*/ 133 w 141"/>
                  <a:gd name="T117" fmla="*/ 122 h 179"/>
                  <a:gd name="T118" fmla="*/ 125 w 141"/>
                  <a:gd name="T119" fmla="*/ 110 h 179"/>
                  <a:gd name="T120" fmla="*/ 125 w 141"/>
                  <a:gd name="T121" fmla="*/ 58 h 179"/>
                  <a:gd name="T122" fmla="*/ 132 w 141"/>
                  <a:gd name="T123" fmla="*/ 41 h 179"/>
                  <a:gd name="T124" fmla="*/ 141 w 141"/>
                  <a:gd name="T125" fmla="*/ 2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 h="179">
                    <a:moveTo>
                      <a:pt x="129" y="133"/>
                    </a:moveTo>
                    <a:lnTo>
                      <a:pt x="127" y="132"/>
                    </a:lnTo>
                    <a:lnTo>
                      <a:pt x="125" y="133"/>
                    </a:lnTo>
                    <a:lnTo>
                      <a:pt x="125" y="135"/>
                    </a:lnTo>
                    <a:lnTo>
                      <a:pt x="125" y="135"/>
                    </a:lnTo>
                    <a:lnTo>
                      <a:pt x="127" y="133"/>
                    </a:lnTo>
                    <a:lnTo>
                      <a:pt x="129" y="133"/>
                    </a:lnTo>
                    <a:lnTo>
                      <a:pt x="129" y="133"/>
                    </a:lnTo>
                    <a:lnTo>
                      <a:pt x="129" y="133"/>
                    </a:lnTo>
                    <a:close/>
                    <a:moveTo>
                      <a:pt x="138" y="27"/>
                    </a:moveTo>
                    <a:lnTo>
                      <a:pt x="133" y="27"/>
                    </a:lnTo>
                    <a:lnTo>
                      <a:pt x="133" y="27"/>
                    </a:lnTo>
                    <a:lnTo>
                      <a:pt x="132" y="29"/>
                    </a:lnTo>
                    <a:lnTo>
                      <a:pt x="132" y="29"/>
                    </a:lnTo>
                    <a:lnTo>
                      <a:pt x="129" y="29"/>
                    </a:lnTo>
                    <a:lnTo>
                      <a:pt x="129" y="27"/>
                    </a:lnTo>
                    <a:lnTo>
                      <a:pt x="127" y="27"/>
                    </a:lnTo>
                    <a:lnTo>
                      <a:pt x="125" y="25"/>
                    </a:lnTo>
                    <a:lnTo>
                      <a:pt x="124" y="24"/>
                    </a:lnTo>
                    <a:lnTo>
                      <a:pt x="121" y="22"/>
                    </a:lnTo>
                    <a:lnTo>
                      <a:pt x="121" y="22"/>
                    </a:lnTo>
                    <a:lnTo>
                      <a:pt x="118" y="24"/>
                    </a:lnTo>
                    <a:lnTo>
                      <a:pt x="118" y="24"/>
                    </a:lnTo>
                    <a:lnTo>
                      <a:pt x="113" y="25"/>
                    </a:lnTo>
                    <a:lnTo>
                      <a:pt x="108" y="29"/>
                    </a:lnTo>
                    <a:lnTo>
                      <a:pt x="105" y="30"/>
                    </a:lnTo>
                    <a:lnTo>
                      <a:pt x="104" y="32"/>
                    </a:lnTo>
                    <a:lnTo>
                      <a:pt x="102" y="35"/>
                    </a:lnTo>
                    <a:lnTo>
                      <a:pt x="100" y="36"/>
                    </a:lnTo>
                    <a:lnTo>
                      <a:pt x="100" y="36"/>
                    </a:lnTo>
                    <a:lnTo>
                      <a:pt x="99" y="36"/>
                    </a:lnTo>
                    <a:lnTo>
                      <a:pt x="94" y="36"/>
                    </a:lnTo>
                    <a:lnTo>
                      <a:pt x="94" y="36"/>
                    </a:lnTo>
                    <a:lnTo>
                      <a:pt x="94" y="36"/>
                    </a:lnTo>
                    <a:lnTo>
                      <a:pt x="93" y="36"/>
                    </a:lnTo>
                    <a:lnTo>
                      <a:pt x="93" y="36"/>
                    </a:lnTo>
                    <a:lnTo>
                      <a:pt x="93" y="36"/>
                    </a:lnTo>
                    <a:lnTo>
                      <a:pt x="89" y="35"/>
                    </a:lnTo>
                    <a:lnTo>
                      <a:pt x="88" y="35"/>
                    </a:lnTo>
                    <a:lnTo>
                      <a:pt x="86" y="35"/>
                    </a:lnTo>
                    <a:lnTo>
                      <a:pt x="86" y="35"/>
                    </a:lnTo>
                    <a:lnTo>
                      <a:pt x="85" y="35"/>
                    </a:lnTo>
                    <a:lnTo>
                      <a:pt x="85" y="35"/>
                    </a:lnTo>
                    <a:lnTo>
                      <a:pt x="85" y="35"/>
                    </a:lnTo>
                    <a:lnTo>
                      <a:pt x="83" y="33"/>
                    </a:lnTo>
                    <a:lnTo>
                      <a:pt x="80" y="33"/>
                    </a:lnTo>
                    <a:lnTo>
                      <a:pt x="80" y="33"/>
                    </a:lnTo>
                    <a:lnTo>
                      <a:pt x="80" y="33"/>
                    </a:lnTo>
                    <a:lnTo>
                      <a:pt x="77" y="33"/>
                    </a:lnTo>
                    <a:lnTo>
                      <a:pt x="74" y="33"/>
                    </a:lnTo>
                    <a:lnTo>
                      <a:pt x="72" y="32"/>
                    </a:lnTo>
                    <a:lnTo>
                      <a:pt x="69" y="30"/>
                    </a:lnTo>
                    <a:lnTo>
                      <a:pt x="66" y="27"/>
                    </a:lnTo>
                    <a:lnTo>
                      <a:pt x="61" y="25"/>
                    </a:lnTo>
                    <a:lnTo>
                      <a:pt x="58" y="22"/>
                    </a:lnTo>
                    <a:lnTo>
                      <a:pt x="53" y="19"/>
                    </a:lnTo>
                    <a:lnTo>
                      <a:pt x="53" y="19"/>
                    </a:lnTo>
                    <a:lnTo>
                      <a:pt x="52" y="19"/>
                    </a:lnTo>
                    <a:lnTo>
                      <a:pt x="52" y="19"/>
                    </a:lnTo>
                    <a:lnTo>
                      <a:pt x="47" y="19"/>
                    </a:lnTo>
                    <a:lnTo>
                      <a:pt x="43" y="19"/>
                    </a:lnTo>
                    <a:lnTo>
                      <a:pt x="39" y="19"/>
                    </a:lnTo>
                    <a:lnTo>
                      <a:pt x="39" y="19"/>
                    </a:lnTo>
                    <a:lnTo>
                      <a:pt x="38" y="19"/>
                    </a:lnTo>
                    <a:lnTo>
                      <a:pt x="38" y="18"/>
                    </a:lnTo>
                    <a:lnTo>
                      <a:pt x="36" y="16"/>
                    </a:lnTo>
                    <a:lnTo>
                      <a:pt x="35" y="15"/>
                    </a:lnTo>
                    <a:lnTo>
                      <a:pt x="33" y="13"/>
                    </a:lnTo>
                    <a:lnTo>
                      <a:pt x="33" y="13"/>
                    </a:lnTo>
                    <a:lnTo>
                      <a:pt x="33" y="10"/>
                    </a:lnTo>
                    <a:lnTo>
                      <a:pt x="33" y="8"/>
                    </a:lnTo>
                    <a:lnTo>
                      <a:pt x="35" y="7"/>
                    </a:lnTo>
                    <a:lnTo>
                      <a:pt x="35" y="5"/>
                    </a:lnTo>
                    <a:lnTo>
                      <a:pt x="35" y="5"/>
                    </a:lnTo>
                    <a:lnTo>
                      <a:pt x="33" y="4"/>
                    </a:lnTo>
                    <a:lnTo>
                      <a:pt x="33" y="4"/>
                    </a:lnTo>
                    <a:lnTo>
                      <a:pt x="28" y="2"/>
                    </a:lnTo>
                    <a:lnTo>
                      <a:pt x="27" y="2"/>
                    </a:lnTo>
                    <a:lnTo>
                      <a:pt x="27" y="4"/>
                    </a:lnTo>
                    <a:lnTo>
                      <a:pt x="25" y="4"/>
                    </a:lnTo>
                    <a:lnTo>
                      <a:pt x="25" y="4"/>
                    </a:lnTo>
                    <a:lnTo>
                      <a:pt x="25" y="4"/>
                    </a:lnTo>
                    <a:lnTo>
                      <a:pt x="25" y="2"/>
                    </a:lnTo>
                    <a:lnTo>
                      <a:pt x="25" y="2"/>
                    </a:lnTo>
                    <a:lnTo>
                      <a:pt x="25" y="0"/>
                    </a:lnTo>
                    <a:lnTo>
                      <a:pt x="25" y="0"/>
                    </a:lnTo>
                    <a:lnTo>
                      <a:pt x="22" y="4"/>
                    </a:lnTo>
                    <a:lnTo>
                      <a:pt x="22" y="4"/>
                    </a:lnTo>
                    <a:lnTo>
                      <a:pt x="18" y="8"/>
                    </a:lnTo>
                    <a:lnTo>
                      <a:pt x="14" y="11"/>
                    </a:lnTo>
                    <a:lnTo>
                      <a:pt x="10" y="16"/>
                    </a:lnTo>
                    <a:lnTo>
                      <a:pt x="10" y="16"/>
                    </a:lnTo>
                    <a:lnTo>
                      <a:pt x="5" y="19"/>
                    </a:lnTo>
                    <a:lnTo>
                      <a:pt x="2" y="24"/>
                    </a:lnTo>
                    <a:lnTo>
                      <a:pt x="2" y="24"/>
                    </a:lnTo>
                    <a:lnTo>
                      <a:pt x="2" y="24"/>
                    </a:lnTo>
                    <a:lnTo>
                      <a:pt x="5" y="29"/>
                    </a:lnTo>
                    <a:lnTo>
                      <a:pt x="5" y="29"/>
                    </a:lnTo>
                    <a:lnTo>
                      <a:pt x="7" y="30"/>
                    </a:lnTo>
                    <a:lnTo>
                      <a:pt x="5" y="30"/>
                    </a:lnTo>
                    <a:lnTo>
                      <a:pt x="5" y="30"/>
                    </a:lnTo>
                    <a:lnTo>
                      <a:pt x="7" y="32"/>
                    </a:lnTo>
                    <a:lnTo>
                      <a:pt x="10" y="32"/>
                    </a:lnTo>
                    <a:lnTo>
                      <a:pt x="10" y="33"/>
                    </a:lnTo>
                    <a:lnTo>
                      <a:pt x="10" y="33"/>
                    </a:lnTo>
                    <a:lnTo>
                      <a:pt x="10" y="38"/>
                    </a:lnTo>
                    <a:lnTo>
                      <a:pt x="10" y="38"/>
                    </a:lnTo>
                    <a:lnTo>
                      <a:pt x="10" y="41"/>
                    </a:lnTo>
                    <a:lnTo>
                      <a:pt x="11" y="41"/>
                    </a:lnTo>
                    <a:lnTo>
                      <a:pt x="11" y="43"/>
                    </a:lnTo>
                    <a:lnTo>
                      <a:pt x="13" y="46"/>
                    </a:lnTo>
                    <a:lnTo>
                      <a:pt x="16" y="47"/>
                    </a:lnTo>
                    <a:lnTo>
                      <a:pt x="16" y="47"/>
                    </a:lnTo>
                    <a:lnTo>
                      <a:pt x="16" y="49"/>
                    </a:lnTo>
                    <a:lnTo>
                      <a:pt x="18" y="50"/>
                    </a:lnTo>
                    <a:lnTo>
                      <a:pt x="18" y="50"/>
                    </a:lnTo>
                    <a:lnTo>
                      <a:pt x="18" y="52"/>
                    </a:lnTo>
                    <a:lnTo>
                      <a:pt x="18" y="52"/>
                    </a:lnTo>
                    <a:lnTo>
                      <a:pt x="19" y="54"/>
                    </a:lnTo>
                    <a:lnTo>
                      <a:pt x="18" y="55"/>
                    </a:lnTo>
                    <a:lnTo>
                      <a:pt x="19" y="58"/>
                    </a:lnTo>
                    <a:lnTo>
                      <a:pt x="19" y="61"/>
                    </a:lnTo>
                    <a:lnTo>
                      <a:pt x="19" y="63"/>
                    </a:lnTo>
                    <a:lnTo>
                      <a:pt x="19" y="65"/>
                    </a:lnTo>
                    <a:lnTo>
                      <a:pt x="19" y="66"/>
                    </a:lnTo>
                    <a:lnTo>
                      <a:pt x="19" y="66"/>
                    </a:lnTo>
                    <a:lnTo>
                      <a:pt x="19" y="68"/>
                    </a:lnTo>
                    <a:lnTo>
                      <a:pt x="19" y="69"/>
                    </a:lnTo>
                    <a:lnTo>
                      <a:pt x="19" y="69"/>
                    </a:lnTo>
                    <a:lnTo>
                      <a:pt x="18" y="71"/>
                    </a:lnTo>
                    <a:lnTo>
                      <a:pt x="18" y="72"/>
                    </a:lnTo>
                    <a:lnTo>
                      <a:pt x="16" y="72"/>
                    </a:lnTo>
                    <a:lnTo>
                      <a:pt x="16" y="74"/>
                    </a:lnTo>
                    <a:lnTo>
                      <a:pt x="16" y="76"/>
                    </a:lnTo>
                    <a:lnTo>
                      <a:pt x="16" y="76"/>
                    </a:lnTo>
                    <a:lnTo>
                      <a:pt x="16" y="76"/>
                    </a:lnTo>
                    <a:lnTo>
                      <a:pt x="14" y="76"/>
                    </a:lnTo>
                    <a:lnTo>
                      <a:pt x="13" y="77"/>
                    </a:lnTo>
                    <a:lnTo>
                      <a:pt x="11" y="77"/>
                    </a:lnTo>
                    <a:lnTo>
                      <a:pt x="11" y="79"/>
                    </a:lnTo>
                    <a:lnTo>
                      <a:pt x="10" y="82"/>
                    </a:lnTo>
                    <a:lnTo>
                      <a:pt x="8" y="85"/>
                    </a:lnTo>
                    <a:lnTo>
                      <a:pt x="8" y="85"/>
                    </a:lnTo>
                    <a:lnTo>
                      <a:pt x="5" y="86"/>
                    </a:lnTo>
                    <a:lnTo>
                      <a:pt x="5" y="88"/>
                    </a:lnTo>
                    <a:lnTo>
                      <a:pt x="3" y="90"/>
                    </a:lnTo>
                    <a:lnTo>
                      <a:pt x="3" y="91"/>
                    </a:lnTo>
                    <a:lnTo>
                      <a:pt x="2" y="94"/>
                    </a:lnTo>
                    <a:lnTo>
                      <a:pt x="2" y="97"/>
                    </a:lnTo>
                    <a:lnTo>
                      <a:pt x="2" y="104"/>
                    </a:lnTo>
                    <a:lnTo>
                      <a:pt x="0" y="112"/>
                    </a:lnTo>
                    <a:lnTo>
                      <a:pt x="0" y="115"/>
                    </a:lnTo>
                    <a:lnTo>
                      <a:pt x="2" y="115"/>
                    </a:lnTo>
                    <a:lnTo>
                      <a:pt x="3" y="115"/>
                    </a:lnTo>
                    <a:lnTo>
                      <a:pt x="5" y="116"/>
                    </a:lnTo>
                    <a:lnTo>
                      <a:pt x="8" y="118"/>
                    </a:lnTo>
                    <a:lnTo>
                      <a:pt x="13" y="119"/>
                    </a:lnTo>
                    <a:lnTo>
                      <a:pt x="16" y="122"/>
                    </a:lnTo>
                    <a:lnTo>
                      <a:pt x="21" y="124"/>
                    </a:lnTo>
                    <a:lnTo>
                      <a:pt x="24" y="126"/>
                    </a:lnTo>
                    <a:lnTo>
                      <a:pt x="27" y="129"/>
                    </a:lnTo>
                    <a:lnTo>
                      <a:pt x="32" y="130"/>
                    </a:lnTo>
                    <a:lnTo>
                      <a:pt x="35" y="132"/>
                    </a:lnTo>
                    <a:lnTo>
                      <a:pt x="39" y="135"/>
                    </a:lnTo>
                    <a:lnTo>
                      <a:pt x="43" y="137"/>
                    </a:lnTo>
                    <a:lnTo>
                      <a:pt x="46" y="138"/>
                    </a:lnTo>
                    <a:lnTo>
                      <a:pt x="50" y="141"/>
                    </a:lnTo>
                    <a:lnTo>
                      <a:pt x="53" y="143"/>
                    </a:lnTo>
                    <a:lnTo>
                      <a:pt x="57" y="144"/>
                    </a:lnTo>
                    <a:lnTo>
                      <a:pt x="61" y="148"/>
                    </a:lnTo>
                    <a:lnTo>
                      <a:pt x="63" y="148"/>
                    </a:lnTo>
                    <a:lnTo>
                      <a:pt x="64" y="149"/>
                    </a:lnTo>
                    <a:lnTo>
                      <a:pt x="66" y="151"/>
                    </a:lnTo>
                    <a:lnTo>
                      <a:pt x="66" y="151"/>
                    </a:lnTo>
                    <a:lnTo>
                      <a:pt x="68" y="151"/>
                    </a:lnTo>
                    <a:lnTo>
                      <a:pt x="68" y="152"/>
                    </a:lnTo>
                    <a:lnTo>
                      <a:pt x="68" y="154"/>
                    </a:lnTo>
                    <a:lnTo>
                      <a:pt x="68" y="155"/>
                    </a:lnTo>
                    <a:lnTo>
                      <a:pt x="66" y="157"/>
                    </a:lnTo>
                    <a:lnTo>
                      <a:pt x="66" y="157"/>
                    </a:lnTo>
                    <a:lnTo>
                      <a:pt x="66" y="158"/>
                    </a:lnTo>
                    <a:lnTo>
                      <a:pt x="66" y="158"/>
                    </a:lnTo>
                    <a:lnTo>
                      <a:pt x="68" y="158"/>
                    </a:lnTo>
                    <a:lnTo>
                      <a:pt x="68" y="158"/>
                    </a:lnTo>
                    <a:lnTo>
                      <a:pt x="68" y="158"/>
                    </a:lnTo>
                    <a:lnTo>
                      <a:pt x="69" y="160"/>
                    </a:lnTo>
                    <a:lnTo>
                      <a:pt x="69" y="160"/>
                    </a:lnTo>
                    <a:lnTo>
                      <a:pt x="69" y="162"/>
                    </a:lnTo>
                    <a:lnTo>
                      <a:pt x="71" y="162"/>
                    </a:lnTo>
                    <a:lnTo>
                      <a:pt x="77" y="166"/>
                    </a:lnTo>
                    <a:lnTo>
                      <a:pt x="78" y="168"/>
                    </a:lnTo>
                    <a:lnTo>
                      <a:pt x="93" y="177"/>
                    </a:lnTo>
                    <a:lnTo>
                      <a:pt x="94" y="179"/>
                    </a:lnTo>
                    <a:lnTo>
                      <a:pt x="94" y="179"/>
                    </a:lnTo>
                    <a:lnTo>
                      <a:pt x="94" y="179"/>
                    </a:lnTo>
                    <a:lnTo>
                      <a:pt x="96" y="177"/>
                    </a:lnTo>
                    <a:lnTo>
                      <a:pt x="97" y="177"/>
                    </a:lnTo>
                    <a:lnTo>
                      <a:pt x="99" y="176"/>
                    </a:lnTo>
                    <a:lnTo>
                      <a:pt x="102" y="169"/>
                    </a:lnTo>
                    <a:lnTo>
                      <a:pt x="102" y="169"/>
                    </a:lnTo>
                    <a:lnTo>
                      <a:pt x="102" y="168"/>
                    </a:lnTo>
                    <a:lnTo>
                      <a:pt x="104" y="166"/>
                    </a:lnTo>
                    <a:lnTo>
                      <a:pt x="104" y="166"/>
                    </a:lnTo>
                    <a:lnTo>
                      <a:pt x="104" y="165"/>
                    </a:lnTo>
                    <a:lnTo>
                      <a:pt x="105" y="163"/>
                    </a:lnTo>
                    <a:lnTo>
                      <a:pt x="105" y="160"/>
                    </a:lnTo>
                    <a:lnTo>
                      <a:pt x="107" y="158"/>
                    </a:lnTo>
                    <a:lnTo>
                      <a:pt x="107" y="157"/>
                    </a:lnTo>
                    <a:lnTo>
                      <a:pt x="108" y="155"/>
                    </a:lnTo>
                    <a:lnTo>
                      <a:pt x="110" y="154"/>
                    </a:lnTo>
                    <a:lnTo>
                      <a:pt x="110" y="152"/>
                    </a:lnTo>
                    <a:lnTo>
                      <a:pt x="111" y="149"/>
                    </a:lnTo>
                    <a:lnTo>
                      <a:pt x="111" y="146"/>
                    </a:lnTo>
                    <a:lnTo>
                      <a:pt x="111" y="144"/>
                    </a:lnTo>
                    <a:lnTo>
                      <a:pt x="113" y="143"/>
                    </a:lnTo>
                    <a:lnTo>
                      <a:pt x="114" y="141"/>
                    </a:lnTo>
                    <a:lnTo>
                      <a:pt x="119" y="141"/>
                    </a:lnTo>
                    <a:lnTo>
                      <a:pt x="122" y="138"/>
                    </a:lnTo>
                    <a:lnTo>
                      <a:pt x="122" y="138"/>
                    </a:lnTo>
                    <a:lnTo>
                      <a:pt x="124" y="137"/>
                    </a:lnTo>
                    <a:lnTo>
                      <a:pt x="124" y="135"/>
                    </a:lnTo>
                    <a:lnTo>
                      <a:pt x="124" y="135"/>
                    </a:lnTo>
                    <a:lnTo>
                      <a:pt x="124" y="132"/>
                    </a:lnTo>
                    <a:lnTo>
                      <a:pt x="124" y="132"/>
                    </a:lnTo>
                    <a:lnTo>
                      <a:pt x="125" y="133"/>
                    </a:lnTo>
                    <a:lnTo>
                      <a:pt x="125" y="132"/>
                    </a:lnTo>
                    <a:lnTo>
                      <a:pt x="125" y="130"/>
                    </a:lnTo>
                    <a:lnTo>
                      <a:pt x="127" y="132"/>
                    </a:lnTo>
                    <a:lnTo>
                      <a:pt x="127" y="132"/>
                    </a:lnTo>
                    <a:lnTo>
                      <a:pt x="130" y="130"/>
                    </a:lnTo>
                    <a:lnTo>
                      <a:pt x="132" y="130"/>
                    </a:lnTo>
                    <a:lnTo>
                      <a:pt x="135" y="127"/>
                    </a:lnTo>
                    <a:lnTo>
                      <a:pt x="135" y="126"/>
                    </a:lnTo>
                    <a:lnTo>
                      <a:pt x="135" y="124"/>
                    </a:lnTo>
                    <a:lnTo>
                      <a:pt x="135" y="124"/>
                    </a:lnTo>
                    <a:lnTo>
                      <a:pt x="133" y="122"/>
                    </a:lnTo>
                    <a:lnTo>
                      <a:pt x="130" y="118"/>
                    </a:lnTo>
                    <a:lnTo>
                      <a:pt x="127" y="115"/>
                    </a:lnTo>
                    <a:lnTo>
                      <a:pt x="125" y="112"/>
                    </a:lnTo>
                    <a:lnTo>
                      <a:pt x="125" y="110"/>
                    </a:lnTo>
                    <a:lnTo>
                      <a:pt x="125" y="102"/>
                    </a:lnTo>
                    <a:lnTo>
                      <a:pt x="125" y="88"/>
                    </a:lnTo>
                    <a:lnTo>
                      <a:pt x="125" y="72"/>
                    </a:lnTo>
                    <a:lnTo>
                      <a:pt x="125" y="58"/>
                    </a:lnTo>
                    <a:lnTo>
                      <a:pt x="125" y="47"/>
                    </a:lnTo>
                    <a:lnTo>
                      <a:pt x="125" y="47"/>
                    </a:lnTo>
                    <a:lnTo>
                      <a:pt x="129" y="44"/>
                    </a:lnTo>
                    <a:lnTo>
                      <a:pt x="132" y="41"/>
                    </a:lnTo>
                    <a:lnTo>
                      <a:pt x="132" y="41"/>
                    </a:lnTo>
                    <a:lnTo>
                      <a:pt x="136" y="35"/>
                    </a:lnTo>
                    <a:lnTo>
                      <a:pt x="139" y="30"/>
                    </a:lnTo>
                    <a:lnTo>
                      <a:pt x="141" y="27"/>
                    </a:lnTo>
                    <a:lnTo>
                      <a:pt x="138" y="2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2" name="Freeform 109">
                <a:extLst>
                  <a:ext uri="{FF2B5EF4-FFF2-40B4-BE49-F238E27FC236}">
                    <a16:creationId xmlns:a16="http://schemas.microsoft.com/office/drawing/2014/main" id="{A6538149-DE13-1AD6-B1BE-18C0CDE5A05C}"/>
                  </a:ext>
                </a:extLst>
              </p:cNvPr>
              <p:cNvSpPr>
                <a:spLocks noEditPoints="1"/>
              </p:cNvSpPr>
              <p:nvPr/>
            </p:nvSpPr>
            <p:spPr bwMode="gray">
              <a:xfrm>
                <a:off x="3890" y="737"/>
                <a:ext cx="194" cy="94"/>
              </a:xfrm>
              <a:custGeom>
                <a:avLst/>
                <a:gdLst>
                  <a:gd name="T0" fmla="*/ 181 w 194"/>
                  <a:gd name="T1" fmla="*/ 19 h 94"/>
                  <a:gd name="T2" fmla="*/ 175 w 194"/>
                  <a:gd name="T3" fmla="*/ 13 h 94"/>
                  <a:gd name="T4" fmla="*/ 167 w 194"/>
                  <a:gd name="T5" fmla="*/ 11 h 94"/>
                  <a:gd name="T6" fmla="*/ 150 w 194"/>
                  <a:gd name="T7" fmla="*/ 10 h 94"/>
                  <a:gd name="T8" fmla="*/ 138 w 194"/>
                  <a:gd name="T9" fmla="*/ 6 h 94"/>
                  <a:gd name="T10" fmla="*/ 122 w 194"/>
                  <a:gd name="T11" fmla="*/ 8 h 94"/>
                  <a:gd name="T12" fmla="*/ 108 w 194"/>
                  <a:gd name="T13" fmla="*/ 10 h 94"/>
                  <a:gd name="T14" fmla="*/ 88 w 194"/>
                  <a:gd name="T15" fmla="*/ 2 h 94"/>
                  <a:gd name="T16" fmla="*/ 77 w 194"/>
                  <a:gd name="T17" fmla="*/ 5 h 94"/>
                  <a:gd name="T18" fmla="*/ 72 w 194"/>
                  <a:gd name="T19" fmla="*/ 19 h 94"/>
                  <a:gd name="T20" fmla="*/ 61 w 194"/>
                  <a:gd name="T21" fmla="*/ 14 h 94"/>
                  <a:gd name="T22" fmla="*/ 45 w 194"/>
                  <a:gd name="T23" fmla="*/ 11 h 94"/>
                  <a:gd name="T24" fmla="*/ 34 w 194"/>
                  <a:gd name="T25" fmla="*/ 14 h 94"/>
                  <a:gd name="T26" fmla="*/ 30 w 194"/>
                  <a:gd name="T27" fmla="*/ 24 h 94"/>
                  <a:gd name="T28" fmla="*/ 31 w 194"/>
                  <a:gd name="T29" fmla="*/ 28 h 94"/>
                  <a:gd name="T30" fmla="*/ 23 w 194"/>
                  <a:gd name="T31" fmla="*/ 35 h 94"/>
                  <a:gd name="T32" fmla="*/ 22 w 194"/>
                  <a:gd name="T33" fmla="*/ 44 h 94"/>
                  <a:gd name="T34" fmla="*/ 31 w 194"/>
                  <a:gd name="T35" fmla="*/ 49 h 94"/>
                  <a:gd name="T36" fmla="*/ 39 w 194"/>
                  <a:gd name="T37" fmla="*/ 46 h 94"/>
                  <a:gd name="T38" fmla="*/ 42 w 194"/>
                  <a:gd name="T39" fmla="*/ 41 h 94"/>
                  <a:gd name="T40" fmla="*/ 45 w 194"/>
                  <a:gd name="T41" fmla="*/ 46 h 94"/>
                  <a:gd name="T42" fmla="*/ 52 w 194"/>
                  <a:gd name="T43" fmla="*/ 52 h 94"/>
                  <a:gd name="T44" fmla="*/ 59 w 194"/>
                  <a:gd name="T45" fmla="*/ 56 h 94"/>
                  <a:gd name="T46" fmla="*/ 69 w 194"/>
                  <a:gd name="T47" fmla="*/ 58 h 94"/>
                  <a:gd name="T48" fmla="*/ 59 w 194"/>
                  <a:gd name="T49" fmla="*/ 64 h 94"/>
                  <a:gd name="T50" fmla="*/ 56 w 194"/>
                  <a:gd name="T51" fmla="*/ 66 h 94"/>
                  <a:gd name="T52" fmla="*/ 52 w 194"/>
                  <a:gd name="T53" fmla="*/ 66 h 94"/>
                  <a:gd name="T54" fmla="*/ 44 w 194"/>
                  <a:gd name="T55" fmla="*/ 74 h 94"/>
                  <a:gd name="T56" fmla="*/ 39 w 194"/>
                  <a:gd name="T57" fmla="*/ 71 h 94"/>
                  <a:gd name="T58" fmla="*/ 30 w 194"/>
                  <a:gd name="T59" fmla="*/ 72 h 94"/>
                  <a:gd name="T60" fmla="*/ 22 w 194"/>
                  <a:gd name="T61" fmla="*/ 77 h 94"/>
                  <a:gd name="T62" fmla="*/ 9 w 194"/>
                  <a:gd name="T63" fmla="*/ 72 h 94"/>
                  <a:gd name="T64" fmla="*/ 5 w 194"/>
                  <a:gd name="T65" fmla="*/ 78 h 94"/>
                  <a:gd name="T66" fmla="*/ 2 w 194"/>
                  <a:gd name="T67" fmla="*/ 85 h 94"/>
                  <a:gd name="T68" fmla="*/ 8 w 194"/>
                  <a:gd name="T69" fmla="*/ 86 h 94"/>
                  <a:gd name="T70" fmla="*/ 17 w 194"/>
                  <a:gd name="T71" fmla="*/ 86 h 94"/>
                  <a:gd name="T72" fmla="*/ 27 w 194"/>
                  <a:gd name="T73" fmla="*/ 89 h 94"/>
                  <a:gd name="T74" fmla="*/ 36 w 194"/>
                  <a:gd name="T75" fmla="*/ 88 h 94"/>
                  <a:gd name="T76" fmla="*/ 39 w 194"/>
                  <a:gd name="T77" fmla="*/ 88 h 94"/>
                  <a:gd name="T78" fmla="*/ 45 w 194"/>
                  <a:gd name="T79" fmla="*/ 92 h 94"/>
                  <a:gd name="T80" fmla="*/ 53 w 194"/>
                  <a:gd name="T81" fmla="*/ 94 h 94"/>
                  <a:gd name="T82" fmla="*/ 66 w 194"/>
                  <a:gd name="T83" fmla="*/ 91 h 94"/>
                  <a:gd name="T84" fmla="*/ 77 w 194"/>
                  <a:gd name="T85" fmla="*/ 89 h 94"/>
                  <a:gd name="T86" fmla="*/ 81 w 194"/>
                  <a:gd name="T87" fmla="*/ 82 h 94"/>
                  <a:gd name="T88" fmla="*/ 84 w 194"/>
                  <a:gd name="T89" fmla="*/ 75 h 94"/>
                  <a:gd name="T90" fmla="*/ 99 w 194"/>
                  <a:gd name="T91" fmla="*/ 69 h 94"/>
                  <a:gd name="T92" fmla="*/ 105 w 194"/>
                  <a:gd name="T93" fmla="*/ 66 h 94"/>
                  <a:gd name="T94" fmla="*/ 117 w 194"/>
                  <a:gd name="T95" fmla="*/ 69 h 94"/>
                  <a:gd name="T96" fmla="*/ 125 w 194"/>
                  <a:gd name="T97" fmla="*/ 67 h 94"/>
                  <a:gd name="T98" fmla="*/ 131 w 194"/>
                  <a:gd name="T99" fmla="*/ 58 h 94"/>
                  <a:gd name="T100" fmla="*/ 149 w 194"/>
                  <a:gd name="T101" fmla="*/ 53 h 94"/>
                  <a:gd name="T102" fmla="*/ 161 w 194"/>
                  <a:gd name="T103" fmla="*/ 44 h 94"/>
                  <a:gd name="T104" fmla="*/ 185 w 194"/>
                  <a:gd name="T105" fmla="*/ 33 h 94"/>
                  <a:gd name="T106" fmla="*/ 23 w 194"/>
                  <a:gd name="T107" fmla="*/ 82 h 94"/>
                  <a:gd name="T108" fmla="*/ 25 w 194"/>
                  <a:gd name="T109" fmla="*/ 80 h 94"/>
                  <a:gd name="T110" fmla="*/ 31 w 194"/>
                  <a:gd name="T111" fmla="*/ 74 h 94"/>
                  <a:gd name="T112" fmla="*/ 34 w 194"/>
                  <a:gd name="T113" fmla="*/ 78 h 94"/>
                  <a:gd name="T114" fmla="*/ 31 w 194"/>
                  <a:gd name="T115" fmla="*/ 77 h 94"/>
                  <a:gd name="T116" fmla="*/ 44 w 194"/>
                  <a:gd name="T117" fmla="*/ 7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94">
                    <a:moveTo>
                      <a:pt x="192" y="27"/>
                    </a:moveTo>
                    <a:lnTo>
                      <a:pt x="192" y="25"/>
                    </a:lnTo>
                    <a:lnTo>
                      <a:pt x="191" y="24"/>
                    </a:lnTo>
                    <a:lnTo>
                      <a:pt x="188" y="20"/>
                    </a:lnTo>
                    <a:lnTo>
                      <a:pt x="186" y="19"/>
                    </a:lnTo>
                    <a:lnTo>
                      <a:pt x="185" y="19"/>
                    </a:lnTo>
                    <a:lnTo>
                      <a:pt x="181" y="19"/>
                    </a:lnTo>
                    <a:lnTo>
                      <a:pt x="180" y="19"/>
                    </a:lnTo>
                    <a:lnTo>
                      <a:pt x="180" y="19"/>
                    </a:lnTo>
                    <a:lnTo>
                      <a:pt x="178" y="19"/>
                    </a:lnTo>
                    <a:lnTo>
                      <a:pt x="178" y="17"/>
                    </a:lnTo>
                    <a:lnTo>
                      <a:pt x="177" y="16"/>
                    </a:lnTo>
                    <a:lnTo>
                      <a:pt x="175" y="14"/>
                    </a:lnTo>
                    <a:lnTo>
                      <a:pt x="175" y="13"/>
                    </a:lnTo>
                    <a:lnTo>
                      <a:pt x="174" y="13"/>
                    </a:lnTo>
                    <a:lnTo>
                      <a:pt x="174" y="11"/>
                    </a:lnTo>
                    <a:lnTo>
                      <a:pt x="172" y="13"/>
                    </a:lnTo>
                    <a:lnTo>
                      <a:pt x="170" y="13"/>
                    </a:lnTo>
                    <a:lnTo>
                      <a:pt x="170" y="11"/>
                    </a:lnTo>
                    <a:lnTo>
                      <a:pt x="169" y="11"/>
                    </a:lnTo>
                    <a:lnTo>
                      <a:pt x="167" y="11"/>
                    </a:lnTo>
                    <a:lnTo>
                      <a:pt x="167" y="11"/>
                    </a:lnTo>
                    <a:lnTo>
                      <a:pt x="166" y="11"/>
                    </a:lnTo>
                    <a:lnTo>
                      <a:pt x="163" y="10"/>
                    </a:lnTo>
                    <a:lnTo>
                      <a:pt x="161" y="10"/>
                    </a:lnTo>
                    <a:lnTo>
                      <a:pt x="160" y="10"/>
                    </a:lnTo>
                    <a:lnTo>
                      <a:pt x="155" y="10"/>
                    </a:lnTo>
                    <a:lnTo>
                      <a:pt x="150" y="10"/>
                    </a:lnTo>
                    <a:lnTo>
                      <a:pt x="147" y="8"/>
                    </a:lnTo>
                    <a:lnTo>
                      <a:pt x="147" y="8"/>
                    </a:lnTo>
                    <a:lnTo>
                      <a:pt x="145" y="8"/>
                    </a:lnTo>
                    <a:lnTo>
                      <a:pt x="144" y="8"/>
                    </a:lnTo>
                    <a:lnTo>
                      <a:pt x="142" y="8"/>
                    </a:lnTo>
                    <a:lnTo>
                      <a:pt x="141" y="8"/>
                    </a:lnTo>
                    <a:lnTo>
                      <a:pt x="138" y="6"/>
                    </a:lnTo>
                    <a:lnTo>
                      <a:pt x="136" y="6"/>
                    </a:lnTo>
                    <a:lnTo>
                      <a:pt x="136" y="6"/>
                    </a:lnTo>
                    <a:lnTo>
                      <a:pt x="130" y="8"/>
                    </a:lnTo>
                    <a:lnTo>
                      <a:pt x="130" y="8"/>
                    </a:lnTo>
                    <a:lnTo>
                      <a:pt x="128" y="8"/>
                    </a:lnTo>
                    <a:lnTo>
                      <a:pt x="122" y="8"/>
                    </a:lnTo>
                    <a:lnTo>
                      <a:pt x="122" y="8"/>
                    </a:lnTo>
                    <a:lnTo>
                      <a:pt x="117" y="8"/>
                    </a:lnTo>
                    <a:lnTo>
                      <a:pt x="117" y="8"/>
                    </a:lnTo>
                    <a:lnTo>
                      <a:pt x="116" y="8"/>
                    </a:lnTo>
                    <a:lnTo>
                      <a:pt x="116" y="8"/>
                    </a:lnTo>
                    <a:lnTo>
                      <a:pt x="113" y="11"/>
                    </a:lnTo>
                    <a:lnTo>
                      <a:pt x="113" y="11"/>
                    </a:lnTo>
                    <a:lnTo>
                      <a:pt x="108" y="10"/>
                    </a:lnTo>
                    <a:lnTo>
                      <a:pt x="102" y="8"/>
                    </a:lnTo>
                    <a:lnTo>
                      <a:pt x="99" y="6"/>
                    </a:lnTo>
                    <a:lnTo>
                      <a:pt x="94" y="5"/>
                    </a:lnTo>
                    <a:lnTo>
                      <a:pt x="91" y="2"/>
                    </a:lnTo>
                    <a:lnTo>
                      <a:pt x="88" y="0"/>
                    </a:lnTo>
                    <a:lnTo>
                      <a:pt x="88" y="2"/>
                    </a:lnTo>
                    <a:lnTo>
                      <a:pt x="88" y="2"/>
                    </a:lnTo>
                    <a:lnTo>
                      <a:pt x="86" y="2"/>
                    </a:lnTo>
                    <a:lnTo>
                      <a:pt x="84" y="2"/>
                    </a:lnTo>
                    <a:lnTo>
                      <a:pt x="83" y="2"/>
                    </a:lnTo>
                    <a:lnTo>
                      <a:pt x="81" y="3"/>
                    </a:lnTo>
                    <a:lnTo>
                      <a:pt x="81" y="3"/>
                    </a:lnTo>
                    <a:lnTo>
                      <a:pt x="78" y="5"/>
                    </a:lnTo>
                    <a:lnTo>
                      <a:pt x="77" y="5"/>
                    </a:lnTo>
                    <a:lnTo>
                      <a:pt x="77" y="6"/>
                    </a:lnTo>
                    <a:lnTo>
                      <a:pt x="74" y="13"/>
                    </a:lnTo>
                    <a:lnTo>
                      <a:pt x="74" y="16"/>
                    </a:lnTo>
                    <a:lnTo>
                      <a:pt x="75" y="20"/>
                    </a:lnTo>
                    <a:lnTo>
                      <a:pt x="74" y="20"/>
                    </a:lnTo>
                    <a:lnTo>
                      <a:pt x="74" y="20"/>
                    </a:lnTo>
                    <a:lnTo>
                      <a:pt x="72" y="19"/>
                    </a:lnTo>
                    <a:lnTo>
                      <a:pt x="70" y="17"/>
                    </a:lnTo>
                    <a:lnTo>
                      <a:pt x="69" y="17"/>
                    </a:lnTo>
                    <a:lnTo>
                      <a:pt x="64" y="17"/>
                    </a:lnTo>
                    <a:lnTo>
                      <a:pt x="63" y="16"/>
                    </a:lnTo>
                    <a:lnTo>
                      <a:pt x="63" y="14"/>
                    </a:lnTo>
                    <a:lnTo>
                      <a:pt x="61" y="14"/>
                    </a:lnTo>
                    <a:lnTo>
                      <a:pt x="61" y="14"/>
                    </a:lnTo>
                    <a:lnTo>
                      <a:pt x="59" y="14"/>
                    </a:lnTo>
                    <a:lnTo>
                      <a:pt x="58" y="14"/>
                    </a:lnTo>
                    <a:lnTo>
                      <a:pt x="58" y="14"/>
                    </a:lnTo>
                    <a:lnTo>
                      <a:pt x="53" y="13"/>
                    </a:lnTo>
                    <a:lnTo>
                      <a:pt x="52" y="13"/>
                    </a:lnTo>
                    <a:lnTo>
                      <a:pt x="50" y="11"/>
                    </a:lnTo>
                    <a:lnTo>
                      <a:pt x="45" y="11"/>
                    </a:lnTo>
                    <a:lnTo>
                      <a:pt x="44" y="11"/>
                    </a:lnTo>
                    <a:lnTo>
                      <a:pt x="44" y="11"/>
                    </a:lnTo>
                    <a:lnTo>
                      <a:pt x="42" y="11"/>
                    </a:lnTo>
                    <a:lnTo>
                      <a:pt x="41" y="13"/>
                    </a:lnTo>
                    <a:lnTo>
                      <a:pt x="39" y="11"/>
                    </a:lnTo>
                    <a:lnTo>
                      <a:pt x="36" y="13"/>
                    </a:lnTo>
                    <a:lnTo>
                      <a:pt x="34" y="14"/>
                    </a:lnTo>
                    <a:lnTo>
                      <a:pt x="33" y="16"/>
                    </a:lnTo>
                    <a:lnTo>
                      <a:pt x="31" y="17"/>
                    </a:lnTo>
                    <a:lnTo>
                      <a:pt x="31" y="19"/>
                    </a:lnTo>
                    <a:lnTo>
                      <a:pt x="30" y="20"/>
                    </a:lnTo>
                    <a:lnTo>
                      <a:pt x="30" y="22"/>
                    </a:lnTo>
                    <a:lnTo>
                      <a:pt x="30" y="24"/>
                    </a:lnTo>
                    <a:lnTo>
                      <a:pt x="30" y="24"/>
                    </a:lnTo>
                    <a:lnTo>
                      <a:pt x="31" y="24"/>
                    </a:lnTo>
                    <a:lnTo>
                      <a:pt x="31" y="24"/>
                    </a:lnTo>
                    <a:lnTo>
                      <a:pt x="33" y="24"/>
                    </a:lnTo>
                    <a:lnTo>
                      <a:pt x="34" y="25"/>
                    </a:lnTo>
                    <a:lnTo>
                      <a:pt x="34" y="25"/>
                    </a:lnTo>
                    <a:lnTo>
                      <a:pt x="34" y="27"/>
                    </a:lnTo>
                    <a:lnTo>
                      <a:pt x="31" y="28"/>
                    </a:lnTo>
                    <a:lnTo>
                      <a:pt x="30" y="30"/>
                    </a:lnTo>
                    <a:lnTo>
                      <a:pt x="28" y="30"/>
                    </a:lnTo>
                    <a:lnTo>
                      <a:pt x="28" y="30"/>
                    </a:lnTo>
                    <a:lnTo>
                      <a:pt x="28" y="31"/>
                    </a:lnTo>
                    <a:lnTo>
                      <a:pt x="27" y="33"/>
                    </a:lnTo>
                    <a:lnTo>
                      <a:pt x="25" y="33"/>
                    </a:lnTo>
                    <a:lnTo>
                      <a:pt x="23" y="35"/>
                    </a:lnTo>
                    <a:lnTo>
                      <a:pt x="22" y="36"/>
                    </a:lnTo>
                    <a:lnTo>
                      <a:pt x="17" y="41"/>
                    </a:lnTo>
                    <a:lnTo>
                      <a:pt x="17" y="41"/>
                    </a:lnTo>
                    <a:lnTo>
                      <a:pt x="17" y="41"/>
                    </a:lnTo>
                    <a:lnTo>
                      <a:pt x="19" y="42"/>
                    </a:lnTo>
                    <a:lnTo>
                      <a:pt x="20" y="42"/>
                    </a:lnTo>
                    <a:lnTo>
                      <a:pt x="22" y="44"/>
                    </a:lnTo>
                    <a:lnTo>
                      <a:pt x="25" y="42"/>
                    </a:lnTo>
                    <a:lnTo>
                      <a:pt x="25" y="42"/>
                    </a:lnTo>
                    <a:lnTo>
                      <a:pt x="27" y="44"/>
                    </a:lnTo>
                    <a:lnTo>
                      <a:pt x="27" y="47"/>
                    </a:lnTo>
                    <a:lnTo>
                      <a:pt x="28" y="49"/>
                    </a:lnTo>
                    <a:lnTo>
                      <a:pt x="30" y="49"/>
                    </a:lnTo>
                    <a:lnTo>
                      <a:pt x="31" y="49"/>
                    </a:lnTo>
                    <a:lnTo>
                      <a:pt x="33" y="50"/>
                    </a:lnTo>
                    <a:lnTo>
                      <a:pt x="34" y="50"/>
                    </a:lnTo>
                    <a:lnTo>
                      <a:pt x="36" y="50"/>
                    </a:lnTo>
                    <a:lnTo>
                      <a:pt x="38" y="50"/>
                    </a:lnTo>
                    <a:lnTo>
                      <a:pt x="38" y="50"/>
                    </a:lnTo>
                    <a:lnTo>
                      <a:pt x="39" y="46"/>
                    </a:lnTo>
                    <a:lnTo>
                      <a:pt x="39" y="46"/>
                    </a:lnTo>
                    <a:lnTo>
                      <a:pt x="41" y="46"/>
                    </a:lnTo>
                    <a:lnTo>
                      <a:pt x="41" y="46"/>
                    </a:lnTo>
                    <a:lnTo>
                      <a:pt x="42" y="46"/>
                    </a:lnTo>
                    <a:lnTo>
                      <a:pt x="42" y="44"/>
                    </a:lnTo>
                    <a:lnTo>
                      <a:pt x="42" y="42"/>
                    </a:lnTo>
                    <a:lnTo>
                      <a:pt x="42" y="41"/>
                    </a:lnTo>
                    <a:lnTo>
                      <a:pt x="42" y="41"/>
                    </a:lnTo>
                    <a:lnTo>
                      <a:pt x="44" y="41"/>
                    </a:lnTo>
                    <a:lnTo>
                      <a:pt x="44" y="41"/>
                    </a:lnTo>
                    <a:lnTo>
                      <a:pt x="44" y="42"/>
                    </a:lnTo>
                    <a:lnTo>
                      <a:pt x="44" y="44"/>
                    </a:lnTo>
                    <a:lnTo>
                      <a:pt x="45" y="44"/>
                    </a:lnTo>
                    <a:lnTo>
                      <a:pt x="45" y="46"/>
                    </a:lnTo>
                    <a:lnTo>
                      <a:pt x="45" y="46"/>
                    </a:lnTo>
                    <a:lnTo>
                      <a:pt x="47" y="49"/>
                    </a:lnTo>
                    <a:lnTo>
                      <a:pt x="49" y="49"/>
                    </a:lnTo>
                    <a:lnTo>
                      <a:pt x="50" y="50"/>
                    </a:lnTo>
                    <a:lnTo>
                      <a:pt x="50" y="49"/>
                    </a:lnTo>
                    <a:lnTo>
                      <a:pt x="52" y="49"/>
                    </a:lnTo>
                    <a:lnTo>
                      <a:pt x="52" y="50"/>
                    </a:lnTo>
                    <a:lnTo>
                      <a:pt x="52" y="52"/>
                    </a:lnTo>
                    <a:lnTo>
                      <a:pt x="52" y="53"/>
                    </a:lnTo>
                    <a:lnTo>
                      <a:pt x="52" y="53"/>
                    </a:lnTo>
                    <a:lnTo>
                      <a:pt x="53" y="52"/>
                    </a:lnTo>
                    <a:lnTo>
                      <a:pt x="55" y="52"/>
                    </a:lnTo>
                    <a:lnTo>
                      <a:pt x="56" y="53"/>
                    </a:lnTo>
                    <a:lnTo>
                      <a:pt x="58" y="53"/>
                    </a:lnTo>
                    <a:lnTo>
                      <a:pt x="59" y="56"/>
                    </a:lnTo>
                    <a:lnTo>
                      <a:pt x="59" y="56"/>
                    </a:lnTo>
                    <a:lnTo>
                      <a:pt x="63" y="56"/>
                    </a:lnTo>
                    <a:lnTo>
                      <a:pt x="64" y="56"/>
                    </a:lnTo>
                    <a:lnTo>
                      <a:pt x="64" y="56"/>
                    </a:lnTo>
                    <a:lnTo>
                      <a:pt x="66" y="56"/>
                    </a:lnTo>
                    <a:lnTo>
                      <a:pt x="69" y="58"/>
                    </a:lnTo>
                    <a:lnTo>
                      <a:pt x="69" y="58"/>
                    </a:lnTo>
                    <a:lnTo>
                      <a:pt x="69" y="58"/>
                    </a:lnTo>
                    <a:lnTo>
                      <a:pt x="69" y="58"/>
                    </a:lnTo>
                    <a:lnTo>
                      <a:pt x="63" y="61"/>
                    </a:lnTo>
                    <a:lnTo>
                      <a:pt x="61" y="63"/>
                    </a:lnTo>
                    <a:lnTo>
                      <a:pt x="61" y="64"/>
                    </a:lnTo>
                    <a:lnTo>
                      <a:pt x="61" y="64"/>
                    </a:lnTo>
                    <a:lnTo>
                      <a:pt x="59" y="64"/>
                    </a:lnTo>
                    <a:lnTo>
                      <a:pt x="59" y="64"/>
                    </a:lnTo>
                    <a:lnTo>
                      <a:pt x="58" y="64"/>
                    </a:lnTo>
                    <a:lnTo>
                      <a:pt x="56" y="63"/>
                    </a:lnTo>
                    <a:lnTo>
                      <a:pt x="55" y="63"/>
                    </a:lnTo>
                    <a:lnTo>
                      <a:pt x="55" y="64"/>
                    </a:lnTo>
                    <a:lnTo>
                      <a:pt x="55" y="64"/>
                    </a:lnTo>
                    <a:lnTo>
                      <a:pt x="56" y="66"/>
                    </a:lnTo>
                    <a:lnTo>
                      <a:pt x="55" y="66"/>
                    </a:lnTo>
                    <a:lnTo>
                      <a:pt x="55" y="67"/>
                    </a:lnTo>
                    <a:lnTo>
                      <a:pt x="53" y="67"/>
                    </a:lnTo>
                    <a:lnTo>
                      <a:pt x="53" y="66"/>
                    </a:lnTo>
                    <a:lnTo>
                      <a:pt x="53" y="66"/>
                    </a:lnTo>
                    <a:lnTo>
                      <a:pt x="52" y="66"/>
                    </a:lnTo>
                    <a:lnTo>
                      <a:pt x="52" y="66"/>
                    </a:lnTo>
                    <a:lnTo>
                      <a:pt x="49" y="69"/>
                    </a:lnTo>
                    <a:lnTo>
                      <a:pt x="49" y="71"/>
                    </a:lnTo>
                    <a:lnTo>
                      <a:pt x="49" y="71"/>
                    </a:lnTo>
                    <a:lnTo>
                      <a:pt x="47" y="71"/>
                    </a:lnTo>
                    <a:lnTo>
                      <a:pt x="45" y="71"/>
                    </a:lnTo>
                    <a:lnTo>
                      <a:pt x="45" y="72"/>
                    </a:lnTo>
                    <a:lnTo>
                      <a:pt x="44" y="74"/>
                    </a:lnTo>
                    <a:lnTo>
                      <a:pt x="42" y="72"/>
                    </a:lnTo>
                    <a:lnTo>
                      <a:pt x="42" y="72"/>
                    </a:lnTo>
                    <a:lnTo>
                      <a:pt x="42" y="72"/>
                    </a:lnTo>
                    <a:lnTo>
                      <a:pt x="41" y="72"/>
                    </a:lnTo>
                    <a:lnTo>
                      <a:pt x="41" y="72"/>
                    </a:lnTo>
                    <a:lnTo>
                      <a:pt x="39" y="71"/>
                    </a:lnTo>
                    <a:lnTo>
                      <a:pt x="39" y="71"/>
                    </a:lnTo>
                    <a:lnTo>
                      <a:pt x="38" y="71"/>
                    </a:lnTo>
                    <a:lnTo>
                      <a:pt x="36" y="71"/>
                    </a:lnTo>
                    <a:lnTo>
                      <a:pt x="33" y="71"/>
                    </a:lnTo>
                    <a:lnTo>
                      <a:pt x="31" y="71"/>
                    </a:lnTo>
                    <a:lnTo>
                      <a:pt x="30" y="71"/>
                    </a:lnTo>
                    <a:lnTo>
                      <a:pt x="30" y="72"/>
                    </a:lnTo>
                    <a:lnTo>
                      <a:pt x="30" y="72"/>
                    </a:lnTo>
                    <a:lnTo>
                      <a:pt x="27" y="74"/>
                    </a:lnTo>
                    <a:lnTo>
                      <a:pt x="25" y="75"/>
                    </a:lnTo>
                    <a:lnTo>
                      <a:pt x="25" y="77"/>
                    </a:lnTo>
                    <a:lnTo>
                      <a:pt x="23" y="77"/>
                    </a:lnTo>
                    <a:lnTo>
                      <a:pt x="23" y="77"/>
                    </a:lnTo>
                    <a:lnTo>
                      <a:pt x="23" y="77"/>
                    </a:lnTo>
                    <a:lnTo>
                      <a:pt x="22" y="77"/>
                    </a:lnTo>
                    <a:lnTo>
                      <a:pt x="22" y="75"/>
                    </a:lnTo>
                    <a:lnTo>
                      <a:pt x="20" y="75"/>
                    </a:lnTo>
                    <a:lnTo>
                      <a:pt x="19" y="74"/>
                    </a:lnTo>
                    <a:lnTo>
                      <a:pt x="16" y="74"/>
                    </a:lnTo>
                    <a:lnTo>
                      <a:pt x="14" y="72"/>
                    </a:lnTo>
                    <a:lnTo>
                      <a:pt x="13" y="72"/>
                    </a:lnTo>
                    <a:lnTo>
                      <a:pt x="9" y="72"/>
                    </a:lnTo>
                    <a:lnTo>
                      <a:pt x="5" y="74"/>
                    </a:lnTo>
                    <a:lnTo>
                      <a:pt x="5" y="75"/>
                    </a:lnTo>
                    <a:lnTo>
                      <a:pt x="5" y="75"/>
                    </a:lnTo>
                    <a:lnTo>
                      <a:pt x="5" y="77"/>
                    </a:lnTo>
                    <a:lnTo>
                      <a:pt x="5" y="77"/>
                    </a:lnTo>
                    <a:lnTo>
                      <a:pt x="5" y="78"/>
                    </a:lnTo>
                    <a:lnTo>
                      <a:pt x="5" y="78"/>
                    </a:lnTo>
                    <a:lnTo>
                      <a:pt x="3" y="78"/>
                    </a:lnTo>
                    <a:lnTo>
                      <a:pt x="2" y="78"/>
                    </a:lnTo>
                    <a:lnTo>
                      <a:pt x="2" y="77"/>
                    </a:lnTo>
                    <a:lnTo>
                      <a:pt x="2" y="78"/>
                    </a:lnTo>
                    <a:lnTo>
                      <a:pt x="0" y="80"/>
                    </a:lnTo>
                    <a:lnTo>
                      <a:pt x="0" y="82"/>
                    </a:lnTo>
                    <a:lnTo>
                      <a:pt x="2" y="85"/>
                    </a:lnTo>
                    <a:lnTo>
                      <a:pt x="2" y="85"/>
                    </a:lnTo>
                    <a:lnTo>
                      <a:pt x="2" y="86"/>
                    </a:lnTo>
                    <a:lnTo>
                      <a:pt x="2" y="88"/>
                    </a:lnTo>
                    <a:lnTo>
                      <a:pt x="3" y="88"/>
                    </a:lnTo>
                    <a:lnTo>
                      <a:pt x="5" y="88"/>
                    </a:lnTo>
                    <a:lnTo>
                      <a:pt x="6" y="86"/>
                    </a:lnTo>
                    <a:lnTo>
                      <a:pt x="8" y="86"/>
                    </a:lnTo>
                    <a:lnTo>
                      <a:pt x="9" y="86"/>
                    </a:lnTo>
                    <a:lnTo>
                      <a:pt x="9" y="86"/>
                    </a:lnTo>
                    <a:lnTo>
                      <a:pt x="13" y="86"/>
                    </a:lnTo>
                    <a:lnTo>
                      <a:pt x="16" y="86"/>
                    </a:lnTo>
                    <a:lnTo>
                      <a:pt x="16" y="86"/>
                    </a:lnTo>
                    <a:lnTo>
                      <a:pt x="17" y="86"/>
                    </a:lnTo>
                    <a:lnTo>
                      <a:pt x="17" y="86"/>
                    </a:lnTo>
                    <a:lnTo>
                      <a:pt x="17" y="86"/>
                    </a:lnTo>
                    <a:lnTo>
                      <a:pt x="20" y="86"/>
                    </a:lnTo>
                    <a:lnTo>
                      <a:pt x="22" y="86"/>
                    </a:lnTo>
                    <a:lnTo>
                      <a:pt x="23" y="86"/>
                    </a:lnTo>
                    <a:lnTo>
                      <a:pt x="23" y="86"/>
                    </a:lnTo>
                    <a:lnTo>
                      <a:pt x="25" y="88"/>
                    </a:lnTo>
                    <a:lnTo>
                      <a:pt x="27" y="89"/>
                    </a:lnTo>
                    <a:lnTo>
                      <a:pt x="28" y="91"/>
                    </a:lnTo>
                    <a:lnTo>
                      <a:pt x="31" y="89"/>
                    </a:lnTo>
                    <a:lnTo>
                      <a:pt x="31" y="89"/>
                    </a:lnTo>
                    <a:lnTo>
                      <a:pt x="33" y="88"/>
                    </a:lnTo>
                    <a:lnTo>
                      <a:pt x="33" y="88"/>
                    </a:lnTo>
                    <a:lnTo>
                      <a:pt x="34" y="88"/>
                    </a:lnTo>
                    <a:lnTo>
                      <a:pt x="36" y="88"/>
                    </a:lnTo>
                    <a:lnTo>
                      <a:pt x="38" y="86"/>
                    </a:lnTo>
                    <a:lnTo>
                      <a:pt x="38" y="86"/>
                    </a:lnTo>
                    <a:lnTo>
                      <a:pt x="39" y="86"/>
                    </a:lnTo>
                    <a:lnTo>
                      <a:pt x="39" y="86"/>
                    </a:lnTo>
                    <a:lnTo>
                      <a:pt x="41" y="86"/>
                    </a:lnTo>
                    <a:lnTo>
                      <a:pt x="41" y="88"/>
                    </a:lnTo>
                    <a:lnTo>
                      <a:pt x="39" y="88"/>
                    </a:lnTo>
                    <a:lnTo>
                      <a:pt x="41" y="89"/>
                    </a:lnTo>
                    <a:lnTo>
                      <a:pt x="42" y="89"/>
                    </a:lnTo>
                    <a:lnTo>
                      <a:pt x="44" y="89"/>
                    </a:lnTo>
                    <a:lnTo>
                      <a:pt x="44" y="91"/>
                    </a:lnTo>
                    <a:lnTo>
                      <a:pt x="44" y="92"/>
                    </a:lnTo>
                    <a:lnTo>
                      <a:pt x="45" y="92"/>
                    </a:lnTo>
                    <a:lnTo>
                      <a:pt x="45" y="92"/>
                    </a:lnTo>
                    <a:lnTo>
                      <a:pt x="49" y="91"/>
                    </a:lnTo>
                    <a:lnTo>
                      <a:pt x="50" y="91"/>
                    </a:lnTo>
                    <a:lnTo>
                      <a:pt x="50" y="92"/>
                    </a:lnTo>
                    <a:lnTo>
                      <a:pt x="52" y="92"/>
                    </a:lnTo>
                    <a:lnTo>
                      <a:pt x="53" y="94"/>
                    </a:lnTo>
                    <a:lnTo>
                      <a:pt x="53" y="94"/>
                    </a:lnTo>
                    <a:lnTo>
                      <a:pt x="53" y="94"/>
                    </a:lnTo>
                    <a:lnTo>
                      <a:pt x="53" y="92"/>
                    </a:lnTo>
                    <a:lnTo>
                      <a:pt x="55" y="91"/>
                    </a:lnTo>
                    <a:lnTo>
                      <a:pt x="58" y="91"/>
                    </a:lnTo>
                    <a:lnTo>
                      <a:pt x="58" y="91"/>
                    </a:lnTo>
                    <a:lnTo>
                      <a:pt x="59" y="91"/>
                    </a:lnTo>
                    <a:lnTo>
                      <a:pt x="64" y="91"/>
                    </a:lnTo>
                    <a:lnTo>
                      <a:pt x="66" y="91"/>
                    </a:lnTo>
                    <a:lnTo>
                      <a:pt x="69" y="91"/>
                    </a:lnTo>
                    <a:lnTo>
                      <a:pt x="70" y="91"/>
                    </a:lnTo>
                    <a:lnTo>
                      <a:pt x="72" y="89"/>
                    </a:lnTo>
                    <a:lnTo>
                      <a:pt x="74" y="89"/>
                    </a:lnTo>
                    <a:lnTo>
                      <a:pt x="75" y="89"/>
                    </a:lnTo>
                    <a:lnTo>
                      <a:pt x="77" y="89"/>
                    </a:lnTo>
                    <a:lnTo>
                      <a:pt x="77" y="89"/>
                    </a:lnTo>
                    <a:lnTo>
                      <a:pt x="78" y="89"/>
                    </a:lnTo>
                    <a:lnTo>
                      <a:pt x="81" y="88"/>
                    </a:lnTo>
                    <a:lnTo>
                      <a:pt x="81" y="88"/>
                    </a:lnTo>
                    <a:lnTo>
                      <a:pt x="81" y="86"/>
                    </a:lnTo>
                    <a:lnTo>
                      <a:pt x="83" y="85"/>
                    </a:lnTo>
                    <a:lnTo>
                      <a:pt x="81" y="83"/>
                    </a:lnTo>
                    <a:lnTo>
                      <a:pt x="81" y="82"/>
                    </a:lnTo>
                    <a:lnTo>
                      <a:pt x="81" y="82"/>
                    </a:lnTo>
                    <a:lnTo>
                      <a:pt x="81" y="80"/>
                    </a:lnTo>
                    <a:lnTo>
                      <a:pt x="81" y="80"/>
                    </a:lnTo>
                    <a:lnTo>
                      <a:pt x="83" y="77"/>
                    </a:lnTo>
                    <a:lnTo>
                      <a:pt x="83" y="75"/>
                    </a:lnTo>
                    <a:lnTo>
                      <a:pt x="84" y="75"/>
                    </a:lnTo>
                    <a:lnTo>
                      <a:pt x="84" y="75"/>
                    </a:lnTo>
                    <a:lnTo>
                      <a:pt x="88" y="74"/>
                    </a:lnTo>
                    <a:lnTo>
                      <a:pt x="91" y="74"/>
                    </a:lnTo>
                    <a:lnTo>
                      <a:pt x="94" y="71"/>
                    </a:lnTo>
                    <a:lnTo>
                      <a:pt x="95" y="69"/>
                    </a:lnTo>
                    <a:lnTo>
                      <a:pt x="97" y="69"/>
                    </a:lnTo>
                    <a:lnTo>
                      <a:pt x="99" y="69"/>
                    </a:lnTo>
                    <a:lnTo>
                      <a:pt x="99" y="69"/>
                    </a:lnTo>
                    <a:lnTo>
                      <a:pt x="99" y="66"/>
                    </a:lnTo>
                    <a:lnTo>
                      <a:pt x="99" y="66"/>
                    </a:lnTo>
                    <a:lnTo>
                      <a:pt x="99" y="66"/>
                    </a:lnTo>
                    <a:lnTo>
                      <a:pt x="99" y="66"/>
                    </a:lnTo>
                    <a:lnTo>
                      <a:pt x="102" y="66"/>
                    </a:lnTo>
                    <a:lnTo>
                      <a:pt x="103" y="66"/>
                    </a:lnTo>
                    <a:lnTo>
                      <a:pt x="105" y="66"/>
                    </a:lnTo>
                    <a:lnTo>
                      <a:pt x="111" y="63"/>
                    </a:lnTo>
                    <a:lnTo>
                      <a:pt x="111" y="63"/>
                    </a:lnTo>
                    <a:lnTo>
                      <a:pt x="111" y="63"/>
                    </a:lnTo>
                    <a:lnTo>
                      <a:pt x="113" y="64"/>
                    </a:lnTo>
                    <a:lnTo>
                      <a:pt x="113" y="69"/>
                    </a:lnTo>
                    <a:lnTo>
                      <a:pt x="113" y="69"/>
                    </a:lnTo>
                    <a:lnTo>
                      <a:pt x="117" y="69"/>
                    </a:lnTo>
                    <a:lnTo>
                      <a:pt x="119" y="67"/>
                    </a:lnTo>
                    <a:lnTo>
                      <a:pt x="120" y="67"/>
                    </a:lnTo>
                    <a:lnTo>
                      <a:pt x="122" y="67"/>
                    </a:lnTo>
                    <a:lnTo>
                      <a:pt x="122" y="67"/>
                    </a:lnTo>
                    <a:lnTo>
                      <a:pt x="124" y="66"/>
                    </a:lnTo>
                    <a:lnTo>
                      <a:pt x="125" y="69"/>
                    </a:lnTo>
                    <a:lnTo>
                      <a:pt x="125" y="67"/>
                    </a:lnTo>
                    <a:lnTo>
                      <a:pt x="127" y="66"/>
                    </a:lnTo>
                    <a:lnTo>
                      <a:pt x="128" y="64"/>
                    </a:lnTo>
                    <a:lnTo>
                      <a:pt x="128" y="63"/>
                    </a:lnTo>
                    <a:lnTo>
                      <a:pt x="130" y="61"/>
                    </a:lnTo>
                    <a:lnTo>
                      <a:pt x="130" y="60"/>
                    </a:lnTo>
                    <a:lnTo>
                      <a:pt x="130" y="58"/>
                    </a:lnTo>
                    <a:lnTo>
                      <a:pt x="131" y="58"/>
                    </a:lnTo>
                    <a:lnTo>
                      <a:pt x="133" y="53"/>
                    </a:lnTo>
                    <a:lnTo>
                      <a:pt x="135" y="53"/>
                    </a:lnTo>
                    <a:lnTo>
                      <a:pt x="136" y="52"/>
                    </a:lnTo>
                    <a:lnTo>
                      <a:pt x="139" y="53"/>
                    </a:lnTo>
                    <a:lnTo>
                      <a:pt x="141" y="53"/>
                    </a:lnTo>
                    <a:lnTo>
                      <a:pt x="147" y="53"/>
                    </a:lnTo>
                    <a:lnTo>
                      <a:pt x="149" y="53"/>
                    </a:lnTo>
                    <a:lnTo>
                      <a:pt x="150" y="52"/>
                    </a:lnTo>
                    <a:lnTo>
                      <a:pt x="153" y="52"/>
                    </a:lnTo>
                    <a:lnTo>
                      <a:pt x="156" y="52"/>
                    </a:lnTo>
                    <a:lnTo>
                      <a:pt x="160" y="47"/>
                    </a:lnTo>
                    <a:lnTo>
                      <a:pt x="160" y="46"/>
                    </a:lnTo>
                    <a:lnTo>
                      <a:pt x="160" y="46"/>
                    </a:lnTo>
                    <a:lnTo>
                      <a:pt x="161" y="44"/>
                    </a:lnTo>
                    <a:lnTo>
                      <a:pt x="164" y="42"/>
                    </a:lnTo>
                    <a:lnTo>
                      <a:pt x="167" y="41"/>
                    </a:lnTo>
                    <a:lnTo>
                      <a:pt x="174" y="36"/>
                    </a:lnTo>
                    <a:lnTo>
                      <a:pt x="177" y="35"/>
                    </a:lnTo>
                    <a:lnTo>
                      <a:pt x="178" y="35"/>
                    </a:lnTo>
                    <a:lnTo>
                      <a:pt x="180" y="35"/>
                    </a:lnTo>
                    <a:lnTo>
                      <a:pt x="185" y="33"/>
                    </a:lnTo>
                    <a:lnTo>
                      <a:pt x="186" y="30"/>
                    </a:lnTo>
                    <a:lnTo>
                      <a:pt x="188" y="30"/>
                    </a:lnTo>
                    <a:lnTo>
                      <a:pt x="192" y="30"/>
                    </a:lnTo>
                    <a:lnTo>
                      <a:pt x="194" y="28"/>
                    </a:lnTo>
                    <a:lnTo>
                      <a:pt x="194" y="28"/>
                    </a:lnTo>
                    <a:lnTo>
                      <a:pt x="192" y="27"/>
                    </a:lnTo>
                    <a:close/>
                    <a:moveTo>
                      <a:pt x="23" y="82"/>
                    </a:moveTo>
                    <a:lnTo>
                      <a:pt x="23" y="82"/>
                    </a:lnTo>
                    <a:lnTo>
                      <a:pt x="22" y="80"/>
                    </a:lnTo>
                    <a:lnTo>
                      <a:pt x="22" y="80"/>
                    </a:lnTo>
                    <a:lnTo>
                      <a:pt x="22" y="78"/>
                    </a:lnTo>
                    <a:lnTo>
                      <a:pt x="22" y="78"/>
                    </a:lnTo>
                    <a:lnTo>
                      <a:pt x="23" y="80"/>
                    </a:lnTo>
                    <a:lnTo>
                      <a:pt x="25" y="80"/>
                    </a:lnTo>
                    <a:lnTo>
                      <a:pt x="25" y="80"/>
                    </a:lnTo>
                    <a:lnTo>
                      <a:pt x="25" y="80"/>
                    </a:lnTo>
                    <a:lnTo>
                      <a:pt x="23" y="82"/>
                    </a:lnTo>
                    <a:close/>
                    <a:moveTo>
                      <a:pt x="31" y="75"/>
                    </a:moveTo>
                    <a:lnTo>
                      <a:pt x="30" y="74"/>
                    </a:lnTo>
                    <a:lnTo>
                      <a:pt x="31" y="74"/>
                    </a:lnTo>
                    <a:lnTo>
                      <a:pt x="31" y="74"/>
                    </a:lnTo>
                    <a:lnTo>
                      <a:pt x="31" y="74"/>
                    </a:lnTo>
                    <a:lnTo>
                      <a:pt x="33" y="75"/>
                    </a:lnTo>
                    <a:lnTo>
                      <a:pt x="33" y="75"/>
                    </a:lnTo>
                    <a:lnTo>
                      <a:pt x="34" y="75"/>
                    </a:lnTo>
                    <a:lnTo>
                      <a:pt x="34" y="77"/>
                    </a:lnTo>
                    <a:lnTo>
                      <a:pt x="34" y="78"/>
                    </a:lnTo>
                    <a:lnTo>
                      <a:pt x="34" y="78"/>
                    </a:lnTo>
                    <a:lnTo>
                      <a:pt x="34" y="78"/>
                    </a:lnTo>
                    <a:lnTo>
                      <a:pt x="33" y="78"/>
                    </a:lnTo>
                    <a:lnTo>
                      <a:pt x="31" y="78"/>
                    </a:lnTo>
                    <a:lnTo>
                      <a:pt x="31" y="77"/>
                    </a:lnTo>
                    <a:lnTo>
                      <a:pt x="31" y="77"/>
                    </a:lnTo>
                    <a:lnTo>
                      <a:pt x="31" y="77"/>
                    </a:lnTo>
                    <a:lnTo>
                      <a:pt x="31" y="77"/>
                    </a:lnTo>
                    <a:lnTo>
                      <a:pt x="31" y="75"/>
                    </a:lnTo>
                    <a:close/>
                    <a:moveTo>
                      <a:pt x="45" y="77"/>
                    </a:moveTo>
                    <a:lnTo>
                      <a:pt x="44" y="78"/>
                    </a:lnTo>
                    <a:lnTo>
                      <a:pt x="44" y="78"/>
                    </a:lnTo>
                    <a:lnTo>
                      <a:pt x="42" y="78"/>
                    </a:lnTo>
                    <a:lnTo>
                      <a:pt x="42" y="77"/>
                    </a:lnTo>
                    <a:lnTo>
                      <a:pt x="44" y="77"/>
                    </a:lnTo>
                    <a:lnTo>
                      <a:pt x="44" y="77"/>
                    </a:lnTo>
                    <a:lnTo>
                      <a:pt x="45" y="77"/>
                    </a:lnTo>
                    <a:lnTo>
                      <a:pt x="45" y="77"/>
                    </a:lnTo>
                    <a:lnTo>
                      <a:pt x="45" y="7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3" name="Freeform 110">
                <a:extLst>
                  <a:ext uri="{FF2B5EF4-FFF2-40B4-BE49-F238E27FC236}">
                    <a16:creationId xmlns:a16="http://schemas.microsoft.com/office/drawing/2014/main" id="{F759B78B-0524-DFCF-9852-0F5E7F95DB56}"/>
                  </a:ext>
                </a:extLst>
              </p:cNvPr>
              <p:cNvSpPr>
                <a:spLocks noEditPoints="1"/>
              </p:cNvSpPr>
              <p:nvPr/>
            </p:nvSpPr>
            <p:spPr bwMode="gray">
              <a:xfrm>
                <a:off x="4470" y="1318"/>
                <a:ext cx="94" cy="76"/>
              </a:xfrm>
              <a:custGeom>
                <a:avLst/>
                <a:gdLst>
                  <a:gd name="T0" fmla="*/ 19 w 94"/>
                  <a:gd name="T1" fmla="*/ 70 h 76"/>
                  <a:gd name="T2" fmla="*/ 13 w 94"/>
                  <a:gd name="T3" fmla="*/ 59 h 76"/>
                  <a:gd name="T4" fmla="*/ 14 w 94"/>
                  <a:gd name="T5" fmla="*/ 61 h 76"/>
                  <a:gd name="T6" fmla="*/ 91 w 94"/>
                  <a:gd name="T7" fmla="*/ 29 h 76"/>
                  <a:gd name="T8" fmla="*/ 92 w 94"/>
                  <a:gd name="T9" fmla="*/ 18 h 76"/>
                  <a:gd name="T10" fmla="*/ 89 w 94"/>
                  <a:gd name="T11" fmla="*/ 11 h 76"/>
                  <a:gd name="T12" fmla="*/ 91 w 94"/>
                  <a:gd name="T13" fmla="*/ 4 h 76"/>
                  <a:gd name="T14" fmla="*/ 91 w 94"/>
                  <a:gd name="T15" fmla="*/ 0 h 76"/>
                  <a:gd name="T16" fmla="*/ 88 w 94"/>
                  <a:gd name="T17" fmla="*/ 1 h 76"/>
                  <a:gd name="T18" fmla="*/ 83 w 94"/>
                  <a:gd name="T19" fmla="*/ 4 h 76"/>
                  <a:gd name="T20" fmla="*/ 80 w 94"/>
                  <a:gd name="T21" fmla="*/ 6 h 76"/>
                  <a:gd name="T22" fmla="*/ 75 w 94"/>
                  <a:gd name="T23" fmla="*/ 3 h 76"/>
                  <a:gd name="T24" fmla="*/ 74 w 94"/>
                  <a:gd name="T25" fmla="*/ 3 h 76"/>
                  <a:gd name="T26" fmla="*/ 69 w 94"/>
                  <a:gd name="T27" fmla="*/ 6 h 76"/>
                  <a:gd name="T28" fmla="*/ 66 w 94"/>
                  <a:gd name="T29" fmla="*/ 8 h 76"/>
                  <a:gd name="T30" fmla="*/ 64 w 94"/>
                  <a:gd name="T31" fmla="*/ 14 h 76"/>
                  <a:gd name="T32" fmla="*/ 56 w 94"/>
                  <a:gd name="T33" fmla="*/ 9 h 76"/>
                  <a:gd name="T34" fmla="*/ 52 w 94"/>
                  <a:gd name="T35" fmla="*/ 9 h 76"/>
                  <a:gd name="T36" fmla="*/ 50 w 94"/>
                  <a:gd name="T37" fmla="*/ 6 h 76"/>
                  <a:gd name="T38" fmla="*/ 49 w 94"/>
                  <a:gd name="T39" fmla="*/ 8 h 76"/>
                  <a:gd name="T40" fmla="*/ 45 w 94"/>
                  <a:gd name="T41" fmla="*/ 4 h 76"/>
                  <a:gd name="T42" fmla="*/ 35 w 94"/>
                  <a:gd name="T43" fmla="*/ 4 h 76"/>
                  <a:gd name="T44" fmla="*/ 28 w 94"/>
                  <a:gd name="T45" fmla="*/ 6 h 76"/>
                  <a:gd name="T46" fmla="*/ 22 w 94"/>
                  <a:gd name="T47" fmla="*/ 4 h 76"/>
                  <a:gd name="T48" fmla="*/ 13 w 94"/>
                  <a:gd name="T49" fmla="*/ 8 h 76"/>
                  <a:gd name="T50" fmla="*/ 8 w 94"/>
                  <a:gd name="T51" fmla="*/ 15 h 76"/>
                  <a:gd name="T52" fmla="*/ 5 w 94"/>
                  <a:gd name="T53" fmla="*/ 18 h 76"/>
                  <a:gd name="T54" fmla="*/ 0 w 94"/>
                  <a:gd name="T55" fmla="*/ 20 h 76"/>
                  <a:gd name="T56" fmla="*/ 3 w 94"/>
                  <a:gd name="T57" fmla="*/ 29 h 76"/>
                  <a:gd name="T58" fmla="*/ 6 w 94"/>
                  <a:gd name="T59" fmla="*/ 37 h 76"/>
                  <a:gd name="T60" fmla="*/ 8 w 94"/>
                  <a:gd name="T61" fmla="*/ 43 h 76"/>
                  <a:gd name="T62" fmla="*/ 11 w 94"/>
                  <a:gd name="T63" fmla="*/ 53 h 76"/>
                  <a:gd name="T64" fmla="*/ 14 w 94"/>
                  <a:gd name="T65" fmla="*/ 58 h 76"/>
                  <a:gd name="T66" fmla="*/ 16 w 94"/>
                  <a:gd name="T67" fmla="*/ 67 h 76"/>
                  <a:gd name="T68" fmla="*/ 20 w 94"/>
                  <a:gd name="T69" fmla="*/ 64 h 76"/>
                  <a:gd name="T70" fmla="*/ 25 w 94"/>
                  <a:gd name="T71" fmla="*/ 69 h 76"/>
                  <a:gd name="T72" fmla="*/ 22 w 94"/>
                  <a:gd name="T73" fmla="*/ 73 h 76"/>
                  <a:gd name="T74" fmla="*/ 28 w 94"/>
                  <a:gd name="T75" fmla="*/ 72 h 76"/>
                  <a:gd name="T76" fmla="*/ 38 w 94"/>
                  <a:gd name="T77" fmla="*/ 76 h 76"/>
                  <a:gd name="T78" fmla="*/ 42 w 94"/>
                  <a:gd name="T79" fmla="*/ 75 h 76"/>
                  <a:gd name="T80" fmla="*/ 45 w 94"/>
                  <a:gd name="T81" fmla="*/ 73 h 76"/>
                  <a:gd name="T82" fmla="*/ 49 w 94"/>
                  <a:gd name="T83" fmla="*/ 69 h 76"/>
                  <a:gd name="T84" fmla="*/ 50 w 94"/>
                  <a:gd name="T85" fmla="*/ 67 h 76"/>
                  <a:gd name="T86" fmla="*/ 55 w 94"/>
                  <a:gd name="T87" fmla="*/ 67 h 76"/>
                  <a:gd name="T88" fmla="*/ 61 w 94"/>
                  <a:gd name="T89" fmla="*/ 65 h 76"/>
                  <a:gd name="T90" fmla="*/ 64 w 94"/>
                  <a:gd name="T91" fmla="*/ 69 h 76"/>
                  <a:gd name="T92" fmla="*/ 67 w 94"/>
                  <a:gd name="T93" fmla="*/ 67 h 76"/>
                  <a:gd name="T94" fmla="*/ 64 w 94"/>
                  <a:gd name="T95" fmla="*/ 61 h 76"/>
                  <a:gd name="T96" fmla="*/ 63 w 94"/>
                  <a:gd name="T97" fmla="*/ 56 h 76"/>
                  <a:gd name="T98" fmla="*/ 64 w 94"/>
                  <a:gd name="T99" fmla="*/ 54 h 76"/>
                  <a:gd name="T100" fmla="*/ 69 w 94"/>
                  <a:gd name="T101" fmla="*/ 53 h 76"/>
                  <a:gd name="T102" fmla="*/ 72 w 94"/>
                  <a:gd name="T103" fmla="*/ 53 h 76"/>
                  <a:gd name="T104" fmla="*/ 74 w 94"/>
                  <a:gd name="T105" fmla="*/ 48 h 76"/>
                  <a:gd name="T106" fmla="*/ 78 w 94"/>
                  <a:gd name="T107" fmla="*/ 47 h 76"/>
                  <a:gd name="T108" fmla="*/ 86 w 94"/>
                  <a:gd name="T109" fmla="*/ 42 h 76"/>
                  <a:gd name="T110" fmla="*/ 91 w 94"/>
                  <a:gd name="T111" fmla="*/ 42 h 76"/>
                  <a:gd name="T112" fmla="*/ 92 w 94"/>
                  <a:gd name="T113" fmla="*/ 3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76">
                    <a:moveTo>
                      <a:pt x="17" y="70"/>
                    </a:moveTo>
                    <a:lnTo>
                      <a:pt x="17" y="70"/>
                    </a:lnTo>
                    <a:lnTo>
                      <a:pt x="17" y="72"/>
                    </a:lnTo>
                    <a:lnTo>
                      <a:pt x="19" y="70"/>
                    </a:lnTo>
                    <a:lnTo>
                      <a:pt x="17" y="70"/>
                    </a:lnTo>
                    <a:close/>
                    <a:moveTo>
                      <a:pt x="13" y="59"/>
                    </a:moveTo>
                    <a:lnTo>
                      <a:pt x="13" y="59"/>
                    </a:lnTo>
                    <a:lnTo>
                      <a:pt x="13" y="59"/>
                    </a:lnTo>
                    <a:lnTo>
                      <a:pt x="13" y="61"/>
                    </a:lnTo>
                    <a:lnTo>
                      <a:pt x="13" y="61"/>
                    </a:lnTo>
                    <a:lnTo>
                      <a:pt x="13" y="61"/>
                    </a:lnTo>
                    <a:lnTo>
                      <a:pt x="14" y="61"/>
                    </a:lnTo>
                    <a:lnTo>
                      <a:pt x="13" y="59"/>
                    </a:lnTo>
                    <a:close/>
                    <a:moveTo>
                      <a:pt x="92" y="33"/>
                    </a:moveTo>
                    <a:lnTo>
                      <a:pt x="91" y="31"/>
                    </a:lnTo>
                    <a:lnTo>
                      <a:pt x="91" y="29"/>
                    </a:lnTo>
                    <a:lnTo>
                      <a:pt x="92" y="26"/>
                    </a:lnTo>
                    <a:lnTo>
                      <a:pt x="94" y="22"/>
                    </a:lnTo>
                    <a:lnTo>
                      <a:pt x="94" y="20"/>
                    </a:lnTo>
                    <a:lnTo>
                      <a:pt x="92" y="18"/>
                    </a:lnTo>
                    <a:lnTo>
                      <a:pt x="91" y="15"/>
                    </a:lnTo>
                    <a:lnTo>
                      <a:pt x="89" y="12"/>
                    </a:lnTo>
                    <a:lnTo>
                      <a:pt x="89" y="12"/>
                    </a:lnTo>
                    <a:lnTo>
                      <a:pt x="89" y="11"/>
                    </a:lnTo>
                    <a:lnTo>
                      <a:pt x="89" y="11"/>
                    </a:lnTo>
                    <a:lnTo>
                      <a:pt x="89" y="6"/>
                    </a:lnTo>
                    <a:lnTo>
                      <a:pt x="89" y="6"/>
                    </a:lnTo>
                    <a:lnTo>
                      <a:pt x="91" y="4"/>
                    </a:lnTo>
                    <a:lnTo>
                      <a:pt x="92" y="3"/>
                    </a:lnTo>
                    <a:lnTo>
                      <a:pt x="92" y="0"/>
                    </a:lnTo>
                    <a:lnTo>
                      <a:pt x="92" y="0"/>
                    </a:lnTo>
                    <a:lnTo>
                      <a:pt x="91" y="0"/>
                    </a:lnTo>
                    <a:lnTo>
                      <a:pt x="91" y="1"/>
                    </a:lnTo>
                    <a:lnTo>
                      <a:pt x="89" y="3"/>
                    </a:lnTo>
                    <a:lnTo>
                      <a:pt x="88" y="1"/>
                    </a:lnTo>
                    <a:lnTo>
                      <a:pt x="88" y="1"/>
                    </a:lnTo>
                    <a:lnTo>
                      <a:pt x="86" y="3"/>
                    </a:lnTo>
                    <a:lnTo>
                      <a:pt x="85" y="4"/>
                    </a:lnTo>
                    <a:lnTo>
                      <a:pt x="85" y="4"/>
                    </a:lnTo>
                    <a:lnTo>
                      <a:pt x="83" y="4"/>
                    </a:lnTo>
                    <a:lnTo>
                      <a:pt x="83" y="4"/>
                    </a:lnTo>
                    <a:lnTo>
                      <a:pt x="81" y="6"/>
                    </a:lnTo>
                    <a:lnTo>
                      <a:pt x="81" y="6"/>
                    </a:lnTo>
                    <a:lnTo>
                      <a:pt x="80" y="6"/>
                    </a:lnTo>
                    <a:lnTo>
                      <a:pt x="80" y="6"/>
                    </a:lnTo>
                    <a:lnTo>
                      <a:pt x="78" y="6"/>
                    </a:lnTo>
                    <a:lnTo>
                      <a:pt x="77" y="4"/>
                    </a:lnTo>
                    <a:lnTo>
                      <a:pt x="75" y="3"/>
                    </a:lnTo>
                    <a:lnTo>
                      <a:pt x="75" y="3"/>
                    </a:lnTo>
                    <a:lnTo>
                      <a:pt x="75" y="3"/>
                    </a:lnTo>
                    <a:lnTo>
                      <a:pt x="74" y="1"/>
                    </a:lnTo>
                    <a:lnTo>
                      <a:pt x="74" y="3"/>
                    </a:lnTo>
                    <a:lnTo>
                      <a:pt x="72" y="4"/>
                    </a:lnTo>
                    <a:lnTo>
                      <a:pt x="70" y="4"/>
                    </a:lnTo>
                    <a:lnTo>
                      <a:pt x="69" y="3"/>
                    </a:lnTo>
                    <a:lnTo>
                      <a:pt x="69" y="6"/>
                    </a:lnTo>
                    <a:lnTo>
                      <a:pt x="69" y="6"/>
                    </a:lnTo>
                    <a:lnTo>
                      <a:pt x="66" y="6"/>
                    </a:lnTo>
                    <a:lnTo>
                      <a:pt x="66" y="6"/>
                    </a:lnTo>
                    <a:lnTo>
                      <a:pt x="66" y="8"/>
                    </a:lnTo>
                    <a:lnTo>
                      <a:pt x="67" y="11"/>
                    </a:lnTo>
                    <a:lnTo>
                      <a:pt x="67" y="11"/>
                    </a:lnTo>
                    <a:lnTo>
                      <a:pt x="67" y="14"/>
                    </a:lnTo>
                    <a:lnTo>
                      <a:pt x="64" y="14"/>
                    </a:lnTo>
                    <a:lnTo>
                      <a:pt x="63" y="12"/>
                    </a:lnTo>
                    <a:lnTo>
                      <a:pt x="61" y="11"/>
                    </a:lnTo>
                    <a:lnTo>
                      <a:pt x="61" y="11"/>
                    </a:lnTo>
                    <a:lnTo>
                      <a:pt x="56" y="9"/>
                    </a:lnTo>
                    <a:lnTo>
                      <a:pt x="55" y="11"/>
                    </a:lnTo>
                    <a:lnTo>
                      <a:pt x="53" y="11"/>
                    </a:lnTo>
                    <a:lnTo>
                      <a:pt x="53" y="9"/>
                    </a:lnTo>
                    <a:lnTo>
                      <a:pt x="52" y="9"/>
                    </a:lnTo>
                    <a:lnTo>
                      <a:pt x="52" y="8"/>
                    </a:lnTo>
                    <a:lnTo>
                      <a:pt x="52" y="6"/>
                    </a:lnTo>
                    <a:lnTo>
                      <a:pt x="52" y="6"/>
                    </a:lnTo>
                    <a:lnTo>
                      <a:pt x="50" y="6"/>
                    </a:lnTo>
                    <a:lnTo>
                      <a:pt x="50" y="8"/>
                    </a:lnTo>
                    <a:lnTo>
                      <a:pt x="50" y="8"/>
                    </a:lnTo>
                    <a:lnTo>
                      <a:pt x="49" y="8"/>
                    </a:lnTo>
                    <a:lnTo>
                      <a:pt x="49" y="8"/>
                    </a:lnTo>
                    <a:lnTo>
                      <a:pt x="49" y="8"/>
                    </a:lnTo>
                    <a:lnTo>
                      <a:pt x="47" y="8"/>
                    </a:lnTo>
                    <a:lnTo>
                      <a:pt x="47" y="6"/>
                    </a:lnTo>
                    <a:lnTo>
                      <a:pt x="45" y="4"/>
                    </a:lnTo>
                    <a:lnTo>
                      <a:pt x="44" y="4"/>
                    </a:lnTo>
                    <a:lnTo>
                      <a:pt x="41" y="4"/>
                    </a:lnTo>
                    <a:lnTo>
                      <a:pt x="38" y="6"/>
                    </a:lnTo>
                    <a:lnTo>
                      <a:pt x="35" y="4"/>
                    </a:lnTo>
                    <a:lnTo>
                      <a:pt x="31" y="6"/>
                    </a:lnTo>
                    <a:lnTo>
                      <a:pt x="30" y="6"/>
                    </a:lnTo>
                    <a:lnTo>
                      <a:pt x="30" y="6"/>
                    </a:lnTo>
                    <a:lnTo>
                      <a:pt x="28" y="6"/>
                    </a:lnTo>
                    <a:lnTo>
                      <a:pt x="27" y="6"/>
                    </a:lnTo>
                    <a:lnTo>
                      <a:pt x="25" y="6"/>
                    </a:lnTo>
                    <a:lnTo>
                      <a:pt x="24" y="4"/>
                    </a:lnTo>
                    <a:lnTo>
                      <a:pt x="22" y="4"/>
                    </a:lnTo>
                    <a:lnTo>
                      <a:pt x="20" y="6"/>
                    </a:lnTo>
                    <a:lnTo>
                      <a:pt x="19" y="6"/>
                    </a:lnTo>
                    <a:lnTo>
                      <a:pt x="16" y="6"/>
                    </a:lnTo>
                    <a:lnTo>
                      <a:pt x="13" y="8"/>
                    </a:lnTo>
                    <a:lnTo>
                      <a:pt x="11" y="9"/>
                    </a:lnTo>
                    <a:lnTo>
                      <a:pt x="11" y="11"/>
                    </a:lnTo>
                    <a:lnTo>
                      <a:pt x="9" y="12"/>
                    </a:lnTo>
                    <a:lnTo>
                      <a:pt x="8" y="15"/>
                    </a:lnTo>
                    <a:lnTo>
                      <a:pt x="6" y="17"/>
                    </a:lnTo>
                    <a:lnTo>
                      <a:pt x="6" y="17"/>
                    </a:lnTo>
                    <a:lnTo>
                      <a:pt x="5" y="18"/>
                    </a:lnTo>
                    <a:lnTo>
                      <a:pt x="5" y="18"/>
                    </a:lnTo>
                    <a:lnTo>
                      <a:pt x="5" y="20"/>
                    </a:lnTo>
                    <a:lnTo>
                      <a:pt x="3" y="20"/>
                    </a:lnTo>
                    <a:lnTo>
                      <a:pt x="2" y="20"/>
                    </a:lnTo>
                    <a:lnTo>
                      <a:pt x="0" y="20"/>
                    </a:lnTo>
                    <a:lnTo>
                      <a:pt x="2" y="25"/>
                    </a:lnTo>
                    <a:lnTo>
                      <a:pt x="2" y="26"/>
                    </a:lnTo>
                    <a:lnTo>
                      <a:pt x="3" y="29"/>
                    </a:lnTo>
                    <a:lnTo>
                      <a:pt x="3" y="29"/>
                    </a:lnTo>
                    <a:lnTo>
                      <a:pt x="3" y="33"/>
                    </a:lnTo>
                    <a:lnTo>
                      <a:pt x="3" y="36"/>
                    </a:lnTo>
                    <a:lnTo>
                      <a:pt x="3" y="36"/>
                    </a:lnTo>
                    <a:lnTo>
                      <a:pt x="6" y="37"/>
                    </a:lnTo>
                    <a:lnTo>
                      <a:pt x="8" y="39"/>
                    </a:lnTo>
                    <a:lnTo>
                      <a:pt x="8" y="40"/>
                    </a:lnTo>
                    <a:lnTo>
                      <a:pt x="8" y="40"/>
                    </a:lnTo>
                    <a:lnTo>
                      <a:pt x="8" y="43"/>
                    </a:lnTo>
                    <a:lnTo>
                      <a:pt x="8" y="47"/>
                    </a:lnTo>
                    <a:lnTo>
                      <a:pt x="11" y="53"/>
                    </a:lnTo>
                    <a:lnTo>
                      <a:pt x="11" y="53"/>
                    </a:lnTo>
                    <a:lnTo>
                      <a:pt x="11" y="53"/>
                    </a:lnTo>
                    <a:lnTo>
                      <a:pt x="11" y="51"/>
                    </a:lnTo>
                    <a:lnTo>
                      <a:pt x="13" y="53"/>
                    </a:lnTo>
                    <a:lnTo>
                      <a:pt x="13" y="56"/>
                    </a:lnTo>
                    <a:lnTo>
                      <a:pt x="14" y="58"/>
                    </a:lnTo>
                    <a:lnTo>
                      <a:pt x="14" y="59"/>
                    </a:lnTo>
                    <a:lnTo>
                      <a:pt x="14" y="62"/>
                    </a:lnTo>
                    <a:lnTo>
                      <a:pt x="14" y="64"/>
                    </a:lnTo>
                    <a:lnTo>
                      <a:pt x="16" y="67"/>
                    </a:lnTo>
                    <a:lnTo>
                      <a:pt x="17" y="67"/>
                    </a:lnTo>
                    <a:lnTo>
                      <a:pt x="19" y="67"/>
                    </a:lnTo>
                    <a:lnTo>
                      <a:pt x="20" y="67"/>
                    </a:lnTo>
                    <a:lnTo>
                      <a:pt x="20" y="64"/>
                    </a:lnTo>
                    <a:lnTo>
                      <a:pt x="22" y="64"/>
                    </a:lnTo>
                    <a:lnTo>
                      <a:pt x="24" y="64"/>
                    </a:lnTo>
                    <a:lnTo>
                      <a:pt x="24" y="65"/>
                    </a:lnTo>
                    <a:lnTo>
                      <a:pt x="25" y="69"/>
                    </a:lnTo>
                    <a:lnTo>
                      <a:pt x="25" y="70"/>
                    </a:lnTo>
                    <a:lnTo>
                      <a:pt x="24" y="70"/>
                    </a:lnTo>
                    <a:lnTo>
                      <a:pt x="22" y="72"/>
                    </a:lnTo>
                    <a:lnTo>
                      <a:pt x="22" y="73"/>
                    </a:lnTo>
                    <a:lnTo>
                      <a:pt x="24" y="73"/>
                    </a:lnTo>
                    <a:lnTo>
                      <a:pt x="24" y="75"/>
                    </a:lnTo>
                    <a:lnTo>
                      <a:pt x="28" y="73"/>
                    </a:lnTo>
                    <a:lnTo>
                      <a:pt x="28" y="72"/>
                    </a:lnTo>
                    <a:lnTo>
                      <a:pt x="28" y="72"/>
                    </a:lnTo>
                    <a:lnTo>
                      <a:pt x="30" y="73"/>
                    </a:lnTo>
                    <a:lnTo>
                      <a:pt x="35" y="73"/>
                    </a:lnTo>
                    <a:lnTo>
                      <a:pt x="38" y="76"/>
                    </a:lnTo>
                    <a:lnTo>
                      <a:pt x="39" y="76"/>
                    </a:lnTo>
                    <a:lnTo>
                      <a:pt x="39" y="75"/>
                    </a:lnTo>
                    <a:lnTo>
                      <a:pt x="41" y="75"/>
                    </a:lnTo>
                    <a:lnTo>
                      <a:pt x="42" y="75"/>
                    </a:lnTo>
                    <a:lnTo>
                      <a:pt x="44" y="75"/>
                    </a:lnTo>
                    <a:lnTo>
                      <a:pt x="45" y="75"/>
                    </a:lnTo>
                    <a:lnTo>
                      <a:pt x="45" y="73"/>
                    </a:lnTo>
                    <a:lnTo>
                      <a:pt x="45" y="73"/>
                    </a:lnTo>
                    <a:lnTo>
                      <a:pt x="47" y="72"/>
                    </a:lnTo>
                    <a:lnTo>
                      <a:pt x="49" y="72"/>
                    </a:lnTo>
                    <a:lnTo>
                      <a:pt x="49" y="70"/>
                    </a:lnTo>
                    <a:lnTo>
                      <a:pt x="49" y="69"/>
                    </a:lnTo>
                    <a:lnTo>
                      <a:pt x="49" y="69"/>
                    </a:lnTo>
                    <a:lnTo>
                      <a:pt x="49" y="69"/>
                    </a:lnTo>
                    <a:lnTo>
                      <a:pt x="49" y="67"/>
                    </a:lnTo>
                    <a:lnTo>
                      <a:pt x="50" y="67"/>
                    </a:lnTo>
                    <a:lnTo>
                      <a:pt x="53" y="69"/>
                    </a:lnTo>
                    <a:lnTo>
                      <a:pt x="53" y="69"/>
                    </a:lnTo>
                    <a:lnTo>
                      <a:pt x="55" y="67"/>
                    </a:lnTo>
                    <a:lnTo>
                      <a:pt x="55" y="67"/>
                    </a:lnTo>
                    <a:lnTo>
                      <a:pt x="56" y="67"/>
                    </a:lnTo>
                    <a:lnTo>
                      <a:pt x="58" y="67"/>
                    </a:lnTo>
                    <a:lnTo>
                      <a:pt x="60" y="65"/>
                    </a:lnTo>
                    <a:lnTo>
                      <a:pt x="61" y="65"/>
                    </a:lnTo>
                    <a:lnTo>
                      <a:pt x="63" y="67"/>
                    </a:lnTo>
                    <a:lnTo>
                      <a:pt x="63" y="69"/>
                    </a:lnTo>
                    <a:lnTo>
                      <a:pt x="63" y="69"/>
                    </a:lnTo>
                    <a:lnTo>
                      <a:pt x="64" y="69"/>
                    </a:lnTo>
                    <a:lnTo>
                      <a:pt x="66" y="69"/>
                    </a:lnTo>
                    <a:lnTo>
                      <a:pt x="67" y="70"/>
                    </a:lnTo>
                    <a:lnTo>
                      <a:pt x="69" y="70"/>
                    </a:lnTo>
                    <a:lnTo>
                      <a:pt x="67" y="67"/>
                    </a:lnTo>
                    <a:lnTo>
                      <a:pt x="69" y="65"/>
                    </a:lnTo>
                    <a:lnTo>
                      <a:pt x="69" y="65"/>
                    </a:lnTo>
                    <a:lnTo>
                      <a:pt x="67" y="64"/>
                    </a:lnTo>
                    <a:lnTo>
                      <a:pt x="64" y="61"/>
                    </a:lnTo>
                    <a:lnTo>
                      <a:pt x="63" y="61"/>
                    </a:lnTo>
                    <a:lnTo>
                      <a:pt x="63" y="59"/>
                    </a:lnTo>
                    <a:lnTo>
                      <a:pt x="63" y="58"/>
                    </a:lnTo>
                    <a:lnTo>
                      <a:pt x="63" y="56"/>
                    </a:lnTo>
                    <a:lnTo>
                      <a:pt x="63" y="54"/>
                    </a:lnTo>
                    <a:lnTo>
                      <a:pt x="63" y="54"/>
                    </a:lnTo>
                    <a:lnTo>
                      <a:pt x="64" y="54"/>
                    </a:lnTo>
                    <a:lnTo>
                      <a:pt x="64" y="54"/>
                    </a:lnTo>
                    <a:lnTo>
                      <a:pt x="64" y="54"/>
                    </a:lnTo>
                    <a:lnTo>
                      <a:pt x="66" y="53"/>
                    </a:lnTo>
                    <a:lnTo>
                      <a:pt x="67" y="53"/>
                    </a:lnTo>
                    <a:lnTo>
                      <a:pt x="69" y="53"/>
                    </a:lnTo>
                    <a:lnTo>
                      <a:pt x="72" y="54"/>
                    </a:lnTo>
                    <a:lnTo>
                      <a:pt x="72" y="53"/>
                    </a:lnTo>
                    <a:lnTo>
                      <a:pt x="72" y="53"/>
                    </a:lnTo>
                    <a:lnTo>
                      <a:pt x="72" y="53"/>
                    </a:lnTo>
                    <a:lnTo>
                      <a:pt x="72" y="50"/>
                    </a:lnTo>
                    <a:lnTo>
                      <a:pt x="72" y="48"/>
                    </a:lnTo>
                    <a:lnTo>
                      <a:pt x="72" y="48"/>
                    </a:lnTo>
                    <a:lnTo>
                      <a:pt x="74" y="48"/>
                    </a:lnTo>
                    <a:lnTo>
                      <a:pt x="77" y="48"/>
                    </a:lnTo>
                    <a:lnTo>
                      <a:pt x="78" y="48"/>
                    </a:lnTo>
                    <a:lnTo>
                      <a:pt x="78" y="47"/>
                    </a:lnTo>
                    <a:lnTo>
                      <a:pt x="78" y="47"/>
                    </a:lnTo>
                    <a:lnTo>
                      <a:pt x="81" y="47"/>
                    </a:lnTo>
                    <a:lnTo>
                      <a:pt x="85" y="45"/>
                    </a:lnTo>
                    <a:lnTo>
                      <a:pt x="86" y="43"/>
                    </a:lnTo>
                    <a:lnTo>
                      <a:pt x="86" y="42"/>
                    </a:lnTo>
                    <a:lnTo>
                      <a:pt x="88" y="42"/>
                    </a:lnTo>
                    <a:lnTo>
                      <a:pt x="89" y="42"/>
                    </a:lnTo>
                    <a:lnTo>
                      <a:pt x="89" y="43"/>
                    </a:lnTo>
                    <a:lnTo>
                      <a:pt x="91" y="42"/>
                    </a:lnTo>
                    <a:lnTo>
                      <a:pt x="92" y="42"/>
                    </a:lnTo>
                    <a:lnTo>
                      <a:pt x="92" y="40"/>
                    </a:lnTo>
                    <a:lnTo>
                      <a:pt x="92" y="40"/>
                    </a:lnTo>
                    <a:lnTo>
                      <a:pt x="92" y="39"/>
                    </a:lnTo>
                    <a:lnTo>
                      <a:pt x="92" y="36"/>
                    </a:lnTo>
                    <a:lnTo>
                      <a:pt x="92" y="3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4" name="Freeform 111">
                <a:extLst>
                  <a:ext uri="{FF2B5EF4-FFF2-40B4-BE49-F238E27FC236}">
                    <a16:creationId xmlns:a16="http://schemas.microsoft.com/office/drawing/2014/main" id="{785248BB-10C0-3C6C-3A7C-5D6EE206714F}"/>
                  </a:ext>
                </a:extLst>
              </p:cNvPr>
              <p:cNvSpPr>
                <a:spLocks noEditPoints="1"/>
              </p:cNvSpPr>
              <p:nvPr/>
            </p:nvSpPr>
            <p:spPr bwMode="gray">
              <a:xfrm>
                <a:off x="3433" y="1776"/>
                <a:ext cx="24" cy="19"/>
              </a:xfrm>
              <a:custGeom>
                <a:avLst/>
                <a:gdLst>
                  <a:gd name="T0" fmla="*/ 10 w 24"/>
                  <a:gd name="T1" fmla="*/ 17 h 19"/>
                  <a:gd name="T2" fmla="*/ 8 w 24"/>
                  <a:gd name="T3" fmla="*/ 16 h 19"/>
                  <a:gd name="T4" fmla="*/ 8 w 24"/>
                  <a:gd name="T5" fmla="*/ 16 h 19"/>
                  <a:gd name="T6" fmla="*/ 8 w 24"/>
                  <a:gd name="T7" fmla="*/ 17 h 19"/>
                  <a:gd name="T8" fmla="*/ 8 w 24"/>
                  <a:gd name="T9" fmla="*/ 17 h 19"/>
                  <a:gd name="T10" fmla="*/ 11 w 24"/>
                  <a:gd name="T11" fmla="*/ 19 h 19"/>
                  <a:gd name="T12" fmla="*/ 10 w 24"/>
                  <a:gd name="T13" fmla="*/ 17 h 19"/>
                  <a:gd name="T14" fmla="*/ 22 w 24"/>
                  <a:gd name="T15" fmla="*/ 13 h 19"/>
                  <a:gd name="T16" fmla="*/ 22 w 24"/>
                  <a:gd name="T17" fmla="*/ 13 h 19"/>
                  <a:gd name="T18" fmla="*/ 21 w 24"/>
                  <a:gd name="T19" fmla="*/ 14 h 19"/>
                  <a:gd name="T20" fmla="*/ 21 w 24"/>
                  <a:gd name="T21" fmla="*/ 14 h 19"/>
                  <a:gd name="T22" fmla="*/ 21 w 24"/>
                  <a:gd name="T23" fmla="*/ 14 h 19"/>
                  <a:gd name="T24" fmla="*/ 19 w 24"/>
                  <a:gd name="T25" fmla="*/ 14 h 19"/>
                  <a:gd name="T26" fmla="*/ 19 w 24"/>
                  <a:gd name="T27" fmla="*/ 14 h 19"/>
                  <a:gd name="T28" fmla="*/ 18 w 24"/>
                  <a:gd name="T29" fmla="*/ 14 h 19"/>
                  <a:gd name="T30" fmla="*/ 21 w 24"/>
                  <a:gd name="T31" fmla="*/ 16 h 19"/>
                  <a:gd name="T32" fmla="*/ 22 w 24"/>
                  <a:gd name="T33" fmla="*/ 17 h 19"/>
                  <a:gd name="T34" fmla="*/ 22 w 24"/>
                  <a:gd name="T35" fmla="*/ 19 h 19"/>
                  <a:gd name="T36" fmla="*/ 24 w 24"/>
                  <a:gd name="T37" fmla="*/ 17 h 19"/>
                  <a:gd name="T38" fmla="*/ 24 w 24"/>
                  <a:gd name="T39" fmla="*/ 16 h 19"/>
                  <a:gd name="T40" fmla="*/ 22 w 24"/>
                  <a:gd name="T41" fmla="*/ 13 h 19"/>
                  <a:gd name="T42" fmla="*/ 5 w 24"/>
                  <a:gd name="T43" fmla="*/ 8 h 19"/>
                  <a:gd name="T44" fmla="*/ 4 w 24"/>
                  <a:gd name="T45" fmla="*/ 5 h 19"/>
                  <a:gd name="T46" fmla="*/ 4 w 24"/>
                  <a:gd name="T47" fmla="*/ 2 h 19"/>
                  <a:gd name="T48" fmla="*/ 2 w 24"/>
                  <a:gd name="T49" fmla="*/ 0 h 19"/>
                  <a:gd name="T50" fmla="*/ 2 w 24"/>
                  <a:gd name="T51" fmla="*/ 0 h 19"/>
                  <a:gd name="T52" fmla="*/ 2 w 24"/>
                  <a:gd name="T53" fmla="*/ 2 h 19"/>
                  <a:gd name="T54" fmla="*/ 0 w 24"/>
                  <a:gd name="T55" fmla="*/ 2 h 19"/>
                  <a:gd name="T56" fmla="*/ 0 w 24"/>
                  <a:gd name="T57" fmla="*/ 8 h 19"/>
                  <a:gd name="T58" fmla="*/ 2 w 24"/>
                  <a:gd name="T59" fmla="*/ 10 h 19"/>
                  <a:gd name="T60" fmla="*/ 4 w 24"/>
                  <a:gd name="T61" fmla="*/ 10 h 19"/>
                  <a:gd name="T62" fmla="*/ 5 w 24"/>
                  <a:gd name="T63" fmla="*/ 11 h 19"/>
                  <a:gd name="T64" fmla="*/ 5 w 24"/>
                  <a:gd name="T65" fmla="*/ 10 h 19"/>
                  <a:gd name="T66" fmla="*/ 5 w 24"/>
                  <a:gd name="T67" fmla="*/ 10 h 19"/>
                  <a:gd name="T68" fmla="*/ 5 w 24"/>
                  <a:gd name="T6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19">
                    <a:moveTo>
                      <a:pt x="10" y="17"/>
                    </a:moveTo>
                    <a:lnTo>
                      <a:pt x="8" y="16"/>
                    </a:lnTo>
                    <a:lnTo>
                      <a:pt x="8" y="16"/>
                    </a:lnTo>
                    <a:lnTo>
                      <a:pt x="8" y="17"/>
                    </a:lnTo>
                    <a:lnTo>
                      <a:pt x="8" y="17"/>
                    </a:lnTo>
                    <a:lnTo>
                      <a:pt x="11" y="19"/>
                    </a:lnTo>
                    <a:lnTo>
                      <a:pt x="10" y="17"/>
                    </a:lnTo>
                    <a:close/>
                    <a:moveTo>
                      <a:pt x="22" y="13"/>
                    </a:moveTo>
                    <a:lnTo>
                      <a:pt x="22" y="13"/>
                    </a:lnTo>
                    <a:lnTo>
                      <a:pt x="21" y="14"/>
                    </a:lnTo>
                    <a:lnTo>
                      <a:pt x="21" y="14"/>
                    </a:lnTo>
                    <a:lnTo>
                      <a:pt x="21" y="14"/>
                    </a:lnTo>
                    <a:lnTo>
                      <a:pt x="19" y="14"/>
                    </a:lnTo>
                    <a:lnTo>
                      <a:pt x="19" y="14"/>
                    </a:lnTo>
                    <a:lnTo>
                      <a:pt x="18" y="14"/>
                    </a:lnTo>
                    <a:lnTo>
                      <a:pt x="21" y="16"/>
                    </a:lnTo>
                    <a:lnTo>
                      <a:pt x="22" y="17"/>
                    </a:lnTo>
                    <a:lnTo>
                      <a:pt x="22" y="19"/>
                    </a:lnTo>
                    <a:lnTo>
                      <a:pt x="24" y="17"/>
                    </a:lnTo>
                    <a:lnTo>
                      <a:pt x="24" y="16"/>
                    </a:lnTo>
                    <a:lnTo>
                      <a:pt x="22" y="13"/>
                    </a:lnTo>
                    <a:close/>
                    <a:moveTo>
                      <a:pt x="5" y="8"/>
                    </a:moveTo>
                    <a:lnTo>
                      <a:pt x="4" y="5"/>
                    </a:lnTo>
                    <a:lnTo>
                      <a:pt x="4" y="2"/>
                    </a:lnTo>
                    <a:lnTo>
                      <a:pt x="2" y="0"/>
                    </a:lnTo>
                    <a:lnTo>
                      <a:pt x="2" y="0"/>
                    </a:lnTo>
                    <a:lnTo>
                      <a:pt x="2" y="2"/>
                    </a:lnTo>
                    <a:lnTo>
                      <a:pt x="0" y="2"/>
                    </a:lnTo>
                    <a:lnTo>
                      <a:pt x="0" y="8"/>
                    </a:lnTo>
                    <a:lnTo>
                      <a:pt x="2" y="10"/>
                    </a:lnTo>
                    <a:lnTo>
                      <a:pt x="4" y="10"/>
                    </a:lnTo>
                    <a:lnTo>
                      <a:pt x="5" y="11"/>
                    </a:lnTo>
                    <a:lnTo>
                      <a:pt x="5" y="10"/>
                    </a:lnTo>
                    <a:lnTo>
                      <a:pt x="5" y="10"/>
                    </a:lnTo>
                    <a:lnTo>
                      <a:pt x="5" y="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5" name="Freeform 112">
                <a:extLst>
                  <a:ext uri="{FF2B5EF4-FFF2-40B4-BE49-F238E27FC236}">
                    <a16:creationId xmlns:a16="http://schemas.microsoft.com/office/drawing/2014/main" id="{36A50C6C-54C6-3E0F-6C12-EF990255826F}"/>
                  </a:ext>
                </a:extLst>
              </p:cNvPr>
              <p:cNvSpPr>
                <a:spLocks noEditPoints="1"/>
              </p:cNvSpPr>
              <p:nvPr/>
            </p:nvSpPr>
            <p:spPr bwMode="gray">
              <a:xfrm>
                <a:off x="1571" y="1269"/>
                <a:ext cx="7" cy="5"/>
              </a:xfrm>
              <a:custGeom>
                <a:avLst/>
                <a:gdLst>
                  <a:gd name="T0" fmla="*/ 5 w 7"/>
                  <a:gd name="T1" fmla="*/ 3 h 5"/>
                  <a:gd name="T2" fmla="*/ 5 w 7"/>
                  <a:gd name="T3" fmla="*/ 3 h 5"/>
                  <a:gd name="T4" fmla="*/ 5 w 7"/>
                  <a:gd name="T5" fmla="*/ 5 h 5"/>
                  <a:gd name="T6" fmla="*/ 5 w 7"/>
                  <a:gd name="T7" fmla="*/ 5 h 5"/>
                  <a:gd name="T8" fmla="*/ 7 w 7"/>
                  <a:gd name="T9" fmla="*/ 5 h 5"/>
                  <a:gd name="T10" fmla="*/ 7 w 7"/>
                  <a:gd name="T11" fmla="*/ 3 h 5"/>
                  <a:gd name="T12" fmla="*/ 5 w 7"/>
                  <a:gd name="T13" fmla="*/ 3 h 5"/>
                  <a:gd name="T14" fmla="*/ 5 w 7"/>
                  <a:gd name="T15" fmla="*/ 2 h 5"/>
                  <a:gd name="T16" fmla="*/ 3 w 7"/>
                  <a:gd name="T17" fmla="*/ 2 h 5"/>
                  <a:gd name="T18" fmla="*/ 3 w 7"/>
                  <a:gd name="T19" fmla="*/ 0 h 5"/>
                  <a:gd name="T20" fmla="*/ 2 w 7"/>
                  <a:gd name="T21" fmla="*/ 0 h 5"/>
                  <a:gd name="T22" fmla="*/ 2 w 7"/>
                  <a:gd name="T23" fmla="*/ 0 h 5"/>
                  <a:gd name="T24" fmla="*/ 0 w 7"/>
                  <a:gd name="T25" fmla="*/ 0 h 5"/>
                  <a:gd name="T26" fmla="*/ 0 w 7"/>
                  <a:gd name="T27" fmla="*/ 0 h 5"/>
                  <a:gd name="T28" fmla="*/ 2 w 7"/>
                  <a:gd name="T29" fmla="*/ 2 h 5"/>
                  <a:gd name="T30" fmla="*/ 3 w 7"/>
                  <a:gd name="T31" fmla="*/ 2 h 5"/>
                  <a:gd name="T32" fmla="*/ 3 w 7"/>
                  <a:gd name="T33" fmla="*/ 3 h 5"/>
                  <a:gd name="T34" fmla="*/ 5 w 7"/>
                  <a:gd name="T35" fmla="*/ 2 h 5"/>
                  <a:gd name="T36" fmla="*/ 5 w 7"/>
                  <a:gd name="T3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5">
                    <a:moveTo>
                      <a:pt x="5" y="3"/>
                    </a:moveTo>
                    <a:lnTo>
                      <a:pt x="5" y="3"/>
                    </a:lnTo>
                    <a:lnTo>
                      <a:pt x="5" y="5"/>
                    </a:lnTo>
                    <a:lnTo>
                      <a:pt x="5" y="5"/>
                    </a:lnTo>
                    <a:lnTo>
                      <a:pt x="7" y="5"/>
                    </a:lnTo>
                    <a:lnTo>
                      <a:pt x="7" y="3"/>
                    </a:lnTo>
                    <a:lnTo>
                      <a:pt x="5" y="3"/>
                    </a:lnTo>
                    <a:close/>
                    <a:moveTo>
                      <a:pt x="5" y="2"/>
                    </a:moveTo>
                    <a:lnTo>
                      <a:pt x="3" y="2"/>
                    </a:lnTo>
                    <a:lnTo>
                      <a:pt x="3" y="0"/>
                    </a:lnTo>
                    <a:lnTo>
                      <a:pt x="2" y="0"/>
                    </a:lnTo>
                    <a:lnTo>
                      <a:pt x="2" y="0"/>
                    </a:lnTo>
                    <a:lnTo>
                      <a:pt x="0" y="0"/>
                    </a:lnTo>
                    <a:lnTo>
                      <a:pt x="0" y="0"/>
                    </a:lnTo>
                    <a:lnTo>
                      <a:pt x="2" y="2"/>
                    </a:lnTo>
                    <a:lnTo>
                      <a:pt x="3" y="2"/>
                    </a:lnTo>
                    <a:lnTo>
                      <a:pt x="3" y="3"/>
                    </a:lnTo>
                    <a:lnTo>
                      <a:pt x="5" y="2"/>
                    </a:lnTo>
                    <a:lnTo>
                      <a:pt x="5"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6" name="Freeform 113">
                <a:extLst>
                  <a:ext uri="{FF2B5EF4-FFF2-40B4-BE49-F238E27FC236}">
                    <a16:creationId xmlns:a16="http://schemas.microsoft.com/office/drawing/2014/main" id="{0C1A5E85-417B-A020-DC8B-69E4C49B5E03}"/>
                  </a:ext>
                </a:extLst>
              </p:cNvPr>
              <p:cNvSpPr>
                <a:spLocks noEditPoints="1"/>
              </p:cNvSpPr>
              <p:nvPr/>
            </p:nvSpPr>
            <p:spPr bwMode="gray">
              <a:xfrm>
                <a:off x="4858" y="743"/>
                <a:ext cx="111" cy="121"/>
              </a:xfrm>
              <a:custGeom>
                <a:avLst/>
                <a:gdLst>
                  <a:gd name="T0" fmla="*/ 9 w 111"/>
                  <a:gd name="T1" fmla="*/ 79 h 121"/>
                  <a:gd name="T2" fmla="*/ 109 w 111"/>
                  <a:gd name="T3" fmla="*/ 14 h 121"/>
                  <a:gd name="T4" fmla="*/ 108 w 111"/>
                  <a:gd name="T5" fmla="*/ 10 h 121"/>
                  <a:gd name="T6" fmla="*/ 103 w 111"/>
                  <a:gd name="T7" fmla="*/ 7 h 121"/>
                  <a:gd name="T8" fmla="*/ 101 w 111"/>
                  <a:gd name="T9" fmla="*/ 2 h 121"/>
                  <a:gd name="T10" fmla="*/ 97 w 111"/>
                  <a:gd name="T11" fmla="*/ 0 h 121"/>
                  <a:gd name="T12" fmla="*/ 95 w 111"/>
                  <a:gd name="T13" fmla="*/ 7 h 121"/>
                  <a:gd name="T14" fmla="*/ 92 w 111"/>
                  <a:gd name="T15" fmla="*/ 13 h 121"/>
                  <a:gd name="T16" fmla="*/ 91 w 111"/>
                  <a:gd name="T17" fmla="*/ 14 h 121"/>
                  <a:gd name="T18" fmla="*/ 87 w 111"/>
                  <a:gd name="T19" fmla="*/ 13 h 121"/>
                  <a:gd name="T20" fmla="*/ 84 w 111"/>
                  <a:gd name="T21" fmla="*/ 18 h 121"/>
                  <a:gd name="T22" fmla="*/ 80 w 111"/>
                  <a:gd name="T23" fmla="*/ 24 h 121"/>
                  <a:gd name="T24" fmla="*/ 72 w 111"/>
                  <a:gd name="T25" fmla="*/ 24 h 121"/>
                  <a:gd name="T26" fmla="*/ 64 w 111"/>
                  <a:gd name="T27" fmla="*/ 24 h 121"/>
                  <a:gd name="T28" fmla="*/ 66 w 111"/>
                  <a:gd name="T29" fmla="*/ 27 h 121"/>
                  <a:gd name="T30" fmla="*/ 69 w 111"/>
                  <a:gd name="T31" fmla="*/ 33 h 121"/>
                  <a:gd name="T32" fmla="*/ 66 w 111"/>
                  <a:gd name="T33" fmla="*/ 38 h 121"/>
                  <a:gd name="T34" fmla="*/ 64 w 111"/>
                  <a:gd name="T35" fmla="*/ 38 h 121"/>
                  <a:gd name="T36" fmla="*/ 55 w 111"/>
                  <a:gd name="T37" fmla="*/ 36 h 121"/>
                  <a:gd name="T38" fmla="*/ 48 w 111"/>
                  <a:gd name="T39" fmla="*/ 35 h 121"/>
                  <a:gd name="T40" fmla="*/ 45 w 111"/>
                  <a:gd name="T41" fmla="*/ 30 h 121"/>
                  <a:gd name="T42" fmla="*/ 41 w 111"/>
                  <a:gd name="T43" fmla="*/ 30 h 121"/>
                  <a:gd name="T44" fmla="*/ 39 w 111"/>
                  <a:gd name="T45" fmla="*/ 33 h 121"/>
                  <a:gd name="T46" fmla="*/ 37 w 111"/>
                  <a:gd name="T47" fmla="*/ 40 h 121"/>
                  <a:gd name="T48" fmla="*/ 36 w 111"/>
                  <a:gd name="T49" fmla="*/ 40 h 121"/>
                  <a:gd name="T50" fmla="*/ 30 w 111"/>
                  <a:gd name="T51" fmla="*/ 47 h 121"/>
                  <a:gd name="T52" fmla="*/ 25 w 111"/>
                  <a:gd name="T53" fmla="*/ 50 h 121"/>
                  <a:gd name="T54" fmla="*/ 22 w 111"/>
                  <a:gd name="T55" fmla="*/ 52 h 121"/>
                  <a:gd name="T56" fmla="*/ 19 w 111"/>
                  <a:gd name="T57" fmla="*/ 55 h 121"/>
                  <a:gd name="T58" fmla="*/ 11 w 111"/>
                  <a:gd name="T59" fmla="*/ 58 h 121"/>
                  <a:gd name="T60" fmla="*/ 8 w 111"/>
                  <a:gd name="T61" fmla="*/ 61 h 121"/>
                  <a:gd name="T62" fmla="*/ 0 w 111"/>
                  <a:gd name="T63" fmla="*/ 68 h 121"/>
                  <a:gd name="T64" fmla="*/ 0 w 111"/>
                  <a:gd name="T65" fmla="*/ 72 h 121"/>
                  <a:gd name="T66" fmla="*/ 6 w 111"/>
                  <a:gd name="T67" fmla="*/ 79 h 121"/>
                  <a:gd name="T68" fmla="*/ 12 w 111"/>
                  <a:gd name="T69" fmla="*/ 80 h 121"/>
                  <a:gd name="T70" fmla="*/ 19 w 111"/>
                  <a:gd name="T71" fmla="*/ 86 h 121"/>
                  <a:gd name="T72" fmla="*/ 20 w 111"/>
                  <a:gd name="T73" fmla="*/ 99 h 121"/>
                  <a:gd name="T74" fmla="*/ 12 w 111"/>
                  <a:gd name="T75" fmla="*/ 104 h 121"/>
                  <a:gd name="T76" fmla="*/ 6 w 111"/>
                  <a:gd name="T77" fmla="*/ 113 h 121"/>
                  <a:gd name="T78" fmla="*/ 14 w 111"/>
                  <a:gd name="T79" fmla="*/ 113 h 121"/>
                  <a:gd name="T80" fmla="*/ 12 w 111"/>
                  <a:gd name="T81" fmla="*/ 118 h 121"/>
                  <a:gd name="T82" fmla="*/ 19 w 111"/>
                  <a:gd name="T83" fmla="*/ 121 h 121"/>
                  <a:gd name="T84" fmla="*/ 28 w 111"/>
                  <a:gd name="T85" fmla="*/ 118 h 121"/>
                  <a:gd name="T86" fmla="*/ 34 w 111"/>
                  <a:gd name="T87" fmla="*/ 118 h 121"/>
                  <a:gd name="T88" fmla="*/ 41 w 111"/>
                  <a:gd name="T89" fmla="*/ 119 h 121"/>
                  <a:gd name="T90" fmla="*/ 47 w 111"/>
                  <a:gd name="T91" fmla="*/ 110 h 121"/>
                  <a:gd name="T92" fmla="*/ 55 w 111"/>
                  <a:gd name="T93" fmla="*/ 108 h 121"/>
                  <a:gd name="T94" fmla="*/ 64 w 111"/>
                  <a:gd name="T95" fmla="*/ 108 h 121"/>
                  <a:gd name="T96" fmla="*/ 70 w 111"/>
                  <a:gd name="T97" fmla="*/ 102 h 121"/>
                  <a:gd name="T98" fmla="*/ 66 w 111"/>
                  <a:gd name="T99" fmla="*/ 97 h 121"/>
                  <a:gd name="T100" fmla="*/ 55 w 111"/>
                  <a:gd name="T101" fmla="*/ 90 h 121"/>
                  <a:gd name="T102" fmla="*/ 55 w 111"/>
                  <a:gd name="T103" fmla="*/ 85 h 121"/>
                  <a:gd name="T104" fmla="*/ 61 w 111"/>
                  <a:gd name="T105" fmla="*/ 72 h 121"/>
                  <a:gd name="T106" fmla="*/ 72 w 111"/>
                  <a:gd name="T107" fmla="*/ 68 h 121"/>
                  <a:gd name="T108" fmla="*/ 83 w 111"/>
                  <a:gd name="T109" fmla="*/ 60 h 121"/>
                  <a:gd name="T110" fmla="*/ 94 w 111"/>
                  <a:gd name="T111" fmla="*/ 44 h 121"/>
                  <a:gd name="T112" fmla="*/ 94 w 111"/>
                  <a:gd name="T113" fmla="*/ 30 h 121"/>
                  <a:gd name="T114" fmla="*/ 101 w 111"/>
                  <a:gd name="T115" fmla="*/ 22 h 121"/>
                  <a:gd name="T116" fmla="*/ 109 w 111"/>
                  <a:gd name="T117" fmla="*/ 1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1" h="121">
                    <a:moveTo>
                      <a:pt x="9" y="80"/>
                    </a:moveTo>
                    <a:lnTo>
                      <a:pt x="8" y="80"/>
                    </a:lnTo>
                    <a:lnTo>
                      <a:pt x="8" y="82"/>
                    </a:lnTo>
                    <a:lnTo>
                      <a:pt x="9" y="80"/>
                    </a:lnTo>
                    <a:lnTo>
                      <a:pt x="9" y="79"/>
                    </a:lnTo>
                    <a:lnTo>
                      <a:pt x="9" y="80"/>
                    </a:lnTo>
                    <a:close/>
                    <a:moveTo>
                      <a:pt x="111" y="18"/>
                    </a:moveTo>
                    <a:lnTo>
                      <a:pt x="111" y="16"/>
                    </a:lnTo>
                    <a:lnTo>
                      <a:pt x="109" y="14"/>
                    </a:lnTo>
                    <a:lnTo>
                      <a:pt x="109" y="14"/>
                    </a:lnTo>
                    <a:lnTo>
                      <a:pt x="109" y="14"/>
                    </a:lnTo>
                    <a:lnTo>
                      <a:pt x="108" y="13"/>
                    </a:lnTo>
                    <a:lnTo>
                      <a:pt x="108" y="11"/>
                    </a:lnTo>
                    <a:lnTo>
                      <a:pt x="108" y="11"/>
                    </a:lnTo>
                    <a:lnTo>
                      <a:pt x="108" y="10"/>
                    </a:lnTo>
                    <a:lnTo>
                      <a:pt x="106" y="10"/>
                    </a:lnTo>
                    <a:lnTo>
                      <a:pt x="105" y="10"/>
                    </a:lnTo>
                    <a:lnTo>
                      <a:pt x="105" y="10"/>
                    </a:lnTo>
                    <a:lnTo>
                      <a:pt x="103" y="8"/>
                    </a:lnTo>
                    <a:lnTo>
                      <a:pt x="103" y="7"/>
                    </a:lnTo>
                    <a:lnTo>
                      <a:pt x="103" y="4"/>
                    </a:lnTo>
                    <a:lnTo>
                      <a:pt x="103" y="4"/>
                    </a:lnTo>
                    <a:lnTo>
                      <a:pt x="101" y="2"/>
                    </a:lnTo>
                    <a:lnTo>
                      <a:pt x="101" y="2"/>
                    </a:lnTo>
                    <a:lnTo>
                      <a:pt x="101" y="2"/>
                    </a:lnTo>
                    <a:lnTo>
                      <a:pt x="100" y="0"/>
                    </a:lnTo>
                    <a:lnTo>
                      <a:pt x="98" y="0"/>
                    </a:lnTo>
                    <a:lnTo>
                      <a:pt x="98" y="0"/>
                    </a:lnTo>
                    <a:lnTo>
                      <a:pt x="97" y="0"/>
                    </a:lnTo>
                    <a:lnTo>
                      <a:pt x="97" y="0"/>
                    </a:lnTo>
                    <a:lnTo>
                      <a:pt x="97" y="0"/>
                    </a:lnTo>
                    <a:lnTo>
                      <a:pt x="97" y="0"/>
                    </a:lnTo>
                    <a:lnTo>
                      <a:pt x="95" y="4"/>
                    </a:lnTo>
                    <a:lnTo>
                      <a:pt x="95" y="5"/>
                    </a:lnTo>
                    <a:lnTo>
                      <a:pt x="95" y="7"/>
                    </a:lnTo>
                    <a:lnTo>
                      <a:pt x="94" y="10"/>
                    </a:lnTo>
                    <a:lnTo>
                      <a:pt x="94" y="13"/>
                    </a:lnTo>
                    <a:lnTo>
                      <a:pt x="94" y="13"/>
                    </a:lnTo>
                    <a:lnTo>
                      <a:pt x="94" y="13"/>
                    </a:lnTo>
                    <a:lnTo>
                      <a:pt x="92" y="13"/>
                    </a:lnTo>
                    <a:lnTo>
                      <a:pt x="92" y="14"/>
                    </a:lnTo>
                    <a:lnTo>
                      <a:pt x="92" y="14"/>
                    </a:lnTo>
                    <a:lnTo>
                      <a:pt x="91" y="14"/>
                    </a:lnTo>
                    <a:lnTo>
                      <a:pt x="91" y="14"/>
                    </a:lnTo>
                    <a:lnTo>
                      <a:pt x="91" y="14"/>
                    </a:lnTo>
                    <a:lnTo>
                      <a:pt x="91" y="14"/>
                    </a:lnTo>
                    <a:lnTo>
                      <a:pt x="89" y="14"/>
                    </a:lnTo>
                    <a:lnTo>
                      <a:pt x="89" y="14"/>
                    </a:lnTo>
                    <a:lnTo>
                      <a:pt x="89" y="14"/>
                    </a:lnTo>
                    <a:lnTo>
                      <a:pt x="87" y="13"/>
                    </a:lnTo>
                    <a:lnTo>
                      <a:pt x="86" y="14"/>
                    </a:lnTo>
                    <a:lnTo>
                      <a:pt x="86" y="14"/>
                    </a:lnTo>
                    <a:lnTo>
                      <a:pt x="86" y="16"/>
                    </a:lnTo>
                    <a:lnTo>
                      <a:pt x="84" y="16"/>
                    </a:lnTo>
                    <a:lnTo>
                      <a:pt x="84" y="18"/>
                    </a:lnTo>
                    <a:lnTo>
                      <a:pt x="84" y="19"/>
                    </a:lnTo>
                    <a:lnTo>
                      <a:pt x="83" y="21"/>
                    </a:lnTo>
                    <a:lnTo>
                      <a:pt x="83" y="21"/>
                    </a:lnTo>
                    <a:lnTo>
                      <a:pt x="80" y="22"/>
                    </a:lnTo>
                    <a:lnTo>
                      <a:pt x="80" y="24"/>
                    </a:lnTo>
                    <a:lnTo>
                      <a:pt x="78" y="24"/>
                    </a:lnTo>
                    <a:lnTo>
                      <a:pt x="76" y="22"/>
                    </a:lnTo>
                    <a:lnTo>
                      <a:pt x="76" y="24"/>
                    </a:lnTo>
                    <a:lnTo>
                      <a:pt x="75" y="24"/>
                    </a:lnTo>
                    <a:lnTo>
                      <a:pt x="72" y="24"/>
                    </a:lnTo>
                    <a:lnTo>
                      <a:pt x="70" y="24"/>
                    </a:lnTo>
                    <a:lnTo>
                      <a:pt x="69" y="24"/>
                    </a:lnTo>
                    <a:lnTo>
                      <a:pt x="67" y="24"/>
                    </a:lnTo>
                    <a:lnTo>
                      <a:pt x="66" y="24"/>
                    </a:lnTo>
                    <a:lnTo>
                      <a:pt x="64" y="24"/>
                    </a:lnTo>
                    <a:lnTo>
                      <a:pt x="64" y="24"/>
                    </a:lnTo>
                    <a:lnTo>
                      <a:pt x="64" y="25"/>
                    </a:lnTo>
                    <a:lnTo>
                      <a:pt x="64" y="27"/>
                    </a:lnTo>
                    <a:lnTo>
                      <a:pt x="64" y="27"/>
                    </a:lnTo>
                    <a:lnTo>
                      <a:pt x="66" y="27"/>
                    </a:lnTo>
                    <a:lnTo>
                      <a:pt x="66" y="30"/>
                    </a:lnTo>
                    <a:lnTo>
                      <a:pt x="67" y="32"/>
                    </a:lnTo>
                    <a:lnTo>
                      <a:pt x="67" y="32"/>
                    </a:lnTo>
                    <a:lnTo>
                      <a:pt x="69" y="32"/>
                    </a:lnTo>
                    <a:lnTo>
                      <a:pt x="69" y="33"/>
                    </a:lnTo>
                    <a:lnTo>
                      <a:pt x="69" y="35"/>
                    </a:lnTo>
                    <a:lnTo>
                      <a:pt x="69" y="35"/>
                    </a:lnTo>
                    <a:lnTo>
                      <a:pt x="67" y="38"/>
                    </a:lnTo>
                    <a:lnTo>
                      <a:pt x="67" y="38"/>
                    </a:lnTo>
                    <a:lnTo>
                      <a:pt x="66" y="38"/>
                    </a:lnTo>
                    <a:lnTo>
                      <a:pt x="66" y="38"/>
                    </a:lnTo>
                    <a:lnTo>
                      <a:pt x="66" y="38"/>
                    </a:lnTo>
                    <a:lnTo>
                      <a:pt x="66" y="38"/>
                    </a:lnTo>
                    <a:lnTo>
                      <a:pt x="64" y="38"/>
                    </a:lnTo>
                    <a:lnTo>
                      <a:pt x="64" y="38"/>
                    </a:lnTo>
                    <a:lnTo>
                      <a:pt x="64" y="36"/>
                    </a:lnTo>
                    <a:lnTo>
                      <a:pt x="62" y="36"/>
                    </a:lnTo>
                    <a:lnTo>
                      <a:pt x="58" y="36"/>
                    </a:lnTo>
                    <a:lnTo>
                      <a:pt x="56" y="36"/>
                    </a:lnTo>
                    <a:lnTo>
                      <a:pt x="55" y="36"/>
                    </a:lnTo>
                    <a:lnTo>
                      <a:pt x="53" y="36"/>
                    </a:lnTo>
                    <a:lnTo>
                      <a:pt x="51" y="35"/>
                    </a:lnTo>
                    <a:lnTo>
                      <a:pt x="48" y="35"/>
                    </a:lnTo>
                    <a:lnTo>
                      <a:pt x="48" y="35"/>
                    </a:lnTo>
                    <a:lnTo>
                      <a:pt x="48" y="35"/>
                    </a:lnTo>
                    <a:lnTo>
                      <a:pt x="48" y="33"/>
                    </a:lnTo>
                    <a:lnTo>
                      <a:pt x="47" y="32"/>
                    </a:lnTo>
                    <a:lnTo>
                      <a:pt x="47" y="32"/>
                    </a:lnTo>
                    <a:lnTo>
                      <a:pt x="47" y="30"/>
                    </a:lnTo>
                    <a:lnTo>
                      <a:pt x="45" y="30"/>
                    </a:lnTo>
                    <a:lnTo>
                      <a:pt x="44" y="29"/>
                    </a:lnTo>
                    <a:lnTo>
                      <a:pt x="44" y="30"/>
                    </a:lnTo>
                    <a:lnTo>
                      <a:pt x="42" y="30"/>
                    </a:lnTo>
                    <a:lnTo>
                      <a:pt x="42" y="30"/>
                    </a:lnTo>
                    <a:lnTo>
                      <a:pt x="41" y="30"/>
                    </a:lnTo>
                    <a:lnTo>
                      <a:pt x="41" y="30"/>
                    </a:lnTo>
                    <a:lnTo>
                      <a:pt x="41" y="32"/>
                    </a:lnTo>
                    <a:lnTo>
                      <a:pt x="39" y="32"/>
                    </a:lnTo>
                    <a:lnTo>
                      <a:pt x="39" y="32"/>
                    </a:lnTo>
                    <a:lnTo>
                      <a:pt x="39" y="33"/>
                    </a:lnTo>
                    <a:lnTo>
                      <a:pt x="37" y="36"/>
                    </a:lnTo>
                    <a:lnTo>
                      <a:pt x="37" y="38"/>
                    </a:lnTo>
                    <a:lnTo>
                      <a:pt x="37" y="40"/>
                    </a:lnTo>
                    <a:lnTo>
                      <a:pt x="37" y="40"/>
                    </a:lnTo>
                    <a:lnTo>
                      <a:pt x="37" y="40"/>
                    </a:lnTo>
                    <a:lnTo>
                      <a:pt x="36" y="40"/>
                    </a:lnTo>
                    <a:lnTo>
                      <a:pt x="36" y="40"/>
                    </a:lnTo>
                    <a:lnTo>
                      <a:pt x="36" y="40"/>
                    </a:lnTo>
                    <a:lnTo>
                      <a:pt x="36" y="40"/>
                    </a:lnTo>
                    <a:lnTo>
                      <a:pt x="36" y="40"/>
                    </a:lnTo>
                    <a:lnTo>
                      <a:pt x="34" y="43"/>
                    </a:lnTo>
                    <a:lnTo>
                      <a:pt x="33" y="44"/>
                    </a:lnTo>
                    <a:lnTo>
                      <a:pt x="33" y="44"/>
                    </a:lnTo>
                    <a:lnTo>
                      <a:pt x="31" y="46"/>
                    </a:lnTo>
                    <a:lnTo>
                      <a:pt x="30" y="47"/>
                    </a:lnTo>
                    <a:lnTo>
                      <a:pt x="30" y="47"/>
                    </a:lnTo>
                    <a:lnTo>
                      <a:pt x="28" y="49"/>
                    </a:lnTo>
                    <a:lnTo>
                      <a:pt x="28" y="49"/>
                    </a:lnTo>
                    <a:lnTo>
                      <a:pt x="26" y="50"/>
                    </a:lnTo>
                    <a:lnTo>
                      <a:pt x="25" y="50"/>
                    </a:lnTo>
                    <a:lnTo>
                      <a:pt x="25" y="50"/>
                    </a:lnTo>
                    <a:lnTo>
                      <a:pt x="23" y="50"/>
                    </a:lnTo>
                    <a:lnTo>
                      <a:pt x="23" y="50"/>
                    </a:lnTo>
                    <a:lnTo>
                      <a:pt x="23" y="50"/>
                    </a:lnTo>
                    <a:lnTo>
                      <a:pt x="22" y="52"/>
                    </a:lnTo>
                    <a:lnTo>
                      <a:pt x="22" y="52"/>
                    </a:lnTo>
                    <a:lnTo>
                      <a:pt x="22" y="52"/>
                    </a:lnTo>
                    <a:lnTo>
                      <a:pt x="22" y="52"/>
                    </a:lnTo>
                    <a:lnTo>
                      <a:pt x="20" y="54"/>
                    </a:lnTo>
                    <a:lnTo>
                      <a:pt x="19" y="55"/>
                    </a:lnTo>
                    <a:lnTo>
                      <a:pt x="17" y="55"/>
                    </a:lnTo>
                    <a:lnTo>
                      <a:pt x="14" y="57"/>
                    </a:lnTo>
                    <a:lnTo>
                      <a:pt x="12" y="58"/>
                    </a:lnTo>
                    <a:lnTo>
                      <a:pt x="11" y="58"/>
                    </a:lnTo>
                    <a:lnTo>
                      <a:pt x="11" y="58"/>
                    </a:lnTo>
                    <a:lnTo>
                      <a:pt x="11" y="58"/>
                    </a:lnTo>
                    <a:lnTo>
                      <a:pt x="11" y="60"/>
                    </a:lnTo>
                    <a:lnTo>
                      <a:pt x="9" y="60"/>
                    </a:lnTo>
                    <a:lnTo>
                      <a:pt x="9" y="60"/>
                    </a:lnTo>
                    <a:lnTo>
                      <a:pt x="8" y="61"/>
                    </a:lnTo>
                    <a:lnTo>
                      <a:pt x="6" y="61"/>
                    </a:lnTo>
                    <a:lnTo>
                      <a:pt x="6" y="63"/>
                    </a:lnTo>
                    <a:lnTo>
                      <a:pt x="1" y="66"/>
                    </a:lnTo>
                    <a:lnTo>
                      <a:pt x="1" y="66"/>
                    </a:lnTo>
                    <a:lnTo>
                      <a:pt x="0" y="68"/>
                    </a:lnTo>
                    <a:lnTo>
                      <a:pt x="0" y="71"/>
                    </a:lnTo>
                    <a:lnTo>
                      <a:pt x="0" y="71"/>
                    </a:lnTo>
                    <a:lnTo>
                      <a:pt x="0" y="71"/>
                    </a:lnTo>
                    <a:lnTo>
                      <a:pt x="0" y="71"/>
                    </a:lnTo>
                    <a:lnTo>
                      <a:pt x="0" y="72"/>
                    </a:lnTo>
                    <a:lnTo>
                      <a:pt x="0" y="74"/>
                    </a:lnTo>
                    <a:lnTo>
                      <a:pt x="3" y="76"/>
                    </a:lnTo>
                    <a:lnTo>
                      <a:pt x="5" y="77"/>
                    </a:lnTo>
                    <a:lnTo>
                      <a:pt x="5" y="79"/>
                    </a:lnTo>
                    <a:lnTo>
                      <a:pt x="6" y="79"/>
                    </a:lnTo>
                    <a:lnTo>
                      <a:pt x="6" y="79"/>
                    </a:lnTo>
                    <a:lnTo>
                      <a:pt x="6" y="77"/>
                    </a:lnTo>
                    <a:lnTo>
                      <a:pt x="8" y="76"/>
                    </a:lnTo>
                    <a:lnTo>
                      <a:pt x="9" y="77"/>
                    </a:lnTo>
                    <a:lnTo>
                      <a:pt x="12" y="80"/>
                    </a:lnTo>
                    <a:lnTo>
                      <a:pt x="14" y="80"/>
                    </a:lnTo>
                    <a:lnTo>
                      <a:pt x="17" y="82"/>
                    </a:lnTo>
                    <a:lnTo>
                      <a:pt x="17" y="83"/>
                    </a:lnTo>
                    <a:lnTo>
                      <a:pt x="19" y="86"/>
                    </a:lnTo>
                    <a:lnTo>
                      <a:pt x="19" y="86"/>
                    </a:lnTo>
                    <a:lnTo>
                      <a:pt x="14" y="96"/>
                    </a:lnTo>
                    <a:lnTo>
                      <a:pt x="14" y="97"/>
                    </a:lnTo>
                    <a:lnTo>
                      <a:pt x="15" y="99"/>
                    </a:lnTo>
                    <a:lnTo>
                      <a:pt x="19" y="99"/>
                    </a:lnTo>
                    <a:lnTo>
                      <a:pt x="20" y="99"/>
                    </a:lnTo>
                    <a:lnTo>
                      <a:pt x="20" y="101"/>
                    </a:lnTo>
                    <a:lnTo>
                      <a:pt x="20" y="101"/>
                    </a:lnTo>
                    <a:lnTo>
                      <a:pt x="19" y="101"/>
                    </a:lnTo>
                    <a:lnTo>
                      <a:pt x="17" y="101"/>
                    </a:lnTo>
                    <a:lnTo>
                      <a:pt x="12" y="104"/>
                    </a:lnTo>
                    <a:lnTo>
                      <a:pt x="11" y="105"/>
                    </a:lnTo>
                    <a:lnTo>
                      <a:pt x="9" y="108"/>
                    </a:lnTo>
                    <a:lnTo>
                      <a:pt x="9" y="108"/>
                    </a:lnTo>
                    <a:lnTo>
                      <a:pt x="9" y="110"/>
                    </a:lnTo>
                    <a:lnTo>
                      <a:pt x="6" y="113"/>
                    </a:lnTo>
                    <a:lnTo>
                      <a:pt x="8" y="113"/>
                    </a:lnTo>
                    <a:lnTo>
                      <a:pt x="9" y="113"/>
                    </a:lnTo>
                    <a:lnTo>
                      <a:pt x="11" y="113"/>
                    </a:lnTo>
                    <a:lnTo>
                      <a:pt x="14" y="113"/>
                    </a:lnTo>
                    <a:lnTo>
                      <a:pt x="14" y="113"/>
                    </a:lnTo>
                    <a:lnTo>
                      <a:pt x="15" y="115"/>
                    </a:lnTo>
                    <a:lnTo>
                      <a:pt x="14" y="115"/>
                    </a:lnTo>
                    <a:lnTo>
                      <a:pt x="11" y="116"/>
                    </a:lnTo>
                    <a:lnTo>
                      <a:pt x="11" y="118"/>
                    </a:lnTo>
                    <a:lnTo>
                      <a:pt x="12" y="118"/>
                    </a:lnTo>
                    <a:lnTo>
                      <a:pt x="17" y="119"/>
                    </a:lnTo>
                    <a:lnTo>
                      <a:pt x="17" y="121"/>
                    </a:lnTo>
                    <a:lnTo>
                      <a:pt x="17" y="121"/>
                    </a:lnTo>
                    <a:lnTo>
                      <a:pt x="19" y="121"/>
                    </a:lnTo>
                    <a:lnTo>
                      <a:pt x="19" y="121"/>
                    </a:lnTo>
                    <a:lnTo>
                      <a:pt x="22" y="119"/>
                    </a:lnTo>
                    <a:lnTo>
                      <a:pt x="23" y="118"/>
                    </a:lnTo>
                    <a:lnTo>
                      <a:pt x="23" y="116"/>
                    </a:lnTo>
                    <a:lnTo>
                      <a:pt x="25" y="116"/>
                    </a:lnTo>
                    <a:lnTo>
                      <a:pt x="28" y="118"/>
                    </a:lnTo>
                    <a:lnTo>
                      <a:pt x="30" y="118"/>
                    </a:lnTo>
                    <a:lnTo>
                      <a:pt x="31" y="121"/>
                    </a:lnTo>
                    <a:lnTo>
                      <a:pt x="31" y="121"/>
                    </a:lnTo>
                    <a:lnTo>
                      <a:pt x="33" y="119"/>
                    </a:lnTo>
                    <a:lnTo>
                      <a:pt x="34" y="118"/>
                    </a:lnTo>
                    <a:lnTo>
                      <a:pt x="39" y="119"/>
                    </a:lnTo>
                    <a:lnTo>
                      <a:pt x="39" y="119"/>
                    </a:lnTo>
                    <a:lnTo>
                      <a:pt x="39" y="121"/>
                    </a:lnTo>
                    <a:lnTo>
                      <a:pt x="41" y="119"/>
                    </a:lnTo>
                    <a:lnTo>
                      <a:pt x="41" y="119"/>
                    </a:lnTo>
                    <a:lnTo>
                      <a:pt x="41" y="118"/>
                    </a:lnTo>
                    <a:lnTo>
                      <a:pt x="42" y="116"/>
                    </a:lnTo>
                    <a:lnTo>
                      <a:pt x="44" y="113"/>
                    </a:lnTo>
                    <a:lnTo>
                      <a:pt x="45" y="111"/>
                    </a:lnTo>
                    <a:lnTo>
                      <a:pt x="47" y="110"/>
                    </a:lnTo>
                    <a:lnTo>
                      <a:pt x="47" y="110"/>
                    </a:lnTo>
                    <a:lnTo>
                      <a:pt x="48" y="108"/>
                    </a:lnTo>
                    <a:lnTo>
                      <a:pt x="48" y="108"/>
                    </a:lnTo>
                    <a:lnTo>
                      <a:pt x="51" y="108"/>
                    </a:lnTo>
                    <a:lnTo>
                      <a:pt x="55" y="108"/>
                    </a:lnTo>
                    <a:lnTo>
                      <a:pt x="56" y="108"/>
                    </a:lnTo>
                    <a:lnTo>
                      <a:pt x="59" y="108"/>
                    </a:lnTo>
                    <a:lnTo>
                      <a:pt x="59" y="108"/>
                    </a:lnTo>
                    <a:lnTo>
                      <a:pt x="62" y="108"/>
                    </a:lnTo>
                    <a:lnTo>
                      <a:pt x="64" y="108"/>
                    </a:lnTo>
                    <a:lnTo>
                      <a:pt x="66" y="108"/>
                    </a:lnTo>
                    <a:lnTo>
                      <a:pt x="67" y="107"/>
                    </a:lnTo>
                    <a:lnTo>
                      <a:pt x="67" y="107"/>
                    </a:lnTo>
                    <a:lnTo>
                      <a:pt x="69" y="104"/>
                    </a:lnTo>
                    <a:lnTo>
                      <a:pt x="70" y="102"/>
                    </a:lnTo>
                    <a:lnTo>
                      <a:pt x="70" y="102"/>
                    </a:lnTo>
                    <a:lnTo>
                      <a:pt x="69" y="101"/>
                    </a:lnTo>
                    <a:lnTo>
                      <a:pt x="69" y="99"/>
                    </a:lnTo>
                    <a:lnTo>
                      <a:pt x="67" y="97"/>
                    </a:lnTo>
                    <a:lnTo>
                      <a:pt x="66" y="97"/>
                    </a:lnTo>
                    <a:lnTo>
                      <a:pt x="62" y="96"/>
                    </a:lnTo>
                    <a:lnTo>
                      <a:pt x="59" y="91"/>
                    </a:lnTo>
                    <a:lnTo>
                      <a:pt x="58" y="90"/>
                    </a:lnTo>
                    <a:lnTo>
                      <a:pt x="56" y="90"/>
                    </a:lnTo>
                    <a:lnTo>
                      <a:pt x="55" y="90"/>
                    </a:lnTo>
                    <a:lnTo>
                      <a:pt x="53" y="88"/>
                    </a:lnTo>
                    <a:lnTo>
                      <a:pt x="53" y="86"/>
                    </a:lnTo>
                    <a:lnTo>
                      <a:pt x="53" y="85"/>
                    </a:lnTo>
                    <a:lnTo>
                      <a:pt x="55" y="83"/>
                    </a:lnTo>
                    <a:lnTo>
                      <a:pt x="55" y="85"/>
                    </a:lnTo>
                    <a:lnTo>
                      <a:pt x="56" y="83"/>
                    </a:lnTo>
                    <a:lnTo>
                      <a:pt x="56" y="80"/>
                    </a:lnTo>
                    <a:lnTo>
                      <a:pt x="55" y="77"/>
                    </a:lnTo>
                    <a:lnTo>
                      <a:pt x="56" y="76"/>
                    </a:lnTo>
                    <a:lnTo>
                      <a:pt x="61" y="72"/>
                    </a:lnTo>
                    <a:lnTo>
                      <a:pt x="62" y="71"/>
                    </a:lnTo>
                    <a:lnTo>
                      <a:pt x="66" y="69"/>
                    </a:lnTo>
                    <a:lnTo>
                      <a:pt x="69" y="69"/>
                    </a:lnTo>
                    <a:lnTo>
                      <a:pt x="70" y="68"/>
                    </a:lnTo>
                    <a:lnTo>
                      <a:pt x="72" y="68"/>
                    </a:lnTo>
                    <a:lnTo>
                      <a:pt x="75" y="66"/>
                    </a:lnTo>
                    <a:lnTo>
                      <a:pt x="76" y="63"/>
                    </a:lnTo>
                    <a:lnTo>
                      <a:pt x="78" y="61"/>
                    </a:lnTo>
                    <a:lnTo>
                      <a:pt x="80" y="60"/>
                    </a:lnTo>
                    <a:lnTo>
                      <a:pt x="83" y="60"/>
                    </a:lnTo>
                    <a:lnTo>
                      <a:pt x="86" y="55"/>
                    </a:lnTo>
                    <a:lnTo>
                      <a:pt x="87" y="54"/>
                    </a:lnTo>
                    <a:lnTo>
                      <a:pt x="94" y="50"/>
                    </a:lnTo>
                    <a:lnTo>
                      <a:pt x="94" y="49"/>
                    </a:lnTo>
                    <a:lnTo>
                      <a:pt x="94" y="44"/>
                    </a:lnTo>
                    <a:lnTo>
                      <a:pt x="95" y="41"/>
                    </a:lnTo>
                    <a:lnTo>
                      <a:pt x="94" y="38"/>
                    </a:lnTo>
                    <a:lnTo>
                      <a:pt x="94" y="36"/>
                    </a:lnTo>
                    <a:lnTo>
                      <a:pt x="94" y="33"/>
                    </a:lnTo>
                    <a:lnTo>
                      <a:pt x="94" y="30"/>
                    </a:lnTo>
                    <a:lnTo>
                      <a:pt x="97" y="29"/>
                    </a:lnTo>
                    <a:lnTo>
                      <a:pt x="97" y="27"/>
                    </a:lnTo>
                    <a:lnTo>
                      <a:pt x="98" y="24"/>
                    </a:lnTo>
                    <a:lnTo>
                      <a:pt x="100" y="22"/>
                    </a:lnTo>
                    <a:lnTo>
                      <a:pt x="101" y="22"/>
                    </a:lnTo>
                    <a:lnTo>
                      <a:pt x="103" y="19"/>
                    </a:lnTo>
                    <a:lnTo>
                      <a:pt x="105" y="19"/>
                    </a:lnTo>
                    <a:lnTo>
                      <a:pt x="106" y="18"/>
                    </a:lnTo>
                    <a:lnTo>
                      <a:pt x="109" y="18"/>
                    </a:lnTo>
                    <a:lnTo>
                      <a:pt x="109" y="18"/>
                    </a:lnTo>
                    <a:lnTo>
                      <a:pt x="111" y="18"/>
                    </a:lnTo>
                    <a:lnTo>
                      <a:pt x="111" y="1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7" name="Freeform 114">
                <a:extLst>
                  <a:ext uri="{FF2B5EF4-FFF2-40B4-BE49-F238E27FC236}">
                    <a16:creationId xmlns:a16="http://schemas.microsoft.com/office/drawing/2014/main" id="{ADE3DA91-3575-CDFD-491B-D4D76F90D8C5}"/>
                  </a:ext>
                </a:extLst>
              </p:cNvPr>
              <p:cNvSpPr>
                <a:spLocks noEditPoints="1"/>
              </p:cNvSpPr>
              <p:nvPr/>
            </p:nvSpPr>
            <p:spPr bwMode="gray">
              <a:xfrm>
                <a:off x="4886" y="845"/>
                <a:ext cx="88" cy="117"/>
              </a:xfrm>
              <a:custGeom>
                <a:avLst/>
                <a:gdLst>
                  <a:gd name="T0" fmla="*/ 5 w 88"/>
                  <a:gd name="T1" fmla="*/ 113 h 117"/>
                  <a:gd name="T2" fmla="*/ 5 w 88"/>
                  <a:gd name="T3" fmla="*/ 117 h 117"/>
                  <a:gd name="T4" fmla="*/ 16 w 88"/>
                  <a:gd name="T5" fmla="*/ 113 h 117"/>
                  <a:gd name="T6" fmla="*/ 13 w 88"/>
                  <a:gd name="T7" fmla="*/ 92 h 117"/>
                  <a:gd name="T8" fmla="*/ 6 w 88"/>
                  <a:gd name="T9" fmla="*/ 88 h 117"/>
                  <a:gd name="T10" fmla="*/ 3 w 88"/>
                  <a:gd name="T11" fmla="*/ 92 h 117"/>
                  <a:gd name="T12" fmla="*/ 6 w 88"/>
                  <a:gd name="T13" fmla="*/ 88 h 117"/>
                  <a:gd name="T14" fmla="*/ 31 w 88"/>
                  <a:gd name="T15" fmla="*/ 86 h 117"/>
                  <a:gd name="T16" fmla="*/ 2 w 88"/>
                  <a:gd name="T17" fmla="*/ 83 h 117"/>
                  <a:gd name="T18" fmla="*/ 36 w 88"/>
                  <a:gd name="T19" fmla="*/ 81 h 117"/>
                  <a:gd name="T20" fmla="*/ 33 w 88"/>
                  <a:gd name="T21" fmla="*/ 85 h 117"/>
                  <a:gd name="T22" fmla="*/ 36 w 88"/>
                  <a:gd name="T23" fmla="*/ 83 h 117"/>
                  <a:gd name="T24" fmla="*/ 44 w 88"/>
                  <a:gd name="T25" fmla="*/ 81 h 117"/>
                  <a:gd name="T26" fmla="*/ 8 w 88"/>
                  <a:gd name="T27" fmla="*/ 45 h 117"/>
                  <a:gd name="T28" fmla="*/ 8 w 88"/>
                  <a:gd name="T29" fmla="*/ 45 h 117"/>
                  <a:gd name="T30" fmla="*/ 86 w 88"/>
                  <a:gd name="T31" fmla="*/ 25 h 117"/>
                  <a:gd name="T32" fmla="*/ 8 w 88"/>
                  <a:gd name="T33" fmla="*/ 17 h 117"/>
                  <a:gd name="T34" fmla="*/ 9 w 88"/>
                  <a:gd name="T35" fmla="*/ 22 h 117"/>
                  <a:gd name="T36" fmla="*/ 61 w 88"/>
                  <a:gd name="T37" fmla="*/ 56 h 117"/>
                  <a:gd name="T38" fmla="*/ 61 w 88"/>
                  <a:gd name="T39" fmla="*/ 49 h 117"/>
                  <a:gd name="T40" fmla="*/ 61 w 88"/>
                  <a:gd name="T41" fmla="*/ 35 h 117"/>
                  <a:gd name="T42" fmla="*/ 42 w 88"/>
                  <a:gd name="T43" fmla="*/ 0 h 117"/>
                  <a:gd name="T44" fmla="*/ 38 w 88"/>
                  <a:gd name="T45" fmla="*/ 6 h 117"/>
                  <a:gd name="T46" fmla="*/ 28 w 88"/>
                  <a:gd name="T47" fmla="*/ 6 h 117"/>
                  <a:gd name="T48" fmla="*/ 19 w 88"/>
                  <a:gd name="T49" fmla="*/ 8 h 117"/>
                  <a:gd name="T50" fmla="*/ 13 w 88"/>
                  <a:gd name="T51" fmla="*/ 16 h 117"/>
                  <a:gd name="T52" fmla="*/ 11 w 88"/>
                  <a:gd name="T53" fmla="*/ 19 h 117"/>
                  <a:gd name="T54" fmla="*/ 13 w 88"/>
                  <a:gd name="T55" fmla="*/ 24 h 117"/>
                  <a:gd name="T56" fmla="*/ 14 w 88"/>
                  <a:gd name="T57" fmla="*/ 31 h 117"/>
                  <a:gd name="T58" fmla="*/ 17 w 88"/>
                  <a:gd name="T59" fmla="*/ 38 h 117"/>
                  <a:gd name="T60" fmla="*/ 13 w 88"/>
                  <a:gd name="T61" fmla="*/ 36 h 117"/>
                  <a:gd name="T62" fmla="*/ 5 w 88"/>
                  <a:gd name="T63" fmla="*/ 38 h 117"/>
                  <a:gd name="T64" fmla="*/ 8 w 88"/>
                  <a:gd name="T65" fmla="*/ 42 h 117"/>
                  <a:gd name="T66" fmla="*/ 9 w 88"/>
                  <a:gd name="T67" fmla="*/ 50 h 117"/>
                  <a:gd name="T68" fmla="*/ 13 w 88"/>
                  <a:gd name="T69" fmla="*/ 56 h 117"/>
                  <a:gd name="T70" fmla="*/ 13 w 88"/>
                  <a:gd name="T71" fmla="*/ 63 h 117"/>
                  <a:gd name="T72" fmla="*/ 11 w 88"/>
                  <a:gd name="T73" fmla="*/ 66 h 117"/>
                  <a:gd name="T74" fmla="*/ 8 w 88"/>
                  <a:gd name="T75" fmla="*/ 72 h 117"/>
                  <a:gd name="T76" fmla="*/ 8 w 88"/>
                  <a:gd name="T77" fmla="*/ 83 h 117"/>
                  <a:gd name="T78" fmla="*/ 9 w 88"/>
                  <a:gd name="T79" fmla="*/ 85 h 117"/>
                  <a:gd name="T80" fmla="*/ 5 w 88"/>
                  <a:gd name="T81" fmla="*/ 86 h 117"/>
                  <a:gd name="T82" fmla="*/ 9 w 88"/>
                  <a:gd name="T83" fmla="*/ 94 h 117"/>
                  <a:gd name="T84" fmla="*/ 16 w 88"/>
                  <a:gd name="T85" fmla="*/ 91 h 117"/>
                  <a:gd name="T86" fmla="*/ 22 w 88"/>
                  <a:gd name="T87" fmla="*/ 86 h 117"/>
                  <a:gd name="T88" fmla="*/ 25 w 88"/>
                  <a:gd name="T89" fmla="*/ 88 h 117"/>
                  <a:gd name="T90" fmla="*/ 27 w 88"/>
                  <a:gd name="T91" fmla="*/ 81 h 117"/>
                  <a:gd name="T92" fmla="*/ 31 w 88"/>
                  <a:gd name="T93" fmla="*/ 83 h 117"/>
                  <a:gd name="T94" fmla="*/ 33 w 88"/>
                  <a:gd name="T95" fmla="*/ 80 h 117"/>
                  <a:gd name="T96" fmla="*/ 41 w 88"/>
                  <a:gd name="T97" fmla="*/ 80 h 117"/>
                  <a:gd name="T98" fmla="*/ 44 w 88"/>
                  <a:gd name="T99" fmla="*/ 77 h 117"/>
                  <a:gd name="T100" fmla="*/ 55 w 88"/>
                  <a:gd name="T101" fmla="*/ 77 h 117"/>
                  <a:gd name="T102" fmla="*/ 63 w 88"/>
                  <a:gd name="T103"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117">
                    <a:moveTo>
                      <a:pt x="16" y="110"/>
                    </a:moveTo>
                    <a:lnTo>
                      <a:pt x="14" y="110"/>
                    </a:lnTo>
                    <a:lnTo>
                      <a:pt x="13" y="110"/>
                    </a:lnTo>
                    <a:lnTo>
                      <a:pt x="6" y="111"/>
                    </a:lnTo>
                    <a:lnTo>
                      <a:pt x="5" y="113"/>
                    </a:lnTo>
                    <a:lnTo>
                      <a:pt x="3" y="114"/>
                    </a:lnTo>
                    <a:lnTo>
                      <a:pt x="3" y="114"/>
                    </a:lnTo>
                    <a:lnTo>
                      <a:pt x="5" y="116"/>
                    </a:lnTo>
                    <a:lnTo>
                      <a:pt x="5" y="116"/>
                    </a:lnTo>
                    <a:lnTo>
                      <a:pt x="5" y="117"/>
                    </a:lnTo>
                    <a:lnTo>
                      <a:pt x="6" y="116"/>
                    </a:lnTo>
                    <a:lnTo>
                      <a:pt x="11" y="116"/>
                    </a:lnTo>
                    <a:lnTo>
                      <a:pt x="13" y="116"/>
                    </a:lnTo>
                    <a:lnTo>
                      <a:pt x="16" y="114"/>
                    </a:lnTo>
                    <a:lnTo>
                      <a:pt x="16" y="113"/>
                    </a:lnTo>
                    <a:lnTo>
                      <a:pt x="17" y="111"/>
                    </a:lnTo>
                    <a:lnTo>
                      <a:pt x="16" y="110"/>
                    </a:lnTo>
                    <a:close/>
                    <a:moveTo>
                      <a:pt x="14" y="92"/>
                    </a:moveTo>
                    <a:lnTo>
                      <a:pt x="13" y="91"/>
                    </a:lnTo>
                    <a:lnTo>
                      <a:pt x="13" y="92"/>
                    </a:lnTo>
                    <a:lnTo>
                      <a:pt x="13" y="92"/>
                    </a:lnTo>
                    <a:lnTo>
                      <a:pt x="13" y="94"/>
                    </a:lnTo>
                    <a:lnTo>
                      <a:pt x="14" y="94"/>
                    </a:lnTo>
                    <a:lnTo>
                      <a:pt x="14" y="92"/>
                    </a:lnTo>
                    <a:close/>
                    <a:moveTo>
                      <a:pt x="6" y="88"/>
                    </a:moveTo>
                    <a:lnTo>
                      <a:pt x="5" y="88"/>
                    </a:lnTo>
                    <a:lnTo>
                      <a:pt x="5" y="89"/>
                    </a:lnTo>
                    <a:lnTo>
                      <a:pt x="3" y="91"/>
                    </a:lnTo>
                    <a:lnTo>
                      <a:pt x="2" y="91"/>
                    </a:lnTo>
                    <a:lnTo>
                      <a:pt x="3" y="92"/>
                    </a:lnTo>
                    <a:lnTo>
                      <a:pt x="3" y="92"/>
                    </a:lnTo>
                    <a:lnTo>
                      <a:pt x="5" y="92"/>
                    </a:lnTo>
                    <a:lnTo>
                      <a:pt x="6" y="91"/>
                    </a:lnTo>
                    <a:lnTo>
                      <a:pt x="8" y="89"/>
                    </a:lnTo>
                    <a:lnTo>
                      <a:pt x="6" y="88"/>
                    </a:lnTo>
                    <a:close/>
                    <a:moveTo>
                      <a:pt x="31" y="86"/>
                    </a:moveTo>
                    <a:lnTo>
                      <a:pt x="31" y="86"/>
                    </a:lnTo>
                    <a:lnTo>
                      <a:pt x="31" y="88"/>
                    </a:lnTo>
                    <a:lnTo>
                      <a:pt x="31" y="86"/>
                    </a:lnTo>
                    <a:lnTo>
                      <a:pt x="31" y="86"/>
                    </a:lnTo>
                    <a:close/>
                    <a:moveTo>
                      <a:pt x="3" y="83"/>
                    </a:moveTo>
                    <a:lnTo>
                      <a:pt x="2" y="80"/>
                    </a:lnTo>
                    <a:lnTo>
                      <a:pt x="0" y="81"/>
                    </a:lnTo>
                    <a:lnTo>
                      <a:pt x="2" y="81"/>
                    </a:lnTo>
                    <a:lnTo>
                      <a:pt x="2" y="83"/>
                    </a:lnTo>
                    <a:lnTo>
                      <a:pt x="3" y="85"/>
                    </a:lnTo>
                    <a:lnTo>
                      <a:pt x="3" y="85"/>
                    </a:lnTo>
                    <a:lnTo>
                      <a:pt x="3" y="85"/>
                    </a:lnTo>
                    <a:lnTo>
                      <a:pt x="3" y="83"/>
                    </a:lnTo>
                    <a:close/>
                    <a:moveTo>
                      <a:pt x="36" y="81"/>
                    </a:moveTo>
                    <a:lnTo>
                      <a:pt x="34" y="81"/>
                    </a:lnTo>
                    <a:lnTo>
                      <a:pt x="34" y="80"/>
                    </a:lnTo>
                    <a:lnTo>
                      <a:pt x="33" y="81"/>
                    </a:lnTo>
                    <a:lnTo>
                      <a:pt x="33" y="83"/>
                    </a:lnTo>
                    <a:lnTo>
                      <a:pt x="33" y="85"/>
                    </a:lnTo>
                    <a:lnTo>
                      <a:pt x="34" y="85"/>
                    </a:lnTo>
                    <a:lnTo>
                      <a:pt x="34" y="83"/>
                    </a:lnTo>
                    <a:lnTo>
                      <a:pt x="36" y="85"/>
                    </a:lnTo>
                    <a:lnTo>
                      <a:pt x="36" y="85"/>
                    </a:lnTo>
                    <a:lnTo>
                      <a:pt x="36" y="83"/>
                    </a:lnTo>
                    <a:lnTo>
                      <a:pt x="36" y="81"/>
                    </a:lnTo>
                    <a:close/>
                    <a:moveTo>
                      <a:pt x="48" y="78"/>
                    </a:moveTo>
                    <a:lnTo>
                      <a:pt x="47" y="78"/>
                    </a:lnTo>
                    <a:lnTo>
                      <a:pt x="45" y="80"/>
                    </a:lnTo>
                    <a:lnTo>
                      <a:pt x="44" y="81"/>
                    </a:lnTo>
                    <a:lnTo>
                      <a:pt x="45" y="83"/>
                    </a:lnTo>
                    <a:lnTo>
                      <a:pt x="47" y="85"/>
                    </a:lnTo>
                    <a:lnTo>
                      <a:pt x="48" y="83"/>
                    </a:lnTo>
                    <a:lnTo>
                      <a:pt x="48" y="78"/>
                    </a:lnTo>
                    <a:close/>
                    <a:moveTo>
                      <a:pt x="8" y="45"/>
                    </a:moveTo>
                    <a:lnTo>
                      <a:pt x="6" y="44"/>
                    </a:lnTo>
                    <a:lnTo>
                      <a:pt x="6" y="47"/>
                    </a:lnTo>
                    <a:lnTo>
                      <a:pt x="8" y="49"/>
                    </a:lnTo>
                    <a:lnTo>
                      <a:pt x="8" y="47"/>
                    </a:lnTo>
                    <a:lnTo>
                      <a:pt x="8" y="45"/>
                    </a:lnTo>
                    <a:close/>
                    <a:moveTo>
                      <a:pt x="86" y="24"/>
                    </a:moveTo>
                    <a:lnTo>
                      <a:pt x="86" y="24"/>
                    </a:lnTo>
                    <a:lnTo>
                      <a:pt x="84" y="24"/>
                    </a:lnTo>
                    <a:lnTo>
                      <a:pt x="84" y="25"/>
                    </a:lnTo>
                    <a:lnTo>
                      <a:pt x="86" y="25"/>
                    </a:lnTo>
                    <a:lnTo>
                      <a:pt x="86" y="25"/>
                    </a:lnTo>
                    <a:lnTo>
                      <a:pt x="88" y="24"/>
                    </a:lnTo>
                    <a:lnTo>
                      <a:pt x="86" y="24"/>
                    </a:lnTo>
                    <a:close/>
                    <a:moveTo>
                      <a:pt x="9" y="19"/>
                    </a:moveTo>
                    <a:lnTo>
                      <a:pt x="8" y="17"/>
                    </a:lnTo>
                    <a:lnTo>
                      <a:pt x="6" y="19"/>
                    </a:lnTo>
                    <a:lnTo>
                      <a:pt x="8" y="20"/>
                    </a:lnTo>
                    <a:lnTo>
                      <a:pt x="8" y="22"/>
                    </a:lnTo>
                    <a:lnTo>
                      <a:pt x="8" y="22"/>
                    </a:lnTo>
                    <a:lnTo>
                      <a:pt x="9" y="22"/>
                    </a:lnTo>
                    <a:lnTo>
                      <a:pt x="9" y="19"/>
                    </a:lnTo>
                    <a:lnTo>
                      <a:pt x="9" y="19"/>
                    </a:lnTo>
                    <a:close/>
                    <a:moveTo>
                      <a:pt x="63" y="56"/>
                    </a:moveTo>
                    <a:lnTo>
                      <a:pt x="61" y="56"/>
                    </a:lnTo>
                    <a:lnTo>
                      <a:pt x="61" y="56"/>
                    </a:lnTo>
                    <a:lnTo>
                      <a:pt x="59" y="56"/>
                    </a:lnTo>
                    <a:lnTo>
                      <a:pt x="59" y="55"/>
                    </a:lnTo>
                    <a:lnTo>
                      <a:pt x="59" y="53"/>
                    </a:lnTo>
                    <a:lnTo>
                      <a:pt x="59" y="50"/>
                    </a:lnTo>
                    <a:lnTo>
                      <a:pt x="61" y="49"/>
                    </a:lnTo>
                    <a:lnTo>
                      <a:pt x="61" y="47"/>
                    </a:lnTo>
                    <a:lnTo>
                      <a:pt x="61" y="44"/>
                    </a:lnTo>
                    <a:lnTo>
                      <a:pt x="61" y="41"/>
                    </a:lnTo>
                    <a:lnTo>
                      <a:pt x="61" y="38"/>
                    </a:lnTo>
                    <a:lnTo>
                      <a:pt x="61" y="35"/>
                    </a:lnTo>
                    <a:lnTo>
                      <a:pt x="59" y="30"/>
                    </a:lnTo>
                    <a:lnTo>
                      <a:pt x="55" y="20"/>
                    </a:lnTo>
                    <a:lnTo>
                      <a:pt x="50" y="16"/>
                    </a:lnTo>
                    <a:lnTo>
                      <a:pt x="47" y="9"/>
                    </a:lnTo>
                    <a:lnTo>
                      <a:pt x="42" y="0"/>
                    </a:lnTo>
                    <a:lnTo>
                      <a:pt x="42" y="0"/>
                    </a:lnTo>
                    <a:lnTo>
                      <a:pt x="41" y="2"/>
                    </a:lnTo>
                    <a:lnTo>
                      <a:pt x="39" y="5"/>
                    </a:lnTo>
                    <a:lnTo>
                      <a:pt x="39" y="5"/>
                    </a:lnTo>
                    <a:lnTo>
                      <a:pt x="38" y="6"/>
                    </a:lnTo>
                    <a:lnTo>
                      <a:pt x="36" y="6"/>
                    </a:lnTo>
                    <a:lnTo>
                      <a:pt x="34" y="6"/>
                    </a:lnTo>
                    <a:lnTo>
                      <a:pt x="31" y="6"/>
                    </a:lnTo>
                    <a:lnTo>
                      <a:pt x="31" y="6"/>
                    </a:lnTo>
                    <a:lnTo>
                      <a:pt x="28" y="6"/>
                    </a:lnTo>
                    <a:lnTo>
                      <a:pt x="27" y="6"/>
                    </a:lnTo>
                    <a:lnTo>
                      <a:pt x="23" y="6"/>
                    </a:lnTo>
                    <a:lnTo>
                      <a:pt x="20" y="6"/>
                    </a:lnTo>
                    <a:lnTo>
                      <a:pt x="20" y="6"/>
                    </a:lnTo>
                    <a:lnTo>
                      <a:pt x="19" y="8"/>
                    </a:lnTo>
                    <a:lnTo>
                      <a:pt x="17" y="9"/>
                    </a:lnTo>
                    <a:lnTo>
                      <a:pt x="16" y="11"/>
                    </a:lnTo>
                    <a:lnTo>
                      <a:pt x="14" y="14"/>
                    </a:lnTo>
                    <a:lnTo>
                      <a:pt x="14" y="14"/>
                    </a:lnTo>
                    <a:lnTo>
                      <a:pt x="13" y="16"/>
                    </a:lnTo>
                    <a:lnTo>
                      <a:pt x="13" y="17"/>
                    </a:lnTo>
                    <a:lnTo>
                      <a:pt x="13" y="17"/>
                    </a:lnTo>
                    <a:lnTo>
                      <a:pt x="13" y="17"/>
                    </a:lnTo>
                    <a:lnTo>
                      <a:pt x="11" y="19"/>
                    </a:lnTo>
                    <a:lnTo>
                      <a:pt x="11" y="19"/>
                    </a:lnTo>
                    <a:lnTo>
                      <a:pt x="11" y="19"/>
                    </a:lnTo>
                    <a:lnTo>
                      <a:pt x="11" y="20"/>
                    </a:lnTo>
                    <a:lnTo>
                      <a:pt x="11" y="20"/>
                    </a:lnTo>
                    <a:lnTo>
                      <a:pt x="11" y="22"/>
                    </a:lnTo>
                    <a:lnTo>
                      <a:pt x="13" y="24"/>
                    </a:lnTo>
                    <a:lnTo>
                      <a:pt x="13" y="25"/>
                    </a:lnTo>
                    <a:lnTo>
                      <a:pt x="13" y="27"/>
                    </a:lnTo>
                    <a:lnTo>
                      <a:pt x="14" y="28"/>
                    </a:lnTo>
                    <a:lnTo>
                      <a:pt x="14" y="31"/>
                    </a:lnTo>
                    <a:lnTo>
                      <a:pt x="14" y="31"/>
                    </a:lnTo>
                    <a:lnTo>
                      <a:pt x="14" y="33"/>
                    </a:lnTo>
                    <a:lnTo>
                      <a:pt x="16" y="36"/>
                    </a:lnTo>
                    <a:lnTo>
                      <a:pt x="17" y="36"/>
                    </a:lnTo>
                    <a:lnTo>
                      <a:pt x="17" y="36"/>
                    </a:lnTo>
                    <a:lnTo>
                      <a:pt x="17" y="38"/>
                    </a:lnTo>
                    <a:lnTo>
                      <a:pt x="16" y="39"/>
                    </a:lnTo>
                    <a:lnTo>
                      <a:pt x="16" y="39"/>
                    </a:lnTo>
                    <a:lnTo>
                      <a:pt x="16" y="39"/>
                    </a:lnTo>
                    <a:lnTo>
                      <a:pt x="14" y="36"/>
                    </a:lnTo>
                    <a:lnTo>
                      <a:pt x="13" y="36"/>
                    </a:lnTo>
                    <a:lnTo>
                      <a:pt x="11" y="35"/>
                    </a:lnTo>
                    <a:lnTo>
                      <a:pt x="9" y="36"/>
                    </a:lnTo>
                    <a:lnTo>
                      <a:pt x="8" y="36"/>
                    </a:lnTo>
                    <a:lnTo>
                      <a:pt x="6" y="36"/>
                    </a:lnTo>
                    <a:lnTo>
                      <a:pt x="5" y="38"/>
                    </a:lnTo>
                    <a:lnTo>
                      <a:pt x="3" y="41"/>
                    </a:lnTo>
                    <a:lnTo>
                      <a:pt x="3" y="42"/>
                    </a:lnTo>
                    <a:lnTo>
                      <a:pt x="5" y="42"/>
                    </a:lnTo>
                    <a:lnTo>
                      <a:pt x="8" y="42"/>
                    </a:lnTo>
                    <a:lnTo>
                      <a:pt x="8" y="42"/>
                    </a:lnTo>
                    <a:lnTo>
                      <a:pt x="9" y="42"/>
                    </a:lnTo>
                    <a:lnTo>
                      <a:pt x="9" y="44"/>
                    </a:lnTo>
                    <a:lnTo>
                      <a:pt x="9" y="47"/>
                    </a:lnTo>
                    <a:lnTo>
                      <a:pt x="9" y="49"/>
                    </a:lnTo>
                    <a:lnTo>
                      <a:pt x="9" y="50"/>
                    </a:lnTo>
                    <a:lnTo>
                      <a:pt x="11" y="52"/>
                    </a:lnTo>
                    <a:lnTo>
                      <a:pt x="9" y="53"/>
                    </a:lnTo>
                    <a:lnTo>
                      <a:pt x="11" y="55"/>
                    </a:lnTo>
                    <a:lnTo>
                      <a:pt x="13" y="56"/>
                    </a:lnTo>
                    <a:lnTo>
                      <a:pt x="13" y="56"/>
                    </a:lnTo>
                    <a:lnTo>
                      <a:pt x="13" y="58"/>
                    </a:lnTo>
                    <a:lnTo>
                      <a:pt x="13" y="60"/>
                    </a:lnTo>
                    <a:lnTo>
                      <a:pt x="13" y="60"/>
                    </a:lnTo>
                    <a:lnTo>
                      <a:pt x="14" y="60"/>
                    </a:lnTo>
                    <a:lnTo>
                      <a:pt x="13" y="63"/>
                    </a:lnTo>
                    <a:lnTo>
                      <a:pt x="11" y="63"/>
                    </a:lnTo>
                    <a:lnTo>
                      <a:pt x="9" y="64"/>
                    </a:lnTo>
                    <a:lnTo>
                      <a:pt x="9" y="64"/>
                    </a:lnTo>
                    <a:lnTo>
                      <a:pt x="9" y="66"/>
                    </a:lnTo>
                    <a:lnTo>
                      <a:pt x="11" y="66"/>
                    </a:lnTo>
                    <a:lnTo>
                      <a:pt x="11" y="66"/>
                    </a:lnTo>
                    <a:lnTo>
                      <a:pt x="11" y="67"/>
                    </a:lnTo>
                    <a:lnTo>
                      <a:pt x="9" y="67"/>
                    </a:lnTo>
                    <a:lnTo>
                      <a:pt x="8" y="69"/>
                    </a:lnTo>
                    <a:lnTo>
                      <a:pt x="8" y="72"/>
                    </a:lnTo>
                    <a:lnTo>
                      <a:pt x="6" y="74"/>
                    </a:lnTo>
                    <a:lnTo>
                      <a:pt x="6" y="75"/>
                    </a:lnTo>
                    <a:lnTo>
                      <a:pt x="6" y="78"/>
                    </a:lnTo>
                    <a:lnTo>
                      <a:pt x="8" y="80"/>
                    </a:lnTo>
                    <a:lnTo>
                      <a:pt x="8" y="83"/>
                    </a:lnTo>
                    <a:lnTo>
                      <a:pt x="9" y="83"/>
                    </a:lnTo>
                    <a:lnTo>
                      <a:pt x="9" y="81"/>
                    </a:lnTo>
                    <a:lnTo>
                      <a:pt x="11" y="83"/>
                    </a:lnTo>
                    <a:lnTo>
                      <a:pt x="9" y="83"/>
                    </a:lnTo>
                    <a:lnTo>
                      <a:pt x="9" y="85"/>
                    </a:lnTo>
                    <a:lnTo>
                      <a:pt x="9" y="85"/>
                    </a:lnTo>
                    <a:lnTo>
                      <a:pt x="9" y="85"/>
                    </a:lnTo>
                    <a:lnTo>
                      <a:pt x="8" y="85"/>
                    </a:lnTo>
                    <a:lnTo>
                      <a:pt x="6" y="85"/>
                    </a:lnTo>
                    <a:lnTo>
                      <a:pt x="5" y="86"/>
                    </a:lnTo>
                    <a:lnTo>
                      <a:pt x="6" y="88"/>
                    </a:lnTo>
                    <a:lnTo>
                      <a:pt x="9" y="89"/>
                    </a:lnTo>
                    <a:lnTo>
                      <a:pt x="9" y="91"/>
                    </a:lnTo>
                    <a:lnTo>
                      <a:pt x="9" y="92"/>
                    </a:lnTo>
                    <a:lnTo>
                      <a:pt x="9" y="94"/>
                    </a:lnTo>
                    <a:lnTo>
                      <a:pt x="11" y="94"/>
                    </a:lnTo>
                    <a:lnTo>
                      <a:pt x="11" y="91"/>
                    </a:lnTo>
                    <a:lnTo>
                      <a:pt x="14" y="89"/>
                    </a:lnTo>
                    <a:lnTo>
                      <a:pt x="14" y="89"/>
                    </a:lnTo>
                    <a:lnTo>
                      <a:pt x="16" y="91"/>
                    </a:lnTo>
                    <a:lnTo>
                      <a:pt x="16" y="91"/>
                    </a:lnTo>
                    <a:lnTo>
                      <a:pt x="19" y="88"/>
                    </a:lnTo>
                    <a:lnTo>
                      <a:pt x="22" y="85"/>
                    </a:lnTo>
                    <a:lnTo>
                      <a:pt x="23" y="85"/>
                    </a:lnTo>
                    <a:lnTo>
                      <a:pt x="22" y="86"/>
                    </a:lnTo>
                    <a:lnTo>
                      <a:pt x="22" y="88"/>
                    </a:lnTo>
                    <a:lnTo>
                      <a:pt x="20" y="88"/>
                    </a:lnTo>
                    <a:lnTo>
                      <a:pt x="23" y="91"/>
                    </a:lnTo>
                    <a:lnTo>
                      <a:pt x="25" y="89"/>
                    </a:lnTo>
                    <a:lnTo>
                      <a:pt x="25" y="88"/>
                    </a:lnTo>
                    <a:lnTo>
                      <a:pt x="27" y="86"/>
                    </a:lnTo>
                    <a:lnTo>
                      <a:pt x="25" y="85"/>
                    </a:lnTo>
                    <a:lnTo>
                      <a:pt x="25" y="85"/>
                    </a:lnTo>
                    <a:lnTo>
                      <a:pt x="25" y="83"/>
                    </a:lnTo>
                    <a:lnTo>
                      <a:pt x="27" y="81"/>
                    </a:lnTo>
                    <a:lnTo>
                      <a:pt x="27" y="81"/>
                    </a:lnTo>
                    <a:lnTo>
                      <a:pt x="28" y="83"/>
                    </a:lnTo>
                    <a:lnTo>
                      <a:pt x="30" y="85"/>
                    </a:lnTo>
                    <a:lnTo>
                      <a:pt x="31" y="85"/>
                    </a:lnTo>
                    <a:lnTo>
                      <a:pt x="31" y="83"/>
                    </a:lnTo>
                    <a:lnTo>
                      <a:pt x="30" y="81"/>
                    </a:lnTo>
                    <a:lnTo>
                      <a:pt x="30" y="81"/>
                    </a:lnTo>
                    <a:lnTo>
                      <a:pt x="30" y="80"/>
                    </a:lnTo>
                    <a:lnTo>
                      <a:pt x="31" y="80"/>
                    </a:lnTo>
                    <a:lnTo>
                      <a:pt x="33" y="80"/>
                    </a:lnTo>
                    <a:lnTo>
                      <a:pt x="34" y="78"/>
                    </a:lnTo>
                    <a:lnTo>
                      <a:pt x="36" y="78"/>
                    </a:lnTo>
                    <a:lnTo>
                      <a:pt x="38" y="80"/>
                    </a:lnTo>
                    <a:lnTo>
                      <a:pt x="38" y="80"/>
                    </a:lnTo>
                    <a:lnTo>
                      <a:pt x="41" y="80"/>
                    </a:lnTo>
                    <a:lnTo>
                      <a:pt x="42" y="81"/>
                    </a:lnTo>
                    <a:lnTo>
                      <a:pt x="44" y="81"/>
                    </a:lnTo>
                    <a:lnTo>
                      <a:pt x="44" y="80"/>
                    </a:lnTo>
                    <a:lnTo>
                      <a:pt x="42" y="78"/>
                    </a:lnTo>
                    <a:lnTo>
                      <a:pt x="44" y="77"/>
                    </a:lnTo>
                    <a:lnTo>
                      <a:pt x="44" y="77"/>
                    </a:lnTo>
                    <a:lnTo>
                      <a:pt x="47" y="77"/>
                    </a:lnTo>
                    <a:lnTo>
                      <a:pt x="50" y="77"/>
                    </a:lnTo>
                    <a:lnTo>
                      <a:pt x="53" y="77"/>
                    </a:lnTo>
                    <a:lnTo>
                      <a:pt x="55" y="77"/>
                    </a:lnTo>
                    <a:lnTo>
                      <a:pt x="56" y="75"/>
                    </a:lnTo>
                    <a:lnTo>
                      <a:pt x="59" y="72"/>
                    </a:lnTo>
                    <a:lnTo>
                      <a:pt x="61" y="67"/>
                    </a:lnTo>
                    <a:lnTo>
                      <a:pt x="61" y="64"/>
                    </a:lnTo>
                    <a:lnTo>
                      <a:pt x="63" y="58"/>
                    </a:lnTo>
                    <a:lnTo>
                      <a:pt x="63" y="56"/>
                    </a:lnTo>
                    <a:lnTo>
                      <a:pt x="63" y="5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8" name="Freeform 115">
                <a:extLst>
                  <a:ext uri="{FF2B5EF4-FFF2-40B4-BE49-F238E27FC236}">
                    <a16:creationId xmlns:a16="http://schemas.microsoft.com/office/drawing/2014/main" id="{8BEA9348-4D92-702A-EEC1-2BF190BE5822}"/>
                  </a:ext>
                </a:extLst>
              </p:cNvPr>
              <p:cNvSpPr>
                <a:spLocks/>
              </p:cNvSpPr>
              <p:nvPr/>
            </p:nvSpPr>
            <p:spPr bwMode="gray">
              <a:xfrm>
                <a:off x="3027" y="737"/>
                <a:ext cx="30" cy="33"/>
              </a:xfrm>
              <a:custGeom>
                <a:avLst/>
                <a:gdLst>
                  <a:gd name="T0" fmla="*/ 27 w 30"/>
                  <a:gd name="T1" fmla="*/ 24 h 33"/>
                  <a:gd name="T2" fmla="*/ 22 w 30"/>
                  <a:gd name="T3" fmla="*/ 25 h 33"/>
                  <a:gd name="T4" fmla="*/ 22 w 30"/>
                  <a:gd name="T5" fmla="*/ 28 h 33"/>
                  <a:gd name="T6" fmla="*/ 20 w 30"/>
                  <a:gd name="T7" fmla="*/ 27 h 33"/>
                  <a:gd name="T8" fmla="*/ 17 w 30"/>
                  <a:gd name="T9" fmla="*/ 27 h 33"/>
                  <a:gd name="T10" fmla="*/ 12 w 30"/>
                  <a:gd name="T11" fmla="*/ 30 h 33"/>
                  <a:gd name="T12" fmla="*/ 11 w 30"/>
                  <a:gd name="T13" fmla="*/ 33 h 33"/>
                  <a:gd name="T14" fmla="*/ 9 w 30"/>
                  <a:gd name="T15" fmla="*/ 33 h 33"/>
                  <a:gd name="T16" fmla="*/ 9 w 30"/>
                  <a:gd name="T17" fmla="*/ 31 h 33"/>
                  <a:gd name="T18" fmla="*/ 8 w 30"/>
                  <a:gd name="T19" fmla="*/ 27 h 33"/>
                  <a:gd name="T20" fmla="*/ 6 w 30"/>
                  <a:gd name="T21" fmla="*/ 24 h 33"/>
                  <a:gd name="T22" fmla="*/ 3 w 30"/>
                  <a:gd name="T23" fmla="*/ 22 h 33"/>
                  <a:gd name="T24" fmla="*/ 0 w 30"/>
                  <a:gd name="T25" fmla="*/ 17 h 33"/>
                  <a:gd name="T26" fmla="*/ 0 w 30"/>
                  <a:gd name="T27" fmla="*/ 17 h 33"/>
                  <a:gd name="T28" fmla="*/ 0 w 30"/>
                  <a:gd name="T29" fmla="*/ 14 h 33"/>
                  <a:gd name="T30" fmla="*/ 0 w 30"/>
                  <a:gd name="T31" fmla="*/ 13 h 33"/>
                  <a:gd name="T32" fmla="*/ 2 w 30"/>
                  <a:gd name="T33" fmla="*/ 13 h 33"/>
                  <a:gd name="T34" fmla="*/ 5 w 30"/>
                  <a:gd name="T35" fmla="*/ 11 h 33"/>
                  <a:gd name="T36" fmla="*/ 8 w 30"/>
                  <a:gd name="T37" fmla="*/ 10 h 33"/>
                  <a:gd name="T38" fmla="*/ 8 w 30"/>
                  <a:gd name="T39" fmla="*/ 8 h 33"/>
                  <a:gd name="T40" fmla="*/ 11 w 30"/>
                  <a:gd name="T41" fmla="*/ 5 h 33"/>
                  <a:gd name="T42" fmla="*/ 9 w 30"/>
                  <a:gd name="T43" fmla="*/ 3 h 33"/>
                  <a:gd name="T44" fmla="*/ 9 w 30"/>
                  <a:gd name="T45" fmla="*/ 2 h 33"/>
                  <a:gd name="T46" fmla="*/ 12 w 30"/>
                  <a:gd name="T47" fmla="*/ 0 h 33"/>
                  <a:gd name="T48" fmla="*/ 14 w 30"/>
                  <a:gd name="T49" fmla="*/ 0 h 33"/>
                  <a:gd name="T50" fmla="*/ 14 w 30"/>
                  <a:gd name="T51" fmla="*/ 2 h 33"/>
                  <a:gd name="T52" fmla="*/ 16 w 30"/>
                  <a:gd name="T53" fmla="*/ 3 h 33"/>
                  <a:gd name="T54" fmla="*/ 19 w 30"/>
                  <a:gd name="T55" fmla="*/ 5 h 33"/>
                  <a:gd name="T56" fmla="*/ 20 w 30"/>
                  <a:gd name="T57" fmla="*/ 8 h 33"/>
                  <a:gd name="T58" fmla="*/ 23 w 30"/>
                  <a:gd name="T59" fmla="*/ 11 h 33"/>
                  <a:gd name="T60" fmla="*/ 28 w 30"/>
                  <a:gd name="T61" fmla="*/ 14 h 33"/>
                  <a:gd name="T62" fmla="*/ 30 w 30"/>
                  <a:gd name="T63" fmla="*/ 14 h 33"/>
                  <a:gd name="T64" fmla="*/ 30 w 30"/>
                  <a:gd name="T65" fmla="*/ 16 h 33"/>
                  <a:gd name="T66" fmla="*/ 27 w 30"/>
                  <a:gd name="T67" fmla="*/ 20 h 33"/>
                  <a:gd name="T68" fmla="*/ 25 w 30"/>
                  <a:gd name="T69" fmla="*/ 22 h 33"/>
                  <a:gd name="T70" fmla="*/ 27 w 30"/>
                  <a:gd name="T71"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33">
                    <a:moveTo>
                      <a:pt x="27" y="24"/>
                    </a:moveTo>
                    <a:lnTo>
                      <a:pt x="27" y="24"/>
                    </a:lnTo>
                    <a:lnTo>
                      <a:pt x="23" y="25"/>
                    </a:lnTo>
                    <a:lnTo>
                      <a:pt x="22" y="25"/>
                    </a:lnTo>
                    <a:lnTo>
                      <a:pt x="22" y="27"/>
                    </a:lnTo>
                    <a:lnTo>
                      <a:pt x="22" y="28"/>
                    </a:lnTo>
                    <a:lnTo>
                      <a:pt x="20" y="28"/>
                    </a:lnTo>
                    <a:lnTo>
                      <a:pt x="20" y="27"/>
                    </a:lnTo>
                    <a:lnTo>
                      <a:pt x="19" y="25"/>
                    </a:lnTo>
                    <a:lnTo>
                      <a:pt x="17" y="27"/>
                    </a:lnTo>
                    <a:lnTo>
                      <a:pt x="12" y="28"/>
                    </a:lnTo>
                    <a:lnTo>
                      <a:pt x="12" y="30"/>
                    </a:lnTo>
                    <a:lnTo>
                      <a:pt x="12" y="33"/>
                    </a:lnTo>
                    <a:lnTo>
                      <a:pt x="11" y="33"/>
                    </a:lnTo>
                    <a:lnTo>
                      <a:pt x="11" y="33"/>
                    </a:lnTo>
                    <a:lnTo>
                      <a:pt x="9" y="33"/>
                    </a:lnTo>
                    <a:lnTo>
                      <a:pt x="9" y="33"/>
                    </a:lnTo>
                    <a:lnTo>
                      <a:pt x="9" y="31"/>
                    </a:lnTo>
                    <a:lnTo>
                      <a:pt x="9" y="30"/>
                    </a:lnTo>
                    <a:lnTo>
                      <a:pt x="8" y="27"/>
                    </a:lnTo>
                    <a:lnTo>
                      <a:pt x="8" y="25"/>
                    </a:lnTo>
                    <a:lnTo>
                      <a:pt x="6" y="24"/>
                    </a:lnTo>
                    <a:lnTo>
                      <a:pt x="5" y="22"/>
                    </a:lnTo>
                    <a:lnTo>
                      <a:pt x="3" y="22"/>
                    </a:lnTo>
                    <a:lnTo>
                      <a:pt x="2" y="20"/>
                    </a:lnTo>
                    <a:lnTo>
                      <a:pt x="0" y="17"/>
                    </a:lnTo>
                    <a:lnTo>
                      <a:pt x="0" y="17"/>
                    </a:lnTo>
                    <a:lnTo>
                      <a:pt x="0" y="17"/>
                    </a:lnTo>
                    <a:lnTo>
                      <a:pt x="0" y="16"/>
                    </a:lnTo>
                    <a:lnTo>
                      <a:pt x="0" y="14"/>
                    </a:lnTo>
                    <a:lnTo>
                      <a:pt x="0" y="13"/>
                    </a:lnTo>
                    <a:lnTo>
                      <a:pt x="0" y="13"/>
                    </a:lnTo>
                    <a:lnTo>
                      <a:pt x="2" y="13"/>
                    </a:lnTo>
                    <a:lnTo>
                      <a:pt x="2" y="13"/>
                    </a:lnTo>
                    <a:lnTo>
                      <a:pt x="3" y="11"/>
                    </a:lnTo>
                    <a:lnTo>
                      <a:pt x="5" y="11"/>
                    </a:lnTo>
                    <a:lnTo>
                      <a:pt x="8" y="10"/>
                    </a:lnTo>
                    <a:lnTo>
                      <a:pt x="8" y="10"/>
                    </a:lnTo>
                    <a:lnTo>
                      <a:pt x="6" y="8"/>
                    </a:lnTo>
                    <a:lnTo>
                      <a:pt x="8" y="8"/>
                    </a:lnTo>
                    <a:lnTo>
                      <a:pt x="9" y="5"/>
                    </a:lnTo>
                    <a:lnTo>
                      <a:pt x="11" y="5"/>
                    </a:lnTo>
                    <a:lnTo>
                      <a:pt x="11" y="3"/>
                    </a:lnTo>
                    <a:lnTo>
                      <a:pt x="9" y="3"/>
                    </a:lnTo>
                    <a:lnTo>
                      <a:pt x="9" y="2"/>
                    </a:lnTo>
                    <a:lnTo>
                      <a:pt x="9" y="2"/>
                    </a:lnTo>
                    <a:lnTo>
                      <a:pt x="11" y="0"/>
                    </a:lnTo>
                    <a:lnTo>
                      <a:pt x="12" y="0"/>
                    </a:lnTo>
                    <a:lnTo>
                      <a:pt x="12" y="0"/>
                    </a:lnTo>
                    <a:lnTo>
                      <a:pt x="14" y="0"/>
                    </a:lnTo>
                    <a:lnTo>
                      <a:pt x="14" y="2"/>
                    </a:lnTo>
                    <a:lnTo>
                      <a:pt x="14" y="2"/>
                    </a:lnTo>
                    <a:lnTo>
                      <a:pt x="14" y="3"/>
                    </a:lnTo>
                    <a:lnTo>
                      <a:pt x="16" y="3"/>
                    </a:lnTo>
                    <a:lnTo>
                      <a:pt x="17" y="5"/>
                    </a:lnTo>
                    <a:lnTo>
                      <a:pt x="19" y="5"/>
                    </a:lnTo>
                    <a:lnTo>
                      <a:pt x="20" y="8"/>
                    </a:lnTo>
                    <a:lnTo>
                      <a:pt x="20" y="8"/>
                    </a:lnTo>
                    <a:lnTo>
                      <a:pt x="22" y="10"/>
                    </a:lnTo>
                    <a:lnTo>
                      <a:pt x="23" y="11"/>
                    </a:lnTo>
                    <a:lnTo>
                      <a:pt x="23" y="13"/>
                    </a:lnTo>
                    <a:lnTo>
                      <a:pt x="28" y="14"/>
                    </a:lnTo>
                    <a:lnTo>
                      <a:pt x="30" y="14"/>
                    </a:lnTo>
                    <a:lnTo>
                      <a:pt x="30" y="14"/>
                    </a:lnTo>
                    <a:lnTo>
                      <a:pt x="30" y="14"/>
                    </a:lnTo>
                    <a:lnTo>
                      <a:pt x="30" y="16"/>
                    </a:lnTo>
                    <a:lnTo>
                      <a:pt x="27" y="20"/>
                    </a:lnTo>
                    <a:lnTo>
                      <a:pt x="27" y="20"/>
                    </a:lnTo>
                    <a:lnTo>
                      <a:pt x="25" y="22"/>
                    </a:lnTo>
                    <a:lnTo>
                      <a:pt x="25" y="22"/>
                    </a:lnTo>
                    <a:lnTo>
                      <a:pt x="27" y="24"/>
                    </a:lnTo>
                    <a:lnTo>
                      <a:pt x="27" y="2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89" name="Freeform 116">
                <a:extLst>
                  <a:ext uri="{FF2B5EF4-FFF2-40B4-BE49-F238E27FC236}">
                    <a16:creationId xmlns:a16="http://schemas.microsoft.com/office/drawing/2014/main" id="{5ED463A6-31EB-DFDB-4247-D8B9D2D1173B}"/>
                  </a:ext>
                </a:extLst>
              </p:cNvPr>
              <p:cNvSpPr>
                <a:spLocks noEditPoints="1"/>
              </p:cNvSpPr>
              <p:nvPr/>
            </p:nvSpPr>
            <p:spPr bwMode="gray">
              <a:xfrm>
                <a:off x="3491" y="1025"/>
                <a:ext cx="35" cy="31"/>
              </a:xfrm>
              <a:custGeom>
                <a:avLst/>
                <a:gdLst>
                  <a:gd name="T0" fmla="*/ 30 w 35"/>
                  <a:gd name="T1" fmla="*/ 3 h 31"/>
                  <a:gd name="T2" fmla="*/ 28 w 35"/>
                  <a:gd name="T3" fmla="*/ 5 h 31"/>
                  <a:gd name="T4" fmla="*/ 28 w 35"/>
                  <a:gd name="T5" fmla="*/ 5 h 31"/>
                  <a:gd name="T6" fmla="*/ 28 w 35"/>
                  <a:gd name="T7" fmla="*/ 6 h 31"/>
                  <a:gd name="T8" fmla="*/ 30 w 35"/>
                  <a:gd name="T9" fmla="*/ 11 h 31"/>
                  <a:gd name="T10" fmla="*/ 32 w 35"/>
                  <a:gd name="T11" fmla="*/ 9 h 31"/>
                  <a:gd name="T12" fmla="*/ 33 w 35"/>
                  <a:gd name="T13" fmla="*/ 8 h 31"/>
                  <a:gd name="T14" fmla="*/ 30 w 35"/>
                  <a:gd name="T15" fmla="*/ 3 h 31"/>
                  <a:gd name="T16" fmla="*/ 33 w 35"/>
                  <a:gd name="T17" fmla="*/ 28 h 31"/>
                  <a:gd name="T18" fmla="*/ 30 w 35"/>
                  <a:gd name="T19" fmla="*/ 25 h 31"/>
                  <a:gd name="T20" fmla="*/ 28 w 35"/>
                  <a:gd name="T21" fmla="*/ 19 h 31"/>
                  <a:gd name="T22" fmla="*/ 27 w 35"/>
                  <a:gd name="T23" fmla="*/ 16 h 31"/>
                  <a:gd name="T24" fmla="*/ 25 w 35"/>
                  <a:gd name="T25" fmla="*/ 16 h 31"/>
                  <a:gd name="T26" fmla="*/ 22 w 35"/>
                  <a:gd name="T27" fmla="*/ 14 h 31"/>
                  <a:gd name="T28" fmla="*/ 24 w 35"/>
                  <a:gd name="T29" fmla="*/ 13 h 31"/>
                  <a:gd name="T30" fmla="*/ 27 w 35"/>
                  <a:gd name="T31" fmla="*/ 11 h 31"/>
                  <a:gd name="T32" fmla="*/ 28 w 35"/>
                  <a:gd name="T33" fmla="*/ 11 h 31"/>
                  <a:gd name="T34" fmla="*/ 28 w 35"/>
                  <a:gd name="T35" fmla="*/ 8 h 31"/>
                  <a:gd name="T36" fmla="*/ 25 w 35"/>
                  <a:gd name="T37" fmla="*/ 3 h 31"/>
                  <a:gd name="T38" fmla="*/ 22 w 35"/>
                  <a:gd name="T39" fmla="*/ 2 h 31"/>
                  <a:gd name="T40" fmla="*/ 18 w 35"/>
                  <a:gd name="T41" fmla="*/ 0 h 31"/>
                  <a:gd name="T42" fmla="*/ 13 w 35"/>
                  <a:gd name="T43" fmla="*/ 2 h 31"/>
                  <a:gd name="T44" fmla="*/ 11 w 35"/>
                  <a:gd name="T45" fmla="*/ 3 h 31"/>
                  <a:gd name="T46" fmla="*/ 11 w 35"/>
                  <a:gd name="T47" fmla="*/ 3 h 31"/>
                  <a:gd name="T48" fmla="*/ 8 w 35"/>
                  <a:gd name="T49" fmla="*/ 9 h 31"/>
                  <a:gd name="T50" fmla="*/ 5 w 35"/>
                  <a:gd name="T51" fmla="*/ 16 h 31"/>
                  <a:gd name="T52" fmla="*/ 0 w 35"/>
                  <a:gd name="T53" fmla="*/ 20 h 31"/>
                  <a:gd name="T54" fmla="*/ 8 w 35"/>
                  <a:gd name="T55" fmla="*/ 22 h 31"/>
                  <a:gd name="T56" fmla="*/ 16 w 35"/>
                  <a:gd name="T57" fmla="*/ 22 h 31"/>
                  <a:gd name="T58" fmla="*/ 19 w 35"/>
                  <a:gd name="T59" fmla="*/ 28 h 31"/>
                  <a:gd name="T60" fmla="*/ 21 w 35"/>
                  <a:gd name="T61" fmla="*/ 31 h 31"/>
                  <a:gd name="T62" fmla="*/ 27 w 35"/>
                  <a:gd name="T63" fmla="*/ 31 h 31"/>
                  <a:gd name="T64" fmla="*/ 35 w 35"/>
                  <a:gd name="T6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31">
                    <a:moveTo>
                      <a:pt x="30" y="3"/>
                    </a:moveTo>
                    <a:lnTo>
                      <a:pt x="30" y="3"/>
                    </a:lnTo>
                    <a:lnTo>
                      <a:pt x="28" y="3"/>
                    </a:lnTo>
                    <a:lnTo>
                      <a:pt x="28" y="5"/>
                    </a:lnTo>
                    <a:lnTo>
                      <a:pt x="28" y="5"/>
                    </a:lnTo>
                    <a:lnTo>
                      <a:pt x="28" y="5"/>
                    </a:lnTo>
                    <a:lnTo>
                      <a:pt x="28" y="5"/>
                    </a:lnTo>
                    <a:lnTo>
                      <a:pt x="28" y="6"/>
                    </a:lnTo>
                    <a:lnTo>
                      <a:pt x="28" y="9"/>
                    </a:lnTo>
                    <a:lnTo>
                      <a:pt x="30" y="11"/>
                    </a:lnTo>
                    <a:lnTo>
                      <a:pt x="30" y="11"/>
                    </a:lnTo>
                    <a:lnTo>
                      <a:pt x="32" y="9"/>
                    </a:lnTo>
                    <a:lnTo>
                      <a:pt x="32" y="8"/>
                    </a:lnTo>
                    <a:lnTo>
                      <a:pt x="33" y="8"/>
                    </a:lnTo>
                    <a:lnTo>
                      <a:pt x="33" y="6"/>
                    </a:lnTo>
                    <a:lnTo>
                      <a:pt x="30" y="3"/>
                    </a:lnTo>
                    <a:close/>
                    <a:moveTo>
                      <a:pt x="33" y="30"/>
                    </a:moveTo>
                    <a:lnTo>
                      <a:pt x="33" y="28"/>
                    </a:lnTo>
                    <a:lnTo>
                      <a:pt x="32" y="27"/>
                    </a:lnTo>
                    <a:lnTo>
                      <a:pt x="30" y="25"/>
                    </a:lnTo>
                    <a:lnTo>
                      <a:pt x="30" y="24"/>
                    </a:lnTo>
                    <a:lnTo>
                      <a:pt x="28" y="19"/>
                    </a:lnTo>
                    <a:lnTo>
                      <a:pt x="28" y="17"/>
                    </a:lnTo>
                    <a:lnTo>
                      <a:pt x="27" y="16"/>
                    </a:lnTo>
                    <a:lnTo>
                      <a:pt x="27" y="14"/>
                    </a:lnTo>
                    <a:lnTo>
                      <a:pt x="25" y="16"/>
                    </a:lnTo>
                    <a:lnTo>
                      <a:pt x="24" y="16"/>
                    </a:lnTo>
                    <a:lnTo>
                      <a:pt x="22" y="14"/>
                    </a:lnTo>
                    <a:lnTo>
                      <a:pt x="22" y="14"/>
                    </a:lnTo>
                    <a:lnTo>
                      <a:pt x="24" y="13"/>
                    </a:lnTo>
                    <a:lnTo>
                      <a:pt x="25" y="9"/>
                    </a:lnTo>
                    <a:lnTo>
                      <a:pt x="27" y="11"/>
                    </a:lnTo>
                    <a:lnTo>
                      <a:pt x="28" y="11"/>
                    </a:lnTo>
                    <a:lnTo>
                      <a:pt x="28" y="11"/>
                    </a:lnTo>
                    <a:lnTo>
                      <a:pt x="28" y="9"/>
                    </a:lnTo>
                    <a:lnTo>
                      <a:pt x="28" y="8"/>
                    </a:lnTo>
                    <a:lnTo>
                      <a:pt x="27" y="6"/>
                    </a:lnTo>
                    <a:lnTo>
                      <a:pt x="25" y="3"/>
                    </a:lnTo>
                    <a:lnTo>
                      <a:pt x="25" y="3"/>
                    </a:lnTo>
                    <a:lnTo>
                      <a:pt x="22" y="2"/>
                    </a:lnTo>
                    <a:lnTo>
                      <a:pt x="21" y="0"/>
                    </a:lnTo>
                    <a:lnTo>
                      <a:pt x="18" y="0"/>
                    </a:lnTo>
                    <a:lnTo>
                      <a:pt x="14" y="2"/>
                    </a:lnTo>
                    <a:lnTo>
                      <a:pt x="13" y="2"/>
                    </a:lnTo>
                    <a:lnTo>
                      <a:pt x="11" y="3"/>
                    </a:lnTo>
                    <a:lnTo>
                      <a:pt x="11" y="3"/>
                    </a:lnTo>
                    <a:lnTo>
                      <a:pt x="11" y="3"/>
                    </a:lnTo>
                    <a:lnTo>
                      <a:pt x="11" y="3"/>
                    </a:lnTo>
                    <a:lnTo>
                      <a:pt x="10" y="6"/>
                    </a:lnTo>
                    <a:lnTo>
                      <a:pt x="8" y="9"/>
                    </a:lnTo>
                    <a:lnTo>
                      <a:pt x="7" y="11"/>
                    </a:lnTo>
                    <a:lnTo>
                      <a:pt x="5" y="16"/>
                    </a:lnTo>
                    <a:lnTo>
                      <a:pt x="3" y="17"/>
                    </a:lnTo>
                    <a:lnTo>
                      <a:pt x="0" y="20"/>
                    </a:lnTo>
                    <a:lnTo>
                      <a:pt x="3" y="20"/>
                    </a:lnTo>
                    <a:lnTo>
                      <a:pt x="8" y="22"/>
                    </a:lnTo>
                    <a:lnTo>
                      <a:pt x="11" y="22"/>
                    </a:lnTo>
                    <a:lnTo>
                      <a:pt x="16" y="22"/>
                    </a:lnTo>
                    <a:lnTo>
                      <a:pt x="18" y="25"/>
                    </a:lnTo>
                    <a:lnTo>
                      <a:pt x="19" y="28"/>
                    </a:lnTo>
                    <a:lnTo>
                      <a:pt x="19" y="30"/>
                    </a:lnTo>
                    <a:lnTo>
                      <a:pt x="21" y="31"/>
                    </a:lnTo>
                    <a:lnTo>
                      <a:pt x="24" y="31"/>
                    </a:lnTo>
                    <a:lnTo>
                      <a:pt x="27" y="31"/>
                    </a:lnTo>
                    <a:lnTo>
                      <a:pt x="32" y="31"/>
                    </a:lnTo>
                    <a:lnTo>
                      <a:pt x="35" y="31"/>
                    </a:lnTo>
                    <a:lnTo>
                      <a:pt x="33" y="3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0" name="Freeform 117">
                <a:extLst>
                  <a:ext uri="{FF2B5EF4-FFF2-40B4-BE49-F238E27FC236}">
                    <a16:creationId xmlns:a16="http://schemas.microsoft.com/office/drawing/2014/main" id="{87A2CF47-FB90-DAC2-1686-55C396CC8CC4}"/>
                  </a:ext>
                </a:extLst>
              </p:cNvPr>
              <p:cNvSpPr>
                <a:spLocks noEditPoints="1"/>
              </p:cNvSpPr>
              <p:nvPr/>
            </p:nvSpPr>
            <p:spPr bwMode="gray">
              <a:xfrm>
                <a:off x="1246" y="1225"/>
                <a:ext cx="30" cy="10"/>
              </a:xfrm>
              <a:custGeom>
                <a:avLst/>
                <a:gdLst>
                  <a:gd name="T0" fmla="*/ 5 w 30"/>
                  <a:gd name="T1" fmla="*/ 8 h 10"/>
                  <a:gd name="T2" fmla="*/ 2 w 30"/>
                  <a:gd name="T3" fmla="*/ 7 h 10"/>
                  <a:gd name="T4" fmla="*/ 2 w 30"/>
                  <a:gd name="T5" fmla="*/ 8 h 10"/>
                  <a:gd name="T6" fmla="*/ 2 w 30"/>
                  <a:gd name="T7" fmla="*/ 8 h 10"/>
                  <a:gd name="T8" fmla="*/ 0 w 30"/>
                  <a:gd name="T9" fmla="*/ 8 h 10"/>
                  <a:gd name="T10" fmla="*/ 0 w 30"/>
                  <a:gd name="T11" fmla="*/ 7 h 10"/>
                  <a:gd name="T12" fmla="*/ 0 w 30"/>
                  <a:gd name="T13" fmla="*/ 7 h 10"/>
                  <a:gd name="T14" fmla="*/ 0 w 30"/>
                  <a:gd name="T15" fmla="*/ 8 h 10"/>
                  <a:gd name="T16" fmla="*/ 2 w 30"/>
                  <a:gd name="T17" fmla="*/ 10 h 10"/>
                  <a:gd name="T18" fmla="*/ 2 w 30"/>
                  <a:gd name="T19" fmla="*/ 8 h 10"/>
                  <a:gd name="T20" fmla="*/ 3 w 30"/>
                  <a:gd name="T21" fmla="*/ 8 h 10"/>
                  <a:gd name="T22" fmla="*/ 5 w 30"/>
                  <a:gd name="T23" fmla="*/ 8 h 10"/>
                  <a:gd name="T24" fmla="*/ 5 w 30"/>
                  <a:gd name="T25" fmla="*/ 8 h 10"/>
                  <a:gd name="T26" fmla="*/ 25 w 30"/>
                  <a:gd name="T27" fmla="*/ 0 h 10"/>
                  <a:gd name="T28" fmla="*/ 25 w 30"/>
                  <a:gd name="T29" fmla="*/ 0 h 10"/>
                  <a:gd name="T30" fmla="*/ 24 w 30"/>
                  <a:gd name="T31" fmla="*/ 0 h 10"/>
                  <a:gd name="T32" fmla="*/ 24 w 30"/>
                  <a:gd name="T33" fmla="*/ 0 h 10"/>
                  <a:gd name="T34" fmla="*/ 24 w 30"/>
                  <a:gd name="T35" fmla="*/ 2 h 10"/>
                  <a:gd name="T36" fmla="*/ 22 w 30"/>
                  <a:gd name="T37" fmla="*/ 2 h 10"/>
                  <a:gd name="T38" fmla="*/ 22 w 30"/>
                  <a:gd name="T39" fmla="*/ 2 h 10"/>
                  <a:gd name="T40" fmla="*/ 24 w 30"/>
                  <a:gd name="T41" fmla="*/ 2 h 10"/>
                  <a:gd name="T42" fmla="*/ 24 w 30"/>
                  <a:gd name="T43" fmla="*/ 0 h 10"/>
                  <a:gd name="T44" fmla="*/ 25 w 30"/>
                  <a:gd name="T45" fmla="*/ 0 h 10"/>
                  <a:gd name="T46" fmla="*/ 25 w 30"/>
                  <a:gd name="T47" fmla="*/ 0 h 10"/>
                  <a:gd name="T48" fmla="*/ 25 w 30"/>
                  <a:gd name="T49" fmla="*/ 0 h 10"/>
                  <a:gd name="T50" fmla="*/ 25 w 30"/>
                  <a:gd name="T51" fmla="*/ 0 h 10"/>
                  <a:gd name="T52" fmla="*/ 28 w 30"/>
                  <a:gd name="T53" fmla="*/ 0 h 10"/>
                  <a:gd name="T54" fmla="*/ 28 w 30"/>
                  <a:gd name="T55" fmla="*/ 0 h 10"/>
                  <a:gd name="T56" fmla="*/ 28 w 30"/>
                  <a:gd name="T57" fmla="*/ 0 h 10"/>
                  <a:gd name="T58" fmla="*/ 28 w 30"/>
                  <a:gd name="T59" fmla="*/ 0 h 10"/>
                  <a:gd name="T60" fmla="*/ 27 w 30"/>
                  <a:gd name="T61" fmla="*/ 0 h 10"/>
                  <a:gd name="T62" fmla="*/ 27 w 30"/>
                  <a:gd name="T63" fmla="*/ 2 h 10"/>
                  <a:gd name="T64" fmla="*/ 28 w 30"/>
                  <a:gd name="T65" fmla="*/ 0 h 10"/>
                  <a:gd name="T66" fmla="*/ 30 w 30"/>
                  <a:gd name="T67" fmla="*/ 0 h 10"/>
                  <a:gd name="T68" fmla="*/ 30 w 30"/>
                  <a:gd name="T69" fmla="*/ 0 h 10"/>
                  <a:gd name="T70" fmla="*/ 28 w 30"/>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0">
                    <a:moveTo>
                      <a:pt x="5" y="8"/>
                    </a:moveTo>
                    <a:lnTo>
                      <a:pt x="2" y="7"/>
                    </a:lnTo>
                    <a:lnTo>
                      <a:pt x="2" y="8"/>
                    </a:lnTo>
                    <a:lnTo>
                      <a:pt x="2" y="8"/>
                    </a:lnTo>
                    <a:lnTo>
                      <a:pt x="0" y="8"/>
                    </a:lnTo>
                    <a:lnTo>
                      <a:pt x="0" y="7"/>
                    </a:lnTo>
                    <a:lnTo>
                      <a:pt x="0" y="7"/>
                    </a:lnTo>
                    <a:lnTo>
                      <a:pt x="0" y="8"/>
                    </a:lnTo>
                    <a:lnTo>
                      <a:pt x="2" y="10"/>
                    </a:lnTo>
                    <a:lnTo>
                      <a:pt x="2" y="8"/>
                    </a:lnTo>
                    <a:lnTo>
                      <a:pt x="3" y="8"/>
                    </a:lnTo>
                    <a:lnTo>
                      <a:pt x="5" y="8"/>
                    </a:lnTo>
                    <a:lnTo>
                      <a:pt x="5" y="8"/>
                    </a:lnTo>
                    <a:close/>
                    <a:moveTo>
                      <a:pt x="25" y="0"/>
                    </a:moveTo>
                    <a:lnTo>
                      <a:pt x="25" y="0"/>
                    </a:lnTo>
                    <a:lnTo>
                      <a:pt x="24" y="0"/>
                    </a:lnTo>
                    <a:lnTo>
                      <a:pt x="24" y="0"/>
                    </a:lnTo>
                    <a:lnTo>
                      <a:pt x="24" y="2"/>
                    </a:lnTo>
                    <a:lnTo>
                      <a:pt x="22" y="2"/>
                    </a:lnTo>
                    <a:lnTo>
                      <a:pt x="22" y="2"/>
                    </a:lnTo>
                    <a:lnTo>
                      <a:pt x="24" y="2"/>
                    </a:lnTo>
                    <a:lnTo>
                      <a:pt x="24" y="0"/>
                    </a:lnTo>
                    <a:lnTo>
                      <a:pt x="25" y="0"/>
                    </a:lnTo>
                    <a:lnTo>
                      <a:pt x="25" y="0"/>
                    </a:lnTo>
                    <a:lnTo>
                      <a:pt x="25" y="0"/>
                    </a:lnTo>
                    <a:lnTo>
                      <a:pt x="25" y="0"/>
                    </a:lnTo>
                    <a:close/>
                    <a:moveTo>
                      <a:pt x="28" y="0"/>
                    </a:moveTo>
                    <a:lnTo>
                      <a:pt x="28" y="0"/>
                    </a:lnTo>
                    <a:lnTo>
                      <a:pt x="28" y="0"/>
                    </a:lnTo>
                    <a:lnTo>
                      <a:pt x="28" y="0"/>
                    </a:lnTo>
                    <a:lnTo>
                      <a:pt x="27" y="0"/>
                    </a:lnTo>
                    <a:lnTo>
                      <a:pt x="27" y="2"/>
                    </a:lnTo>
                    <a:lnTo>
                      <a:pt x="28" y="0"/>
                    </a:lnTo>
                    <a:lnTo>
                      <a:pt x="30" y="0"/>
                    </a:lnTo>
                    <a:lnTo>
                      <a:pt x="30" y="0"/>
                    </a:lnTo>
                    <a:lnTo>
                      <a:pt x="2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1" name="Freeform 118">
                <a:extLst>
                  <a:ext uri="{FF2B5EF4-FFF2-40B4-BE49-F238E27FC236}">
                    <a16:creationId xmlns:a16="http://schemas.microsoft.com/office/drawing/2014/main" id="{B168ADEE-275B-8D81-202F-3E1B1BFA9F6D}"/>
                  </a:ext>
                </a:extLst>
              </p:cNvPr>
              <p:cNvSpPr>
                <a:spLocks noEditPoints="1"/>
              </p:cNvSpPr>
              <p:nvPr/>
            </p:nvSpPr>
            <p:spPr bwMode="gray">
              <a:xfrm>
                <a:off x="3493" y="409"/>
                <a:ext cx="714" cy="391"/>
              </a:xfrm>
              <a:custGeom>
                <a:avLst/>
                <a:gdLst>
                  <a:gd name="T0" fmla="*/ 714 w 714"/>
                  <a:gd name="T1" fmla="*/ 181 h 391"/>
                  <a:gd name="T2" fmla="*/ 702 w 714"/>
                  <a:gd name="T3" fmla="*/ 162 h 391"/>
                  <a:gd name="T4" fmla="*/ 674 w 714"/>
                  <a:gd name="T5" fmla="*/ 159 h 391"/>
                  <a:gd name="T6" fmla="*/ 652 w 714"/>
                  <a:gd name="T7" fmla="*/ 131 h 391"/>
                  <a:gd name="T8" fmla="*/ 621 w 714"/>
                  <a:gd name="T9" fmla="*/ 134 h 391"/>
                  <a:gd name="T10" fmla="*/ 605 w 714"/>
                  <a:gd name="T11" fmla="*/ 123 h 391"/>
                  <a:gd name="T12" fmla="*/ 592 w 714"/>
                  <a:gd name="T13" fmla="*/ 131 h 391"/>
                  <a:gd name="T14" fmla="*/ 547 w 714"/>
                  <a:gd name="T15" fmla="*/ 62 h 391"/>
                  <a:gd name="T16" fmla="*/ 525 w 714"/>
                  <a:gd name="T17" fmla="*/ 31 h 391"/>
                  <a:gd name="T18" fmla="*/ 492 w 714"/>
                  <a:gd name="T19" fmla="*/ 50 h 391"/>
                  <a:gd name="T20" fmla="*/ 471 w 714"/>
                  <a:gd name="T21" fmla="*/ 59 h 391"/>
                  <a:gd name="T22" fmla="*/ 471 w 714"/>
                  <a:gd name="T23" fmla="*/ 43 h 391"/>
                  <a:gd name="T24" fmla="*/ 453 w 714"/>
                  <a:gd name="T25" fmla="*/ 43 h 391"/>
                  <a:gd name="T26" fmla="*/ 431 w 714"/>
                  <a:gd name="T27" fmla="*/ 26 h 391"/>
                  <a:gd name="T28" fmla="*/ 397 w 714"/>
                  <a:gd name="T29" fmla="*/ 0 h 391"/>
                  <a:gd name="T30" fmla="*/ 360 w 714"/>
                  <a:gd name="T31" fmla="*/ 18 h 391"/>
                  <a:gd name="T32" fmla="*/ 319 w 714"/>
                  <a:gd name="T33" fmla="*/ 31 h 391"/>
                  <a:gd name="T34" fmla="*/ 281 w 714"/>
                  <a:gd name="T35" fmla="*/ 40 h 391"/>
                  <a:gd name="T36" fmla="*/ 258 w 714"/>
                  <a:gd name="T37" fmla="*/ 56 h 391"/>
                  <a:gd name="T38" fmla="*/ 264 w 714"/>
                  <a:gd name="T39" fmla="*/ 65 h 391"/>
                  <a:gd name="T40" fmla="*/ 249 w 714"/>
                  <a:gd name="T41" fmla="*/ 81 h 391"/>
                  <a:gd name="T42" fmla="*/ 252 w 714"/>
                  <a:gd name="T43" fmla="*/ 114 h 391"/>
                  <a:gd name="T44" fmla="*/ 236 w 714"/>
                  <a:gd name="T45" fmla="*/ 133 h 391"/>
                  <a:gd name="T46" fmla="*/ 211 w 714"/>
                  <a:gd name="T47" fmla="*/ 133 h 391"/>
                  <a:gd name="T48" fmla="*/ 178 w 714"/>
                  <a:gd name="T49" fmla="*/ 128 h 391"/>
                  <a:gd name="T50" fmla="*/ 139 w 714"/>
                  <a:gd name="T51" fmla="*/ 129 h 391"/>
                  <a:gd name="T52" fmla="*/ 125 w 714"/>
                  <a:gd name="T53" fmla="*/ 123 h 391"/>
                  <a:gd name="T54" fmla="*/ 91 w 714"/>
                  <a:gd name="T55" fmla="*/ 112 h 391"/>
                  <a:gd name="T56" fmla="*/ 58 w 714"/>
                  <a:gd name="T57" fmla="*/ 123 h 391"/>
                  <a:gd name="T58" fmla="*/ 37 w 714"/>
                  <a:gd name="T59" fmla="*/ 150 h 391"/>
                  <a:gd name="T60" fmla="*/ 14 w 714"/>
                  <a:gd name="T61" fmla="*/ 147 h 391"/>
                  <a:gd name="T62" fmla="*/ 8 w 714"/>
                  <a:gd name="T63" fmla="*/ 179 h 391"/>
                  <a:gd name="T64" fmla="*/ 23 w 714"/>
                  <a:gd name="T65" fmla="*/ 215 h 391"/>
                  <a:gd name="T66" fmla="*/ 33 w 714"/>
                  <a:gd name="T67" fmla="*/ 242 h 391"/>
                  <a:gd name="T68" fmla="*/ 59 w 714"/>
                  <a:gd name="T69" fmla="*/ 245 h 391"/>
                  <a:gd name="T70" fmla="*/ 100 w 714"/>
                  <a:gd name="T71" fmla="*/ 237 h 391"/>
                  <a:gd name="T72" fmla="*/ 116 w 714"/>
                  <a:gd name="T73" fmla="*/ 278 h 391"/>
                  <a:gd name="T74" fmla="*/ 83 w 714"/>
                  <a:gd name="T75" fmla="*/ 295 h 391"/>
                  <a:gd name="T76" fmla="*/ 73 w 714"/>
                  <a:gd name="T77" fmla="*/ 305 h 391"/>
                  <a:gd name="T78" fmla="*/ 94 w 714"/>
                  <a:gd name="T79" fmla="*/ 338 h 391"/>
                  <a:gd name="T80" fmla="*/ 112 w 714"/>
                  <a:gd name="T81" fmla="*/ 355 h 391"/>
                  <a:gd name="T82" fmla="*/ 147 w 714"/>
                  <a:gd name="T83" fmla="*/ 363 h 391"/>
                  <a:gd name="T84" fmla="*/ 178 w 714"/>
                  <a:gd name="T85" fmla="*/ 281 h 391"/>
                  <a:gd name="T86" fmla="*/ 233 w 714"/>
                  <a:gd name="T87" fmla="*/ 287 h 391"/>
                  <a:gd name="T88" fmla="*/ 278 w 714"/>
                  <a:gd name="T89" fmla="*/ 322 h 391"/>
                  <a:gd name="T90" fmla="*/ 327 w 714"/>
                  <a:gd name="T91" fmla="*/ 325 h 391"/>
                  <a:gd name="T92" fmla="*/ 349 w 714"/>
                  <a:gd name="T93" fmla="*/ 358 h 391"/>
                  <a:gd name="T94" fmla="*/ 375 w 714"/>
                  <a:gd name="T95" fmla="*/ 378 h 391"/>
                  <a:gd name="T96" fmla="*/ 388 w 714"/>
                  <a:gd name="T97" fmla="*/ 380 h 391"/>
                  <a:gd name="T98" fmla="*/ 420 w 714"/>
                  <a:gd name="T99" fmla="*/ 356 h 391"/>
                  <a:gd name="T100" fmla="*/ 436 w 714"/>
                  <a:gd name="T101" fmla="*/ 339 h 391"/>
                  <a:gd name="T102" fmla="*/ 472 w 714"/>
                  <a:gd name="T103" fmla="*/ 348 h 391"/>
                  <a:gd name="T104" fmla="*/ 510 w 714"/>
                  <a:gd name="T105" fmla="*/ 339 h 391"/>
                  <a:gd name="T106" fmla="*/ 547 w 714"/>
                  <a:gd name="T107" fmla="*/ 338 h 391"/>
                  <a:gd name="T108" fmla="*/ 582 w 714"/>
                  <a:gd name="T109" fmla="*/ 347 h 391"/>
                  <a:gd name="T110" fmla="*/ 592 w 714"/>
                  <a:gd name="T111" fmla="*/ 334 h 391"/>
                  <a:gd name="T112" fmla="*/ 592 w 714"/>
                  <a:gd name="T113" fmla="*/ 306 h 391"/>
                  <a:gd name="T114" fmla="*/ 589 w 714"/>
                  <a:gd name="T115" fmla="*/ 284 h 391"/>
                  <a:gd name="T116" fmla="*/ 630 w 714"/>
                  <a:gd name="T117" fmla="*/ 283 h 391"/>
                  <a:gd name="T118" fmla="*/ 639 w 714"/>
                  <a:gd name="T119" fmla="*/ 234 h 391"/>
                  <a:gd name="T120" fmla="*/ 671 w 714"/>
                  <a:gd name="T121" fmla="*/ 239 h 391"/>
                  <a:gd name="T122" fmla="*/ 686 w 714"/>
                  <a:gd name="T123" fmla="*/ 20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4" h="391">
                    <a:moveTo>
                      <a:pt x="61" y="289"/>
                    </a:moveTo>
                    <a:lnTo>
                      <a:pt x="61" y="287"/>
                    </a:lnTo>
                    <a:lnTo>
                      <a:pt x="61" y="286"/>
                    </a:lnTo>
                    <a:lnTo>
                      <a:pt x="61" y="284"/>
                    </a:lnTo>
                    <a:lnTo>
                      <a:pt x="61" y="284"/>
                    </a:lnTo>
                    <a:lnTo>
                      <a:pt x="61" y="284"/>
                    </a:lnTo>
                    <a:lnTo>
                      <a:pt x="59" y="284"/>
                    </a:lnTo>
                    <a:lnTo>
                      <a:pt x="59" y="287"/>
                    </a:lnTo>
                    <a:lnTo>
                      <a:pt x="61" y="291"/>
                    </a:lnTo>
                    <a:lnTo>
                      <a:pt x="62" y="291"/>
                    </a:lnTo>
                    <a:lnTo>
                      <a:pt x="62" y="289"/>
                    </a:lnTo>
                    <a:lnTo>
                      <a:pt x="61" y="289"/>
                    </a:lnTo>
                    <a:close/>
                    <a:moveTo>
                      <a:pt x="64" y="284"/>
                    </a:moveTo>
                    <a:lnTo>
                      <a:pt x="64" y="284"/>
                    </a:lnTo>
                    <a:lnTo>
                      <a:pt x="64" y="286"/>
                    </a:lnTo>
                    <a:lnTo>
                      <a:pt x="66" y="286"/>
                    </a:lnTo>
                    <a:lnTo>
                      <a:pt x="66" y="286"/>
                    </a:lnTo>
                    <a:lnTo>
                      <a:pt x="66" y="284"/>
                    </a:lnTo>
                    <a:lnTo>
                      <a:pt x="64" y="284"/>
                    </a:lnTo>
                    <a:close/>
                    <a:moveTo>
                      <a:pt x="714" y="181"/>
                    </a:moveTo>
                    <a:lnTo>
                      <a:pt x="714" y="179"/>
                    </a:lnTo>
                    <a:lnTo>
                      <a:pt x="714" y="179"/>
                    </a:lnTo>
                    <a:lnTo>
                      <a:pt x="713" y="176"/>
                    </a:lnTo>
                    <a:lnTo>
                      <a:pt x="711" y="176"/>
                    </a:lnTo>
                    <a:lnTo>
                      <a:pt x="711" y="176"/>
                    </a:lnTo>
                    <a:lnTo>
                      <a:pt x="710" y="176"/>
                    </a:lnTo>
                    <a:lnTo>
                      <a:pt x="708" y="175"/>
                    </a:lnTo>
                    <a:lnTo>
                      <a:pt x="708" y="175"/>
                    </a:lnTo>
                    <a:lnTo>
                      <a:pt x="705" y="170"/>
                    </a:lnTo>
                    <a:lnTo>
                      <a:pt x="703" y="169"/>
                    </a:lnTo>
                    <a:lnTo>
                      <a:pt x="702" y="167"/>
                    </a:lnTo>
                    <a:lnTo>
                      <a:pt x="702" y="167"/>
                    </a:lnTo>
                    <a:lnTo>
                      <a:pt x="703" y="165"/>
                    </a:lnTo>
                    <a:lnTo>
                      <a:pt x="703" y="164"/>
                    </a:lnTo>
                    <a:lnTo>
                      <a:pt x="703" y="164"/>
                    </a:lnTo>
                    <a:lnTo>
                      <a:pt x="703" y="162"/>
                    </a:lnTo>
                    <a:lnTo>
                      <a:pt x="703" y="162"/>
                    </a:lnTo>
                    <a:lnTo>
                      <a:pt x="702" y="162"/>
                    </a:lnTo>
                    <a:lnTo>
                      <a:pt x="702" y="162"/>
                    </a:lnTo>
                    <a:lnTo>
                      <a:pt x="702" y="162"/>
                    </a:lnTo>
                    <a:lnTo>
                      <a:pt x="700" y="164"/>
                    </a:lnTo>
                    <a:lnTo>
                      <a:pt x="699" y="165"/>
                    </a:lnTo>
                    <a:lnTo>
                      <a:pt x="696" y="167"/>
                    </a:lnTo>
                    <a:lnTo>
                      <a:pt x="696" y="167"/>
                    </a:lnTo>
                    <a:lnTo>
                      <a:pt x="696" y="169"/>
                    </a:lnTo>
                    <a:lnTo>
                      <a:pt x="694" y="170"/>
                    </a:lnTo>
                    <a:lnTo>
                      <a:pt x="693" y="169"/>
                    </a:lnTo>
                    <a:lnTo>
                      <a:pt x="693" y="169"/>
                    </a:lnTo>
                    <a:lnTo>
                      <a:pt x="691" y="170"/>
                    </a:lnTo>
                    <a:lnTo>
                      <a:pt x="691" y="170"/>
                    </a:lnTo>
                    <a:lnTo>
                      <a:pt x="689" y="169"/>
                    </a:lnTo>
                    <a:lnTo>
                      <a:pt x="689" y="169"/>
                    </a:lnTo>
                    <a:lnTo>
                      <a:pt x="683" y="167"/>
                    </a:lnTo>
                    <a:lnTo>
                      <a:pt x="680" y="165"/>
                    </a:lnTo>
                    <a:lnTo>
                      <a:pt x="678" y="167"/>
                    </a:lnTo>
                    <a:lnTo>
                      <a:pt x="678" y="167"/>
                    </a:lnTo>
                    <a:lnTo>
                      <a:pt x="677" y="165"/>
                    </a:lnTo>
                    <a:lnTo>
                      <a:pt x="675" y="162"/>
                    </a:lnTo>
                    <a:lnTo>
                      <a:pt x="675" y="161"/>
                    </a:lnTo>
                    <a:lnTo>
                      <a:pt x="674" y="159"/>
                    </a:lnTo>
                    <a:lnTo>
                      <a:pt x="674" y="158"/>
                    </a:lnTo>
                    <a:lnTo>
                      <a:pt x="674" y="156"/>
                    </a:lnTo>
                    <a:lnTo>
                      <a:pt x="674" y="154"/>
                    </a:lnTo>
                    <a:lnTo>
                      <a:pt x="672" y="153"/>
                    </a:lnTo>
                    <a:lnTo>
                      <a:pt x="671" y="153"/>
                    </a:lnTo>
                    <a:lnTo>
                      <a:pt x="671" y="153"/>
                    </a:lnTo>
                    <a:lnTo>
                      <a:pt x="668" y="150"/>
                    </a:lnTo>
                    <a:lnTo>
                      <a:pt x="664" y="150"/>
                    </a:lnTo>
                    <a:lnTo>
                      <a:pt x="663" y="150"/>
                    </a:lnTo>
                    <a:lnTo>
                      <a:pt x="661" y="150"/>
                    </a:lnTo>
                    <a:lnTo>
                      <a:pt x="661" y="148"/>
                    </a:lnTo>
                    <a:lnTo>
                      <a:pt x="660" y="143"/>
                    </a:lnTo>
                    <a:lnTo>
                      <a:pt x="660" y="142"/>
                    </a:lnTo>
                    <a:lnTo>
                      <a:pt x="658" y="139"/>
                    </a:lnTo>
                    <a:lnTo>
                      <a:pt x="657" y="137"/>
                    </a:lnTo>
                    <a:lnTo>
                      <a:pt x="657" y="137"/>
                    </a:lnTo>
                    <a:lnTo>
                      <a:pt x="655" y="134"/>
                    </a:lnTo>
                    <a:lnTo>
                      <a:pt x="655" y="134"/>
                    </a:lnTo>
                    <a:lnTo>
                      <a:pt x="653" y="134"/>
                    </a:lnTo>
                    <a:lnTo>
                      <a:pt x="652" y="131"/>
                    </a:lnTo>
                    <a:lnTo>
                      <a:pt x="649" y="129"/>
                    </a:lnTo>
                    <a:lnTo>
                      <a:pt x="646" y="128"/>
                    </a:lnTo>
                    <a:lnTo>
                      <a:pt x="644" y="128"/>
                    </a:lnTo>
                    <a:lnTo>
                      <a:pt x="641" y="129"/>
                    </a:lnTo>
                    <a:lnTo>
                      <a:pt x="641" y="129"/>
                    </a:lnTo>
                    <a:lnTo>
                      <a:pt x="641" y="129"/>
                    </a:lnTo>
                    <a:lnTo>
                      <a:pt x="639" y="131"/>
                    </a:lnTo>
                    <a:lnTo>
                      <a:pt x="638" y="131"/>
                    </a:lnTo>
                    <a:lnTo>
                      <a:pt x="635" y="131"/>
                    </a:lnTo>
                    <a:lnTo>
                      <a:pt x="635" y="131"/>
                    </a:lnTo>
                    <a:lnTo>
                      <a:pt x="633" y="133"/>
                    </a:lnTo>
                    <a:lnTo>
                      <a:pt x="633" y="133"/>
                    </a:lnTo>
                    <a:lnTo>
                      <a:pt x="633" y="134"/>
                    </a:lnTo>
                    <a:lnTo>
                      <a:pt x="632" y="134"/>
                    </a:lnTo>
                    <a:lnTo>
                      <a:pt x="630" y="136"/>
                    </a:lnTo>
                    <a:lnTo>
                      <a:pt x="630" y="136"/>
                    </a:lnTo>
                    <a:lnTo>
                      <a:pt x="627" y="136"/>
                    </a:lnTo>
                    <a:lnTo>
                      <a:pt x="625" y="136"/>
                    </a:lnTo>
                    <a:lnTo>
                      <a:pt x="622" y="136"/>
                    </a:lnTo>
                    <a:lnTo>
                      <a:pt x="621" y="134"/>
                    </a:lnTo>
                    <a:lnTo>
                      <a:pt x="617" y="134"/>
                    </a:lnTo>
                    <a:lnTo>
                      <a:pt x="616" y="136"/>
                    </a:lnTo>
                    <a:lnTo>
                      <a:pt x="614" y="136"/>
                    </a:lnTo>
                    <a:lnTo>
                      <a:pt x="611" y="136"/>
                    </a:lnTo>
                    <a:lnTo>
                      <a:pt x="611" y="134"/>
                    </a:lnTo>
                    <a:lnTo>
                      <a:pt x="611" y="134"/>
                    </a:lnTo>
                    <a:lnTo>
                      <a:pt x="611" y="133"/>
                    </a:lnTo>
                    <a:lnTo>
                      <a:pt x="611" y="133"/>
                    </a:lnTo>
                    <a:lnTo>
                      <a:pt x="611" y="133"/>
                    </a:lnTo>
                    <a:lnTo>
                      <a:pt x="611" y="131"/>
                    </a:lnTo>
                    <a:lnTo>
                      <a:pt x="610" y="129"/>
                    </a:lnTo>
                    <a:lnTo>
                      <a:pt x="610" y="129"/>
                    </a:lnTo>
                    <a:lnTo>
                      <a:pt x="610" y="129"/>
                    </a:lnTo>
                    <a:lnTo>
                      <a:pt x="605" y="129"/>
                    </a:lnTo>
                    <a:lnTo>
                      <a:pt x="605" y="129"/>
                    </a:lnTo>
                    <a:lnTo>
                      <a:pt x="605" y="128"/>
                    </a:lnTo>
                    <a:lnTo>
                      <a:pt x="605" y="128"/>
                    </a:lnTo>
                    <a:lnTo>
                      <a:pt x="605" y="126"/>
                    </a:lnTo>
                    <a:lnTo>
                      <a:pt x="607" y="125"/>
                    </a:lnTo>
                    <a:lnTo>
                      <a:pt x="605" y="123"/>
                    </a:lnTo>
                    <a:lnTo>
                      <a:pt x="603" y="123"/>
                    </a:lnTo>
                    <a:lnTo>
                      <a:pt x="603" y="123"/>
                    </a:lnTo>
                    <a:lnTo>
                      <a:pt x="602" y="122"/>
                    </a:lnTo>
                    <a:lnTo>
                      <a:pt x="602" y="120"/>
                    </a:lnTo>
                    <a:lnTo>
                      <a:pt x="602" y="120"/>
                    </a:lnTo>
                    <a:lnTo>
                      <a:pt x="600" y="120"/>
                    </a:lnTo>
                    <a:lnTo>
                      <a:pt x="599" y="120"/>
                    </a:lnTo>
                    <a:lnTo>
                      <a:pt x="597" y="120"/>
                    </a:lnTo>
                    <a:lnTo>
                      <a:pt x="597" y="120"/>
                    </a:lnTo>
                    <a:lnTo>
                      <a:pt x="597" y="120"/>
                    </a:lnTo>
                    <a:lnTo>
                      <a:pt x="597" y="122"/>
                    </a:lnTo>
                    <a:lnTo>
                      <a:pt x="596" y="122"/>
                    </a:lnTo>
                    <a:lnTo>
                      <a:pt x="596" y="122"/>
                    </a:lnTo>
                    <a:lnTo>
                      <a:pt x="594" y="123"/>
                    </a:lnTo>
                    <a:lnTo>
                      <a:pt x="594" y="123"/>
                    </a:lnTo>
                    <a:lnTo>
                      <a:pt x="594" y="125"/>
                    </a:lnTo>
                    <a:lnTo>
                      <a:pt x="594" y="126"/>
                    </a:lnTo>
                    <a:lnTo>
                      <a:pt x="594" y="128"/>
                    </a:lnTo>
                    <a:lnTo>
                      <a:pt x="594" y="129"/>
                    </a:lnTo>
                    <a:lnTo>
                      <a:pt x="592" y="131"/>
                    </a:lnTo>
                    <a:lnTo>
                      <a:pt x="591" y="131"/>
                    </a:lnTo>
                    <a:lnTo>
                      <a:pt x="589" y="131"/>
                    </a:lnTo>
                    <a:lnTo>
                      <a:pt x="589" y="131"/>
                    </a:lnTo>
                    <a:lnTo>
                      <a:pt x="588" y="133"/>
                    </a:lnTo>
                    <a:lnTo>
                      <a:pt x="588" y="133"/>
                    </a:lnTo>
                    <a:lnTo>
                      <a:pt x="588" y="134"/>
                    </a:lnTo>
                    <a:lnTo>
                      <a:pt x="588" y="136"/>
                    </a:lnTo>
                    <a:lnTo>
                      <a:pt x="586" y="134"/>
                    </a:lnTo>
                    <a:lnTo>
                      <a:pt x="583" y="129"/>
                    </a:lnTo>
                    <a:lnTo>
                      <a:pt x="582" y="123"/>
                    </a:lnTo>
                    <a:lnTo>
                      <a:pt x="578" y="118"/>
                    </a:lnTo>
                    <a:lnTo>
                      <a:pt x="577" y="115"/>
                    </a:lnTo>
                    <a:lnTo>
                      <a:pt x="571" y="104"/>
                    </a:lnTo>
                    <a:lnTo>
                      <a:pt x="569" y="98"/>
                    </a:lnTo>
                    <a:lnTo>
                      <a:pt x="563" y="90"/>
                    </a:lnTo>
                    <a:lnTo>
                      <a:pt x="560" y="82"/>
                    </a:lnTo>
                    <a:lnTo>
                      <a:pt x="555" y="73"/>
                    </a:lnTo>
                    <a:lnTo>
                      <a:pt x="552" y="68"/>
                    </a:lnTo>
                    <a:lnTo>
                      <a:pt x="549" y="64"/>
                    </a:lnTo>
                    <a:lnTo>
                      <a:pt x="547" y="62"/>
                    </a:lnTo>
                    <a:lnTo>
                      <a:pt x="546" y="61"/>
                    </a:lnTo>
                    <a:lnTo>
                      <a:pt x="541" y="57"/>
                    </a:lnTo>
                    <a:lnTo>
                      <a:pt x="536" y="51"/>
                    </a:lnTo>
                    <a:lnTo>
                      <a:pt x="530" y="46"/>
                    </a:lnTo>
                    <a:lnTo>
                      <a:pt x="525" y="43"/>
                    </a:lnTo>
                    <a:lnTo>
                      <a:pt x="525" y="42"/>
                    </a:lnTo>
                    <a:lnTo>
                      <a:pt x="524" y="42"/>
                    </a:lnTo>
                    <a:lnTo>
                      <a:pt x="524" y="40"/>
                    </a:lnTo>
                    <a:lnTo>
                      <a:pt x="524" y="39"/>
                    </a:lnTo>
                    <a:lnTo>
                      <a:pt x="524" y="37"/>
                    </a:lnTo>
                    <a:lnTo>
                      <a:pt x="527" y="37"/>
                    </a:lnTo>
                    <a:lnTo>
                      <a:pt x="528" y="37"/>
                    </a:lnTo>
                    <a:lnTo>
                      <a:pt x="530" y="32"/>
                    </a:lnTo>
                    <a:lnTo>
                      <a:pt x="530" y="31"/>
                    </a:lnTo>
                    <a:lnTo>
                      <a:pt x="530" y="29"/>
                    </a:lnTo>
                    <a:lnTo>
                      <a:pt x="528" y="29"/>
                    </a:lnTo>
                    <a:lnTo>
                      <a:pt x="528" y="29"/>
                    </a:lnTo>
                    <a:lnTo>
                      <a:pt x="527" y="31"/>
                    </a:lnTo>
                    <a:lnTo>
                      <a:pt x="525" y="31"/>
                    </a:lnTo>
                    <a:lnTo>
                      <a:pt x="525" y="31"/>
                    </a:lnTo>
                    <a:lnTo>
                      <a:pt x="524" y="32"/>
                    </a:lnTo>
                    <a:lnTo>
                      <a:pt x="524" y="32"/>
                    </a:lnTo>
                    <a:lnTo>
                      <a:pt x="521" y="32"/>
                    </a:lnTo>
                    <a:lnTo>
                      <a:pt x="519" y="34"/>
                    </a:lnTo>
                    <a:lnTo>
                      <a:pt x="514" y="37"/>
                    </a:lnTo>
                    <a:lnTo>
                      <a:pt x="510" y="39"/>
                    </a:lnTo>
                    <a:lnTo>
                      <a:pt x="510" y="39"/>
                    </a:lnTo>
                    <a:lnTo>
                      <a:pt x="506" y="39"/>
                    </a:lnTo>
                    <a:lnTo>
                      <a:pt x="505" y="40"/>
                    </a:lnTo>
                    <a:lnTo>
                      <a:pt x="505" y="42"/>
                    </a:lnTo>
                    <a:lnTo>
                      <a:pt x="505" y="43"/>
                    </a:lnTo>
                    <a:lnTo>
                      <a:pt x="505" y="43"/>
                    </a:lnTo>
                    <a:lnTo>
                      <a:pt x="502" y="45"/>
                    </a:lnTo>
                    <a:lnTo>
                      <a:pt x="499" y="46"/>
                    </a:lnTo>
                    <a:lnTo>
                      <a:pt x="499" y="46"/>
                    </a:lnTo>
                    <a:lnTo>
                      <a:pt x="499" y="48"/>
                    </a:lnTo>
                    <a:lnTo>
                      <a:pt x="496" y="46"/>
                    </a:lnTo>
                    <a:lnTo>
                      <a:pt x="496" y="46"/>
                    </a:lnTo>
                    <a:lnTo>
                      <a:pt x="492" y="50"/>
                    </a:lnTo>
                    <a:lnTo>
                      <a:pt x="492" y="50"/>
                    </a:lnTo>
                    <a:lnTo>
                      <a:pt x="489" y="53"/>
                    </a:lnTo>
                    <a:lnTo>
                      <a:pt x="488" y="54"/>
                    </a:lnTo>
                    <a:lnTo>
                      <a:pt x="488" y="56"/>
                    </a:lnTo>
                    <a:lnTo>
                      <a:pt x="488" y="56"/>
                    </a:lnTo>
                    <a:lnTo>
                      <a:pt x="488" y="56"/>
                    </a:lnTo>
                    <a:lnTo>
                      <a:pt x="486" y="57"/>
                    </a:lnTo>
                    <a:lnTo>
                      <a:pt x="486" y="56"/>
                    </a:lnTo>
                    <a:lnTo>
                      <a:pt x="485" y="54"/>
                    </a:lnTo>
                    <a:lnTo>
                      <a:pt x="485" y="54"/>
                    </a:lnTo>
                    <a:lnTo>
                      <a:pt x="481" y="53"/>
                    </a:lnTo>
                    <a:lnTo>
                      <a:pt x="481" y="53"/>
                    </a:lnTo>
                    <a:lnTo>
                      <a:pt x="478" y="53"/>
                    </a:lnTo>
                    <a:lnTo>
                      <a:pt x="475" y="54"/>
                    </a:lnTo>
                    <a:lnTo>
                      <a:pt x="475" y="54"/>
                    </a:lnTo>
                    <a:lnTo>
                      <a:pt x="474" y="54"/>
                    </a:lnTo>
                    <a:lnTo>
                      <a:pt x="474" y="54"/>
                    </a:lnTo>
                    <a:lnTo>
                      <a:pt x="474" y="56"/>
                    </a:lnTo>
                    <a:lnTo>
                      <a:pt x="472" y="57"/>
                    </a:lnTo>
                    <a:lnTo>
                      <a:pt x="472" y="57"/>
                    </a:lnTo>
                    <a:lnTo>
                      <a:pt x="471" y="59"/>
                    </a:lnTo>
                    <a:lnTo>
                      <a:pt x="469" y="57"/>
                    </a:lnTo>
                    <a:lnTo>
                      <a:pt x="469" y="56"/>
                    </a:lnTo>
                    <a:lnTo>
                      <a:pt x="469" y="56"/>
                    </a:lnTo>
                    <a:lnTo>
                      <a:pt x="467" y="54"/>
                    </a:lnTo>
                    <a:lnTo>
                      <a:pt x="469" y="51"/>
                    </a:lnTo>
                    <a:lnTo>
                      <a:pt x="469" y="51"/>
                    </a:lnTo>
                    <a:lnTo>
                      <a:pt x="469" y="50"/>
                    </a:lnTo>
                    <a:lnTo>
                      <a:pt x="471" y="48"/>
                    </a:lnTo>
                    <a:lnTo>
                      <a:pt x="472" y="46"/>
                    </a:lnTo>
                    <a:lnTo>
                      <a:pt x="475" y="43"/>
                    </a:lnTo>
                    <a:lnTo>
                      <a:pt x="475" y="42"/>
                    </a:lnTo>
                    <a:lnTo>
                      <a:pt x="475" y="42"/>
                    </a:lnTo>
                    <a:lnTo>
                      <a:pt x="475" y="40"/>
                    </a:lnTo>
                    <a:lnTo>
                      <a:pt x="475" y="40"/>
                    </a:lnTo>
                    <a:lnTo>
                      <a:pt x="475" y="40"/>
                    </a:lnTo>
                    <a:lnTo>
                      <a:pt x="474" y="40"/>
                    </a:lnTo>
                    <a:lnTo>
                      <a:pt x="474" y="40"/>
                    </a:lnTo>
                    <a:lnTo>
                      <a:pt x="474" y="40"/>
                    </a:lnTo>
                    <a:lnTo>
                      <a:pt x="472" y="42"/>
                    </a:lnTo>
                    <a:lnTo>
                      <a:pt x="471" y="43"/>
                    </a:lnTo>
                    <a:lnTo>
                      <a:pt x="469" y="43"/>
                    </a:lnTo>
                    <a:lnTo>
                      <a:pt x="467" y="43"/>
                    </a:lnTo>
                    <a:lnTo>
                      <a:pt x="467" y="43"/>
                    </a:lnTo>
                    <a:lnTo>
                      <a:pt x="466" y="42"/>
                    </a:lnTo>
                    <a:lnTo>
                      <a:pt x="461" y="39"/>
                    </a:lnTo>
                    <a:lnTo>
                      <a:pt x="461" y="39"/>
                    </a:lnTo>
                    <a:lnTo>
                      <a:pt x="458" y="39"/>
                    </a:lnTo>
                    <a:lnTo>
                      <a:pt x="456" y="39"/>
                    </a:lnTo>
                    <a:lnTo>
                      <a:pt x="456" y="39"/>
                    </a:lnTo>
                    <a:lnTo>
                      <a:pt x="456" y="39"/>
                    </a:lnTo>
                    <a:lnTo>
                      <a:pt x="455" y="39"/>
                    </a:lnTo>
                    <a:lnTo>
                      <a:pt x="456" y="40"/>
                    </a:lnTo>
                    <a:lnTo>
                      <a:pt x="456" y="42"/>
                    </a:lnTo>
                    <a:lnTo>
                      <a:pt x="456" y="42"/>
                    </a:lnTo>
                    <a:lnTo>
                      <a:pt x="456" y="42"/>
                    </a:lnTo>
                    <a:lnTo>
                      <a:pt x="456" y="42"/>
                    </a:lnTo>
                    <a:lnTo>
                      <a:pt x="456" y="42"/>
                    </a:lnTo>
                    <a:lnTo>
                      <a:pt x="455" y="43"/>
                    </a:lnTo>
                    <a:lnTo>
                      <a:pt x="453" y="43"/>
                    </a:lnTo>
                    <a:lnTo>
                      <a:pt x="453" y="43"/>
                    </a:lnTo>
                    <a:lnTo>
                      <a:pt x="452" y="40"/>
                    </a:lnTo>
                    <a:lnTo>
                      <a:pt x="452" y="39"/>
                    </a:lnTo>
                    <a:lnTo>
                      <a:pt x="452" y="37"/>
                    </a:lnTo>
                    <a:lnTo>
                      <a:pt x="450" y="34"/>
                    </a:lnTo>
                    <a:lnTo>
                      <a:pt x="449" y="32"/>
                    </a:lnTo>
                    <a:lnTo>
                      <a:pt x="449" y="32"/>
                    </a:lnTo>
                    <a:lnTo>
                      <a:pt x="447" y="32"/>
                    </a:lnTo>
                    <a:lnTo>
                      <a:pt x="447" y="32"/>
                    </a:lnTo>
                    <a:lnTo>
                      <a:pt x="447" y="36"/>
                    </a:lnTo>
                    <a:lnTo>
                      <a:pt x="447" y="36"/>
                    </a:lnTo>
                    <a:lnTo>
                      <a:pt x="446" y="36"/>
                    </a:lnTo>
                    <a:lnTo>
                      <a:pt x="444" y="36"/>
                    </a:lnTo>
                    <a:lnTo>
                      <a:pt x="444" y="36"/>
                    </a:lnTo>
                    <a:lnTo>
                      <a:pt x="439" y="37"/>
                    </a:lnTo>
                    <a:lnTo>
                      <a:pt x="435" y="37"/>
                    </a:lnTo>
                    <a:lnTo>
                      <a:pt x="430" y="36"/>
                    </a:lnTo>
                    <a:lnTo>
                      <a:pt x="428" y="34"/>
                    </a:lnTo>
                    <a:lnTo>
                      <a:pt x="431" y="31"/>
                    </a:lnTo>
                    <a:lnTo>
                      <a:pt x="431" y="28"/>
                    </a:lnTo>
                    <a:lnTo>
                      <a:pt x="431" y="26"/>
                    </a:lnTo>
                    <a:lnTo>
                      <a:pt x="431" y="25"/>
                    </a:lnTo>
                    <a:lnTo>
                      <a:pt x="430" y="20"/>
                    </a:lnTo>
                    <a:lnTo>
                      <a:pt x="428" y="14"/>
                    </a:lnTo>
                    <a:lnTo>
                      <a:pt x="427" y="7"/>
                    </a:lnTo>
                    <a:lnTo>
                      <a:pt x="427" y="7"/>
                    </a:lnTo>
                    <a:lnTo>
                      <a:pt x="424" y="4"/>
                    </a:lnTo>
                    <a:lnTo>
                      <a:pt x="424" y="3"/>
                    </a:lnTo>
                    <a:lnTo>
                      <a:pt x="424" y="3"/>
                    </a:lnTo>
                    <a:lnTo>
                      <a:pt x="419" y="3"/>
                    </a:lnTo>
                    <a:lnTo>
                      <a:pt x="417" y="4"/>
                    </a:lnTo>
                    <a:lnTo>
                      <a:pt x="417" y="6"/>
                    </a:lnTo>
                    <a:lnTo>
                      <a:pt x="416" y="6"/>
                    </a:lnTo>
                    <a:lnTo>
                      <a:pt x="414" y="7"/>
                    </a:lnTo>
                    <a:lnTo>
                      <a:pt x="413" y="6"/>
                    </a:lnTo>
                    <a:lnTo>
                      <a:pt x="410" y="6"/>
                    </a:lnTo>
                    <a:lnTo>
                      <a:pt x="408" y="4"/>
                    </a:lnTo>
                    <a:lnTo>
                      <a:pt x="406" y="3"/>
                    </a:lnTo>
                    <a:lnTo>
                      <a:pt x="402" y="1"/>
                    </a:lnTo>
                    <a:lnTo>
                      <a:pt x="402" y="1"/>
                    </a:lnTo>
                    <a:lnTo>
                      <a:pt x="397" y="0"/>
                    </a:lnTo>
                    <a:lnTo>
                      <a:pt x="392" y="0"/>
                    </a:lnTo>
                    <a:lnTo>
                      <a:pt x="391" y="1"/>
                    </a:lnTo>
                    <a:lnTo>
                      <a:pt x="389" y="1"/>
                    </a:lnTo>
                    <a:lnTo>
                      <a:pt x="388" y="3"/>
                    </a:lnTo>
                    <a:lnTo>
                      <a:pt x="385" y="6"/>
                    </a:lnTo>
                    <a:lnTo>
                      <a:pt x="383" y="6"/>
                    </a:lnTo>
                    <a:lnTo>
                      <a:pt x="381" y="6"/>
                    </a:lnTo>
                    <a:lnTo>
                      <a:pt x="378" y="7"/>
                    </a:lnTo>
                    <a:lnTo>
                      <a:pt x="378" y="7"/>
                    </a:lnTo>
                    <a:lnTo>
                      <a:pt x="380" y="9"/>
                    </a:lnTo>
                    <a:lnTo>
                      <a:pt x="380" y="10"/>
                    </a:lnTo>
                    <a:lnTo>
                      <a:pt x="378" y="12"/>
                    </a:lnTo>
                    <a:lnTo>
                      <a:pt x="378" y="12"/>
                    </a:lnTo>
                    <a:lnTo>
                      <a:pt x="377" y="14"/>
                    </a:lnTo>
                    <a:lnTo>
                      <a:pt x="374" y="14"/>
                    </a:lnTo>
                    <a:lnTo>
                      <a:pt x="372" y="14"/>
                    </a:lnTo>
                    <a:lnTo>
                      <a:pt x="370" y="15"/>
                    </a:lnTo>
                    <a:lnTo>
                      <a:pt x="366" y="17"/>
                    </a:lnTo>
                    <a:lnTo>
                      <a:pt x="363" y="17"/>
                    </a:lnTo>
                    <a:lnTo>
                      <a:pt x="360" y="18"/>
                    </a:lnTo>
                    <a:lnTo>
                      <a:pt x="353" y="20"/>
                    </a:lnTo>
                    <a:lnTo>
                      <a:pt x="350" y="20"/>
                    </a:lnTo>
                    <a:lnTo>
                      <a:pt x="345" y="21"/>
                    </a:lnTo>
                    <a:lnTo>
                      <a:pt x="344" y="21"/>
                    </a:lnTo>
                    <a:lnTo>
                      <a:pt x="339" y="21"/>
                    </a:lnTo>
                    <a:lnTo>
                      <a:pt x="339" y="21"/>
                    </a:lnTo>
                    <a:lnTo>
                      <a:pt x="339" y="21"/>
                    </a:lnTo>
                    <a:lnTo>
                      <a:pt x="335" y="23"/>
                    </a:lnTo>
                    <a:lnTo>
                      <a:pt x="331" y="23"/>
                    </a:lnTo>
                    <a:lnTo>
                      <a:pt x="330" y="25"/>
                    </a:lnTo>
                    <a:lnTo>
                      <a:pt x="330" y="25"/>
                    </a:lnTo>
                    <a:lnTo>
                      <a:pt x="330" y="25"/>
                    </a:lnTo>
                    <a:lnTo>
                      <a:pt x="328" y="26"/>
                    </a:lnTo>
                    <a:lnTo>
                      <a:pt x="327" y="26"/>
                    </a:lnTo>
                    <a:lnTo>
                      <a:pt x="327" y="29"/>
                    </a:lnTo>
                    <a:lnTo>
                      <a:pt x="325" y="31"/>
                    </a:lnTo>
                    <a:lnTo>
                      <a:pt x="324" y="32"/>
                    </a:lnTo>
                    <a:lnTo>
                      <a:pt x="322" y="31"/>
                    </a:lnTo>
                    <a:lnTo>
                      <a:pt x="322" y="29"/>
                    </a:lnTo>
                    <a:lnTo>
                      <a:pt x="319" y="31"/>
                    </a:lnTo>
                    <a:lnTo>
                      <a:pt x="317" y="31"/>
                    </a:lnTo>
                    <a:lnTo>
                      <a:pt x="314" y="31"/>
                    </a:lnTo>
                    <a:lnTo>
                      <a:pt x="313" y="31"/>
                    </a:lnTo>
                    <a:lnTo>
                      <a:pt x="308" y="31"/>
                    </a:lnTo>
                    <a:lnTo>
                      <a:pt x="306" y="32"/>
                    </a:lnTo>
                    <a:lnTo>
                      <a:pt x="306" y="34"/>
                    </a:lnTo>
                    <a:lnTo>
                      <a:pt x="305" y="34"/>
                    </a:lnTo>
                    <a:lnTo>
                      <a:pt x="303" y="36"/>
                    </a:lnTo>
                    <a:lnTo>
                      <a:pt x="300" y="34"/>
                    </a:lnTo>
                    <a:lnTo>
                      <a:pt x="300" y="34"/>
                    </a:lnTo>
                    <a:lnTo>
                      <a:pt x="299" y="36"/>
                    </a:lnTo>
                    <a:lnTo>
                      <a:pt x="299" y="36"/>
                    </a:lnTo>
                    <a:lnTo>
                      <a:pt x="295" y="37"/>
                    </a:lnTo>
                    <a:lnTo>
                      <a:pt x="292" y="37"/>
                    </a:lnTo>
                    <a:lnTo>
                      <a:pt x="291" y="37"/>
                    </a:lnTo>
                    <a:lnTo>
                      <a:pt x="289" y="37"/>
                    </a:lnTo>
                    <a:lnTo>
                      <a:pt x="289" y="39"/>
                    </a:lnTo>
                    <a:lnTo>
                      <a:pt x="289" y="39"/>
                    </a:lnTo>
                    <a:lnTo>
                      <a:pt x="281" y="40"/>
                    </a:lnTo>
                    <a:lnTo>
                      <a:pt x="281" y="40"/>
                    </a:lnTo>
                    <a:lnTo>
                      <a:pt x="280" y="40"/>
                    </a:lnTo>
                    <a:lnTo>
                      <a:pt x="278" y="42"/>
                    </a:lnTo>
                    <a:lnTo>
                      <a:pt x="270" y="42"/>
                    </a:lnTo>
                    <a:lnTo>
                      <a:pt x="270" y="42"/>
                    </a:lnTo>
                    <a:lnTo>
                      <a:pt x="270" y="43"/>
                    </a:lnTo>
                    <a:lnTo>
                      <a:pt x="270" y="43"/>
                    </a:lnTo>
                    <a:lnTo>
                      <a:pt x="269" y="43"/>
                    </a:lnTo>
                    <a:lnTo>
                      <a:pt x="263" y="42"/>
                    </a:lnTo>
                    <a:lnTo>
                      <a:pt x="258" y="40"/>
                    </a:lnTo>
                    <a:lnTo>
                      <a:pt x="256" y="42"/>
                    </a:lnTo>
                    <a:lnTo>
                      <a:pt x="255" y="43"/>
                    </a:lnTo>
                    <a:lnTo>
                      <a:pt x="255" y="45"/>
                    </a:lnTo>
                    <a:lnTo>
                      <a:pt x="255" y="50"/>
                    </a:lnTo>
                    <a:lnTo>
                      <a:pt x="255" y="50"/>
                    </a:lnTo>
                    <a:lnTo>
                      <a:pt x="253" y="51"/>
                    </a:lnTo>
                    <a:lnTo>
                      <a:pt x="252" y="53"/>
                    </a:lnTo>
                    <a:lnTo>
                      <a:pt x="252" y="53"/>
                    </a:lnTo>
                    <a:lnTo>
                      <a:pt x="255" y="54"/>
                    </a:lnTo>
                    <a:lnTo>
                      <a:pt x="256" y="56"/>
                    </a:lnTo>
                    <a:lnTo>
                      <a:pt x="258" y="56"/>
                    </a:lnTo>
                    <a:lnTo>
                      <a:pt x="258" y="54"/>
                    </a:lnTo>
                    <a:lnTo>
                      <a:pt x="259" y="54"/>
                    </a:lnTo>
                    <a:lnTo>
                      <a:pt x="261" y="54"/>
                    </a:lnTo>
                    <a:lnTo>
                      <a:pt x="261" y="56"/>
                    </a:lnTo>
                    <a:lnTo>
                      <a:pt x="263" y="56"/>
                    </a:lnTo>
                    <a:lnTo>
                      <a:pt x="261" y="57"/>
                    </a:lnTo>
                    <a:lnTo>
                      <a:pt x="261" y="57"/>
                    </a:lnTo>
                    <a:lnTo>
                      <a:pt x="259" y="57"/>
                    </a:lnTo>
                    <a:lnTo>
                      <a:pt x="259" y="57"/>
                    </a:lnTo>
                    <a:lnTo>
                      <a:pt x="258" y="57"/>
                    </a:lnTo>
                    <a:lnTo>
                      <a:pt x="258" y="57"/>
                    </a:lnTo>
                    <a:lnTo>
                      <a:pt x="256" y="59"/>
                    </a:lnTo>
                    <a:lnTo>
                      <a:pt x="256" y="59"/>
                    </a:lnTo>
                    <a:lnTo>
                      <a:pt x="255" y="62"/>
                    </a:lnTo>
                    <a:lnTo>
                      <a:pt x="256" y="64"/>
                    </a:lnTo>
                    <a:lnTo>
                      <a:pt x="258" y="64"/>
                    </a:lnTo>
                    <a:lnTo>
                      <a:pt x="258" y="64"/>
                    </a:lnTo>
                    <a:lnTo>
                      <a:pt x="259" y="64"/>
                    </a:lnTo>
                    <a:lnTo>
                      <a:pt x="263" y="65"/>
                    </a:lnTo>
                    <a:lnTo>
                      <a:pt x="264" y="65"/>
                    </a:lnTo>
                    <a:lnTo>
                      <a:pt x="266" y="67"/>
                    </a:lnTo>
                    <a:lnTo>
                      <a:pt x="270" y="68"/>
                    </a:lnTo>
                    <a:lnTo>
                      <a:pt x="272" y="70"/>
                    </a:lnTo>
                    <a:lnTo>
                      <a:pt x="272" y="72"/>
                    </a:lnTo>
                    <a:lnTo>
                      <a:pt x="270" y="73"/>
                    </a:lnTo>
                    <a:lnTo>
                      <a:pt x="270" y="73"/>
                    </a:lnTo>
                    <a:lnTo>
                      <a:pt x="269" y="73"/>
                    </a:lnTo>
                    <a:lnTo>
                      <a:pt x="269" y="73"/>
                    </a:lnTo>
                    <a:lnTo>
                      <a:pt x="266" y="72"/>
                    </a:lnTo>
                    <a:lnTo>
                      <a:pt x="263" y="72"/>
                    </a:lnTo>
                    <a:lnTo>
                      <a:pt x="259" y="72"/>
                    </a:lnTo>
                    <a:lnTo>
                      <a:pt x="256" y="72"/>
                    </a:lnTo>
                    <a:lnTo>
                      <a:pt x="253" y="72"/>
                    </a:lnTo>
                    <a:lnTo>
                      <a:pt x="253" y="72"/>
                    </a:lnTo>
                    <a:lnTo>
                      <a:pt x="253" y="73"/>
                    </a:lnTo>
                    <a:lnTo>
                      <a:pt x="253" y="73"/>
                    </a:lnTo>
                    <a:lnTo>
                      <a:pt x="252" y="76"/>
                    </a:lnTo>
                    <a:lnTo>
                      <a:pt x="250" y="76"/>
                    </a:lnTo>
                    <a:lnTo>
                      <a:pt x="249" y="79"/>
                    </a:lnTo>
                    <a:lnTo>
                      <a:pt x="249" y="81"/>
                    </a:lnTo>
                    <a:lnTo>
                      <a:pt x="250" y="84"/>
                    </a:lnTo>
                    <a:lnTo>
                      <a:pt x="252" y="89"/>
                    </a:lnTo>
                    <a:lnTo>
                      <a:pt x="253" y="90"/>
                    </a:lnTo>
                    <a:lnTo>
                      <a:pt x="253" y="90"/>
                    </a:lnTo>
                    <a:lnTo>
                      <a:pt x="252" y="92"/>
                    </a:lnTo>
                    <a:lnTo>
                      <a:pt x="250" y="93"/>
                    </a:lnTo>
                    <a:lnTo>
                      <a:pt x="247" y="97"/>
                    </a:lnTo>
                    <a:lnTo>
                      <a:pt x="244" y="97"/>
                    </a:lnTo>
                    <a:lnTo>
                      <a:pt x="242" y="97"/>
                    </a:lnTo>
                    <a:lnTo>
                      <a:pt x="239" y="100"/>
                    </a:lnTo>
                    <a:lnTo>
                      <a:pt x="236" y="101"/>
                    </a:lnTo>
                    <a:lnTo>
                      <a:pt x="236" y="103"/>
                    </a:lnTo>
                    <a:lnTo>
                      <a:pt x="236" y="103"/>
                    </a:lnTo>
                    <a:lnTo>
                      <a:pt x="241" y="104"/>
                    </a:lnTo>
                    <a:lnTo>
                      <a:pt x="242" y="106"/>
                    </a:lnTo>
                    <a:lnTo>
                      <a:pt x="242" y="109"/>
                    </a:lnTo>
                    <a:lnTo>
                      <a:pt x="242" y="109"/>
                    </a:lnTo>
                    <a:lnTo>
                      <a:pt x="244" y="111"/>
                    </a:lnTo>
                    <a:lnTo>
                      <a:pt x="245" y="111"/>
                    </a:lnTo>
                    <a:lnTo>
                      <a:pt x="252" y="114"/>
                    </a:lnTo>
                    <a:lnTo>
                      <a:pt x="253" y="114"/>
                    </a:lnTo>
                    <a:lnTo>
                      <a:pt x="253" y="115"/>
                    </a:lnTo>
                    <a:lnTo>
                      <a:pt x="259" y="115"/>
                    </a:lnTo>
                    <a:lnTo>
                      <a:pt x="259" y="117"/>
                    </a:lnTo>
                    <a:lnTo>
                      <a:pt x="263" y="120"/>
                    </a:lnTo>
                    <a:lnTo>
                      <a:pt x="263" y="122"/>
                    </a:lnTo>
                    <a:lnTo>
                      <a:pt x="261" y="125"/>
                    </a:lnTo>
                    <a:lnTo>
                      <a:pt x="261" y="129"/>
                    </a:lnTo>
                    <a:lnTo>
                      <a:pt x="259" y="133"/>
                    </a:lnTo>
                    <a:lnTo>
                      <a:pt x="256" y="134"/>
                    </a:lnTo>
                    <a:lnTo>
                      <a:pt x="252" y="137"/>
                    </a:lnTo>
                    <a:lnTo>
                      <a:pt x="247" y="137"/>
                    </a:lnTo>
                    <a:lnTo>
                      <a:pt x="244" y="137"/>
                    </a:lnTo>
                    <a:lnTo>
                      <a:pt x="244" y="137"/>
                    </a:lnTo>
                    <a:lnTo>
                      <a:pt x="242" y="137"/>
                    </a:lnTo>
                    <a:lnTo>
                      <a:pt x="241" y="137"/>
                    </a:lnTo>
                    <a:lnTo>
                      <a:pt x="238" y="134"/>
                    </a:lnTo>
                    <a:lnTo>
                      <a:pt x="238" y="133"/>
                    </a:lnTo>
                    <a:lnTo>
                      <a:pt x="238" y="133"/>
                    </a:lnTo>
                    <a:lnTo>
                      <a:pt x="236" y="133"/>
                    </a:lnTo>
                    <a:lnTo>
                      <a:pt x="236" y="133"/>
                    </a:lnTo>
                    <a:lnTo>
                      <a:pt x="234" y="133"/>
                    </a:lnTo>
                    <a:lnTo>
                      <a:pt x="234" y="134"/>
                    </a:lnTo>
                    <a:lnTo>
                      <a:pt x="233" y="137"/>
                    </a:lnTo>
                    <a:lnTo>
                      <a:pt x="231" y="140"/>
                    </a:lnTo>
                    <a:lnTo>
                      <a:pt x="231" y="140"/>
                    </a:lnTo>
                    <a:lnTo>
                      <a:pt x="227" y="142"/>
                    </a:lnTo>
                    <a:lnTo>
                      <a:pt x="227" y="142"/>
                    </a:lnTo>
                    <a:lnTo>
                      <a:pt x="227" y="142"/>
                    </a:lnTo>
                    <a:lnTo>
                      <a:pt x="227" y="140"/>
                    </a:lnTo>
                    <a:lnTo>
                      <a:pt x="227" y="140"/>
                    </a:lnTo>
                    <a:lnTo>
                      <a:pt x="227" y="139"/>
                    </a:lnTo>
                    <a:lnTo>
                      <a:pt x="227" y="139"/>
                    </a:lnTo>
                    <a:lnTo>
                      <a:pt x="225" y="139"/>
                    </a:lnTo>
                    <a:lnTo>
                      <a:pt x="220" y="139"/>
                    </a:lnTo>
                    <a:lnTo>
                      <a:pt x="219" y="137"/>
                    </a:lnTo>
                    <a:lnTo>
                      <a:pt x="217" y="137"/>
                    </a:lnTo>
                    <a:lnTo>
                      <a:pt x="216" y="137"/>
                    </a:lnTo>
                    <a:lnTo>
                      <a:pt x="214" y="136"/>
                    </a:lnTo>
                    <a:lnTo>
                      <a:pt x="211" y="133"/>
                    </a:lnTo>
                    <a:lnTo>
                      <a:pt x="209" y="129"/>
                    </a:lnTo>
                    <a:lnTo>
                      <a:pt x="209" y="129"/>
                    </a:lnTo>
                    <a:lnTo>
                      <a:pt x="206" y="126"/>
                    </a:lnTo>
                    <a:lnTo>
                      <a:pt x="203" y="126"/>
                    </a:lnTo>
                    <a:lnTo>
                      <a:pt x="203" y="126"/>
                    </a:lnTo>
                    <a:lnTo>
                      <a:pt x="200" y="126"/>
                    </a:lnTo>
                    <a:lnTo>
                      <a:pt x="197" y="126"/>
                    </a:lnTo>
                    <a:lnTo>
                      <a:pt x="197" y="126"/>
                    </a:lnTo>
                    <a:lnTo>
                      <a:pt x="197" y="126"/>
                    </a:lnTo>
                    <a:lnTo>
                      <a:pt x="197" y="126"/>
                    </a:lnTo>
                    <a:lnTo>
                      <a:pt x="195" y="128"/>
                    </a:lnTo>
                    <a:lnTo>
                      <a:pt x="195" y="129"/>
                    </a:lnTo>
                    <a:lnTo>
                      <a:pt x="194" y="131"/>
                    </a:lnTo>
                    <a:lnTo>
                      <a:pt x="192" y="131"/>
                    </a:lnTo>
                    <a:lnTo>
                      <a:pt x="191" y="131"/>
                    </a:lnTo>
                    <a:lnTo>
                      <a:pt x="188" y="129"/>
                    </a:lnTo>
                    <a:lnTo>
                      <a:pt x="186" y="128"/>
                    </a:lnTo>
                    <a:lnTo>
                      <a:pt x="183" y="126"/>
                    </a:lnTo>
                    <a:lnTo>
                      <a:pt x="180" y="128"/>
                    </a:lnTo>
                    <a:lnTo>
                      <a:pt x="178" y="128"/>
                    </a:lnTo>
                    <a:lnTo>
                      <a:pt x="175" y="129"/>
                    </a:lnTo>
                    <a:lnTo>
                      <a:pt x="175" y="128"/>
                    </a:lnTo>
                    <a:lnTo>
                      <a:pt x="175" y="128"/>
                    </a:lnTo>
                    <a:lnTo>
                      <a:pt x="173" y="128"/>
                    </a:lnTo>
                    <a:lnTo>
                      <a:pt x="170" y="129"/>
                    </a:lnTo>
                    <a:lnTo>
                      <a:pt x="167" y="133"/>
                    </a:lnTo>
                    <a:lnTo>
                      <a:pt x="167" y="134"/>
                    </a:lnTo>
                    <a:lnTo>
                      <a:pt x="166" y="136"/>
                    </a:lnTo>
                    <a:lnTo>
                      <a:pt x="164" y="137"/>
                    </a:lnTo>
                    <a:lnTo>
                      <a:pt x="161" y="139"/>
                    </a:lnTo>
                    <a:lnTo>
                      <a:pt x="159" y="140"/>
                    </a:lnTo>
                    <a:lnTo>
                      <a:pt x="156" y="139"/>
                    </a:lnTo>
                    <a:lnTo>
                      <a:pt x="153" y="137"/>
                    </a:lnTo>
                    <a:lnTo>
                      <a:pt x="150" y="136"/>
                    </a:lnTo>
                    <a:lnTo>
                      <a:pt x="147" y="133"/>
                    </a:lnTo>
                    <a:lnTo>
                      <a:pt x="145" y="129"/>
                    </a:lnTo>
                    <a:lnTo>
                      <a:pt x="142" y="128"/>
                    </a:lnTo>
                    <a:lnTo>
                      <a:pt x="141" y="128"/>
                    </a:lnTo>
                    <a:lnTo>
                      <a:pt x="139" y="128"/>
                    </a:lnTo>
                    <a:lnTo>
                      <a:pt x="139" y="129"/>
                    </a:lnTo>
                    <a:lnTo>
                      <a:pt x="139" y="129"/>
                    </a:lnTo>
                    <a:lnTo>
                      <a:pt x="139" y="131"/>
                    </a:lnTo>
                    <a:lnTo>
                      <a:pt x="141" y="131"/>
                    </a:lnTo>
                    <a:lnTo>
                      <a:pt x="141" y="134"/>
                    </a:lnTo>
                    <a:lnTo>
                      <a:pt x="141" y="137"/>
                    </a:lnTo>
                    <a:lnTo>
                      <a:pt x="141" y="140"/>
                    </a:lnTo>
                    <a:lnTo>
                      <a:pt x="141" y="140"/>
                    </a:lnTo>
                    <a:lnTo>
                      <a:pt x="141" y="140"/>
                    </a:lnTo>
                    <a:lnTo>
                      <a:pt x="141" y="140"/>
                    </a:lnTo>
                    <a:lnTo>
                      <a:pt x="139" y="142"/>
                    </a:lnTo>
                    <a:lnTo>
                      <a:pt x="139" y="140"/>
                    </a:lnTo>
                    <a:lnTo>
                      <a:pt x="137" y="140"/>
                    </a:lnTo>
                    <a:lnTo>
                      <a:pt x="137" y="137"/>
                    </a:lnTo>
                    <a:lnTo>
                      <a:pt x="137" y="134"/>
                    </a:lnTo>
                    <a:lnTo>
                      <a:pt x="134" y="131"/>
                    </a:lnTo>
                    <a:lnTo>
                      <a:pt x="133" y="128"/>
                    </a:lnTo>
                    <a:lnTo>
                      <a:pt x="133" y="128"/>
                    </a:lnTo>
                    <a:lnTo>
                      <a:pt x="130" y="125"/>
                    </a:lnTo>
                    <a:lnTo>
                      <a:pt x="130" y="123"/>
                    </a:lnTo>
                    <a:lnTo>
                      <a:pt x="125" y="123"/>
                    </a:lnTo>
                    <a:lnTo>
                      <a:pt x="125" y="122"/>
                    </a:lnTo>
                    <a:lnTo>
                      <a:pt x="122" y="117"/>
                    </a:lnTo>
                    <a:lnTo>
                      <a:pt x="120" y="115"/>
                    </a:lnTo>
                    <a:lnTo>
                      <a:pt x="119" y="115"/>
                    </a:lnTo>
                    <a:lnTo>
                      <a:pt x="117" y="114"/>
                    </a:lnTo>
                    <a:lnTo>
                      <a:pt x="116" y="115"/>
                    </a:lnTo>
                    <a:lnTo>
                      <a:pt x="112" y="115"/>
                    </a:lnTo>
                    <a:lnTo>
                      <a:pt x="111" y="115"/>
                    </a:lnTo>
                    <a:lnTo>
                      <a:pt x="109" y="114"/>
                    </a:lnTo>
                    <a:lnTo>
                      <a:pt x="108" y="114"/>
                    </a:lnTo>
                    <a:lnTo>
                      <a:pt x="108" y="114"/>
                    </a:lnTo>
                    <a:lnTo>
                      <a:pt x="106" y="115"/>
                    </a:lnTo>
                    <a:lnTo>
                      <a:pt x="105" y="115"/>
                    </a:lnTo>
                    <a:lnTo>
                      <a:pt x="105" y="115"/>
                    </a:lnTo>
                    <a:lnTo>
                      <a:pt x="103" y="114"/>
                    </a:lnTo>
                    <a:lnTo>
                      <a:pt x="102" y="112"/>
                    </a:lnTo>
                    <a:lnTo>
                      <a:pt x="100" y="109"/>
                    </a:lnTo>
                    <a:lnTo>
                      <a:pt x="98" y="109"/>
                    </a:lnTo>
                    <a:lnTo>
                      <a:pt x="95" y="109"/>
                    </a:lnTo>
                    <a:lnTo>
                      <a:pt x="91" y="112"/>
                    </a:lnTo>
                    <a:lnTo>
                      <a:pt x="87" y="115"/>
                    </a:lnTo>
                    <a:lnTo>
                      <a:pt x="86" y="115"/>
                    </a:lnTo>
                    <a:lnTo>
                      <a:pt x="84" y="115"/>
                    </a:lnTo>
                    <a:lnTo>
                      <a:pt x="83" y="115"/>
                    </a:lnTo>
                    <a:lnTo>
                      <a:pt x="83" y="114"/>
                    </a:lnTo>
                    <a:lnTo>
                      <a:pt x="83" y="114"/>
                    </a:lnTo>
                    <a:lnTo>
                      <a:pt x="81" y="112"/>
                    </a:lnTo>
                    <a:lnTo>
                      <a:pt x="80" y="111"/>
                    </a:lnTo>
                    <a:lnTo>
                      <a:pt x="78" y="109"/>
                    </a:lnTo>
                    <a:lnTo>
                      <a:pt x="75" y="107"/>
                    </a:lnTo>
                    <a:lnTo>
                      <a:pt x="73" y="107"/>
                    </a:lnTo>
                    <a:lnTo>
                      <a:pt x="73" y="109"/>
                    </a:lnTo>
                    <a:lnTo>
                      <a:pt x="70" y="112"/>
                    </a:lnTo>
                    <a:lnTo>
                      <a:pt x="69" y="114"/>
                    </a:lnTo>
                    <a:lnTo>
                      <a:pt x="66" y="118"/>
                    </a:lnTo>
                    <a:lnTo>
                      <a:pt x="66" y="120"/>
                    </a:lnTo>
                    <a:lnTo>
                      <a:pt x="64" y="120"/>
                    </a:lnTo>
                    <a:lnTo>
                      <a:pt x="61" y="122"/>
                    </a:lnTo>
                    <a:lnTo>
                      <a:pt x="59" y="122"/>
                    </a:lnTo>
                    <a:lnTo>
                      <a:pt x="58" y="123"/>
                    </a:lnTo>
                    <a:lnTo>
                      <a:pt x="56" y="125"/>
                    </a:lnTo>
                    <a:lnTo>
                      <a:pt x="53" y="125"/>
                    </a:lnTo>
                    <a:lnTo>
                      <a:pt x="52" y="126"/>
                    </a:lnTo>
                    <a:lnTo>
                      <a:pt x="50" y="126"/>
                    </a:lnTo>
                    <a:lnTo>
                      <a:pt x="50" y="128"/>
                    </a:lnTo>
                    <a:lnTo>
                      <a:pt x="48" y="129"/>
                    </a:lnTo>
                    <a:lnTo>
                      <a:pt x="48" y="133"/>
                    </a:lnTo>
                    <a:lnTo>
                      <a:pt x="47" y="133"/>
                    </a:lnTo>
                    <a:lnTo>
                      <a:pt x="45" y="134"/>
                    </a:lnTo>
                    <a:lnTo>
                      <a:pt x="44" y="136"/>
                    </a:lnTo>
                    <a:lnTo>
                      <a:pt x="41" y="139"/>
                    </a:lnTo>
                    <a:lnTo>
                      <a:pt x="41" y="139"/>
                    </a:lnTo>
                    <a:lnTo>
                      <a:pt x="39" y="139"/>
                    </a:lnTo>
                    <a:lnTo>
                      <a:pt x="37" y="139"/>
                    </a:lnTo>
                    <a:lnTo>
                      <a:pt x="36" y="139"/>
                    </a:lnTo>
                    <a:lnTo>
                      <a:pt x="36" y="139"/>
                    </a:lnTo>
                    <a:lnTo>
                      <a:pt x="36" y="139"/>
                    </a:lnTo>
                    <a:lnTo>
                      <a:pt x="36" y="140"/>
                    </a:lnTo>
                    <a:lnTo>
                      <a:pt x="37" y="147"/>
                    </a:lnTo>
                    <a:lnTo>
                      <a:pt x="37" y="150"/>
                    </a:lnTo>
                    <a:lnTo>
                      <a:pt x="37" y="151"/>
                    </a:lnTo>
                    <a:lnTo>
                      <a:pt x="39" y="153"/>
                    </a:lnTo>
                    <a:lnTo>
                      <a:pt x="39" y="156"/>
                    </a:lnTo>
                    <a:lnTo>
                      <a:pt x="39" y="156"/>
                    </a:lnTo>
                    <a:lnTo>
                      <a:pt x="39" y="158"/>
                    </a:lnTo>
                    <a:lnTo>
                      <a:pt x="37" y="158"/>
                    </a:lnTo>
                    <a:lnTo>
                      <a:pt x="36" y="159"/>
                    </a:lnTo>
                    <a:lnTo>
                      <a:pt x="34" y="159"/>
                    </a:lnTo>
                    <a:lnTo>
                      <a:pt x="33" y="161"/>
                    </a:lnTo>
                    <a:lnTo>
                      <a:pt x="30" y="159"/>
                    </a:lnTo>
                    <a:lnTo>
                      <a:pt x="28" y="158"/>
                    </a:lnTo>
                    <a:lnTo>
                      <a:pt x="28" y="156"/>
                    </a:lnTo>
                    <a:lnTo>
                      <a:pt x="25" y="153"/>
                    </a:lnTo>
                    <a:lnTo>
                      <a:pt x="22" y="148"/>
                    </a:lnTo>
                    <a:lnTo>
                      <a:pt x="19" y="145"/>
                    </a:lnTo>
                    <a:lnTo>
                      <a:pt x="19" y="145"/>
                    </a:lnTo>
                    <a:lnTo>
                      <a:pt x="17" y="145"/>
                    </a:lnTo>
                    <a:lnTo>
                      <a:pt x="16" y="145"/>
                    </a:lnTo>
                    <a:lnTo>
                      <a:pt x="14" y="147"/>
                    </a:lnTo>
                    <a:lnTo>
                      <a:pt x="14" y="147"/>
                    </a:lnTo>
                    <a:lnTo>
                      <a:pt x="12" y="148"/>
                    </a:lnTo>
                    <a:lnTo>
                      <a:pt x="12" y="150"/>
                    </a:lnTo>
                    <a:lnTo>
                      <a:pt x="12" y="154"/>
                    </a:lnTo>
                    <a:lnTo>
                      <a:pt x="12" y="154"/>
                    </a:lnTo>
                    <a:lnTo>
                      <a:pt x="11" y="156"/>
                    </a:lnTo>
                    <a:lnTo>
                      <a:pt x="11" y="156"/>
                    </a:lnTo>
                    <a:lnTo>
                      <a:pt x="11" y="156"/>
                    </a:lnTo>
                    <a:lnTo>
                      <a:pt x="9" y="158"/>
                    </a:lnTo>
                    <a:lnTo>
                      <a:pt x="9" y="158"/>
                    </a:lnTo>
                    <a:lnTo>
                      <a:pt x="6" y="159"/>
                    </a:lnTo>
                    <a:lnTo>
                      <a:pt x="6" y="162"/>
                    </a:lnTo>
                    <a:lnTo>
                      <a:pt x="5" y="164"/>
                    </a:lnTo>
                    <a:lnTo>
                      <a:pt x="3" y="170"/>
                    </a:lnTo>
                    <a:lnTo>
                      <a:pt x="3" y="173"/>
                    </a:lnTo>
                    <a:lnTo>
                      <a:pt x="5" y="175"/>
                    </a:lnTo>
                    <a:lnTo>
                      <a:pt x="6" y="176"/>
                    </a:lnTo>
                    <a:lnTo>
                      <a:pt x="6" y="176"/>
                    </a:lnTo>
                    <a:lnTo>
                      <a:pt x="8" y="178"/>
                    </a:lnTo>
                    <a:lnTo>
                      <a:pt x="8" y="178"/>
                    </a:lnTo>
                    <a:lnTo>
                      <a:pt x="8" y="179"/>
                    </a:lnTo>
                    <a:lnTo>
                      <a:pt x="8" y="179"/>
                    </a:lnTo>
                    <a:lnTo>
                      <a:pt x="6" y="183"/>
                    </a:lnTo>
                    <a:lnTo>
                      <a:pt x="5" y="184"/>
                    </a:lnTo>
                    <a:lnTo>
                      <a:pt x="1" y="187"/>
                    </a:lnTo>
                    <a:lnTo>
                      <a:pt x="0" y="194"/>
                    </a:lnTo>
                    <a:lnTo>
                      <a:pt x="1" y="198"/>
                    </a:lnTo>
                    <a:lnTo>
                      <a:pt x="5" y="201"/>
                    </a:lnTo>
                    <a:lnTo>
                      <a:pt x="6" y="201"/>
                    </a:lnTo>
                    <a:lnTo>
                      <a:pt x="8" y="203"/>
                    </a:lnTo>
                    <a:lnTo>
                      <a:pt x="9" y="206"/>
                    </a:lnTo>
                    <a:lnTo>
                      <a:pt x="9" y="209"/>
                    </a:lnTo>
                    <a:lnTo>
                      <a:pt x="8" y="211"/>
                    </a:lnTo>
                    <a:lnTo>
                      <a:pt x="9" y="212"/>
                    </a:lnTo>
                    <a:lnTo>
                      <a:pt x="11" y="215"/>
                    </a:lnTo>
                    <a:lnTo>
                      <a:pt x="12" y="215"/>
                    </a:lnTo>
                    <a:lnTo>
                      <a:pt x="12" y="215"/>
                    </a:lnTo>
                    <a:lnTo>
                      <a:pt x="14" y="215"/>
                    </a:lnTo>
                    <a:lnTo>
                      <a:pt x="16" y="214"/>
                    </a:lnTo>
                    <a:lnTo>
                      <a:pt x="17" y="215"/>
                    </a:lnTo>
                    <a:lnTo>
                      <a:pt x="23" y="215"/>
                    </a:lnTo>
                    <a:lnTo>
                      <a:pt x="26" y="215"/>
                    </a:lnTo>
                    <a:lnTo>
                      <a:pt x="26" y="215"/>
                    </a:lnTo>
                    <a:lnTo>
                      <a:pt x="28" y="217"/>
                    </a:lnTo>
                    <a:lnTo>
                      <a:pt x="30" y="220"/>
                    </a:lnTo>
                    <a:lnTo>
                      <a:pt x="31" y="223"/>
                    </a:lnTo>
                    <a:lnTo>
                      <a:pt x="34" y="226"/>
                    </a:lnTo>
                    <a:lnTo>
                      <a:pt x="34" y="228"/>
                    </a:lnTo>
                    <a:lnTo>
                      <a:pt x="34" y="228"/>
                    </a:lnTo>
                    <a:lnTo>
                      <a:pt x="37" y="233"/>
                    </a:lnTo>
                    <a:lnTo>
                      <a:pt x="39" y="236"/>
                    </a:lnTo>
                    <a:lnTo>
                      <a:pt x="41" y="241"/>
                    </a:lnTo>
                    <a:lnTo>
                      <a:pt x="41" y="242"/>
                    </a:lnTo>
                    <a:lnTo>
                      <a:pt x="41" y="242"/>
                    </a:lnTo>
                    <a:lnTo>
                      <a:pt x="41" y="242"/>
                    </a:lnTo>
                    <a:lnTo>
                      <a:pt x="37" y="242"/>
                    </a:lnTo>
                    <a:lnTo>
                      <a:pt x="36" y="242"/>
                    </a:lnTo>
                    <a:lnTo>
                      <a:pt x="36" y="242"/>
                    </a:lnTo>
                    <a:lnTo>
                      <a:pt x="34" y="241"/>
                    </a:lnTo>
                    <a:lnTo>
                      <a:pt x="34" y="242"/>
                    </a:lnTo>
                    <a:lnTo>
                      <a:pt x="33" y="242"/>
                    </a:lnTo>
                    <a:lnTo>
                      <a:pt x="33" y="244"/>
                    </a:lnTo>
                    <a:lnTo>
                      <a:pt x="33" y="244"/>
                    </a:lnTo>
                    <a:lnTo>
                      <a:pt x="34" y="245"/>
                    </a:lnTo>
                    <a:lnTo>
                      <a:pt x="34" y="247"/>
                    </a:lnTo>
                    <a:lnTo>
                      <a:pt x="36" y="247"/>
                    </a:lnTo>
                    <a:lnTo>
                      <a:pt x="37" y="248"/>
                    </a:lnTo>
                    <a:lnTo>
                      <a:pt x="41" y="250"/>
                    </a:lnTo>
                    <a:lnTo>
                      <a:pt x="45" y="251"/>
                    </a:lnTo>
                    <a:lnTo>
                      <a:pt x="45" y="251"/>
                    </a:lnTo>
                    <a:lnTo>
                      <a:pt x="45" y="251"/>
                    </a:lnTo>
                    <a:lnTo>
                      <a:pt x="47" y="250"/>
                    </a:lnTo>
                    <a:lnTo>
                      <a:pt x="48" y="250"/>
                    </a:lnTo>
                    <a:lnTo>
                      <a:pt x="48" y="248"/>
                    </a:lnTo>
                    <a:lnTo>
                      <a:pt x="48" y="247"/>
                    </a:lnTo>
                    <a:lnTo>
                      <a:pt x="50" y="247"/>
                    </a:lnTo>
                    <a:lnTo>
                      <a:pt x="52" y="247"/>
                    </a:lnTo>
                    <a:lnTo>
                      <a:pt x="53" y="247"/>
                    </a:lnTo>
                    <a:lnTo>
                      <a:pt x="55" y="247"/>
                    </a:lnTo>
                    <a:lnTo>
                      <a:pt x="58" y="245"/>
                    </a:lnTo>
                    <a:lnTo>
                      <a:pt x="59" y="245"/>
                    </a:lnTo>
                    <a:lnTo>
                      <a:pt x="61" y="244"/>
                    </a:lnTo>
                    <a:lnTo>
                      <a:pt x="66" y="241"/>
                    </a:lnTo>
                    <a:lnTo>
                      <a:pt x="67" y="239"/>
                    </a:lnTo>
                    <a:lnTo>
                      <a:pt x="67" y="239"/>
                    </a:lnTo>
                    <a:lnTo>
                      <a:pt x="69" y="239"/>
                    </a:lnTo>
                    <a:lnTo>
                      <a:pt x="70" y="239"/>
                    </a:lnTo>
                    <a:lnTo>
                      <a:pt x="72" y="237"/>
                    </a:lnTo>
                    <a:lnTo>
                      <a:pt x="72" y="236"/>
                    </a:lnTo>
                    <a:lnTo>
                      <a:pt x="75" y="234"/>
                    </a:lnTo>
                    <a:lnTo>
                      <a:pt x="80" y="233"/>
                    </a:lnTo>
                    <a:lnTo>
                      <a:pt x="83" y="233"/>
                    </a:lnTo>
                    <a:lnTo>
                      <a:pt x="87" y="234"/>
                    </a:lnTo>
                    <a:lnTo>
                      <a:pt x="89" y="234"/>
                    </a:lnTo>
                    <a:lnTo>
                      <a:pt x="91" y="237"/>
                    </a:lnTo>
                    <a:lnTo>
                      <a:pt x="94" y="237"/>
                    </a:lnTo>
                    <a:lnTo>
                      <a:pt x="95" y="237"/>
                    </a:lnTo>
                    <a:lnTo>
                      <a:pt x="97" y="239"/>
                    </a:lnTo>
                    <a:lnTo>
                      <a:pt x="97" y="239"/>
                    </a:lnTo>
                    <a:lnTo>
                      <a:pt x="98" y="239"/>
                    </a:lnTo>
                    <a:lnTo>
                      <a:pt x="100" y="237"/>
                    </a:lnTo>
                    <a:lnTo>
                      <a:pt x="102" y="237"/>
                    </a:lnTo>
                    <a:lnTo>
                      <a:pt x="102" y="236"/>
                    </a:lnTo>
                    <a:lnTo>
                      <a:pt x="103" y="236"/>
                    </a:lnTo>
                    <a:lnTo>
                      <a:pt x="106" y="236"/>
                    </a:lnTo>
                    <a:lnTo>
                      <a:pt x="111" y="236"/>
                    </a:lnTo>
                    <a:lnTo>
                      <a:pt x="112" y="237"/>
                    </a:lnTo>
                    <a:lnTo>
                      <a:pt x="114" y="239"/>
                    </a:lnTo>
                    <a:lnTo>
                      <a:pt x="114" y="242"/>
                    </a:lnTo>
                    <a:lnTo>
                      <a:pt x="116" y="244"/>
                    </a:lnTo>
                    <a:lnTo>
                      <a:pt x="114" y="245"/>
                    </a:lnTo>
                    <a:lnTo>
                      <a:pt x="114" y="247"/>
                    </a:lnTo>
                    <a:lnTo>
                      <a:pt x="114" y="248"/>
                    </a:lnTo>
                    <a:lnTo>
                      <a:pt x="114" y="250"/>
                    </a:lnTo>
                    <a:lnTo>
                      <a:pt x="114" y="256"/>
                    </a:lnTo>
                    <a:lnTo>
                      <a:pt x="112" y="261"/>
                    </a:lnTo>
                    <a:lnTo>
                      <a:pt x="111" y="266"/>
                    </a:lnTo>
                    <a:lnTo>
                      <a:pt x="108" y="272"/>
                    </a:lnTo>
                    <a:lnTo>
                      <a:pt x="109" y="273"/>
                    </a:lnTo>
                    <a:lnTo>
                      <a:pt x="114" y="275"/>
                    </a:lnTo>
                    <a:lnTo>
                      <a:pt x="116" y="278"/>
                    </a:lnTo>
                    <a:lnTo>
                      <a:pt x="114" y="278"/>
                    </a:lnTo>
                    <a:lnTo>
                      <a:pt x="111" y="278"/>
                    </a:lnTo>
                    <a:lnTo>
                      <a:pt x="108" y="276"/>
                    </a:lnTo>
                    <a:lnTo>
                      <a:pt x="105" y="275"/>
                    </a:lnTo>
                    <a:lnTo>
                      <a:pt x="102" y="275"/>
                    </a:lnTo>
                    <a:lnTo>
                      <a:pt x="95" y="276"/>
                    </a:lnTo>
                    <a:lnTo>
                      <a:pt x="91" y="275"/>
                    </a:lnTo>
                    <a:lnTo>
                      <a:pt x="86" y="276"/>
                    </a:lnTo>
                    <a:lnTo>
                      <a:pt x="84" y="276"/>
                    </a:lnTo>
                    <a:lnTo>
                      <a:pt x="83" y="278"/>
                    </a:lnTo>
                    <a:lnTo>
                      <a:pt x="83" y="280"/>
                    </a:lnTo>
                    <a:lnTo>
                      <a:pt x="81" y="283"/>
                    </a:lnTo>
                    <a:lnTo>
                      <a:pt x="80" y="284"/>
                    </a:lnTo>
                    <a:lnTo>
                      <a:pt x="78" y="286"/>
                    </a:lnTo>
                    <a:lnTo>
                      <a:pt x="77" y="287"/>
                    </a:lnTo>
                    <a:lnTo>
                      <a:pt x="78" y="289"/>
                    </a:lnTo>
                    <a:lnTo>
                      <a:pt x="78" y="291"/>
                    </a:lnTo>
                    <a:lnTo>
                      <a:pt x="81" y="292"/>
                    </a:lnTo>
                    <a:lnTo>
                      <a:pt x="83" y="295"/>
                    </a:lnTo>
                    <a:lnTo>
                      <a:pt x="83" y="295"/>
                    </a:lnTo>
                    <a:lnTo>
                      <a:pt x="84" y="295"/>
                    </a:lnTo>
                    <a:lnTo>
                      <a:pt x="86" y="295"/>
                    </a:lnTo>
                    <a:lnTo>
                      <a:pt x="86" y="297"/>
                    </a:lnTo>
                    <a:lnTo>
                      <a:pt x="84" y="297"/>
                    </a:lnTo>
                    <a:lnTo>
                      <a:pt x="83" y="297"/>
                    </a:lnTo>
                    <a:lnTo>
                      <a:pt x="80" y="298"/>
                    </a:lnTo>
                    <a:lnTo>
                      <a:pt x="80" y="298"/>
                    </a:lnTo>
                    <a:lnTo>
                      <a:pt x="78" y="297"/>
                    </a:lnTo>
                    <a:lnTo>
                      <a:pt x="75" y="295"/>
                    </a:lnTo>
                    <a:lnTo>
                      <a:pt x="70" y="295"/>
                    </a:lnTo>
                    <a:lnTo>
                      <a:pt x="67" y="295"/>
                    </a:lnTo>
                    <a:lnTo>
                      <a:pt x="64" y="295"/>
                    </a:lnTo>
                    <a:lnTo>
                      <a:pt x="64" y="297"/>
                    </a:lnTo>
                    <a:lnTo>
                      <a:pt x="64" y="298"/>
                    </a:lnTo>
                    <a:lnTo>
                      <a:pt x="64" y="300"/>
                    </a:lnTo>
                    <a:lnTo>
                      <a:pt x="64" y="302"/>
                    </a:lnTo>
                    <a:lnTo>
                      <a:pt x="66" y="302"/>
                    </a:lnTo>
                    <a:lnTo>
                      <a:pt x="67" y="303"/>
                    </a:lnTo>
                    <a:lnTo>
                      <a:pt x="72" y="303"/>
                    </a:lnTo>
                    <a:lnTo>
                      <a:pt x="73" y="305"/>
                    </a:lnTo>
                    <a:lnTo>
                      <a:pt x="73" y="306"/>
                    </a:lnTo>
                    <a:lnTo>
                      <a:pt x="77" y="311"/>
                    </a:lnTo>
                    <a:lnTo>
                      <a:pt x="78" y="316"/>
                    </a:lnTo>
                    <a:lnTo>
                      <a:pt x="80" y="319"/>
                    </a:lnTo>
                    <a:lnTo>
                      <a:pt x="81" y="320"/>
                    </a:lnTo>
                    <a:lnTo>
                      <a:pt x="81" y="322"/>
                    </a:lnTo>
                    <a:lnTo>
                      <a:pt x="83" y="323"/>
                    </a:lnTo>
                    <a:lnTo>
                      <a:pt x="83" y="323"/>
                    </a:lnTo>
                    <a:lnTo>
                      <a:pt x="83" y="325"/>
                    </a:lnTo>
                    <a:lnTo>
                      <a:pt x="83" y="328"/>
                    </a:lnTo>
                    <a:lnTo>
                      <a:pt x="83" y="330"/>
                    </a:lnTo>
                    <a:lnTo>
                      <a:pt x="83" y="330"/>
                    </a:lnTo>
                    <a:lnTo>
                      <a:pt x="86" y="330"/>
                    </a:lnTo>
                    <a:lnTo>
                      <a:pt x="87" y="331"/>
                    </a:lnTo>
                    <a:lnTo>
                      <a:pt x="89" y="331"/>
                    </a:lnTo>
                    <a:lnTo>
                      <a:pt x="91" y="334"/>
                    </a:lnTo>
                    <a:lnTo>
                      <a:pt x="91" y="336"/>
                    </a:lnTo>
                    <a:lnTo>
                      <a:pt x="92" y="336"/>
                    </a:lnTo>
                    <a:lnTo>
                      <a:pt x="92" y="338"/>
                    </a:lnTo>
                    <a:lnTo>
                      <a:pt x="94" y="338"/>
                    </a:lnTo>
                    <a:lnTo>
                      <a:pt x="95" y="338"/>
                    </a:lnTo>
                    <a:lnTo>
                      <a:pt x="95" y="338"/>
                    </a:lnTo>
                    <a:lnTo>
                      <a:pt x="98" y="338"/>
                    </a:lnTo>
                    <a:lnTo>
                      <a:pt x="100" y="339"/>
                    </a:lnTo>
                    <a:lnTo>
                      <a:pt x="100" y="339"/>
                    </a:lnTo>
                    <a:lnTo>
                      <a:pt x="102" y="339"/>
                    </a:lnTo>
                    <a:lnTo>
                      <a:pt x="103" y="339"/>
                    </a:lnTo>
                    <a:lnTo>
                      <a:pt x="105" y="339"/>
                    </a:lnTo>
                    <a:lnTo>
                      <a:pt x="105" y="341"/>
                    </a:lnTo>
                    <a:lnTo>
                      <a:pt x="106" y="345"/>
                    </a:lnTo>
                    <a:lnTo>
                      <a:pt x="105" y="348"/>
                    </a:lnTo>
                    <a:lnTo>
                      <a:pt x="105" y="350"/>
                    </a:lnTo>
                    <a:lnTo>
                      <a:pt x="103" y="353"/>
                    </a:lnTo>
                    <a:lnTo>
                      <a:pt x="103" y="356"/>
                    </a:lnTo>
                    <a:lnTo>
                      <a:pt x="103" y="356"/>
                    </a:lnTo>
                    <a:lnTo>
                      <a:pt x="103" y="361"/>
                    </a:lnTo>
                    <a:lnTo>
                      <a:pt x="103" y="363"/>
                    </a:lnTo>
                    <a:lnTo>
                      <a:pt x="106" y="359"/>
                    </a:lnTo>
                    <a:lnTo>
                      <a:pt x="109" y="356"/>
                    </a:lnTo>
                    <a:lnTo>
                      <a:pt x="112" y="355"/>
                    </a:lnTo>
                    <a:lnTo>
                      <a:pt x="112" y="355"/>
                    </a:lnTo>
                    <a:lnTo>
                      <a:pt x="117" y="353"/>
                    </a:lnTo>
                    <a:lnTo>
                      <a:pt x="117" y="353"/>
                    </a:lnTo>
                    <a:lnTo>
                      <a:pt x="120" y="352"/>
                    </a:lnTo>
                    <a:lnTo>
                      <a:pt x="120" y="352"/>
                    </a:lnTo>
                    <a:lnTo>
                      <a:pt x="123" y="352"/>
                    </a:lnTo>
                    <a:lnTo>
                      <a:pt x="125" y="352"/>
                    </a:lnTo>
                    <a:lnTo>
                      <a:pt x="128" y="350"/>
                    </a:lnTo>
                    <a:lnTo>
                      <a:pt x="130" y="350"/>
                    </a:lnTo>
                    <a:lnTo>
                      <a:pt x="131" y="350"/>
                    </a:lnTo>
                    <a:lnTo>
                      <a:pt x="133" y="352"/>
                    </a:lnTo>
                    <a:lnTo>
                      <a:pt x="134" y="352"/>
                    </a:lnTo>
                    <a:lnTo>
                      <a:pt x="137" y="353"/>
                    </a:lnTo>
                    <a:lnTo>
                      <a:pt x="137" y="353"/>
                    </a:lnTo>
                    <a:lnTo>
                      <a:pt x="142" y="356"/>
                    </a:lnTo>
                    <a:lnTo>
                      <a:pt x="145" y="359"/>
                    </a:lnTo>
                    <a:lnTo>
                      <a:pt x="145" y="359"/>
                    </a:lnTo>
                    <a:lnTo>
                      <a:pt x="145" y="359"/>
                    </a:lnTo>
                    <a:lnTo>
                      <a:pt x="145" y="361"/>
                    </a:lnTo>
                    <a:lnTo>
                      <a:pt x="147" y="363"/>
                    </a:lnTo>
                    <a:lnTo>
                      <a:pt x="148" y="367"/>
                    </a:lnTo>
                    <a:lnTo>
                      <a:pt x="150" y="369"/>
                    </a:lnTo>
                    <a:lnTo>
                      <a:pt x="152" y="370"/>
                    </a:lnTo>
                    <a:lnTo>
                      <a:pt x="153" y="372"/>
                    </a:lnTo>
                    <a:lnTo>
                      <a:pt x="153" y="372"/>
                    </a:lnTo>
                    <a:lnTo>
                      <a:pt x="155" y="374"/>
                    </a:lnTo>
                    <a:lnTo>
                      <a:pt x="155" y="375"/>
                    </a:lnTo>
                    <a:lnTo>
                      <a:pt x="156" y="375"/>
                    </a:lnTo>
                    <a:lnTo>
                      <a:pt x="156" y="375"/>
                    </a:lnTo>
                    <a:lnTo>
                      <a:pt x="159" y="375"/>
                    </a:lnTo>
                    <a:lnTo>
                      <a:pt x="163" y="374"/>
                    </a:lnTo>
                    <a:lnTo>
                      <a:pt x="164" y="374"/>
                    </a:lnTo>
                    <a:lnTo>
                      <a:pt x="164" y="374"/>
                    </a:lnTo>
                    <a:lnTo>
                      <a:pt x="164" y="374"/>
                    </a:lnTo>
                    <a:lnTo>
                      <a:pt x="164" y="286"/>
                    </a:lnTo>
                    <a:lnTo>
                      <a:pt x="167" y="284"/>
                    </a:lnTo>
                    <a:lnTo>
                      <a:pt x="169" y="284"/>
                    </a:lnTo>
                    <a:lnTo>
                      <a:pt x="172" y="283"/>
                    </a:lnTo>
                    <a:lnTo>
                      <a:pt x="175" y="283"/>
                    </a:lnTo>
                    <a:lnTo>
                      <a:pt x="178" y="281"/>
                    </a:lnTo>
                    <a:lnTo>
                      <a:pt x="178" y="281"/>
                    </a:lnTo>
                    <a:lnTo>
                      <a:pt x="181" y="280"/>
                    </a:lnTo>
                    <a:lnTo>
                      <a:pt x="186" y="280"/>
                    </a:lnTo>
                    <a:lnTo>
                      <a:pt x="188" y="278"/>
                    </a:lnTo>
                    <a:lnTo>
                      <a:pt x="191" y="276"/>
                    </a:lnTo>
                    <a:lnTo>
                      <a:pt x="194" y="276"/>
                    </a:lnTo>
                    <a:lnTo>
                      <a:pt x="198" y="275"/>
                    </a:lnTo>
                    <a:lnTo>
                      <a:pt x="205" y="273"/>
                    </a:lnTo>
                    <a:lnTo>
                      <a:pt x="205" y="273"/>
                    </a:lnTo>
                    <a:lnTo>
                      <a:pt x="208" y="272"/>
                    </a:lnTo>
                    <a:lnTo>
                      <a:pt x="209" y="272"/>
                    </a:lnTo>
                    <a:lnTo>
                      <a:pt x="211" y="273"/>
                    </a:lnTo>
                    <a:lnTo>
                      <a:pt x="214" y="275"/>
                    </a:lnTo>
                    <a:lnTo>
                      <a:pt x="216" y="276"/>
                    </a:lnTo>
                    <a:lnTo>
                      <a:pt x="219" y="278"/>
                    </a:lnTo>
                    <a:lnTo>
                      <a:pt x="222" y="280"/>
                    </a:lnTo>
                    <a:lnTo>
                      <a:pt x="223" y="281"/>
                    </a:lnTo>
                    <a:lnTo>
                      <a:pt x="227" y="283"/>
                    </a:lnTo>
                    <a:lnTo>
                      <a:pt x="231" y="286"/>
                    </a:lnTo>
                    <a:lnTo>
                      <a:pt x="233" y="287"/>
                    </a:lnTo>
                    <a:lnTo>
                      <a:pt x="236" y="289"/>
                    </a:lnTo>
                    <a:lnTo>
                      <a:pt x="244" y="294"/>
                    </a:lnTo>
                    <a:lnTo>
                      <a:pt x="244" y="295"/>
                    </a:lnTo>
                    <a:lnTo>
                      <a:pt x="245" y="295"/>
                    </a:lnTo>
                    <a:lnTo>
                      <a:pt x="249" y="297"/>
                    </a:lnTo>
                    <a:lnTo>
                      <a:pt x="250" y="298"/>
                    </a:lnTo>
                    <a:lnTo>
                      <a:pt x="253" y="300"/>
                    </a:lnTo>
                    <a:lnTo>
                      <a:pt x="253" y="302"/>
                    </a:lnTo>
                    <a:lnTo>
                      <a:pt x="255" y="305"/>
                    </a:lnTo>
                    <a:lnTo>
                      <a:pt x="255" y="306"/>
                    </a:lnTo>
                    <a:lnTo>
                      <a:pt x="258" y="308"/>
                    </a:lnTo>
                    <a:lnTo>
                      <a:pt x="259" y="311"/>
                    </a:lnTo>
                    <a:lnTo>
                      <a:pt x="261" y="312"/>
                    </a:lnTo>
                    <a:lnTo>
                      <a:pt x="264" y="316"/>
                    </a:lnTo>
                    <a:lnTo>
                      <a:pt x="266" y="317"/>
                    </a:lnTo>
                    <a:lnTo>
                      <a:pt x="269" y="320"/>
                    </a:lnTo>
                    <a:lnTo>
                      <a:pt x="270" y="322"/>
                    </a:lnTo>
                    <a:lnTo>
                      <a:pt x="272" y="322"/>
                    </a:lnTo>
                    <a:lnTo>
                      <a:pt x="274" y="322"/>
                    </a:lnTo>
                    <a:lnTo>
                      <a:pt x="278" y="322"/>
                    </a:lnTo>
                    <a:lnTo>
                      <a:pt x="281" y="320"/>
                    </a:lnTo>
                    <a:lnTo>
                      <a:pt x="284" y="320"/>
                    </a:lnTo>
                    <a:lnTo>
                      <a:pt x="289" y="320"/>
                    </a:lnTo>
                    <a:lnTo>
                      <a:pt x="291" y="319"/>
                    </a:lnTo>
                    <a:lnTo>
                      <a:pt x="295" y="320"/>
                    </a:lnTo>
                    <a:lnTo>
                      <a:pt x="300" y="320"/>
                    </a:lnTo>
                    <a:lnTo>
                      <a:pt x="303" y="320"/>
                    </a:lnTo>
                    <a:lnTo>
                      <a:pt x="305" y="320"/>
                    </a:lnTo>
                    <a:lnTo>
                      <a:pt x="309" y="320"/>
                    </a:lnTo>
                    <a:lnTo>
                      <a:pt x="311" y="320"/>
                    </a:lnTo>
                    <a:lnTo>
                      <a:pt x="313" y="320"/>
                    </a:lnTo>
                    <a:lnTo>
                      <a:pt x="314" y="320"/>
                    </a:lnTo>
                    <a:lnTo>
                      <a:pt x="316" y="320"/>
                    </a:lnTo>
                    <a:lnTo>
                      <a:pt x="317" y="319"/>
                    </a:lnTo>
                    <a:lnTo>
                      <a:pt x="319" y="317"/>
                    </a:lnTo>
                    <a:lnTo>
                      <a:pt x="320" y="317"/>
                    </a:lnTo>
                    <a:lnTo>
                      <a:pt x="322" y="319"/>
                    </a:lnTo>
                    <a:lnTo>
                      <a:pt x="324" y="320"/>
                    </a:lnTo>
                    <a:lnTo>
                      <a:pt x="325" y="322"/>
                    </a:lnTo>
                    <a:lnTo>
                      <a:pt x="327" y="325"/>
                    </a:lnTo>
                    <a:lnTo>
                      <a:pt x="330" y="325"/>
                    </a:lnTo>
                    <a:lnTo>
                      <a:pt x="331" y="327"/>
                    </a:lnTo>
                    <a:lnTo>
                      <a:pt x="333" y="330"/>
                    </a:lnTo>
                    <a:lnTo>
                      <a:pt x="335" y="333"/>
                    </a:lnTo>
                    <a:lnTo>
                      <a:pt x="336" y="334"/>
                    </a:lnTo>
                    <a:lnTo>
                      <a:pt x="336" y="338"/>
                    </a:lnTo>
                    <a:lnTo>
                      <a:pt x="339" y="336"/>
                    </a:lnTo>
                    <a:lnTo>
                      <a:pt x="341" y="336"/>
                    </a:lnTo>
                    <a:lnTo>
                      <a:pt x="342" y="334"/>
                    </a:lnTo>
                    <a:lnTo>
                      <a:pt x="342" y="338"/>
                    </a:lnTo>
                    <a:lnTo>
                      <a:pt x="342" y="339"/>
                    </a:lnTo>
                    <a:lnTo>
                      <a:pt x="341" y="344"/>
                    </a:lnTo>
                    <a:lnTo>
                      <a:pt x="341" y="347"/>
                    </a:lnTo>
                    <a:lnTo>
                      <a:pt x="341" y="350"/>
                    </a:lnTo>
                    <a:lnTo>
                      <a:pt x="341" y="353"/>
                    </a:lnTo>
                    <a:lnTo>
                      <a:pt x="341" y="356"/>
                    </a:lnTo>
                    <a:lnTo>
                      <a:pt x="341" y="358"/>
                    </a:lnTo>
                    <a:lnTo>
                      <a:pt x="344" y="358"/>
                    </a:lnTo>
                    <a:lnTo>
                      <a:pt x="345" y="358"/>
                    </a:lnTo>
                    <a:lnTo>
                      <a:pt x="349" y="358"/>
                    </a:lnTo>
                    <a:lnTo>
                      <a:pt x="349" y="361"/>
                    </a:lnTo>
                    <a:lnTo>
                      <a:pt x="350" y="364"/>
                    </a:lnTo>
                    <a:lnTo>
                      <a:pt x="350" y="367"/>
                    </a:lnTo>
                    <a:lnTo>
                      <a:pt x="350" y="370"/>
                    </a:lnTo>
                    <a:lnTo>
                      <a:pt x="352" y="374"/>
                    </a:lnTo>
                    <a:lnTo>
                      <a:pt x="352" y="375"/>
                    </a:lnTo>
                    <a:lnTo>
                      <a:pt x="353" y="377"/>
                    </a:lnTo>
                    <a:lnTo>
                      <a:pt x="353" y="377"/>
                    </a:lnTo>
                    <a:lnTo>
                      <a:pt x="353" y="378"/>
                    </a:lnTo>
                    <a:lnTo>
                      <a:pt x="353" y="378"/>
                    </a:lnTo>
                    <a:lnTo>
                      <a:pt x="355" y="378"/>
                    </a:lnTo>
                    <a:lnTo>
                      <a:pt x="358" y="378"/>
                    </a:lnTo>
                    <a:lnTo>
                      <a:pt x="361" y="378"/>
                    </a:lnTo>
                    <a:lnTo>
                      <a:pt x="364" y="378"/>
                    </a:lnTo>
                    <a:lnTo>
                      <a:pt x="367" y="377"/>
                    </a:lnTo>
                    <a:lnTo>
                      <a:pt x="370" y="377"/>
                    </a:lnTo>
                    <a:lnTo>
                      <a:pt x="372" y="378"/>
                    </a:lnTo>
                    <a:lnTo>
                      <a:pt x="374" y="377"/>
                    </a:lnTo>
                    <a:lnTo>
                      <a:pt x="374" y="377"/>
                    </a:lnTo>
                    <a:lnTo>
                      <a:pt x="375" y="378"/>
                    </a:lnTo>
                    <a:lnTo>
                      <a:pt x="375" y="380"/>
                    </a:lnTo>
                    <a:lnTo>
                      <a:pt x="377" y="380"/>
                    </a:lnTo>
                    <a:lnTo>
                      <a:pt x="377" y="381"/>
                    </a:lnTo>
                    <a:lnTo>
                      <a:pt x="377" y="383"/>
                    </a:lnTo>
                    <a:lnTo>
                      <a:pt x="377" y="384"/>
                    </a:lnTo>
                    <a:lnTo>
                      <a:pt x="377" y="386"/>
                    </a:lnTo>
                    <a:lnTo>
                      <a:pt x="377" y="388"/>
                    </a:lnTo>
                    <a:lnTo>
                      <a:pt x="377" y="388"/>
                    </a:lnTo>
                    <a:lnTo>
                      <a:pt x="378" y="388"/>
                    </a:lnTo>
                    <a:lnTo>
                      <a:pt x="380" y="389"/>
                    </a:lnTo>
                    <a:lnTo>
                      <a:pt x="383" y="391"/>
                    </a:lnTo>
                    <a:lnTo>
                      <a:pt x="385" y="391"/>
                    </a:lnTo>
                    <a:lnTo>
                      <a:pt x="386" y="391"/>
                    </a:lnTo>
                    <a:lnTo>
                      <a:pt x="386" y="389"/>
                    </a:lnTo>
                    <a:lnTo>
                      <a:pt x="386" y="388"/>
                    </a:lnTo>
                    <a:lnTo>
                      <a:pt x="385" y="388"/>
                    </a:lnTo>
                    <a:lnTo>
                      <a:pt x="385" y="386"/>
                    </a:lnTo>
                    <a:lnTo>
                      <a:pt x="386" y="384"/>
                    </a:lnTo>
                    <a:lnTo>
                      <a:pt x="388" y="383"/>
                    </a:lnTo>
                    <a:lnTo>
                      <a:pt x="388" y="380"/>
                    </a:lnTo>
                    <a:lnTo>
                      <a:pt x="391" y="378"/>
                    </a:lnTo>
                    <a:lnTo>
                      <a:pt x="392" y="377"/>
                    </a:lnTo>
                    <a:lnTo>
                      <a:pt x="394" y="375"/>
                    </a:lnTo>
                    <a:lnTo>
                      <a:pt x="394" y="374"/>
                    </a:lnTo>
                    <a:lnTo>
                      <a:pt x="395" y="372"/>
                    </a:lnTo>
                    <a:lnTo>
                      <a:pt x="397" y="370"/>
                    </a:lnTo>
                    <a:lnTo>
                      <a:pt x="399" y="370"/>
                    </a:lnTo>
                    <a:lnTo>
                      <a:pt x="399" y="370"/>
                    </a:lnTo>
                    <a:lnTo>
                      <a:pt x="400" y="369"/>
                    </a:lnTo>
                    <a:lnTo>
                      <a:pt x="403" y="367"/>
                    </a:lnTo>
                    <a:lnTo>
                      <a:pt x="405" y="366"/>
                    </a:lnTo>
                    <a:lnTo>
                      <a:pt x="406" y="366"/>
                    </a:lnTo>
                    <a:lnTo>
                      <a:pt x="410" y="364"/>
                    </a:lnTo>
                    <a:lnTo>
                      <a:pt x="413" y="363"/>
                    </a:lnTo>
                    <a:lnTo>
                      <a:pt x="413" y="363"/>
                    </a:lnTo>
                    <a:lnTo>
                      <a:pt x="414" y="359"/>
                    </a:lnTo>
                    <a:lnTo>
                      <a:pt x="416" y="358"/>
                    </a:lnTo>
                    <a:lnTo>
                      <a:pt x="417" y="356"/>
                    </a:lnTo>
                    <a:lnTo>
                      <a:pt x="419" y="356"/>
                    </a:lnTo>
                    <a:lnTo>
                      <a:pt x="420" y="356"/>
                    </a:lnTo>
                    <a:lnTo>
                      <a:pt x="420" y="358"/>
                    </a:lnTo>
                    <a:lnTo>
                      <a:pt x="420" y="358"/>
                    </a:lnTo>
                    <a:lnTo>
                      <a:pt x="420" y="356"/>
                    </a:lnTo>
                    <a:lnTo>
                      <a:pt x="422" y="355"/>
                    </a:lnTo>
                    <a:lnTo>
                      <a:pt x="424" y="355"/>
                    </a:lnTo>
                    <a:lnTo>
                      <a:pt x="424" y="353"/>
                    </a:lnTo>
                    <a:lnTo>
                      <a:pt x="425" y="353"/>
                    </a:lnTo>
                    <a:lnTo>
                      <a:pt x="427" y="353"/>
                    </a:lnTo>
                    <a:lnTo>
                      <a:pt x="427" y="352"/>
                    </a:lnTo>
                    <a:lnTo>
                      <a:pt x="427" y="352"/>
                    </a:lnTo>
                    <a:lnTo>
                      <a:pt x="427" y="350"/>
                    </a:lnTo>
                    <a:lnTo>
                      <a:pt x="427" y="348"/>
                    </a:lnTo>
                    <a:lnTo>
                      <a:pt x="428" y="347"/>
                    </a:lnTo>
                    <a:lnTo>
                      <a:pt x="428" y="345"/>
                    </a:lnTo>
                    <a:lnTo>
                      <a:pt x="428" y="345"/>
                    </a:lnTo>
                    <a:lnTo>
                      <a:pt x="430" y="344"/>
                    </a:lnTo>
                    <a:lnTo>
                      <a:pt x="431" y="342"/>
                    </a:lnTo>
                    <a:lnTo>
                      <a:pt x="433" y="341"/>
                    </a:lnTo>
                    <a:lnTo>
                      <a:pt x="433" y="341"/>
                    </a:lnTo>
                    <a:lnTo>
                      <a:pt x="436" y="339"/>
                    </a:lnTo>
                    <a:lnTo>
                      <a:pt x="438" y="339"/>
                    </a:lnTo>
                    <a:lnTo>
                      <a:pt x="439" y="339"/>
                    </a:lnTo>
                    <a:lnTo>
                      <a:pt x="441" y="339"/>
                    </a:lnTo>
                    <a:lnTo>
                      <a:pt x="441" y="339"/>
                    </a:lnTo>
                    <a:lnTo>
                      <a:pt x="442" y="339"/>
                    </a:lnTo>
                    <a:lnTo>
                      <a:pt x="447" y="339"/>
                    </a:lnTo>
                    <a:lnTo>
                      <a:pt x="449" y="341"/>
                    </a:lnTo>
                    <a:lnTo>
                      <a:pt x="450" y="341"/>
                    </a:lnTo>
                    <a:lnTo>
                      <a:pt x="455" y="342"/>
                    </a:lnTo>
                    <a:lnTo>
                      <a:pt x="456" y="342"/>
                    </a:lnTo>
                    <a:lnTo>
                      <a:pt x="458" y="342"/>
                    </a:lnTo>
                    <a:lnTo>
                      <a:pt x="458" y="342"/>
                    </a:lnTo>
                    <a:lnTo>
                      <a:pt x="460" y="344"/>
                    </a:lnTo>
                    <a:lnTo>
                      <a:pt x="460" y="344"/>
                    </a:lnTo>
                    <a:lnTo>
                      <a:pt x="461" y="345"/>
                    </a:lnTo>
                    <a:lnTo>
                      <a:pt x="466" y="345"/>
                    </a:lnTo>
                    <a:lnTo>
                      <a:pt x="467" y="345"/>
                    </a:lnTo>
                    <a:lnTo>
                      <a:pt x="469" y="347"/>
                    </a:lnTo>
                    <a:lnTo>
                      <a:pt x="471" y="348"/>
                    </a:lnTo>
                    <a:lnTo>
                      <a:pt x="472" y="348"/>
                    </a:lnTo>
                    <a:lnTo>
                      <a:pt x="471" y="344"/>
                    </a:lnTo>
                    <a:lnTo>
                      <a:pt x="471" y="341"/>
                    </a:lnTo>
                    <a:lnTo>
                      <a:pt x="474" y="334"/>
                    </a:lnTo>
                    <a:lnTo>
                      <a:pt x="474" y="333"/>
                    </a:lnTo>
                    <a:lnTo>
                      <a:pt x="475" y="333"/>
                    </a:lnTo>
                    <a:lnTo>
                      <a:pt x="478" y="331"/>
                    </a:lnTo>
                    <a:lnTo>
                      <a:pt x="480" y="330"/>
                    </a:lnTo>
                    <a:lnTo>
                      <a:pt x="480" y="330"/>
                    </a:lnTo>
                    <a:lnTo>
                      <a:pt x="481" y="330"/>
                    </a:lnTo>
                    <a:lnTo>
                      <a:pt x="483" y="330"/>
                    </a:lnTo>
                    <a:lnTo>
                      <a:pt x="485" y="330"/>
                    </a:lnTo>
                    <a:lnTo>
                      <a:pt x="485" y="328"/>
                    </a:lnTo>
                    <a:lnTo>
                      <a:pt x="485" y="328"/>
                    </a:lnTo>
                    <a:lnTo>
                      <a:pt x="488" y="330"/>
                    </a:lnTo>
                    <a:lnTo>
                      <a:pt x="491" y="333"/>
                    </a:lnTo>
                    <a:lnTo>
                      <a:pt x="496" y="334"/>
                    </a:lnTo>
                    <a:lnTo>
                      <a:pt x="499" y="336"/>
                    </a:lnTo>
                    <a:lnTo>
                      <a:pt x="505" y="338"/>
                    </a:lnTo>
                    <a:lnTo>
                      <a:pt x="510" y="339"/>
                    </a:lnTo>
                    <a:lnTo>
                      <a:pt x="510" y="339"/>
                    </a:lnTo>
                    <a:lnTo>
                      <a:pt x="513" y="336"/>
                    </a:lnTo>
                    <a:lnTo>
                      <a:pt x="513" y="336"/>
                    </a:lnTo>
                    <a:lnTo>
                      <a:pt x="513" y="336"/>
                    </a:lnTo>
                    <a:lnTo>
                      <a:pt x="514" y="336"/>
                    </a:lnTo>
                    <a:lnTo>
                      <a:pt x="514" y="336"/>
                    </a:lnTo>
                    <a:lnTo>
                      <a:pt x="519" y="336"/>
                    </a:lnTo>
                    <a:lnTo>
                      <a:pt x="519" y="336"/>
                    </a:lnTo>
                    <a:lnTo>
                      <a:pt x="525" y="336"/>
                    </a:lnTo>
                    <a:lnTo>
                      <a:pt x="527" y="336"/>
                    </a:lnTo>
                    <a:lnTo>
                      <a:pt x="527" y="336"/>
                    </a:lnTo>
                    <a:lnTo>
                      <a:pt x="533" y="334"/>
                    </a:lnTo>
                    <a:lnTo>
                      <a:pt x="533" y="334"/>
                    </a:lnTo>
                    <a:lnTo>
                      <a:pt x="535" y="334"/>
                    </a:lnTo>
                    <a:lnTo>
                      <a:pt x="538" y="336"/>
                    </a:lnTo>
                    <a:lnTo>
                      <a:pt x="539" y="336"/>
                    </a:lnTo>
                    <a:lnTo>
                      <a:pt x="541" y="336"/>
                    </a:lnTo>
                    <a:lnTo>
                      <a:pt x="542" y="336"/>
                    </a:lnTo>
                    <a:lnTo>
                      <a:pt x="544" y="336"/>
                    </a:lnTo>
                    <a:lnTo>
                      <a:pt x="544" y="336"/>
                    </a:lnTo>
                    <a:lnTo>
                      <a:pt x="547" y="338"/>
                    </a:lnTo>
                    <a:lnTo>
                      <a:pt x="552" y="338"/>
                    </a:lnTo>
                    <a:lnTo>
                      <a:pt x="557" y="338"/>
                    </a:lnTo>
                    <a:lnTo>
                      <a:pt x="558" y="338"/>
                    </a:lnTo>
                    <a:lnTo>
                      <a:pt x="560" y="338"/>
                    </a:lnTo>
                    <a:lnTo>
                      <a:pt x="563" y="339"/>
                    </a:lnTo>
                    <a:lnTo>
                      <a:pt x="564" y="339"/>
                    </a:lnTo>
                    <a:lnTo>
                      <a:pt x="566" y="339"/>
                    </a:lnTo>
                    <a:lnTo>
                      <a:pt x="567" y="339"/>
                    </a:lnTo>
                    <a:lnTo>
                      <a:pt x="567" y="341"/>
                    </a:lnTo>
                    <a:lnTo>
                      <a:pt x="569" y="341"/>
                    </a:lnTo>
                    <a:lnTo>
                      <a:pt x="571" y="339"/>
                    </a:lnTo>
                    <a:lnTo>
                      <a:pt x="571" y="341"/>
                    </a:lnTo>
                    <a:lnTo>
                      <a:pt x="572" y="342"/>
                    </a:lnTo>
                    <a:lnTo>
                      <a:pt x="574" y="344"/>
                    </a:lnTo>
                    <a:lnTo>
                      <a:pt x="575" y="345"/>
                    </a:lnTo>
                    <a:lnTo>
                      <a:pt x="575" y="347"/>
                    </a:lnTo>
                    <a:lnTo>
                      <a:pt x="575" y="347"/>
                    </a:lnTo>
                    <a:lnTo>
                      <a:pt x="577" y="347"/>
                    </a:lnTo>
                    <a:lnTo>
                      <a:pt x="578" y="347"/>
                    </a:lnTo>
                    <a:lnTo>
                      <a:pt x="582" y="347"/>
                    </a:lnTo>
                    <a:lnTo>
                      <a:pt x="583" y="347"/>
                    </a:lnTo>
                    <a:lnTo>
                      <a:pt x="585" y="348"/>
                    </a:lnTo>
                    <a:lnTo>
                      <a:pt x="588" y="352"/>
                    </a:lnTo>
                    <a:lnTo>
                      <a:pt x="589" y="353"/>
                    </a:lnTo>
                    <a:lnTo>
                      <a:pt x="589" y="353"/>
                    </a:lnTo>
                    <a:lnTo>
                      <a:pt x="589" y="353"/>
                    </a:lnTo>
                    <a:lnTo>
                      <a:pt x="591" y="353"/>
                    </a:lnTo>
                    <a:lnTo>
                      <a:pt x="591" y="352"/>
                    </a:lnTo>
                    <a:lnTo>
                      <a:pt x="589" y="348"/>
                    </a:lnTo>
                    <a:lnTo>
                      <a:pt x="589" y="345"/>
                    </a:lnTo>
                    <a:lnTo>
                      <a:pt x="589" y="344"/>
                    </a:lnTo>
                    <a:lnTo>
                      <a:pt x="589" y="342"/>
                    </a:lnTo>
                    <a:lnTo>
                      <a:pt x="589" y="341"/>
                    </a:lnTo>
                    <a:lnTo>
                      <a:pt x="591" y="339"/>
                    </a:lnTo>
                    <a:lnTo>
                      <a:pt x="594" y="338"/>
                    </a:lnTo>
                    <a:lnTo>
                      <a:pt x="596" y="338"/>
                    </a:lnTo>
                    <a:lnTo>
                      <a:pt x="596" y="336"/>
                    </a:lnTo>
                    <a:lnTo>
                      <a:pt x="596" y="336"/>
                    </a:lnTo>
                    <a:lnTo>
                      <a:pt x="594" y="336"/>
                    </a:lnTo>
                    <a:lnTo>
                      <a:pt x="592" y="334"/>
                    </a:lnTo>
                    <a:lnTo>
                      <a:pt x="592" y="334"/>
                    </a:lnTo>
                    <a:lnTo>
                      <a:pt x="592" y="334"/>
                    </a:lnTo>
                    <a:lnTo>
                      <a:pt x="592" y="333"/>
                    </a:lnTo>
                    <a:lnTo>
                      <a:pt x="596" y="333"/>
                    </a:lnTo>
                    <a:lnTo>
                      <a:pt x="597" y="331"/>
                    </a:lnTo>
                    <a:lnTo>
                      <a:pt x="599" y="331"/>
                    </a:lnTo>
                    <a:lnTo>
                      <a:pt x="600" y="331"/>
                    </a:lnTo>
                    <a:lnTo>
                      <a:pt x="600" y="330"/>
                    </a:lnTo>
                    <a:lnTo>
                      <a:pt x="599" y="330"/>
                    </a:lnTo>
                    <a:lnTo>
                      <a:pt x="599" y="328"/>
                    </a:lnTo>
                    <a:lnTo>
                      <a:pt x="597" y="327"/>
                    </a:lnTo>
                    <a:lnTo>
                      <a:pt x="597" y="327"/>
                    </a:lnTo>
                    <a:lnTo>
                      <a:pt x="599" y="323"/>
                    </a:lnTo>
                    <a:lnTo>
                      <a:pt x="597" y="320"/>
                    </a:lnTo>
                    <a:lnTo>
                      <a:pt x="597" y="317"/>
                    </a:lnTo>
                    <a:lnTo>
                      <a:pt x="594" y="312"/>
                    </a:lnTo>
                    <a:lnTo>
                      <a:pt x="594" y="311"/>
                    </a:lnTo>
                    <a:lnTo>
                      <a:pt x="592" y="309"/>
                    </a:lnTo>
                    <a:lnTo>
                      <a:pt x="592" y="308"/>
                    </a:lnTo>
                    <a:lnTo>
                      <a:pt x="592" y="306"/>
                    </a:lnTo>
                    <a:lnTo>
                      <a:pt x="592" y="305"/>
                    </a:lnTo>
                    <a:lnTo>
                      <a:pt x="592" y="302"/>
                    </a:lnTo>
                    <a:lnTo>
                      <a:pt x="592" y="300"/>
                    </a:lnTo>
                    <a:lnTo>
                      <a:pt x="592" y="297"/>
                    </a:lnTo>
                    <a:lnTo>
                      <a:pt x="592" y="295"/>
                    </a:lnTo>
                    <a:lnTo>
                      <a:pt x="592" y="294"/>
                    </a:lnTo>
                    <a:lnTo>
                      <a:pt x="592" y="294"/>
                    </a:lnTo>
                    <a:lnTo>
                      <a:pt x="594" y="294"/>
                    </a:lnTo>
                    <a:lnTo>
                      <a:pt x="594" y="292"/>
                    </a:lnTo>
                    <a:lnTo>
                      <a:pt x="594" y="292"/>
                    </a:lnTo>
                    <a:lnTo>
                      <a:pt x="592" y="291"/>
                    </a:lnTo>
                    <a:lnTo>
                      <a:pt x="591" y="291"/>
                    </a:lnTo>
                    <a:lnTo>
                      <a:pt x="588" y="291"/>
                    </a:lnTo>
                    <a:lnTo>
                      <a:pt x="586" y="291"/>
                    </a:lnTo>
                    <a:lnTo>
                      <a:pt x="585" y="291"/>
                    </a:lnTo>
                    <a:lnTo>
                      <a:pt x="583" y="289"/>
                    </a:lnTo>
                    <a:lnTo>
                      <a:pt x="583" y="289"/>
                    </a:lnTo>
                    <a:lnTo>
                      <a:pt x="585" y="287"/>
                    </a:lnTo>
                    <a:lnTo>
                      <a:pt x="588" y="286"/>
                    </a:lnTo>
                    <a:lnTo>
                      <a:pt x="589" y="284"/>
                    </a:lnTo>
                    <a:lnTo>
                      <a:pt x="594" y="284"/>
                    </a:lnTo>
                    <a:lnTo>
                      <a:pt x="596" y="283"/>
                    </a:lnTo>
                    <a:lnTo>
                      <a:pt x="597" y="283"/>
                    </a:lnTo>
                    <a:lnTo>
                      <a:pt x="600" y="283"/>
                    </a:lnTo>
                    <a:lnTo>
                      <a:pt x="600" y="283"/>
                    </a:lnTo>
                    <a:lnTo>
                      <a:pt x="605" y="281"/>
                    </a:lnTo>
                    <a:lnTo>
                      <a:pt x="610" y="280"/>
                    </a:lnTo>
                    <a:lnTo>
                      <a:pt x="614" y="278"/>
                    </a:lnTo>
                    <a:lnTo>
                      <a:pt x="616" y="276"/>
                    </a:lnTo>
                    <a:lnTo>
                      <a:pt x="617" y="278"/>
                    </a:lnTo>
                    <a:lnTo>
                      <a:pt x="617" y="278"/>
                    </a:lnTo>
                    <a:lnTo>
                      <a:pt x="617" y="280"/>
                    </a:lnTo>
                    <a:lnTo>
                      <a:pt x="619" y="281"/>
                    </a:lnTo>
                    <a:lnTo>
                      <a:pt x="621" y="281"/>
                    </a:lnTo>
                    <a:lnTo>
                      <a:pt x="621" y="281"/>
                    </a:lnTo>
                    <a:lnTo>
                      <a:pt x="624" y="281"/>
                    </a:lnTo>
                    <a:lnTo>
                      <a:pt x="625" y="280"/>
                    </a:lnTo>
                    <a:lnTo>
                      <a:pt x="627" y="281"/>
                    </a:lnTo>
                    <a:lnTo>
                      <a:pt x="628" y="281"/>
                    </a:lnTo>
                    <a:lnTo>
                      <a:pt x="630" y="283"/>
                    </a:lnTo>
                    <a:lnTo>
                      <a:pt x="630" y="283"/>
                    </a:lnTo>
                    <a:lnTo>
                      <a:pt x="632" y="281"/>
                    </a:lnTo>
                    <a:lnTo>
                      <a:pt x="632" y="280"/>
                    </a:lnTo>
                    <a:lnTo>
                      <a:pt x="632" y="278"/>
                    </a:lnTo>
                    <a:lnTo>
                      <a:pt x="632" y="278"/>
                    </a:lnTo>
                    <a:lnTo>
                      <a:pt x="632" y="276"/>
                    </a:lnTo>
                    <a:lnTo>
                      <a:pt x="632" y="275"/>
                    </a:lnTo>
                    <a:lnTo>
                      <a:pt x="632" y="275"/>
                    </a:lnTo>
                    <a:lnTo>
                      <a:pt x="628" y="273"/>
                    </a:lnTo>
                    <a:lnTo>
                      <a:pt x="627" y="273"/>
                    </a:lnTo>
                    <a:lnTo>
                      <a:pt x="627" y="272"/>
                    </a:lnTo>
                    <a:lnTo>
                      <a:pt x="627" y="270"/>
                    </a:lnTo>
                    <a:lnTo>
                      <a:pt x="627" y="269"/>
                    </a:lnTo>
                    <a:lnTo>
                      <a:pt x="628" y="266"/>
                    </a:lnTo>
                    <a:lnTo>
                      <a:pt x="630" y="261"/>
                    </a:lnTo>
                    <a:lnTo>
                      <a:pt x="632" y="256"/>
                    </a:lnTo>
                    <a:lnTo>
                      <a:pt x="633" y="251"/>
                    </a:lnTo>
                    <a:lnTo>
                      <a:pt x="635" y="245"/>
                    </a:lnTo>
                    <a:lnTo>
                      <a:pt x="638" y="236"/>
                    </a:lnTo>
                    <a:lnTo>
                      <a:pt x="639" y="234"/>
                    </a:lnTo>
                    <a:lnTo>
                      <a:pt x="639" y="231"/>
                    </a:lnTo>
                    <a:lnTo>
                      <a:pt x="639" y="231"/>
                    </a:lnTo>
                    <a:lnTo>
                      <a:pt x="641" y="230"/>
                    </a:lnTo>
                    <a:lnTo>
                      <a:pt x="643" y="231"/>
                    </a:lnTo>
                    <a:lnTo>
                      <a:pt x="647" y="233"/>
                    </a:lnTo>
                    <a:lnTo>
                      <a:pt x="650" y="234"/>
                    </a:lnTo>
                    <a:lnTo>
                      <a:pt x="652" y="234"/>
                    </a:lnTo>
                    <a:lnTo>
                      <a:pt x="653" y="236"/>
                    </a:lnTo>
                    <a:lnTo>
                      <a:pt x="657" y="236"/>
                    </a:lnTo>
                    <a:lnTo>
                      <a:pt x="658" y="236"/>
                    </a:lnTo>
                    <a:lnTo>
                      <a:pt x="660" y="236"/>
                    </a:lnTo>
                    <a:lnTo>
                      <a:pt x="663" y="236"/>
                    </a:lnTo>
                    <a:lnTo>
                      <a:pt x="666" y="236"/>
                    </a:lnTo>
                    <a:lnTo>
                      <a:pt x="666" y="236"/>
                    </a:lnTo>
                    <a:lnTo>
                      <a:pt x="668" y="236"/>
                    </a:lnTo>
                    <a:lnTo>
                      <a:pt x="668" y="236"/>
                    </a:lnTo>
                    <a:lnTo>
                      <a:pt x="669" y="237"/>
                    </a:lnTo>
                    <a:lnTo>
                      <a:pt x="669" y="239"/>
                    </a:lnTo>
                    <a:lnTo>
                      <a:pt x="671" y="239"/>
                    </a:lnTo>
                    <a:lnTo>
                      <a:pt x="671" y="239"/>
                    </a:lnTo>
                    <a:lnTo>
                      <a:pt x="674" y="237"/>
                    </a:lnTo>
                    <a:lnTo>
                      <a:pt x="675" y="236"/>
                    </a:lnTo>
                    <a:lnTo>
                      <a:pt x="678" y="234"/>
                    </a:lnTo>
                    <a:lnTo>
                      <a:pt x="680" y="234"/>
                    </a:lnTo>
                    <a:lnTo>
                      <a:pt x="682" y="234"/>
                    </a:lnTo>
                    <a:lnTo>
                      <a:pt x="683" y="233"/>
                    </a:lnTo>
                    <a:lnTo>
                      <a:pt x="683" y="231"/>
                    </a:lnTo>
                    <a:lnTo>
                      <a:pt x="685" y="228"/>
                    </a:lnTo>
                    <a:lnTo>
                      <a:pt x="686" y="226"/>
                    </a:lnTo>
                    <a:lnTo>
                      <a:pt x="685" y="225"/>
                    </a:lnTo>
                    <a:lnTo>
                      <a:pt x="685" y="222"/>
                    </a:lnTo>
                    <a:lnTo>
                      <a:pt x="685" y="220"/>
                    </a:lnTo>
                    <a:lnTo>
                      <a:pt x="683" y="215"/>
                    </a:lnTo>
                    <a:lnTo>
                      <a:pt x="683" y="211"/>
                    </a:lnTo>
                    <a:lnTo>
                      <a:pt x="683" y="208"/>
                    </a:lnTo>
                    <a:lnTo>
                      <a:pt x="685" y="205"/>
                    </a:lnTo>
                    <a:lnTo>
                      <a:pt x="685" y="203"/>
                    </a:lnTo>
                    <a:lnTo>
                      <a:pt x="686" y="201"/>
                    </a:lnTo>
                    <a:lnTo>
                      <a:pt x="686" y="200"/>
                    </a:lnTo>
                    <a:lnTo>
                      <a:pt x="686" y="200"/>
                    </a:lnTo>
                    <a:lnTo>
                      <a:pt x="688" y="198"/>
                    </a:lnTo>
                    <a:lnTo>
                      <a:pt x="693" y="198"/>
                    </a:lnTo>
                    <a:lnTo>
                      <a:pt x="696" y="197"/>
                    </a:lnTo>
                    <a:lnTo>
                      <a:pt x="697" y="197"/>
                    </a:lnTo>
                    <a:lnTo>
                      <a:pt x="700" y="197"/>
                    </a:lnTo>
                    <a:lnTo>
                      <a:pt x="700" y="195"/>
                    </a:lnTo>
                    <a:lnTo>
                      <a:pt x="703" y="192"/>
                    </a:lnTo>
                    <a:lnTo>
                      <a:pt x="703" y="190"/>
                    </a:lnTo>
                    <a:lnTo>
                      <a:pt x="705" y="187"/>
                    </a:lnTo>
                    <a:lnTo>
                      <a:pt x="703" y="184"/>
                    </a:lnTo>
                    <a:lnTo>
                      <a:pt x="705" y="183"/>
                    </a:lnTo>
                    <a:lnTo>
                      <a:pt x="705" y="181"/>
                    </a:lnTo>
                    <a:lnTo>
                      <a:pt x="707" y="181"/>
                    </a:lnTo>
                    <a:lnTo>
                      <a:pt x="708" y="179"/>
                    </a:lnTo>
                    <a:lnTo>
                      <a:pt x="710" y="179"/>
                    </a:lnTo>
                    <a:lnTo>
                      <a:pt x="713" y="179"/>
                    </a:lnTo>
                    <a:lnTo>
                      <a:pt x="714" y="181"/>
                    </a:lnTo>
                    <a:lnTo>
                      <a:pt x="714" y="181"/>
                    </a:lnTo>
                    <a:lnTo>
                      <a:pt x="714" y="18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2" name="Freeform 119">
                <a:extLst>
                  <a:ext uri="{FF2B5EF4-FFF2-40B4-BE49-F238E27FC236}">
                    <a16:creationId xmlns:a16="http://schemas.microsoft.com/office/drawing/2014/main" id="{5F6D3A4A-3430-4728-7185-74A355CBAD9D}"/>
                  </a:ext>
                </a:extLst>
              </p:cNvPr>
              <p:cNvSpPr>
                <a:spLocks/>
              </p:cNvSpPr>
              <p:nvPr/>
            </p:nvSpPr>
            <p:spPr bwMode="gray">
              <a:xfrm>
                <a:off x="4433" y="1174"/>
                <a:ext cx="131" cy="158"/>
              </a:xfrm>
              <a:custGeom>
                <a:avLst/>
                <a:gdLst>
                  <a:gd name="T0" fmla="*/ 43 w 131"/>
                  <a:gd name="T1" fmla="*/ 12 h 158"/>
                  <a:gd name="T2" fmla="*/ 46 w 131"/>
                  <a:gd name="T3" fmla="*/ 12 h 158"/>
                  <a:gd name="T4" fmla="*/ 48 w 131"/>
                  <a:gd name="T5" fmla="*/ 17 h 158"/>
                  <a:gd name="T6" fmla="*/ 53 w 131"/>
                  <a:gd name="T7" fmla="*/ 31 h 158"/>
                  <a:gd name="T8" fmla="*/ 68 w 131"/>
                  <a:gd name="T9" fmla="*/ 29 h 158"/>
                  <a:gd name="T10" fmla="*/ 78 w 131"/>
                  <a:gd name="T11" fmla="*/ 36 h 158"/>
                  <a:gd name="T12" fmla="*/ 78 w 131"/>
                  <a:gd name="T13" fmla="*/ 39 h 158"/>
                  <a:gd name="T14" fmla="*/ 82 w 131"/>
                  <a:gd name="T15" fmla="*/ 44 h 158"/>
                  <a:gd name="T16" fmla="*/ 78 w 131"/>
                  <a:gd name="T17" fmla="*/ 53 h 158"/>
                  <a:gd name="T18" fmla="*/ 68 w 131"/>
                  <a:gd name="T19" fmla="*/ 54 h 158"/>
                  <a:gd name="T20" fmla="*/ 67 w 131"/>
                  <a:gd name="T21" fmla="*/ 61 h 158"/>
                  <a:gd name="T22" fmla="*/ 87 w 131"/>
                  <a:gd name="T23" fmla="*/ 72 h 158"/>
                  <a:gd name="T24" fmla="*/ 87 w 131"/>
                  <a:gd name="T25" fmla="*/ 78 h 158"/>
                  <a:gd name="T26" fmla="*/ 95 w 131"/>
                  <a:gd name="T27" fmla="*/ 84 h 158"/>
                  <a:gd name="T28" fmla="*/ 107 w 131"/>
                  <a:gd name="T29" fmla="*/ 98 h 158"/>
                  <a:gd name="T30" fmla="*/ 112 w 131"/>
                  <a:gd name="T31" fmla="*/ 108 h 158"/>
                  <a:gd name="T32" fmla="*/ 117 w 131"/>
                  <a:gd name="T33" fmla="*/ 111 h 158"/>
                  <a:gd name="T34" fmla="*/ 125 w 131"/>
                  <a:gd name="T35" fmla="*/ 119 h 158"/>
                  <a:gd name="T36" fmla="*/ 123 w 131"/>
                  <a:gd name="T37" fmla="*/ 123 h 158"/>
                  <a:gd name="T38" fmla="*/ 131 w 131"/>
                  <a:gd name="T39" fmla="*/ 133 h 158"/>
                  <a:gd name="T40" fmla="*/ 129 w 131"/>
                  <a:gd name="T41" fmla="*/ 139 h 158"/>
                  <a:gd name="T42" fmla="*/ 125 w 131"/>
                  <a:gd name="T43" fmla="*/ 145 h 158"/>
                  <a:gd name="T44" fmla="*/ 118 w 131"/>
                  <a:gd name="T45" fmla="*/ 150 h 158"/>
                  <a:gd name="T46" fmla="*/ 112 w 131"/>
                  <a:gd name="T47" fmla="*/ 147 h 158"/>
                  <a:gd name="T48" fmla="*/ 106 w 131"/>
                  <a:gd name="T49" fmla="*/ 150 h 158"/>
                  <a:gd name="T50" fmla="*/ 104 w 131"/>
                  <a:gd name="T51" fmla="*/ 158 h 158"/>
                  <a:gd name="T52" fmla="*/ 90 w 131"/>
                  <a:gd name="T53" fmla="*/ 155 h 158"/>
                  <a:gd name="T54" fmla="*/ 90 w 131"/>
                  <a:gd name="T55" fmla="*/ 148 h 158"/>
                  <a:gd name="T56" fmla="*/ 95 w 131"/>
                  <a:gd name="T57" fmla="*/ 137 h 158"/>
                  <a:gd name="T58" fmla="*/ 97 w 131"/>
                  <a:gd name="T59" fmla="*/ 128 h 158"/>
                  <a:gd name="T60" fmla="*/ 92 w 131"/>
                  <a:gd name="T61" fmla="*/ 122 h 158"/>
                  <a:gd name="T62" fmla="*/ 81 w 131"/>
                  <a:gd name="T63" fmla="*/ 111 h 158"/>
                  <a:gd name="T64" fmla="*/ 76 w 131"/>
                  <a:gd name="T65" fmla="*/ 90 h 158"/>
                  <a:gd name="T66" fmla="*/ 64 w 131"/>
                  <a:gd name="T67" fmla="*/ 78 h 158"/>
                  <a:gd name="T68" fmla="*/ 54 w 131"/>
                  <a:gd name="T69" fmla="*/ 78 h 158"/>
                  <a:gd name="T70" fmla="*/ 51 w 131"/>
                  <a:gd name="T71" fmla="*/ 81 h 158"/>
                  <a:gd name="T72" fmla="*/ 43 w 131"/>
                  <a:gd name="T73" fmla="*/ 87 h 158"/>
                  <a:gd name="T74" fmla="*/ 39 w 131"/>
                  <a:gd name="T75" fmla="*/ 83 h 158"/>
                  <a:gd name="T76" fmla="*/ 29 w 131"/>
                  <a:gd name="T77" fmla="*/ 83 h 158"/>
                  <a:gd name="T78" fmla="*/ 20 w 131"/>
                  <a:gd name="T79" fmla="*/ 90 h 158"/>
                  <a:gd name="T80" fmla="*/ 17 w 131"/>
                  <a:gd name="T81" fmla="*/ 83 h 158"/>
                  <a:gd name="T82" fmla="*/ 15 w 131"/>
                  <a:gd name="T83" fmla="*/ 75 h 158"/>
                  <a:gd name="T84" fmla="*/ 18 w 131"/>
                  <a:gd name="T85" fmla="*/ 59 h 158"/>
                  <a:gd name="T86" fmla="*/ 11 w 131"/>
                  <a:gd name="T87" fmla="*/ 54 h 158"/>
                  <a:gd name="T88" fmla="*/ 6 w 131"/>
                  <a:gd name="T89" fmla="*/ 47 h 158"/>
                  <a:gd name="T90" fmla="*/ 3 w 131"/>
                  <a:gd name="T91" fmla="*/ 39 h 158"/>
                  <a:gd name="T92" fmla="*/ 0 w 131"/>
                  <a:gd name="T93" fmla="*/ 40 h 158"/>
                  <a:gd name="T94" fmla="*/ 7 w 131"/>
                  <a:gd name="T95" fmla="*/ 31 h 158"/>
                  <a:gd name="T96" fmla="*/ 9 w 131"/>
                  <a:gd name="T97" fmla="*/ 25 h 158"/>
                  <a:gd name="T98" fmla="*/ 18 w 131"/>
                  <a:gd name="T99" fmla="*/ 18 h 158"/>
                  <a:gd name="T100" fmla="*/ 20 w 131"/>
                  <a:gd name="T101" fmla="*/ 25 h 158"/>
                  <a:gd name="T102" fmla="*/ 28 w 131"/>
                  <a:gd name="T103" fmla="*/ 25 h 158"/>
                  <a:gd name="T104" fmla="*/ 28 w 131"/>
                  <a:gd name="T105" fmla="*/ 18 h 158"/>
                  <a:gd name="T106" fmla="*/ 25 w 131"/>
                  <a:gd name="T107" fmla="*/ 8 h 158"/>
                  <a:gd name="T108" fmla="*/ 26 w 131"/>
                  <a:gd name="T109" fmla="*/ 0 h 158"/>
                  <a:gd name="T110" fmla="*/ 34 w 131"/>
                  <a:gd name="T111" fmla="*/ 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158">
                    <a:moveTo>
                      <a:pt x="34" y="1"/>
                    </a:moveTo>
                    <a:lnTo>
                      <a:pt x="36" y="4"/>
                    </a:lnTo>
                    <a:lnTo>
                      <a:pt x="37" y="6"/>
                    </a:lnTo>
                    <a:lnTo>
                      <a:pt x="40" y="9"/>
                    </a:lnTo>
                    <a:lnTo>
                      <a:pt x="40" y="11"/>
                    </a:lnTo>
                    <a:lnTo>
                      <a:pt x="42" y="11"/>
                    </a:lnTo>
                    <a:lnTo>
                      <a:pt x="43" y="12"/>
                    </a:lnTo>
                    <a:lnTo>
                      <a:pt x="43" y="14"/>
                    </a:lnTo>
                    <a:lnTo>
                      <a:pt x="43" y="14"/>
                    </a:lnTo>
                    <a:lnTo>
                      <a:pt x="43" y="15"/>
                    </a:lnTo>
                    <a:lnTo>
                      <a:pt x="45" y="15"/>
                    </a:lnTo>
                    <a:lnTo>
                      <a:pt x="45" y="15"/>
                    </a:lnTo>
                    <a:lnTo>
                      <a:pt x="46" y="15"/>
                    </a:lnTo>
                    <a:lnTo>
                      <a:pt x="46" y="12"/>
                    </a:lnTo>
                    <a:lnTo>
                      <a:pt x="46" y="12"/>
                    </a:lnTo>
                    <a:lnTo>
                      <a:pt x="46" y="14"/>
                    </a:lnTo>
                    <a:lnTo>
                      <a:pt x="48" y="14"/>
                    </a:lnTo>
                    <a:lnTo>
                      <a:pt x="48" y="14"/>
                    </a:lnTo>
                    <a:lnTo>
                      <a:pt x="50" y="15"/>
                    </a:lnTo>
                    <a:lnTo>
                      <a:pt x="50" y="17"/>
                    </a:lnTo>
                    <a:lnTo>
                      <a:pt x="48" y="17"/>
                    </a:lnTo>
                    <a:lnTo>
                      <a:pt x="48" y="18"/>
                    </a:lnTo>
                    <a:lnTo>
                      <a:pt x="48" y="20"/>
                    </a:lnTo>
                    <a:lnTo>
                      <a:pt x="48" y="22"/>
                    </a:lnTo>
                    <a:lnTo>
                      <a:pt x="46" y="23"/>
                    </a:lnTo>
                    <a:lnTo>
                      <a:pt x="48" y="25"/>
                    </a:lnTo>
                    <a:lnTo>
                      <a:pt x="51" y="29"/>
                    </a:lnTo>
                    <a:lnTo>
                      <a:pt x="53" y="31"/>
                    </a:lnTo>
                    <a:lnTo>
                      <a:pt x="57" y="33"/>
                    </a:lnTo>
                    <a:lnTo>
                      <a:pt x="59" y="33"/>
                    </a:lnTo>
                    <a:lnTo>
                      <a:pt x="61" y="34"/>
                    </a:lnTo>
                    <a:lnTo>
                      <a:pt x="62" y="33"/>
                    </a:lnTo>
                    <a:lnTo>
                      <a:pt x="64" y="31"/>
                    </a:lnTo>
                    <a:lnTo>
                      <a:pt x="65" y="31"/>
                    </a:lnTo>
                    <a:lnTo>
                      <a:pt x="68" y="29"/>
                    </a:lnTo>
                    <a:lnTo>
                      <a:pt x="68" y="29"/>
                    </a:lnTo>
                    <a:lnTo>
                      <a:pt x="70" y="29"/>
                    </a:lnTo>
                    <a:lnTo>
                      <a:pt x="73" y="31"/>
                    </a:lnTo>
                    <a:lnTo>
                      <a:pt x="75" y="33"/>
                    </a:lnTo>
                    <a:lnTo>
                      <a:pt x="76" y="34"/>
                    </a:lnTo>
                    <a:lnTo>
                      <a:pt x="78" y="34"/>
                    </a:lnTo>
                    <a:lnTo>
                      <a:pt x="78" y="36"/>
                    </a:lnTo>
                    <a:lnTo>
                      <a:pt x="76" y="36"/>
                    </a:lnTo>
                    <a:lnTo>
                      <a:pt x="76" y="37"/>
                    </a:lnTo>
                    <a:lnTo>
                      <a:pt x="75" y="37"/>
                    </a:lnTo>
                    <a:lnTo>
                      <a:pt x="73" y="39"/>
                    </a:lnTo>
                    <a:lnTo>
                      <a:pt x="75" y="39"/>
                    </a:lnTo>
                    <a:lnTo>
                      <a:pt x="76" y="39"/>
                    </a:lnTo>
                    <a:lnTo>
                      <a:pt x="78" y="39"/>
                    </a:lnTo>
                    <a:lnTo>
                      <a:pt x="79" y="40"/>
                    </a:lnTo>
                    <a:lnTo>
                      <a:pt x="79" y="40"/>
                    </a:lnTo>
                    <a:lnTo>
                      <a:pt x="79" y="42"/>
                    </a:lnTo>
                    <a:lnTo>
                      <a:pt x="79" y="42"/>
                    </a:lnTo>
                    <a:lnTo>
                      <a:pt x="81" y="42"/>
                    </a:lnTo>
                    <a:lnTo>
                      <a:pt x="82" y="44"/>
                    </a:lnTo>
                    <a:lnTo>
                      <a:pt x="82" y="44"/>
                    </a:lnTo>
                    <a:lnTo>
                      <a:pt x="84" y="45"/>
                    </a:lnTo>
                    <a:lnTo>
                      <a:pt x="84" y="47"/>
                    </a:lnTo>
                    <a:lnTo>
                      <a:pt x="82" y="48"/>
                    </a:lnTo>
                    <a:lnTo>
                      <a:pt x="81" y="48"/>
                    </a:lnTo>
                    <a:lnTo>
                      <a:pt x="81" y="50"/>
                    </a:lnTo>
                    <a:lnTo>
                      <a:pt x="81" y="51"/>
                    </a:lnTo>
                    <a:lnTo>
                      <a:pt x="78" y="53"/>
                    </a:lnTo>
                    <a:lnTo>
                      <a:pt x="76" y="54"/>
                    </a:lnTo>
                    <a:lnTo>
                      <a:pt x="72" y="53"/>
                    </a:lnTo>
                    <a:lnTo>
                      <a:pt x="70" y="53"/>
                    </a:lnTo>
                    <a:lnTo>
                      <a:pt x="68" y="53"/>
                    </a:lnTo>
                    <a:lnTo>
                      <a:pt x="68" y="53"/>
                    </a:lnTo>
                    <a:lnTo>
                      <a:pt x="67" y="53"/>
                    </a:lnTo>
                    <a:lnTo>
                      <a:pt x="68" y="54"/>
                    </a:lnTo>
                    <a:lnTo>
                      <a:pt x="68" y="56"/>
                    </a:lnTo>
                    <a:lnTo>
                      <a:pt x="68" y="58"/>
                    </a:lnTo>
                    <a:lnTo>
                      <a:pt x="67" y="58"/>
                    </a:lnTo>
                    <a:lnTo>
                      <a:pt x="65" y="59"/>
                    </a:lnTo>
                    <a:lnTo>
                      <a:pt x="65" y="59"/>
                    </a:lnTo>
                    <a:lnTo>
                      <a:pt x="65" y="61"/>
                    </a:lnTo>
                    <a:lnTo>
                      <a:pt x="67" y="61"/>
                    </a:lnTo>
                    <a:lnTo>
                      <a:pt x="70" y="61"/>
                    </a:lnTo>
                    <a:lnTo>
                      <a:pt x="75" y="65"/>
                    </a:lnTo>
                    <a:lnTo>
                      <a:pt x="76" y="67"/>
                    </a:lnTo>
                    <a:lnTo>
                      <a:pt x="78" y="67"/>
                    </a:lnTo>
                    <a:lnTo>
                      <a:pt x="79" y="69"/>
                    </a:lnTo>
                    <a:lnTo>
                      <a:pt x="84" y="70"/>
                    </a:lnTo>
                    <a:lnTo>
                      <a:pt x="87" y="72"/>
                    </a:lnTo>
                    <a:lnTo>
                      <a:pt x="87" y="72"/>
                    </a:lnTo>
                    <a:lnTo>
                      <a:pt x="87" y="72"/>
                    </a:lnTo>
                    <a:lnTo>
                      <a:pt x="87" y="73"/>
                    </a:lnTo>
                    <a:lnTo>
                      <a:pt x="87" y="75"/>
                    </a:lnTo>
                    <a:lnTo>
                      <a:pt x="86" y="75"/>
                    </a:lnTo>
                    <a:lnTo>
                      <a:pt x="87" y="76"/>
                    </a:lnTo>
                    <a:lnTo>
                      <a:pt x="87" y="78"/>
                    </a:lnTo>
                    <a:lnTo>
                      <a:pt x="90" y="80"/>
                    </a:lnTo>
                    <a:lnTo>
                      <a:pt x="90" y="80"/>
                    </a:lnTo>
                    <a:lnTo>
                      <a:pt x="92" y="80"/>
                    </a:lnTo>
                    <a:lnTo>
                      <a:pt x="93" y="81"/>
                    </a:lnTo>
                    <a:lnTo>
                      <a:pt x="93" y="83"/>
                    </a:lnTo>
                    <a:lnTo>
                      <a:pt x="95" y="84"/>
                    </a:lnTo>
                    <a:lnTo>
                      <a:pt x="95" y="84"/>
                    </a:lnTo>
                    <a:lnTo>
                      <a:pt x="97" y="86"/>
                    </a:lnTo>
                    <a:lnTo>
                      <a:pt x="97" y="89"/>
                    </a:lnTo>
                    <a:lnTo>
                      <a:pt x="98" y="90"/>
                    </a:lnTo>
                    <a:lnTo>
                      <a:pt x="101" y="92"/>
                    </a:lnTo>
                    <a:lnTo>
                      <a:pt x="101" y="94"/>
                    </a:lnTo>
                    <a:lnTo>
                      <a:pt x="103" y="94"/>
                    </a:lnTo>
                    <a:lnTo>
                      <a:pt x="107" y="98"/>
                    </a:lnTo>
                    <a:lnTo>
                      <a:pt x="107" y="100"/>
                    </a:lnTo>
                    <a:lnTo>
                      <a:pt x="111" y="101"/>
                    </a:lnTo>
                    <a:lnTo>
                      <a:pt x="111" y="101"/>
                    </a:lnTo>
                    <a:lnTo>
                      <a:pt x="111" y="103"/>
                    </a:lnTo>
                    <a:lnTo>
                      <a:pt x="112" y="105"/>
                    </a:lnTo>
                    <a:lnTo>
                      <a:pt x="112" y="105"/>
                    </a:lnTo>
                    <a:lnTo>
                      <a:pt x="112" y="108"/>
                    </a:lnTo>
                    <a:lnTo>
                      <a:pt x="112" y="109"/>
                    </a:lnTo>
                    <a:lnTo>
                      <a:pt x="114" y="111"/>
                    </a:lnTo>
                    <a:lnTo>
                      <a:pt x="114" y="111"/>
                    </a:lnTo>
                    <a:lnTo>
                      <a:pt x="115" y="112"/>
                    </a:lnTo>
                    <a:lnTo>
                      <a:pt x="115" y="112"/>
                    </a:lnTo>
                    <a:lnTo>
                      <a:pt x="117" y="111"/>
                    </a:lnTo>
                    <a:lnTo>
                      <a:pt x="117" y="111"/>
                    </a:lnTo>
                    <a:lnTo>
                      <a:pt x="117" y="111"/>
                    </a:lnTo>
                    <a:lnTo>
                      <a:pt x="118" y="112"/>
                    </a:lnTo>
                    <a:lnTo>
                      <a:pt x="118" y="114"/>
                    </a:lnTo>
                    <a:lnTo>
                      <a:pt x="120" y="114"/>
                    </a:lnTo>
                    <a:lnTo>
                      <a:pt x="122" y="116"/>
                    </a:lnTo>
                    <a:lnTo>
                      <a:pt x="123" y="117"/>
                    </a:lnTo>
                    <a:lnTo>
                      <a:pt x="125" y="119"/>
                    </a:lnTo>
                    <a:lnTo>
                      <a:pt x="126" y="119"/>
                    </a:lnTo>
                    <a:lnTo>
                      <a:pt x="126" y="119"/>
                    </a:lnTo>
                    <a:lnTo>
                      <a:pt x="128" y="120"/>
                    </a:lnTo>
                    <a:lnTo>
                      <a:pt x="126" y="120"/>
                    </a:lnTo>
                    <a:lnTo>
                      <a:pt x="126" y="122"/>
                    </a:lnTo>
                    <a:lnTo>
                      <a:pt x="123" y="123"/>
                    </a:lnTo>
                    <a:lnTo>
                      <a:pt x="123" y="123"/>
                    </a:lnTo>
                    <a:lnTo>
                      <a:pt x="123" y="125"/>
                    </a:lnTo>
                    <a:lnTo>
                      <a:pt x="125" y="126"/>
                    </a:lnTo>
                    <a:lnTo>
                      <a:pt x="125" y="126"/>
                    </a:lnTo>
                    <a:lnTo>
                      <a:pt x="126" y="128"/>
                    </a:lnTo>
                    <a:lnTo>
                      <a:pt x="128" y="130"/>
                    </a:lnTo>
                    <a:lnTo>
                      <a:pt x="129" y="131"/>
                    </a:lnTo>
                    <a:lnTo>
                      <a:pt x="131" y="133"/>
                    </a:lnTo>
                    <a:lnTo>
                      <a:pt x="131" y="133"/>
                    </a:lnTo>
                    <a:lnTo>
                      <a:pt x="131" y="134"/>
                    </a:lnTo>
                    <a:lnTo>
                      <a:pt x="131" y="136"/>
                    </a:lnTo>
                    <a:lnTo>
                      <a:pt x="129" y="137"/>
                    </a:lnTo>
                    <a:lnTo>
                      <a:pt x="129" y="137"/>
                    </a:lnTo>
                    <a:lnTo>
                      <a:pt x="128" y="139"/>
                    </a:lnTo>
                    <a:lnTo>
                      <a:pt x="129" y="139"/>
                    </a:lnTo>
                    <a:lnTo>
                      <a:pt x="129" y="141"/>
                    </a:lnTo>
                    <a:lnTo>
                      <a:pt x="129" y="142"/>
                    </a:lnTo>
                    <a:lnTo>
                      <a:pt x="129" y="144"/>
                    </a:lnTo>
                    <a:lnTo>
                      <a:pt x="128" y="144"/>
                    </a:lnTo>
                    <a:lnTo>
                      <a:pt x="128" y="145"/>
                    </a:lnTo>
                    <a:lnTo>
                      <a:pt x="126" y="147"/>
                    </a:lnTo>
                    <a:lnTo>
                      <a:pt x="125" y="145"/>
                    </a:lnTo>
                    <a:lnTo>
                      <a:pt x="125" y="145"/>
                    </a:lnTo>
                    <a:lnTo>
                      <a:pt x="123" y="147"/>
                    </a:lnTo>
                    <a:lnTo>
                      <a:pt x="122" y="148"/>
                    </a:lnTo>
                    <a:lnTo>
                      <a:pt x="122" y="148"/>
                    </a:lnTo>
                    <a:lnTo>
                      <a:pt x="120" y="148"/>
                    </a:lnTo>
                    <a:lnTo>
                      <a:pt x="120" y="148"/>
                    </a:lnTo>
                    <a:lnTo>
                      <a:pt x="118" y="150"/>
                    </a:lnTo>
                    <a:lnTo>
                      <a:pt x="118" y="150"/>
                    </a:lnTo>
                    <a:lnTo>
                      <a:pt x="117" y="150"/>
                    </a:lnTo>
                    <a:lnTo>
                      <a:pt x="117" y="150"/>
                    </a:lnTo>
                    <a:lnTo>
                      <a:pt x="115" y="150"/>
                    </a:lnTo>
                    <a:lnTo>
                      <a:pt x="114" y="148"/>
                    </a:lnTo>
                    <a:lnTo>
                      <a:pt x="112" y="147"/>
                    </a:lnTo>
                    <a:lnTo>
                      <a:pt x="112" y="147"/>
                    </a:lnTo>
                    <a:lnTo>
                      <a:pt x="112" y="147"/>
                    </a:lnTo>
                    <a:lnTo>
                      <a:pt x="111" y="145"/>
                    </a:lnTo>
                    <a:lnTo>
                      <a:pt x="111" y="147"/>
                    </a:lnTo>
                    <a:lnTo>
                      <a:pt x="109" y="148"/>
                    </a:lnTo>
                    <a:lnTo>
                      <a:pt x="107" y="148"/>
                    </a:lnTo>
                    <a:lnTo>
                      <a:pt x="106" y="147"/>
                    </a:lnTo>
                    <a:lnTo>
                      <a:pt x="106" y="150"/>
                    </a:lnTo>
                    <a:lnTo>
                      <a:pt x="106" y="150"/>
                    </a:lnTo>
                    <a:lnTo>
                      <a:pt x="103" y="150"/>
                    </a:lnTo>
                    <a:lnTo>
                      <a:pt x="103" y="150"/>
                    </a:lnTo>
                    <a:lnTo>
                      <a:pt x="103" y="152"/>
                    </a:lnTo>
                    <a:lnTo>
                      <a:pt x="104" y="155"/>
                    </a:lnTo>
                    <a:lnTo>
                      <a:pt x="104" y="155"/>
                    </a:lnTo>
                    <a:lnTo>
                      <a:pt x="104" y="158"/>
                    </a:lnTo>
                    <a:lnTo>
                      <a:pt x="101" y="158"/>
                    </a:lnTo>
                    <a:lnTo>
                      <a:pt x="100" y="156"/>
                    </a:lnTo>
                    <a:lnTo>
                      <a:pt x="98" y="155"/>
                    </a:lnTo>
                    <a:lnTo>
                      <a:pt x="98" y="155"/>
                    </a:lnTo>
                    <a:lnTo>
                      <a:pt x="93" y="153"/>
                    </a:lnTo>
                    <a:lnTo>
                      <a:pt x="92" y="155"/>
                    </a:lnTo>
                    <a:lnTo>
                      <a:pt x="90" y="155"/>
                    </a:lnTo>
                    <a:lnTo>
                      <a:pt x="90" y="153"/>
                    </a:lnTo>
                    <a:lnTo>
                      <a:pt x="89" y="153"/>
                    </a:lnTo>
                    <a:lnTo>
                      <a:pt x="89" y="152"/>
                    </a:lnTo>
                    <a:lnTo>
                      <a:pt x="89" y="150"/>
                    </a:lnTo>
                    <a:lnTo>
                      <a:pt x="89" y="150"/>
                    </a:lnTo>
                    <a:lnTo>
                      <a:pt x="89" y="150"/>
                    </a:lnTo>
                    <a:lnTo>
                      <a:pt x="90" y="148"/>
                    </a:lnTo>
                    <a:lnTo>
                      <a:pt x="92" y="148"/>
                    </a:lnTo>
                    <a:lnTo>
                      <a:pt x="93" y="147"/>
                    </a:lnTo>
                    <a:lnTo>
                      <a:pt x="93" y="145"/>
                    </a:lnTo>
                    <a:lnTo>
                      <a:pt x="93" y="144"/>
                    </a:lnTo>
                    <a:lnTo>
                      <a:pt x="93" y="141"/>
                    </a:lnTo>
                    <a:lnTo>
                      <a:pt x="95" y="139"/>
                    </a:lnTo>
                    <a:lnTo>
                      <a:pt x="95" y="137"/>
                    </a:lnTo>
                    <a:lnTo>
                      <a:pt x="93" y="136"/>
                    </a:lnTo>
                    <a:lnTo>
                      <a:pt x="93" y="133"/>
                    </a:lnTo>
                    <a:lnTo>
                      <a:pt x="93" y="133"/>
                    </a:lnTo>
                    <a:lnTo>
                      <a:pt x="93" y="131"/>
                    </a:lnTo>
                    <a:lnTo>
                      <a:pt x="95" y="131"/>
                    </a:lnTo>
                    <a:lnTo>
                      <a:pt x="95" y="130"/>
                    </a:lnTo>
                    <a:lnTo>
                      <a:pt x="97" y="128"/>
                    </a:lnTo>
                    <a:lnTo>
                      <a:pt x="97" y="126"/>
                    </a:lnTo>
                    <a:lnTo>
                      <a:pt x="97" y="125"/>
                    </a:lnTo>
                    <a:lnTo>
                      <a:pt x="95" y="125"/>
                    </a:lnTo>
                    <a:lnTo>
                      <a:pt x="93" y="123"/>
                    </a:lnTo>
                    <a:lnTo>
                      <a:pt x="92" y="123"/>
                    </a:lnTo>
                    <a:lnTo>
                      <a:pt x="92" y="122"/>
                    </a:lnTo>
                    <a:lnTo>
                      <a:pt x="92" y="122"/>
                    </a:lnTo>
                    <a:lnTo>
                      <a:pt x="92" y="120"/>
                    </a:lnTo>
                    <a:lnTo>
                      <a:pt x="90" y="119"/>
                    </a:lnTo>
                    <a:lnTo>
                      <a:pt x="87" y="119"/>
                    </a:lnTo>
                    <a:lnTo>
                      <a:pt x="86" y="117"/>
                    </a:lnTo>
                    <a:lnTo>
                      <a:pt x="86" y="116"/>
                    </a:lnTo>
                    <a:lnTo>
                      <a:pt x="84" y="114"/>
                    </a:lnTo>
                    <a:lnTo>
                      <a:pt x="81" y="111"/>
                    </a:lnTo>
                    <a:lnTo>
                      <a:pt x="81" y="108"/>
                    </a:lnTo>
                    <a:lnTo>
                      <a:pt x="81" y="105"/>
                    </a:lnTo>
                    <a:lnTo>
                      <a:pt x="81" y="100"/>
                    </a:lnTo>
                    <a:lnTo>
                      <a:pt x="81" y="97"/>
                    </a:lnTo>
                    <a:lnTo>
                      <a:pt x="81" y="94"/>
                    </a:lnTo>
                    <a:lnTo>
                      <a:pt x="79" y="92"/>
                    </a:lnTo>
                    <a:lnTo>
                      <a:pt x="76" y="90"/>
                    </a:lnTo>
                    <a:lnTo>
                      <a:pt x="75" y="89"/>
                    </a:lnTo>
                    <a:lnTo>
                      <a:pt x="73" y="87"/>
                    </a:lnTo>
                    <a:lnTo>
                      <a:pt x="72" y="84"/>
                    </a:lnTo>
                    <a:lnTo>
                      <a:pt x="68" y="80"/>
                    </a:lnTo>
                    <a:lnTo>
                      <a:pt x="67" y="78"/>
                    </a:lnTo>
                    <a:lnTo>
                      <a:pt x="65" y="78"/>
                    </a:lnTo>
                    <a:lnTo>
                      <a:pt x="64" y="78"/>
                    </a:lnTo>
                    <a:lnTo>
                      <a:pt x="61" y="76"/>
                    </a:lnTo>
                    <a:lnTo>
                      <a:pt x="59" y="76"/>
                    </a:lnTo>
                    <a:lnTo>
                      <a:pt x="56" y="76"/>
                    </a:lnTo>
                    <a:lnTo>
                      <a:pt x="54" y="76"/>
                    </a:lnTo>
                    <a:lnTo>
                      <a:pt x="54" y="76"/>
                    </a:lnTo>
                    <a:lnTo>
                      <a:pt x="54" y="78"/>
                    </a:lnTo>
                    <a:lnTo>
                      <a:pt x="54" y="78"/>
                    </a:lnTo>
                    <a:lnTo>
                      <a:pt x="54" y="78"/>
                    </a:lnTo>
                    <a:lnTo>
                      <a:pt x="53" y="78"/>
                    </a:lnTo>
                    <a:lnTo>
                      <a:pt x="53" y="80"/>
                    </a:lnTo>
                    <a:lnTo>
                      <a:pt x="51" y="81"/>
                    </a:lnTo>
                    <a:lnTo>
                      <a:pt x="51" y="81"/>
                    </a:lnTo>
                    <a:lnTo>
                      <a:pt x="51" y="81"/>
                    </a:lnTo>
                    <a:lnTo>
                      <a:pt x="51" y="81"/>
                    </a:lnTo>
                    <a:lnTo>
                      <a:pt x="51" y="83"/>
                    </a:lnTo>
                    <a:lnTo>
                      <a:pt x="50" y="84"/>
                    </a:lnTo>
                    <a:lnTo>
                      <a:pt x="48" y="84"/>
                    </a:lnTo>
                    <a:lnTo>
                      <a:pt x="46" y="84"/>
                    </a:lnTo>
                    <a:lnTo>
                      <a:pt x="45" y="86"/>
                    </a:lnTo>
                    <a:lnTo>
                      <a:pt x="43" y="86"/>
                    </a:lnTo>
                    <a:lnTo>
                      <a:pt x="43" y="87"/>
                    </a:lnTo>
                    <a:lnTo>
                      <a:pt x="43" y="87"/>
                    </a:lnTo>
                    <a:lnTo>
                      <a:pt x="43" y="86"/>
                    </a:lnTo>
                    <a:lnTo>
                      <a:pt x="43" y="86"/>
                    </a:lnTo>
                    <a:lnTo>
                      <a:pt x="43" y="84"/>
                    </a:lnTo>
                    <a:lnTo>
                      <a:pt x="42" y="84"/>
                    </a:lnTo>
                    <a:lnTo>
                      <a:pt x="40" y="84"/>
                    </a:lnTo>
                    <a:lnTo>
                      <a:pt x="39" y="83"/>
                    </a:lnTo>
                    <a:lnTo>
                      <a:pt x="36" y="81"/>
                    </a:lnTo>
                    <a:lnTo>
                      <a:pt x="36" y="80"/>
                    </a:lnTo>
                    <a:lnTo>
                      <a:pt x="34" y="80"/>
                    </a:lnTo>
                    <a:lnTo>
                      <a:pt x="32" y="81"/>
                    </a:lnTo>
                    <a:lnTo>
                      <a:pt x="31" y="83"/>
                    </a:lnTo>
                    <a:lnTo>
                      <a:pt x="29" y="83"/>
                    </a:lnTo>
                    <a:lnTo>
                      <a:pt x="29" y="83"/>
                    </a:lnTo>
                    <a:lnTo>
                      <a:pt x="28" y="83"/>
                    </a:lnTo>
                    <a:lnTo>
                      <a:pt x="28" y="84"/>
                    </a:lnTo>
                    <a:lnTo>
                      <a:pt x="26" y="86"/>
                    </a:lnTo>
                    <a:lnTo>
                      <a:pt x="25" y="87"/>
                    </a:lnTo>
                    <a:lnTo>
                      <a:pt x="25" y="87"/>
                    </a:lnTo>
                    <a:lnTo>
                      <a:pt x="21" y="89"/>
                    </a:lnTo>
                    <a:lnTo>
                      <a:pt x="20" y="90"/>
                    </a:lnTo>
                    <a:lnTo>
                      <a:pt x="18" y="92"/>
                    </a:lnTo>
                    <a:lnTo>
                      <a:pt x="17" y="94"/>
                    </a:lnTo>
                    <a:lnTo>
                      <a:pt x="15" y="92"/>
                    </a:lnTo>
                    <a:lnTo>
                      <a:pt x="14" y="92"/>
                    </a:lnTo>
                    <a:lnTo>
                      <a:pt x="14" y="90"/>
                    </a:lnTo>
                    <a:lnTo>
                      <a:pt x="15" y="87"/>
                    </a:lnTo>
                    <a:lnTo>
                      <a:pt x="17" y="83"/>
                    </a:lnTo>
                    <a:lnTo>
                      <a:pt x="17" y="81"/>
                    </a:lnTo>
                    <a:lnTo>
                      <a:pt x="17" y="80"/>
                    </a:lnTo>
                    <a:lnTo>
                      <a:pt x="17" y="78"/>
                    </a:lnTo>
                    <a:lnTo>
                      <a:pt x="17" y="76"/>
                    </a:lnTo>
                    <a:lnTo>
                      <a:pt x="15" y="76"/>
                    </a:lnTo>
                    <a:lnTo>
                      <a:pt x="15" y="75"/>
                    </a:lnTo>
                    <a:lnTo>
                      <a:pt x="15" y="75"/>
                    </a:lnTo>
                    <a:lnTo>
                      <a:pt x="17" y="73"/>
                    </a:lnTo>
                    <a:lnTo>
                      <a:pt x="17" y="72"/>
                    </a:lnTo>
                    <a:lnTo>
                      <a:pt x="18" y="69"/>
                    </a:lnTo>
                    <a:lnTo>
                      <a:pt x="20" y="65"/>
                    </a:lnTo>
                    <a:lnTo>
                      <a:pt x="20" y="64"/>
                    </a:lnTo>
                    <a:lnTo>
                      <a:pt x="18" y="61"/>
                    </a:lnTo>
                    <a:lnTo>
                      <a:pt x="18" y="59"/>
                    </a:lnTo>
                    <a:lnTo>
                      <a:pt x="18" y="56"/>
                    </a:lnTo>
                    <a:lnTo>
                      <a:pt x="18" y="54"/>
                    </a:lnTo>
                    <a:lnTo>
                      <a:pt x="17" y="54"/>
                    </a:lnTo>
                    <a:lnTo>
                      <a:pt x="14" y="54"/>
                    </a:lnTo>
                    <a:lnTo>
                      <a:pt x="14" y="54"/>
                    </a:lnTo>
                    <a:lnTo>
                      <a:pt x="12" y="54"/>
                    </a:lnTo>
                    <a:lnTo>
                      <a:pt x="11" y="54"/>
                    </a:lnTo>
                    <a:lnTo>
                      <a:pt x="11" y="56"/>
                    </a:lnTo>
                    <a:lnTo>
                      <a:pt x="7" y="56"/>
                    </a:lnTo>
                    <a:lnTo>
                      <a:pt x="6" y="54"/>
                    </a:lnTo>
                    <a:lnTo>
                      <a:pt x="4" y="53"/>
                    </a:lnTo>
                    <a:lnTo>
                      <a:pt x="4" y="51"/>
                    </a:lnTo>
                    <a:lnTo>
                      <a:pt x="6" y="48"/>
                    </a:lnTo>
                    <a:lnTo>
                      <a:pt x="6" y="47"/>
                    </a:lnTo>
                    <a:lnTo>
                      <a:pt x="6" y="45"/>
                    </a:lnTo>
                    <a:lnTo>
                      <a:pt x="6" y="44"/>
                    </a:lnTo>
                    <a:lnTo>
                      <a:pt x="6" y="44"/>
                    </a:lnTo>
                    <a:lnTo>
                      <a:pt x="6" y="44"/>
                    </a:lnTo>
                    <a:lnTo>
                      <a:pt x="4" y="42"/>
                    </a:lnTo>
                    <a:lnTo>
                      <a:pt x="4" y="40"/>
                    </a:lnTo>
                    <a:lnTo>
                      <a:pt x="3" y="39"/>
                    </a:lnTo>
                    <a:lnTo>
                      <a:pt x="1" y="39"/>
                    </a:lnTo>
                    <a:lnTo>
                      <a:pt x="1" y="40"/>
                    </a:lnTo>
                    <a:lnTo>
                      <a:pt x="0" y="42"/>
                    </a:lnTo>
                    <a:lnTo>
                      <a:pt x="0" y="42"/>
                    </a:lnTo>
                    <a:lnTo>
                      <a:pt x="0" y="42"/>
                    </a:lnTo>
                    <a:lnTo>
                      <a:pt x="0" y="40"/>
                    </a:lnTo>
                    <a:lnTo>
                      <a:pt x="0" y="40"/>
                    </a:lnTo>
                    <a:lnTo>
                      <a:pt x="0" y="36"/>
                    </a:lnTo>
                    <a:lnTo>
                      <a:pt x="1" y="33"/>
                    </a:lnTo>
                    <a:lnTo>
                      <a:pt x="3" y="31"/>
                    </a:lnTo>
                    <a:lnTo>
                      <a:pt x="4" y="31"/>
                    </a:lnTo>
                    <a:lnTo>
                      <a:pt x="6" y="31"/>
                    </a:lnTo>
                    <a:lnTo>
                      <a:pt x="7" y="31"/>
                    </a:lnTo>
                    <a:lnTo>
                      <a:pt x="7" y="31"/>
                    </a:lnTo>
                    <a:lnTo>
                      <a:pt x="7" y="29"/>
                    </a:lnTo>
                    <a:lnTo>
                      <a:pt x="7" y="29"/>
                    </a:lnTo>
                    <a:lnTo>
                      <a:pt x="6" y="29"/>
                    </a:lnTo>
                    <a:lnTo>
                      <a:pt x="6" y="28"/>
                    </a:lnTo>
                    <a:lnTo>
                      <a:pt x="7" y="28"/>
                    </a:lnTo>
                    <a:lnTo>
                      <a:pt x="7" y="26"/>
                    </a:lnTo>
                    <a:lnTo>
                      <a:pt x="9" y="25"/>
                    </a:lnTo>
                    <a:lnTo>
                      <a:pt x="9" y="23"/>
                    </a:lnTo>
                    <a:lnTo>
                      <a:pt x="11" y="22"/>
                    </a:lnTo>
                    <a:lnTo>
                      <a:pt x="12" y="22"/>
                    </a:lnTo>
                    <a:lnTo>
                      <a:pt x="14" y="22"/>
                    </a:lnTo>
                    <a:lnTo>
                      <a:pt x="17" y="18"/>
                    </a:lnTo>
                    <a:lnTo>
                      <a:pt x="17" y="17"/>
                    </a:lnTo>
                    <a:lnTo>
                      <a:pt x="18" y="18"/>
                    </a:lnTo>
                    <a:lnTo>
                      <a:pt x="18" y="20"/>
                    </a:lnTo>
                    <a:lnTo>
                      <a:pt x="18" y="20"/>
                    </a:lnTo>
                    <a:lnTo>
                      <a:pt x="18" y="22"/>
                    </a:lnTo>
                    <a:lnTo>
                      <a:pt x="18" y="23"/>
                    </a:lnTo>
                    <a:lnTo>
                      <a:pt x="18" y="23"/>
                    </a:lnTo>
                    <a:lnTo>
                      <a:pt x="18" y="25"/>
                    </a:lnTo>
                    <a:lnTo>
                      <a:pt x="20" y="25"/>
                    </a:lnTo>
                    <a:lnTo>
                      <a:pt x="23" y="23"/>
                    </a:lnTo>
                    <a:lnTo>
                      <a:pt x="25" y="23"/>
                    </a:lnTo>
                    <a:lnTo>
                      <a:pt x="25" y="25"/>
                    </a:lnTo>
                    <a:lnTo>
                      <a:pt x="26" y="25"/>
                    </a:lnTo>
                    <a:lnTo>
                      <a:pt x="26" y="25"/>
                    </a:lnTo>
                    <a:lnTo>
                      <a:pt x="28" y="25"/>
                    </a:lnTo>
                    <a:lnTo>
                      <a:pt x="28" y="25"/>
                    </a:lnTo>
                    <a:lnTo>
                      <a:pt x="28" y="25"/>
                    </a:lnTo>
                    <a:lnTo>
                      <a:pt x="29" y="23"/>
                    </a:lnTo>
                    <a:lnTo>
                      <a:pt x="29" y="23"/>
                    </a:lnTo>
                    <a:lnTo>
                      <a:pt x="28" y="23"/>
                    </a:lnTo>
                    <a:lnTo>
                      <a:pt x="28" y="22"/>
                    </a:lnTo>
                    <a:lnTo>
                      <a:pt x="28" y="20"/>
                    </a:lnTo>
                    <a:lnTo>
                      <a:pt x="28" y="18"/>
                    </a:lnTo>
                    <a:lnTo>
                      <a:pt x="28" y="17"/>
                    </a:lnTo>
                    <a:lnTo>
                      <a:pt x="28" y="14"/>
                    </a:lnTo>
                    <a:lnTo>
                      <a:pt x="28" y="12"/>
                    </a:lnTo>
                    <a:lnTo>
                      <a:pt x="26" y="11"/>
                    </a:lnTo>
                    <a:lnTo>
                      <a:pt x="25" y="9"/>
                    </a:lnTo>
                    <a:lnTo>
                      <a:pt x="25" y="8"/>
                    </a:lnTo>
                    <a:lnTo>
                      <a:pt x="25" y="8"/>
                    </a:lnTo>
                    <a:lnTo>
                      <a:pt x="25" y="6"/>
                    </a:lnTo>
                    <a:lnTo>
                      <a:pt x="25" y="4"/>
                    </a:lnTo>
                    <a:lnTo>
                      <a:pt x="25" y="4"/>
                    </a:lnTo>
                    <a:lnTo>
                      <a:pt x="25" y="4"/>
                    </a:lnTo>
                    <a:lnTo>
                      <a:pt x="26" y="3"/>
                    </a:lnTo>
                    <a:lnTo>
                      <a:pt x="26" y="1"/>
                    </a:lnTo>
                    <a:lnTo>
                      <a:pt x="26" y="0"/>
                    </a:lnTo>
                    <a:lnTo>
                      <a:pt x="28" y="0"/>
                    </a:lnTo>
                    <a:lnTo>
                      <a:pt x="28" y="0"/>
                    </a:lnTo>
                    <a:lnTo>
                      <a:pt x="28" y="0"/>
                    </a:lnTo>
                    <a:lnTo>
                      <a:pt x="29" y="1"/>
                    </a:lnTo>
                    <a:lnTo>
                      <a:pt x="31" y="1"/>
                    </a:lnTo>
                    <a:lnTo>
                      <a:pt x="32" y="1"/>
                    </a:lnTo>
                    <a:lnTo>
                      <a:pt x="34" y="1"/>
                    </a:lnTo>
                    <a:lnTo>
                      <a:pt x="34"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3" name="Freeform 120">
                <a:extLst>
                  <a:ext uri="{FF2B5EF4-FFF2-40B4-BE49-F238E27FC236}">
                    <a16:creationId xmlns:a16="http://schemas.microsoft.com/office/drawing/2014/main" id="{A049EE2A-96C2-7CFE-804F-728108F960A6}"/>
                  </a:ext>
                </a:extLst>
              </p:cNvPr>
              <p:cNvSpPr>
                <a:spLocks/>
              </p:cNvSpPr>
              <p:nvPr/>
            </p:nvSpPr>
            <p:spPr bwMode="gray">
              <a:xfrm>
                <a:off x="3291" y="931"/>
                <a:ext cx="27" cy="33"/>
              </a:xfrm>
              <a:custGeom>
                <a:avLst/>
                <a:gdLst>
                  <a:gd name="T0" fmla="*/ 13 w 27"/>
                  <a:gd name="T1" fmla="*/ 25 h 33"/>
                  <a:gd name="T2" fmla="*/ 13 w 27"/>
                  <a:gd name="T3" fmla="*/ 27 h 33"/>
                  <a:gd name="T4" fmla="*/ 13 w 27"/>
                  <a:gd name="T5" fmla="*/ 27 h 33"/>
                  <a:gd name="T6" fmla="*/ 11 w 27"/>
                  <a:gd name="T7" fmla="*/ 28 h 33"/>
                  <a:gd name="T8" fmla="*/ 10 w 27"/>
                  <a:gd name="T9" fmla="*/ 30 h 33"/>
                  <a:gd name="T10" fmla="*/ 8 w 27"/>
                  <a:gd name="T11" fmla="*/ 30 h 33"/>
                  <a:gd name="T12" fmla="*/ 8 w 27"/>
                  <a:gd name="T13" fmla="*/ 30 h 33"/>
                  <a:gd name="T14" fmla="*/ 8 w 27"/>
                  <a:gd name="T15" fmla="*/ 30 h 33"/>
                  <a:gd name="T16" fmla="*/ 6 w 27"/>
                  <a:gd name="T17" fmla="*/ 33 h 33"/>
                  <a:gd name="T18" fmla="*/ 5 w 27"/>
                  <a:gd name="T19" fmla="*/ 33 h 33"/>
                  <a:gd name="T20" fmla="*/ 3 w 27"/>
                  <a:gd name="T21" fmla="*/ 33 h 33"/>
                  <a:gd name="T22" fmla="*/ 2 w 27"/>
                  <a:gd name="T23" fmla="*/ 33 h 33"/>
                  <a:gd name="T24" fmla="*/ 0 w 27"/>
                  <a:gd name="T25" fmla="*/ 33 h 33"/>
                  <a:gd name="T26" fmla="*/ 0 w 27"/>
                  <a:gd name="T27" fmla="*/ 31 h 33"/>
                  <a:gd name="T28" fmla="*/ 2 w 27"/>
                  <a:gd name="T29" fmla="*/ 30 h 33"/>
                  <a:gd name="T30" fmla="*/ 3 w 27"/>
                  <a:gd name="T31" fmla="*/ 27 h 33"/>
                  <a:gd name="T32" fmla="*/ 3 w 27"/>
                  <a:gd name="T33" fmla="*/ 24 h 33"/>
                  <a:gd name="T34" fmla="*/ 6 w 27"/>
                  <a:gd name="T35" fmla="*/ 16 h 33"/>
                  <a:gd name="T36" fmla="*/ 10 w 27"/>
                  <a:gd name="T37" fmla="*/ 13 h 33"/>
                  <a:gd name="T38" fmla="*/ 10 w 27"/>
                  <a:gd name="T39" fmla="*/ 8 h 33"/>
                  <a:gd name="T40" fmla="*/ 13 w 27"/>
                  <a:gd name="T41" fmla="*/ 5 h 33"/>
                  <a:gd name="T42" fmla="*/ 14 w 27"/>
                  <a:gd name="T43" fmla="*/ 3 h 33"/>
                  <a:gd name="T44" fmla="*/ 16 w 27"/>
                  <a:gd name="T45" fmla="*/ 2 h 33"/>
                  <a:gd name="T46" fmla="*/ 16 w 27"/>
                  <a:gd name="T47" fmla="*/ 0 h 33"/>
                  <a:gd name="T48" fmla="*/ 19 w 27"/>
                  <a:gd name="T49" fmla="*/ 0 h 33"/>
                  <a:gd name="T50" fmla="*/ 21 w 27"/>
                  <a:gd name="T51" fmla="*/ 0 h 33"/>
                  <a:gd name="T52" fmla="*/ 21 w 27"/>
                  <a:gd name="T53" fmla="*/ 0 h 33"/>
                  <a:gd name="T54" fmla="*/ 22 w 27"/>
                  <a:gd name="T55" fmla="*/ 0 h 33"/>
                  <a:gd name="T56" fmla="*/ 24 w 27"/>
                  <a:gd name="T57" fmla="*/ 2 h 33"/>
                  <a:gd name="T58" fmla="*/ 22 w 27"/>
                  <a:gd name="T59" fmla="*/ 2 h 33"/>
                  <a:gd name="T60" fmla="*/ 22 w 27"/>
                  <a:gd name="T61" fmla="*/ 3 h 33"/>
                  <a:gd name="T62" fmla="*/ 22 w 27"/>
                  <a:gd name="T63" fmla="*/ 3 h 33"/>
                  <a:gd name="T64" fmla="*/ 22 w 27"/>
                  <a:gd name="T65" fmla="*/ 3 h 33"/>
                  <a:gd name="T66" fmla="*/ 24 w 27"/>
                  <a:gd name="T67" fmla="*/ 5 h 33"/>
                  <a:gd name="T68" fmla="*/ 25 w 27"/>
                  <a:gd name="T69" fmla="*/ 5 h 33"/>
                  <a:gd name="T70" fmla="*/ 27 w 27"/>
                  <a:gd name="T71" fmla="*/ 10 h 33"/>
                  <a:gd name="T72" fmla="*/ 25 w 27"/>
                  <a:gd name="T73" fmla="*/ 11 h 33"/>
                  <a:gd name="T74" fmla="*/ 24 w 27"/>
                  <a:gd name="T75" fmla="*/ 13 h 33"/>
                  <a:gd name="T76" fmla="*/ 24 w 27"/>
                  <a:gd name="T77" fmla="*/ 13 h 33"/>
                  <a:gd name="T78" fmla="*/ 22 w 27"/>
                  <a:gd name="T79" fmla="*/ 14 h 33"/>
                  <a:gd name="T80" fmla="*/ 21 w 27"/>
                  <a:gd name="T81" fmla="*/ 14 h 33"/>
                  <a:gd name="T82" fmla="*/ 21 w 27"/>
                  <a:gd name="T83" fmla="*/ 16 h 33"/>
                  <a:gd name="T84" fmla="*/ 21 w 27"/>
                  <a:gd name="T85" fmla="*/ 16 h 33"/>
                  <a:gd name="T86" fmla="*/ 22 w 27"/>
                  <a:gd name="T87" fmla="*/ 17 h 33"/>
                  <a:gd name="T88" fmla="*/ 22 w 27"/>
                  <a:gd name="T89" fmla="*/ 17 h 33"/>
                  <a:gd name="T90" fmla="*/ 22 w 27"/>
                  <a:gd name="T91" fmla="*/ 17 h 33"/>
                  <a:gd name="T92" fmla="*/ 21 w 27"/>
                  <a:gd name="T93" fmla="*/ 17 h 33"/>
                  <a:gd name="T94" fmla="*/ 19 w 27"/>
                  <a:gd name="T95" fmla="*/ 17 h 33"/>
                  <a:gd name="T96" fmla="*/ 19 w 27"/>
                  <a:gd name="T97" fmla="*/ 17 h 33"/>
                  <a:gd name="T98" fmla="*/ 17 w 27"/>
                  <a:gd name="T99" fmla="*/ 17 h 33"/>
                  <a:gd name="T100" fmla="*/ 16 w 27"/>
                  <a:gd name="T101" fmla="*/ 19 h 33"/>
                  <a:gd name="T102" fmla="*/ 16 w 27"/>
                  <a:gd name="T103" fmla="*/ 19 h 33"/>
                  <a:gd name="T104" fmla="*/ 16 w 27"/>
                  <a:gd name="T105" fmla="*/ 19 h 33"/>
                  <a:gd name="T106" fmla="*/ 14 w 27"/>
                  <a:gd name="T107" fmla="*/ 21 h 33"/>
                  <a:gd name="T108" fmla="*/ 16 w 27"/>
                  <a:gd name="T109" fmla="*/ 22 h 33"/>
                  <a:gd name="T110" fmla="*/ 16 w 27"/>
                  <a:gd name="T111" fmla="*/ 22 h 33"/>
                  <a:gd name="T112" fmla="*/ 16 w 27"/>
                  <a:gd name="T113" fmla="*/ 22 h 33"/>
                  <a:gd name="T114" fmla="*/ 16 w 27"/>
                  <a:gd name="T115" fmla="*/ 24 h 33"/>
                  <a:gd name="T116" fmla="*/ 16 w 27"/>
                  <a:gd name="T117" fmla="*/ 24 h 33"/>
                  <a:gd name="T118" fmla="*/ 14 w 27"/>
                  <a:gd name="T119" fmla="*/ 25 h 33"/>
                  <a:gd name="T120" fmla="*/ 14 w 27"/>
                  <a:gd name="T121" fmla="*/ 25 h 33"/>
                  <a:gd name="T122" fmla="*/ 13 w 27"/>
                  <a:gd name="T12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 h="33">
                    <a:moveTo>
                      <a:pt x="13" y="25"/>
                    </a:moveTo>
                    <a:lnTo>
                      <a:pt x="13" y="27"/>
                    </a:lnTo>
                    <a:lnTo>
                      <a:pt x="13" y="27"/>
                    </a:lnTo>
                    <a:lnTo>
                      <a:pt x="11" y="28"/>
                    </a:lnTo>
                    <a:lnTo>
                      <a:pt x="10" y="30"/>
                    </a:lnTo>
                    <a:lnTo>
                      <a:pt x="8" y="30"/>
                    </a:lnTo>
                    <a:lnTo>
                      <a:pt x="8" y="30"/>
                    </a:lnTo>
                    <a:lnTo>
                      <a:pt x="8" y="30"/>
                    </a:lnTo>
                    <a:lnTo>
                      <a:pt x="6" y="33"/>
                    </a:lnTo>
                    <a:lnTo>
                      <a:pt x="5" y="33"/>
                    </a:lnTo>
                    <a:lnTo>
                      <a:pt x="3" y="33"/>
                    </a:lnTo>
                    <a:lnTo>
                      <a:pt x="2" y="33"/>
                    </a:lnTo>
                    <a:lnTo>
                      <a:pt x="0" y="33"/>
                    </a:lnTo>
                    <a:lnTo>
                      <a:pt x="0" y="31"/>
                    </a:lnTo>
                    <a:lnTo>
                      <a:pt x="2" y="30"/>
                    </a:lnTo>
                    <a:lnTo>
                      <a:pt x="3" y="27"/>
                    </a:lnTo>
                    <a:lnTo>
                      <a:pt x="3" y="24"/>
                    </a:lnTo>
                    <a:lnTo>
                      <a:pt x="6" y="16"/>
                    </a:lnTo>
                    <a:lnTo>
                      <a:pt x="10" y="13"/>
                    </a:lnTo>
                    <a:lnTo>
                      <a:pt x="10" y="8"/>
                    </a:lnTo>
                    <a:lnTo>
                      <a:pt x="13" y="5"/>
                    </a:lnTo>
                    <a:lnTo>
                      <a:pt x="14" y="3"/>
                    </a:lnTo>
                    <a:lnTo>
                      <a:pt x="16" y="2"/>
                    </a:lnTo>
                    <a:lnTo>
                      <a:pt x="16" y="0"/>
                    </a:lnTo>
                    <a:lnTo>
                      <a:pt x="19" y="0"/>
                    </a:lnTo>
                    <a:lnTo>
                      <a:pt x="21" y="0"/>
                    </a:lnTo>
                    <a:lnTo>
                      <a:pt x="21" y="0"/>
                    </a:lnTo>
                    <a:lnTo>
                      <a:pt x="22" y="0"/>
                    </a:lnTo>
                    <a:lnTo>
                      <a:pt x="24" y="2"/>
                    </a:lnTo>
                    <a:lnTo>
                      <a:pt x="22" y="2"/>
                    </a:lnTo>
                    <a:lnTo>
                      <a:pt x="22" y="3"/>
                    </a:lnTo>
                    <a:lnTo>
                      <a:pt x="22" y="3"/>
                    </a:lnTo>
                    <a:lnTo>
                      <a:pt x="22" y="3"/>
                    </a:lnTo>
                    <a:lnTo>
                      <a:pt x="24" y="5"/>
                    </a:lnTo>
                    <a:lnTo>
                      <a:pt x="25" y="5"/>
                    </a:lnTo>
                    <a:lnTo>
                      <a:pt x="27" y="10"/>
                    </a:lnTo>
                    <a:lnTo>
                      <a:pt x="25" y="11"/>
                    </a:lnTo>
                    <a:lnTo>
                      <a:pt x="24" y="13"/>
                    </a:lnTo>
                    <a:lnTo>
                      <a:pt x="24" y="13"/>
                    </a:lnTo>
                    <a:lnTo>
                      <a:pt x="22" y="14"/>
                    </a:lnTo>
                    <a:lnTo>
                      <a:pt x="21" y="14"/>
                    </a:lnTo>
                    <a:lnTo>
                      <a:pt x="21" y="16"/>
                    </a:lnTo>
                    <a:lnTo>
                      <a:pt x="21" y="16"/>
                    </a:lnTo>
                    <a:lnTo>
                      <a:pt x="22" y="17"/>
                    </a:lnTo>
                    <a:lnTo>
                      <a:pt x="22" y="17"/>
                    </a:lnTo>
                    <a:lnTo>
                      <a:pt x="22" y="17"/>
                    </a:lnTo>
                    <a:lnTo>
                      <a:pt x="21" y="17"/>
                    </a:lnTo>
                    <a:lnTo>
                      <a:pt x="19" y="17"/>
                    </a:lnTo>
                    <a:lnTo>
                      <a:pt x="19" y="17"/>
                    </a:lnTo>
                    <a:lnTo>
                      <a:pt x="17" y="17"/>
                    </a:lnTo>
                    <a:lnTo>
                      <a:pt x="16" y="19"/>
                    </a:lnTo>
                    <a:lnTo>
                      <a:pt x="16" y="19"/>
                    </a:lnTo>
                    <a:lnTo>
                      <a:pt x="16" y="19"/>
                    </a:lnTo>
                    <a:lnTo>
                      <a:pt x="14" y="21"/>
                    </a:lnTo>
                    <a:lnTo>
                      <a:pt x="16" y="22"/>
                    </a:lnTo>
                    <a:lnTo>
                      <a:pt x="16" y="22"/>
                    </a:lnTo>
                    <a:lnTo>
                      <a:pt x="16" y="22"/>
                    </a:lnTo>
                    <a:lnTo>
                      <a:pt x="16" y="24"/>
                    </a:lnTo>
                    <a:lnTo>
                      <a:pt x="16" y="24"/>
                    </a:lnTo>
                    <a:lnTo>
                      <a:pt x="14" y="25"/>
                    </a:lnTo>
                    <a:lnTo>
                      <a:pt x="14" y="25"/>
                    </a:lnTo>
                    <a:lnTo>
                      <a:pt x="13" y="2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4" name="Freeform 121">
                <a:extLst>
                  <a:ext uri="{FF2B5EF4-FFF2-40B4-BE49-F238E27FC236}">
                    <a16:creationId xmlns:a16="http://schemas.microsoft.com/office/drawing/2014/main" id="{94CF0E0B-98ED-4412-4F43-0B02150C9E4A}"/>
                  </a:ext>
                </a:extLst>
              </p:cNvPr>
              <p:cNvSpPr>
                <a:spLocks/>
              </p:cNvSpPr>
              <p:nvPr/>
            </p:nvSpPr>
            <p:spPr bwMode="gray">
              <a:xfrm>
                <a:off x="1603" y="1329"/>
                <a:ext cx="3" cy="6"/>
              </a:xfrm>
              <a:custGeom>
                <a:avLst/>
                <a:gdLst>
                  <a:gd name="T0" fmla="*/ 3 w 3"/>
                  <a:gd name="T1" fmla="*/ 4 h 6"/>
                  <a:gd name="T2" fmla="*/ 3 w 3"/>
                  <a:gd name="T3" fmla="*/ 6 h 6"/>
                  <a:gd name="T4" fmla="*/ 0 w 3"/>
                  <a:gd name="T5" fmla="*/ 4 h 6"/>
                  <a:gd name="T6" fmla="*/ 0 w 3"/>
                  <a:gd name="T7" fmla="*/ 4 h 6"/>
                  <a:gd name="T8" fmla="*/ 0 w 3"/>
                  <a:gd name="T9" fmla="*/ 3 h 6"/>
                  <a:gd name="T10" fmla="*/ 1 w 3"/>
                  <a:gd name="T11" fmla="*/ 1 h 6"/>
                  <a:gd name="T12" fmla="*/ 3 w 3"/>
                  <a:gd name="T13" fmla="*/ 0 h 6"/>
                  <a:gd name="T14" fmla="*/ 3 w 3"/>
                  <a:gd name="T15" fmla="*/ 0 h 6"/>
                  <a:gd name="T16" fmla="*/ 3 w 3"/>
                  <a:gd name="T17" fmla="*/ 1 h 6"/>
                  <a:gd name="T18" fmla="*/ 3 w 3"/>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4"/>
                    </a:moveTo>
                    <a:lnTo>
                      <a:pt x="3" y="6"/>
                    </a:lnTo>
                    <a:lnTo>
                      <a:pt x="0" y="4"/>
                    </a:lnTo>
                    <a:lnTo>
                      <a:pt x="0" y="4"/>
                    </a:lnTo>
                    <a:lnTo>
                      <a:pt x="0" y="3"/>
                    </a:lnTo>
                    <a:lnTo>
                      <a:pt x="1" y="1"/>
                    </a:lnTo>
                    <a:lnTo>
                      <a:pt x="3" y="0"/>
                    </a:lnTo>
                    <a:lnTo>
                      <a:pt x="3" y="0"/>
                    </a:lnTo>
                    <a:lnTo>
                      <a:pt x="3" y="1"/>
                    </a:lnTo>
                    <a:lnTo>
                      <a:pt x="3"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5" name="Freeform 122">
                <a:extLst>
                  <a:ext uri="{FF2B5EF4-FFF2-40B4-BE49-F238E27FC236}">
                    <a16:creationId xmlns:a16="http://schemas.microsoft.com/office/drawing/2014/main" id="{5F488062-DF69-91F0-3724-0EA12BCF8B99}"/>
                  </a:ext>
                </a:extLst>
              </p:cNvPr>
              <p:cNvSpPr>
                <a:spLocks/>
              </p:cNvSpPr>
              <p:nvPr/>
            </p:nvSpPr>
            <p:spPr bwMode="gray">
              <a:xfrm>
                <a:off x="2841" y="637"/>
                <a:ext cx="3" cy="6"/>
              </a:xfrm>
              <a:custGeom>
                <a:avLst/>
                <a:gdLst>
                  <a:gd name="T0" fmla="*/ 1 w 3"/>
                  <a:gd name="T1" fmla="*/ 6 h 6"/>
                  <a:gd name="T2" fmla="*/ 0 w 3"/>
                  <a:gd name="T3" fmla="*/ 6 h 6"/>
                  <a:gd name="T4" fmla="*/ 0 w 3"/>
                  <a:gd name="T5" fmla="*/ 6 h 6"/>
                  <a:gd name="T6" fmla="*/ 0 w 3"/>
                  <a:gd name="T7" fmla="*/ 5 h 6"/>
                  <a:gd name="T8" fmla="*/ 0 w 3"/>
                  <a:gd name="T9" fmla="*/ 3 h 6"/>
                  <a:gd name="T10" fmla="*/ 1 w 3"/>
                  <a:gd name="T11" fmla="*/ 0 h 6"/>
                  <a:gd name="T12" fmla="*/ 1 w 3"/>
                  <a:gd name="T13" fmla="*/ 0 h 6"/>
                  <a:gd name="T14" fmla="*/ 1 w 3"/>
                  <a:gd name="T15" fmla="*/ 2 h 6"/>
                  <a:gd name="T16" fmla="*/ 1 w 3"/>
                  <a:gd name="T17" fmla="*/ 2 h 6"/>
                  <a:gd name="T18" fmla="*/ 1 w 3"/>
                  <a:gd name="T19" fmla="*/ 3 h 6"/>
                  <a:gd name="T20" fmla="*/ 1 w 3"/>
                  <a:gd name="T21" fmla="*/ 3 h 6"/>
                  <a:gd name="T22" fmla="*/ 3 w 3"/>
                  <a:gd name="T23" fmla="*/ 3 h 6"/>
                  <a:gd name="T24" fmla="*/ 3 w 3"/>
                  <a:gd name="T25" fmla="*/ 5 h 6"/>
                  <a:gd name="T26" fmla="*/ 3 w 3"/>
                  <a:gd name="T27" fmla="*/ 5 h 6"/>
                  <a:gd name="T28" fmla="*/ 1 w 3"/>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1" y="6"/>
                    </a:moveTo>
                    <a:lnTo>
                      <a:pt x="0" y="6"/>
                    </a:lnTo>
                    <a:lnTo>
                      <a:pt x="0" y="6"/>
                    </a:lnTo>
                    <a:lnTo>
                      <a:pt x="0" y="5"/>
                    </a:lnTo>
                    <a:lnTo>
                      <a:pt x="0" y="3"/>
                    </a:lnTo>
                    <a:lnTo>
                      <a:pt x="1" y="0"/>
                    </a:lnTo>
                    <a:lnTo>
                      <a:pt x="1" y="0"/>
                    </a:lnTo>
                    <a:lnTo>
                      <a:pt x="1" y="2"/>
                    </a:lnTo>
                    <a:lnTo>
                      <a:pt x="1" y="2"/>
                    </a:lnTo>
                    <a:lnTo>
                      <a:pt x="1" y="3"/>
                    </a:lnTo>
                    <a:lnTo>
                      <a:pt x="1" y="3"/>
                    </a:lnTo>
                    <a:lnTo>
                      <a:pt x="3" y="3"/>
                    </a:lnTo>
                    <a:lnTo>
                      <a:pt x="3" y="5"/>
                    </a:lnTo>
                    <a:lnTo>
                      <a:pt x="3" y="5"/>
                    </a:lnTo>
                    <a:lnTo>
                      <a:pt x="1"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6" name="Freeform 123">
                <a:extLst>
                  <a:ext uri="{FF2B5EF4-FFF2-40B4-BE49-F238E27FC236}">
                    <a16:creationId xmlns:a16="http://schemas.microsoft.com/office/drawing/2014/main" id="{53CC5E14-8352-E3FC-EA5D-4873E899EC01}"/>
                  </a:ext>
                </a:extLst>
              </p:cNvPr>
              <p:cNvSpPr>
                <a:spLocks noEditPoints="1"/>
              </p:cNvSpPr>
              <p:nvPr/>
            </p:nvSpPr>
            <p:spPr bwMode="gray">
              <a:xfrm>
                <a:off x="4075" y="1405"/>
                <a:ext cx="37" cy="68"/>
              </a:xfrm>
              <a:custGeom>
                <a:avLst/>
                <a:gdLst>
                  <a:gd name="T0" fmla="*/ 1 w 37"/>
                  <a:gd name="T1" fmla="*/ 13 h 68"/>
                  <a:gd name="T2" fmla="*/ 0 w 37"/>
                  <a:gd name="T3" fmla="*/ 13 h 68"/>
                  <a:gd name="T4" fmla="*/ 3 w 37"/>
                  <a:gd name="T5" fmla="*/ 14 h 68"/>
                  <a:gd name="T6" fmla="*/ 3 w 37"/>
                  <a:gd name="T7" fmla="*/ 2 h 68"/>
                  <a:gd name="T8" fmla="*/ 1 w 37"/>
                  <a:gd name="T9" fmla="*/ 0 h 68"/>
                  <a:gd name="T10" fmla="*/ 1 w 37"/>
                  <a:gd name="T11" fmla="*/ 2 h 68"/>
                  <a:gd name="T12" fmla="*/ 3 w 37"/>
                  <a:gd name="T13" fmla="*/ 3 h 68"/>
                  <a:gd name="T14" fmla="*/ 3 w 37"/>
                  <a:gd name="T15" fmla="*/ 2 h 68"/>
                  <a:gd name="T16" fmla="*/ 35 w 37"/>
                  <a:gd name="T17" fmla="*/ 43 h 68"/>
                  <a:gd name="T18" fmla="*/ 34 w 37"/>
                  <a:gd name="T19" fmla="*/ 38 h 68"/>
                  <a:gd name="T20" fmla="*/ 34 w 37"/>
                  <a:gd name="T21" fmla="*/ 36 h 68"/>
                  <a:gd name="T22" fmla="*/ 34 w 37"/>
                  <a:gd name="T23" fmla="*/ 36 h 68"/>
                  <a:gd name="T24" fmla="*/ 29 w 37"/>
                  <a:gd name="T25" fmla="*/ 30 h 68"/>
                  <a:gd name="T26" fmla="*/ 28 w 37"/>
                  <a:gd name="T27" fmla="*/ 24 h 68"/>
                  <a:gd name="T28" fmla="*/ 26 w 37"/>
                  <a:gd name="T29" fmla="*/ 24 h 68"/>
                  <a:gd name="T30" fmla="*/ 26 w 37"/>
                  <a:gd name="T31" fmla="*/ 22 h 68"/>
                  <a:gd name="T32" fmla="*/ 25 w 37"/>
                  <a:gd name="T33" fmla="*/ 21 h 68"/>
                  <a:gd name="T34" fmla="*/ 21 w 37"/>
                  <a:gd name="T35" fmla="*/ 14 h 68"/>
                  <a:gd name="T36" fmla="*/ 20 w 37"/>
                  <a:gd name="T37" fmla="*/ 14 h 68"/>
                  <a:gd name="T38" fmla="*/ 17 w 37"/>
                  <a:gd name="T39" fmla="*/ 8 h 68"/>
                  <a:gd name="T40" fmla="*/ 9 w 37"/>
                  <a:gd name="T41" fmla="*/ 0 h 68"/>
                  <a:gd name="T42" fmla="*/ 6 w 37"/>
                  <a:gd name="T43" fmla="*/ 0 h 68"/>
                  <a:gd name="T44" fmla="*/ 4 w 37"/>
                  <a:gd name="T45" fmla="*/ 0 h 68"/>
                  <a:gd name="T46" fmla="*/ 4 w 37"/>
                  <a:gd name="T47" fmla="*/ 2 h 68"/>
                  <a:gd name="T48" fmla="*/ 9 w 37"/>
                  <a:gd name="T49" fmla="*/ 3 h 68"/>
                  <a:gd name="T50" fmla="*/ 12 w 37"/>
                  <a:gd name="T51" fmla="*/ 5 h 68"/>
                  <a:gd name="T52" fmla="*/ 9 w 37"/>
                  <a:gd name="T53" fmla="*/ 7 h 68"/>
                  <a:gd name="T54" fmla="*/ 7 w 37"/>
                  <a:gd name="T55" fmla="*/ 5 h 68"/>
                  <a:gd name="T56" fmla="*/ 6 w 37"/>
                  <a:gd name="T57" fmla="*/ 7 h 68"/>
                  <a:gd name="T58" fmla="*/ 6 w 37"/>
                  <a:gd name="T59" fmla="*/ 11 h 68"/>
                  <a:gd name="T60" fmla="*/ 3 w 37"/>
                  <a:gd name="T61" fmla="*/ 16 h 68"/>
                  <a:gd name="T62" fmla="*/ 3 w 37"/>
                  <a:gd name="T63" fmla="*/ 19 h 68"/>
                  <a:gd name="T64" fmla="*/ 1 w 37"/>
                  <a:gd name="T65" fmla="*/ 25 h 68"/>
                  <a:gd name="T66" fmla="*/ 1 w 37"/>
                  <a:gd name="T67" fmla="*/ 32 h 68"/>
                  <a:gd name="T68" fmla="*/ 0 w 37"/>
                  <a:gd name="T69" fmla="*/ 32 h 68"/>
                  <a:gd name="T70" fmla="*/ 0 w 37"/>
                  <a:gd name="T71" fmla="*/ 28 h 68"/>
                  <a:gd name="T72" fmla="*/ 0 w 37"/>
                  <a:gd name="T73" fmla="*/ 35 h 68"/>
                  <a:gd name="T74" fmla="*/ 1 w 37"/>
                  <a:gd name="T75" fmla="*/ 52 h 68"/>
                  <a:gd name="T76" fmla="*/ 4 w 37"/>
                  <a:gd name="T77" fmla="*/ 61 h 68"/>
                  <a:gd name="T78" fmla="*/ 9 w 37"/>
                  <a:gd name="T79" fmla="*/ 68 h 68"/>
                  <a:gd name="T80" fmla="*/ 17 w 37"/>
                  <a:gd name="T81" fmla="*/ 68 h 68"/>
                  <a:gd name="T82" fmla="*/ 28 w 37"/>
                  <a:gd name="T83" fmla="*/ 63 h 68"/>
                  <a:gd name="T84" fmla="*/ 32 w 37"/>
                  <a:gd name="T85" fmla="*/ 60 h 68"/>
                  <a:gd name="T86" fmla="*/ 35 w 37"/>
                  <a:gd name="T87" fmla="*/ 57 h 68"/>
                  <a:gd name="T88" fmla="*/ 37 w 37"/>
                  <a:gd name="T89" fmla="*/ 52 h 68"/>
                  <a:gd name="T90" fmla="*/ 37 w 37"/>
                  <a:gd name="T91" fmla="*/ 4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 h="68">
                    <a:moveTo>
                      <a:pt x="1" y="13"/>
                    </a:moveTo>
                    <a:lnTo>
                      <a:pt x="1" y="13"/>
                    </a:lnTo>
                    <a:lnTo>
                      <a:pt x="0" y="13"/>
                    </a:lnTo>
                    <a:lnTo>
                      <a:pt x="0" y="13"/>
                    </a:lnTo>
                    <a:lnTo>
                      <a:pt x="1" y="14"/>
                    </a:lnTo>
                    <a:lnTo>
                      <a:pt x="3" y="14"/>
                    </a:lnTo>
                    <a:lnTo>
                      <a:pt x="1" y="13"/>
                    </a:lnTo>
                    <a:close/>
                    <a:moveTo>
                      <a:pt x="3" y="2"/>
                    </a:moveTo>
                    <a:lnTo>
                      <a:pt x="3" y="2"/>
                    </a:lnTo>
                    <a:lnTo>
                      <a:pt x="1" y="0"/>
                    </a:lnTo>
                    <a:lnTo>
                      <a:pt x="1" y="2"/>
                    </a:lnTo>
                    <a:lnTo>
                      <a:pt x="1" y="2"/>
                    </a:lnTo>
                    <a:lnTo>
                      <a:pt x="1" y="2"/>
                    </a:lnTo>
                    <a:lnTo>
                      <a:pt x="3" y="3"/>
                    </a:lnTo>
                    <a:lnTo>
                      <a:pt x="4" y="3"/>
                    </a:lnTo>
                    <a:lnTo>
                      <a:pt x="3" y="2"/>
                    </a:lnTo>
                    <a:close/>
                    <a:moveTo>
                      <a:pt x="37" y="44"/>
                    </a:moveTo>
                    <a:lnTo>
                      <a:pt x="35" y="43"/>
                    </a:lnTo>
                    <a:lnTo>
                      <a:pt x="35" y="41"/>
                    </a:lnTo>
                    <a:lnTo>
                      <a:pt x="34" y="38"/>
                    </a:lnTo>
                    <a:lnTo>
                      <a:pt x="34" y="38"/>
                    </a:lnTo>
                    <a:lnTo>
                      <a:pt x="34" y="36"/>
                    </a:lnTo>
                    <a:lnTo>
                      <a:pt x="34" y="36"/>
                    </a:lnTo>
                    <a:lnTo>
                      <a:pt x="34" y="36"/>
                    </a:lnTo>
                    <a:lnTo>
                      <a:pt x="29" y="30"/>
                    </a:lnTo>
                    <a:lnTo>
                      <a:pt x="29" y="30"/>
                    </a:lnTo>
                    <a:lnTo>
                      <a:pt x="29" y="28"/>
                    </a:lnTo>
                    <a:lnTo>
                      <a:pt x="28" y="24"/>
                    </a:lnTo>
                    <a:lnTo>
                      <a:pt x="28" y="24"/>
                    </a:lnTo>
                    <a:lnTo>
                      <a:pt x="26" y="24"/>
                    </a:lnTo>
                    <a:lnTo>
                      <a:pt x="26" y="22"/>
                    </a:lnTo>
                    <a:lnTo>
                      <a:pt x="26" y="22"/>
                    </a:lnTo>
                    <a:lnTo>
                      <a:pt x="26" y="21"/>
                    </a:lnTo>
                    <a:lnTo>
                      <a:pt x="25" y="21"/>
                    </a:lnTo>
                    <a:lnTo>
                      <a:pt x="21" y="16"/>
                    </a:lnTo>
                    <a:lnTo>
                      <a:pt x="21" y="14"/>
                    </a:lnTo>
                    <a:lnTo>
                      <a:pt x="20" y="14"/>
                    </a:lnTo>
                    <a:lnTo>
                      <a:pt x="20" y="14"/>
                    </a:lnTo>
                    <a:lnTo>
                      <a:pt x="20" y="13"/>
                    </a:lnTo>
                    <a:lnTo>
                      <a:pt x="17" y="8"/>
                    </a:lnTo>
                    <a:lnTo>
                      <a:pt x="10" y="3"/>
                    </a:lnTo>
                    <a:lnTo>
                      <a:pt x="9" y="0"/>
                    </a:lnTo>
                    <a:lnTo>
                      <a:pt x="7" y="0"/>
                    </a:lnTo>
                    <a:lnTo>
                      <a:pt x="6" y="0"/>
                    </a:lnTo>
                    <a:lnTo>
                      <a:pt x="4" y="0"/>
                    </a:lnTo>
                    <a:lnTo>
                      <a:pt x="4" y="0"/>
                    </a:lnTo>
                    <a:lnTo>
                      <a:pt x="3" y="2"/>
                    </a:lnTo>
                    <a:lnTo>
                      <a:pt x="4" y="2"/>
                    </a:lnTo>
                    <a:lnTo>
                      <a:pt x="4" y="3"/>
                    </a:lnTo>
                    <a:lnTo>
                      <a:pt x="9" y="3"/>
                    </a:lnTo>
                    <a:lnTo>
                      <a:pt x="10" y="5"/>
                    </a:lnTo>
                    <a:lnTo>
                      <a:pt x="12" y="5"/>
                    </a:lnTo>
                    <a:lnTo>
                      <a:pt x="10" y="5"/>
                    </a:lnTo>
                    <a:lnTo>
                      <a:pt x="9" y="7"/>
                    </a:lnTo>
                    <a:lnTo>
                      <a:pt x="9" y="5"/>
                    </a:lnTo>
                    <a:lnTo>
                      <a:pt x="7" y="5"/>
                    </a:lnTo>
                    <a:lnTo>
                      <a:pt x="6" y="3"/>
                    </a:lnTo>
                    <a:lnTo>
                      <a:pt x="6" y="7"/>
                    </a:lnTo>
                    <a:lnTo>
                      <a:pt x="6" y="8"/>
                    </a:lnTo>
                    <a:lnTo>
                      <a:pt x="6" y="11"/>
                    </a:lnTo>
                    <a:lnTo>
                      <a:pt x="6" y="13"/>
                    </a:lnTo>
                    <a:lnTo>
                      <a:pt x="3" y="16"/>
                    </a:lnTo>
                    <a:lnTo>
                      <a:pt x="3" y="18"/>
                    </a:lnTo>
                    <a:lnTo>
                      <a:pt x="3" y="19"/>
                    </a:lnTo>
                    <a:lnTo>
                      <a:pt x="3" y="19"/>
                    </a:lnTo>
                    <a:lnTo>
                      <a:pt x="1" y="25"/>
                    </a:lnTo>
                    <a:lnTo>
                      <a:pt x="1" y="27"/>
                    </a:lnTo>
                    <a:lnTo>
                      <a:pt x="1" y="32"/>
                    </a:lnTo>
                    <a:lnTo>
                      <a:pt x="0" y="32"/>
                    </a:lnTo>
                    <a:lnTo>
                      <a:pt x="0" y="32"/>
                    </a:lnTo>
                    <a:lnTo>
                      <a:pt x="0" y="27"/>
                    </a:lnTo>
                    <a:lnTo>
                      <a:pt x="0" y="28"/>
                    </a:lnTo>
                    <a:lnTo>
                      <a:pt x="0" y="30"/>
                    </a:lnTo>
                    <a:lnTo>
                      <a:pt x="0" y="35"/>
                    </a:lnTo>
                    <a:lnTo>
                      <a:pt x="1" y="39"/>
                    </a:lnTo>
                    <a:lnTo>
                      <a:pt x="1" y="52"/>
                    </a:lnTo>
                    <a:lnTo>
                      <a:pt x="3" y="57"/>
                    </a:lnTo>
                    <a:lnTo>
                      <a:pt x="4" y="61"/>
                    </a:lnTo>
                    <a:lnTo>
                      <a:pt x="6" y="64"/>
                    </a:lnTo>
                    <a:lnTo>
                      <a:pt x="9" y="68"/>
                    </a:lnTo>
                    <a:lnTo>
                      <a:pt x="12" y="68"/>
                    </a:lnTo>
                    <a:lnTo>
                      <a:pt x="17" y="68"/>
                    </a:lnTo>
                    <a:lnTo>
                      <a:pt x="21" y="66"/>
                    </a:lnTo>
                    <a:lnTo>
                      <a:pt x="28" y="63"/>
                    </a:lnTo>
                    <a:lnTo>
                      <a:pt x="28" y="63"/>
                    </a:lnTo>
                    <a:lnTo>
                      <a:pt x="32" y="60"/>
                    </a:lnTo>
                    <a:lnTo>
                      <a:pt x="34" y="58"/>
                    </a:lnTo>
                    <a:lnTo>
                      <a:pt x="35" y="57"/>
                    </a:lnTo>
                    <a:lnTo>
                      <a:pt x="35" y="54"/>
                    </a:lnTo>
                    <a:lnTo>
                      <a:pt x="37" y="52"/>
                    </a:lnTo>
                    <a:lnTo>
                      <a:pt x="37" y="49"/>
                    </a:lnTo>
                    <a:lnTo>
                      <a:pt x="37" y="4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7" name="Freeform 124">
                <a:extLst>
                  <a:ext uri="{FF2B5EF4-FFF2-40B4-BE49-F238E27FC236}">
                    <a16:creationId xmlns:a16="http://schemas.microsoft.com/office/drawing/2014/main" id="{93B7A546-A3DC-FC68-6A08-BD53B6DD2A9D}"/>
                  </a:ext>
                </a:extLst>
              </p:cNvPr>
              <p:cNvSpPr>
                <a:spLocks/>
              </p:cNvSpPr>
              <p:nvPr/>
            </p:nvSpPr>
            <p:spPr bwMode="gray">
              <a:xfrm>
                <a:off x="2473" y="1427"/>
                <a:ext cx="72" cy="74"/>
              </a:xfrm>
              <a:custGeom>
                <a:avLst/>
                <a:gdLst>
                  <a:gd name="T0" fmla="*/ 54 w 72"/>
                  <a:gd name="T1" fmla="*/ 19 h 74"/>
                  <a:gd name="T2" fmla="*/ 57 w 72"/>
                  <a:gd name="T3" fmla="*/ 28 h 74"/>
                  <a:gd name="T4" fmla="*/ 55 w 72"/>
                  <a:gd name="T5" fmla="*/ 32 h 74"/>
                  <a:gd name="T6" fmla="*/ 51 w 72"/>
                  <a:gd name="T7" fmla="*/ 36 h 74"/>
                  <a:gd name="T8" fmla="*/ 54 w 72"/>
                  <a:gd name="T9" fmla="*/ 36 h 74"/>
                  <a:gd name="T10" fmla="*/ 57 w 72"/>
                  <a:gd name="T11" fmla="*/ 39 h 74"/>
                  <a:gd name="T12" fmla="*/ 60 w 72"/>
                  <a:gd name="T13" fmla="*/ 39 h 74"/>
                  <a:gd name="T14" fmla="*/ 65 w 72"/>
                  <a:gd name="T15" fmla="*/ 42 h 74"/>
                  <a:gd name="T16" fmla="*/ 65 w 72"/>
                  <a:gd name="T17" fmla="*/ 46 h 74"/>
                  <a:gd name="T18" fmla="*/ 69 w 72"/>
                  <a:gd name="T19" fmla="*/ 47 h 74"/>
                  <a:gd name="T20" fmla="*/ 71 w 72"/>
                  <a:gd name="T21" fmla="*/ 47 h 74"/>
                  <a:gd name="T22" fmla="*/ 72 w 72"/>
                  <a:gd name="T23" fmla="*/ 53 h 74"/>
                  <a:gd name="T24" fmla="*/ 71 w 72"/>
                  <a:gd name="T25" fmla="*/ 58 h 74"/>
                  <a:gd name="T26" fmla="*/ 69 w 72"/>
                  <a:gd name="T27" fmla="*/ 61 h 74"/>
                  <a:gd name="T28" fmla="*/ 69 w 72"/>
                  <a:gd name="T29" fmla="*/ 66 h 74"/>
                  <a:gd name="T30" fmla="*/ 69 w 72"/>
                  <a:gd name="T31" fmla="*/ 74 h 74"/>
                  <a:gd name="T32" fmla="*/ 57 w 72"/>
                  <a:gd name="T33" fmla="*/ 69 h 74"/>
                  <a:gd name="T34" fmla="*/ 32 w 72"/>
                  <a:gd name="T35" fmla="*/ 53 h 74"/>
                  <a:gd name="T36" fmla="*/ 16 w 72"/>
                  <a:gd name="T37" fmla="*/ 41 h 74"/>
                  <a:gd name="T38" fmla="*/ 11 w 72"/>
                  <a:gd name="T39" fmla="*/ 36 h 74"/>
                  <a:gd name="T40" fmla="*/ 0 w 72"/>
                  <a:gd name="T41" fmla="*/ 28 h 74"/>
                  <a:gd name="T42" fmla="*/ 4 w 72"/>
                  <a:gd name="T43" fmla="*/ 24 h 74"/>
                  <a:gd name="T44" fmla="*/ 8 w 72"/>
                  <a:gd name="T45" fmla="*/ 19 h 74"/>
                  <a:gd name="T46" fmla="*/ 15 w 72"/>
                  <a:gd name="T47" fmla="*/ 14 h 74"/>
                  <a:gd name="T48" fmla="*/ 18 w 72"/>
                  <a:gd name="T49" fmla="*/ 8 h 74"/>
                  <a:gd name="T50" fmla="*/ 21 w 72"/>
                  <a:gd name="T51" fmla="*/ 5 h 74"/>
                  <a:gd name="T52" fmla="*/ 22 w 72"/>
                  <a:gd name="T53" fmla="*/ 2 h 74"/>
                  <a:gd name="T54" fmla="*/ 26 w 72"/>
                  <a:gd name="T55" fmla="*/ 2 h 74"/>
                  <a:gd name="T56" fmla="*/ 30 w 72"/>
                  <a:gd name="T57" fmla="*/ 0 h 74"/>
                  <a:gd name="T58" fmla="*/ 32 w 72"/>
                  <a:gd name="T59" fmla="*/ 2 h 74"/>
                  <a:gd name="T60" fmla="*/ 32 w 72"/>
                  <a:gd name="T61" fmla="*/ 2 h 74"/>
                  <a:gd name="T62" fmla="*/ 35 w 72"/>
                  <a:gd name="T63" fmla="*/ 3 h 74"/>
                  <a:gd name="T64" fmla="*/ 35 w 72"/>
                  <a:gd name="T65" fmla="*/ 6 h 74"/>
                  <a:gd name="T66" fmla="*/ 36 w 72"/>
                  <a:gd name="T67" fmla="*/ 10 h 74"/>
                  <a:gd name="T68" fmla="*/ 36 w 72"/>
                  <a:gd name="T69" fmla="*/ 11 h 74"/>
                  <a:gd name="T70" fmla="*/ 38 w 72"/>
                  <a:gd name="T71" fmla="*/ 16 h 74"/>
                  <a:gd name="T72" fmla="*/ 36 w 72"/>
                  <a:gd name="T73" fmla="*/ 19 h 74"/>
                  <a:gd name="T74" fmla="*/ 36 w 72"/>
                  <a:gd name="T75" fmla="*/ 21 h 74"/>
                  <a:gd name="T76" fmla="*/ 40 w 72"/>
                  <a:gd name="T77" fmla="*/ 21 h 74"/>
                  <a:gd name="T78" fmla="*/ 41 w 72"/>
                  <a:gd name="T79" fmla="*/ 24 h 74"/>
                  <a:gd name="T80" fmla="*/ 44 w 72"/>
                  <a:gd name="T81" fmla="*/ 24 h 74"/>
                  <a:gd name="T82" fmla="*/ 46 w 72"/>
                  <a:gd name="T83" fmla="*/ 22 h 74"/>
                  <a:gd name="T84" fmla="*/ 47 w 72"/>
                  <a:gd name="T85" fmla="*/ 19 h 74"/>
                  <a:gd name="T86" fmla="*/ 49 w 72"/>
                  <a:gd name="T87" fmla="*/ 17 h 74"/>
                  <a:gd name="T88" fmla="*/ 51 w 72"/>
                  <a:gd name="T89" fmla="*/ 16 h 74"/>
                  <a:gd name="T90" fmla="*/ 52 w 72"/>
                  <a:gd name="T91" fmla="*/ 1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74">
                    <a:moveTo>
                      <a:pt x="54" y="17"/>
                    </a:moveTo>
                    <a:lnTo>
                      <a:pt x="54" y="17"/>
                    </a:lnTo>
                    <a:lnTo>
                      <a:pt x="54" y="19"/>
                    </a:lnTo>
                    <a:lnTo>
                      <a:pt x="54" y="21"/>
                    </a:lnTo>
                    <a:lnTo>
                      <a:pt x="57" y="27"/>
                    </a:lnTo>
                    <a:lnTo>
                      <a:pt x="57" y="28"/>
                    </a:lnTo>
                    <a:lnTo>
                      <a:pt x="55" y="28"/>
                    </a:lnTo>
                    <a:lnTo>
                      <a:pt x="55" y="30"/>
                    </a:lnTo>
                    <a:lnTo>
                      <a:pt x="55" y="32"/>
                    </a:lnTo>
                    <a:lnTo>
                      <a:pt x="54" y="33"/>
                    </a:lnTo>
                    <a:lnTo>
                      <a:pt x="51" y="36"/>
                    </a:lnTo>
                    <a:lnTo>
                      <a:pt x="51" y="36"/>
                    </a:lnTo>
                    <a:lnTo>
                      <a:pt x="52" y="36"/>
                    </a:lnTo>
                    <a:lnTo>
                      <a:pt x="52" y="38"/>
                    </a:lnTo>
                    <a:lnTo>
                      <a:pt x="54" y="36"/>
                    </a:lnTo>
                    <a:lnTo>
                      <a:pt x="55" y="38"/>
                    </a:lnTo>
                    <a:lnTo>
                      <a:pt x="55" y="39"/>
                    </a:lnTo>
                    <a:lnTo>
                      <a:pt x="57" y="39"/>
                    </a:lnTo>
                    <a:lnTo>
                      <a:pt x="58" y="39"/>
                    </a:lnTo>
                    <a:lnTo>
                      <a:pt x="60" y="39"/>
                    </a:lnTo>
                    <a:lnTo>
                      <a:pt x="60" y="39"/>
                    </a:lnTo>
                    <a:lnTo>
                      <a:pt x="61" y="39"/>
                    </a:lnTo>
                    <a:lnTo>
                      <a:pt x="63" y="41"/>
                    </a:lnTo>
                    <a:lnTo>
                      <a:pt x="65" y="42"/>
                    </a:lnTo>
                    <a:lnTo>
                      <a:pt x="65" y="44"/>
                    </a:lnTo>
                    <a:lnTo>
                      <a:pt x="65" y="44"/>
                    </a:lnTo>
                    <a:lnTo>
                      <a:pt x="65" y="46"/>
                    </a:lnTo>
                    <a:lnTo>
                      <a:pt x="66" y="47"/>
                    </a:lnTo>
                    <a:lnTo>
                      <a:pt x="68" y="47"/>
                    </a:lnTo>
                    <a:lnTo>
                      <a:pt x="69" y="47"/>
                    </a:lnTo>
                    <a:lnTo>
                      <a:pt x="71" y="47"/>
                    </a:lnTo>
                    <a:lnTo>
                      <a:pt x="71" y="47"/>
                    </a:lnTo>
                    <a:lnTo>
                      <a:pt x="71" y="47"/>
                    </a:lnTo>
                    <a:lnTo>
                      <a:pt x="71" y="52"/>
                    </a:lnTo>
                    <a:lnTo>
                      <a:pt x="72" y="53"/>
                    </a:lnTo>
                    <a:lnTo>
                      <a:pt x="72" y="53"/>
                    </a:lnTo>
                    <a:lnTo>
                      <a:pt x="71" y="55"/>
                    </a:lnTo>
                    <a:lnTo>
                      <a:pt x="71" y="57"/>
                    </a:lnTo>
                    <a:lnTo>
                      <a:pt x="71" y="58"/>
                    </a:lnTo>
                    <a:lnTo>
                      <a:pt x="71" y="60"/>
                    </a:lnTo>
                    <a:lnTo>
                      <a:pt x="69" y="61"/>
                    </a:lnTo>
                    <a:lnTo>
                      <a:pt x="69" y="61"/>
                    </a:lnTo>
                    <a:lnTo>
                      <a:pt x="69" y="63"/>
                    </a:lnTo>
                    <a:lnTo>
                      <a:pt x="69" y="64"/>
                    </a:lnTo>
                    <a:lnTo>
                      <a:pt x="69" y="66"/>
                    </a:lnTo>
                    <a:lnTo>
                      <a:pt x="69" y="71"/>
                    </a:lnTo>
                    <a:lnTo>
                      <a:pt x="69" y="74"/>
                    </a:lnTo>
                    <a:lnTo>
                      <a:pt x="69" y="74"/>
                    </a:lnTo>
                    <a:lnTo>
                      <a:pt x="68" y="74"/>
                    </a:lnTo>
                    <a:lnTo>
                      <a:pt x="61" y="71"/>
                    </a:lnTo>
                    <a:lnTo>
                      <a:pt x="57" y="69"/>
                    </a:lnTo>
                    <a:lnTo>
                      <a:pt x="41" y="61"/>
                    </a:lnTo>
                    <a:lnTo>
                      <a:pt x="38" y="58"/>
                    </a:lnTo>
                    <a:lnTo>
                      <a:pt x="32" y="53"/>
                    </a:lnTo>
                    <a:lnTo>
                      <a:pt x="21" y="44"/>
                    </a:lnTo>
                    <a:lnTo>
                      <a:pt x="19" y="42"/>
                    </a:lnTo>
                    <a:lnTo>
                      <a:pt x="16" y="41"/>
                    </a:lnTo>
                    <a:lnTo>
                      <a:pt x="15" y="41"/>
                    </a:lnTo>
                    <a:lnTo>
                      <a:pt x="13" y="39"/>
                    </a:lnTo>
                    <a:lnTo>
                      <a:pt x="11" y="36"/>
                    </a:lnTo>
                    <a:lnTo>
                      <a:pt x="8" y="35"/>
                    </a:lnTo>
                    <a:lnTo>
                      <a:pt x="4" y="33"/>
                    </a:lnTo>
                    <a:lnTo>
                      <a:pt x="0" y="28"/>
                    </a:lnTo>
                    <a:lnTo>
                      <a:pt x="0" y="28"/>
                    </a:lnTo>
                    <a:lnTo>
                      <a:pt x="2" y="25"/>
                    </a:lnTo>
                    <a:lnTo>
                      <a:pt x="4" y="24"/>
                    </a:lnTo>
                    <a:lnTo>
                      <a:pt x="5" y="22"/>
                    </a:lnTo>
                    <a:lnTo>
                      <a:pt x="7" y="21"/>
                    </a:lnTo>
                    <a:lnTo>
                      <a:pt x="8" y="19"/>
                    </a:lnTo>
                    <a:lnTo>
                      <a:pt x="11" y="17"/>
                    </a:lnTo>
                    <a:lnTo>
                      <a:pt x="15" y="14"/>
                    </a:lnTo>
                    <a:lnTo>
                      <a:pt x="15" y="14"/>
                    </a:lnTo>
                    <a:lnTo>
                      <a:pt x="16" y="11"/>
                    </a:lnTo>
                    <a:lnTo>
                      <a:pt x="16" y="8"/>
                    </a:lnTo>
                    <a:lnTo>
                      <a:pt x="18" y="8"/>
                    </a:lnTo>
                    <a:lnTo>
                      <a:pt x="19" y="6"/>
                    </a:lnTo>
                    <a:lnTo>
                      <a:pt x="21" y="6"/>
                    </a:lnTo>
                    <a:lnTo>
                      <a:pt x="21" y="5"/>
                    </a:lnTo>
                    <a:lnTo>
                      <a:pt x="21" y="2"/>
                    </a:lnTo>
                    <a:lnTo>
                      <a:pt x="21" y="2"/>
                    </a:lnTo>
                    <a:lnTo>
                      <a:pt x="22" y="2"/>
                    </a:lnTo>
                    <a:lnTo>
                      <a:pt x="24" y="0"/>
                    </a:lnTo>
                    <a:lnTo>
                      <a:pt x="24" y="0"/>
                    </a:lnTo>
                    <a:lnTo>
                      <a:pt x="26" y="2"/>
                    </a:lnTo>
                    <a:lnTo>
                      <a:pt x="26" y="2"/>
                    </a:lnTo>
                    <a:lnTo>
                      <a:pt x="30" y="0"/>
                    </a:lnTo>
                    <a:lnTo>
                      <a:pt x="30" y="0"/>
                    </a:lnTo>
                    <a:lnTo>
                      <a:pt x="30" y="0"/>
                    </a:lnTo>
                    <a:lnTo>
                      <a:pt x="32" y="2"/>
                    </a:lnTo>
                    <a:lnTo>
                      <a:pt x="32" y="2"/>
                    </a:lnTo>
                    <a:lnTo>
                      <a:pt x="32" y="2"/>
                    </a:lnTo>
                    <a:lnTo>
                      <a:pt x="32" y="2"/>
                    </a:lnTo>
                    <a:lnTo>
                      <a:pt x="32" y="2"/>
                    </a:lnTo>
                    <a:lnTo>
                      <a:pt x="33" y="2"/>
                    </a:lnTo>
                    <a:lnTo>
                      <a:pt x="33" y="3"/>
                    </a:lnTo>
                    <a:lnTo>
                      <a:pt x="35" y="3"/>
                    </a:lnTo>
                    <a:lnTo>
                      <a:pt x="35" y="3"/>
                    </a:lnTo>
                    <a:lnTo>
                      <a:pt x="35" y="5"/>
                    </a:lnTo>
                    <a:lnTo>
                      <a:pt x="35" y="6"/>
                    </a:lnTo>
                    <a:lnTo>
                      <a:pt x="35" y="6"/>
                    </a:lnTo>
                    <a:lnTo>
                      <a:pt x="35" y="8"/>
                    </a:lnTo>
                    <a:lnTo>
                      <a:pt x="36" y="10"/>
                    </a:lnTo>
                    <a:lnTo>
                      <a:pt x="36" y="10"/>
                    </a:lnTo>
                    <a:lnTo>
                      <a:pt x="36" y="11"/>
                    </a:lnTo>
                    <a:lnTo>
                      <a:pt x="36" y="11"/>
                    </a:lnTo>
                    <a:lnTo>
                      <a:pt x="36" y="13"/>
                    </a:lnTo>
                    <a:lnTo>
                      <a:pt x="36" y="13"/>
                    </a:lnTo>
                    <a:lnTo>
                      <a:pt x="38" y="16"/>
                    </a:lnTo>
                    <a:lnTo>
                      <a:pt x="38" y="16"/>
                    </a:lnTo>
                    <a:lnTo>
                      <a:pt x="36" y="17"/>
                    </a:lnTo>
                    <a:lnTo>
                      <a:pt x="36" y="19"/>
                    </a:lnTo>
                    <a:lnTo>
                      <a:pt x="36" y="19"/>
                    </a:lnTo>
                    <a:lnTo>
                      <a:pt x="36" y="21"/>
                    </a:lnTo>
                    <a:lnTo>
                      <a:pt x="36" y="21"/>
                    </a:lnTo>
                    <a:lnTo>
                      <a:pt x="36" y="21"/>
                    </a:lnTo>
                    <a:lnTo>
                      <a:pt x="38" y="21"/>
                    </a:lnTo>
                    <a:lnTo>
                      <a:pt x="40" y="21"/>
                    </a:lnTo>
                    <a:lnTo>
                      <a:pt x="40" y="22"/>
                    </a:lnTo>
                    <a:lnTo>
                      <a:pt x="41" y="22"/>
                    </a:lnTo>
                    <a:lnTo>
                      <a:pt x="41" y="24"/>
                    </a:lnTo>
                    <a:lnTo>
                      <a:pt x="41" y="24"/>
                    </a:lnTo>
                    <a:lnTo>
                      <a:pt x="43" y="24"/>
                    </a:lnTo>
                    <a:lnTo>
                      <a:pt x="44" y="24"/>
                    </a:lnTo>
                    <a:lnTo>
                      <a:pt x="44" y="22"/>
                    </a:lnTo>
                    <a:lnTo>
                      <a:pt x="44" y="22"/>
                    </a:lnTo>
                    <a:lnTo>
                      <a:pt x="46" y="22"/>
                    </a:lnTo>
                    <a:lnTo>
                      <a:pt x="46" y="22"/>
                    </a:lnTo>
                    <a:lnTo>
                      <a:pt x="47" y="21"/>
                    </a:lnTo>
                    <a:lnTo>
                      <a:pt x="47" y="19"/>
                    </a:lnTo>
                    <a:lnTo>
                      <a:pt x="49" y="19"/>
                    </a:lnTo>
                    <a:lnTo>
                      <a:pt x="49" y="17"/>
                    </a:lnTo>
                    <a:lnTo>
                      <a:pt x="49" y="17"/>
                    </a:lnTo>
                    <a:lnTo>
                      <a:pt x="49" y="16"/>
                    </a:lnTo>
                    <a:lnTo>
                      <a:pt x="51" y="16"/>
                    </a:lnTo>
                    <a:lnTo>
                      <a:pt x="51" y="16"/>
                    </a:lnTo>
                    <a:lnTo>
                      <a:pt x="51" y="16"/>
                    </a:lnTo>
                    <a:lnTo>
                      <a:pt x="52" y="16"/>
                    </a:lnTo>
                    <a:lnTo>
                      <a:pt x="52" y="17"/>
                    </a:lnTo>
                    <a:lnTo>
                      <a:pt x="54" y="1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8" name="Freeform 125">
                <a:extLst>
                  <a:ext uri="{FF2B5EF4-FFF2-40B4-BE49-F238E27FC236}">
                    <a16:creationId xmlns:a16="http://schemas.microsoft.com/office/drawing/2014/main" id="{4F1A599A-B529-7874-43B2-71C0539B153F}"/>
                  </a:ext>
                </a:extLst>
              </p:cNvPr>
              <p:cNvSpPr>
                <a:spLocks/>
              </p:cNvSpPr>
              <p:nvPr/>
            </p:nvSpPr>
            <p:spPr bwMode="gray">
              <a:xfrm>
                <a:off x="3149" y="2099"/>
                <a:ext cx="42" cy="40"/>
              </a:xfrm>
              <a:custGeom>
                <a:avLst/>
                <a:gdLst>
                  <a:gd name="T0" fmla="*/ 28 w 42"/>
                  <a:gd name="T1" fmla="*/ 29 h 40"/>
                  <a:gd name="T2" fmla="*/ 28 w 42"/>
                  <a:gd name="T3" fmla="*/ 29 h 40"/>
                  <a:gd name="T4" fmla="*/ 25 w 42"/>
                  <a:gd name="T5" fmla="*/ 31 h 40"/>
                  <a:gd name="T6" fmla="*/ 23 w 42"/>
                  <a:gd name="T7" fmla="*/ 32 h 40"/>
                  <a:gd name="T8" fmla="*/ 20 w 42"/>
                  <a:gd name="T9" fmla="*/ 37 h 40"/>
                  <a:gd name="T10" fmla="*/ 19 w 42"/>
                  <a:gd name="T11" fmla="*/ 39 h 40"/>
                  <a:gd name="T12" fmla="*/ 17 w 42"/>
                  <a:gd name="T13" fmla="*/ 40 h 40"/>
                  <a:gd name="T14" fmla="*/ 12 w 42"/>
                  <a:gd name="T15" fmla="*/ 40 h 40"/>
                  <a:gd name="T16" fmla="*/ 11 w 42"/>
                  <a:gd name="T17" fmla="*/ 37 h 40"/>
                  <a:gd name="T18" fmla="*/ 9 w 42"/>
                  <a:gd name="T19" fmla="*/ 36 h 40"/>
                  <a:gd name="T20" fmla="*/ 8 w 42"/>
                  <a:gd name="T21" fmla="*/ 34 h 40"/>
                  <a:gd name="T22" fmla="*/ 6 w 42"/>
                  <a:gd name="T23" fmla="*/ 34 h 40"/>
                  <a:gd name="T24" fmla="*/ 6 w 42"/>
                  <a:gd name="T25" fmla="*/ 32 h 40"/>
                  <a:gd name="T26" fmla="*/ 5 w 42"/>
                  <a:gd name="T27" fmla="*/ 29 h 40"/>
                  <a:gd name="T28" fmla="*/ 3 w 42"/>
                  <a:gd name="T29" fmla="*/ 26 h 40"/>
                  <a:gd name="T30" fmla="*/ 1 w 42"/>
                  <a:gd name="T31" fmla="*/ 23 h 40"/>
                  <a:gd name="T32" fmla="*/ 1 w 42"/>
                  <a:gd name="T33" fmla="*/ 20 h 40"/>
                  <a:gd name="T34" fmla="*/ 3 w 42"/>
                  <a:gd name="T35" fmla="*/ 18 h 40"/>
                  <a:gd name="T36" fmla="*/ 6 w 42"/>
                  <a:gd name="T37" fmla="*/ 17 h 40"/>
                  <a:gd name="T38" fmla="*/ 8 w 42"/>
                  <a:gd name="T39" fmla="*/ 14 h 40"/>
                  <a:gd name="T40" fmla="*/ 9 w 42"/>
                  <a:gd name="T41" fmla="*/ 12 h 40"/>
                  <a:gd name="T42" fmla="*/ 11 w 42"/>
                  <a:gd name="T43" fmla="*/ 9 h 40"/>
                  <a:gd name="T44" fmla="*/ 14 w 42"/>
                  <a:gd name="T45" fmla="*/ 6 h 40"/>
                  <a:gd name="T46" fmla="*/ 19 w 42"/>
                  <a:gd name="T47" fmla="*/ 3 h 40"/>
                  <a:gd name="T48" fmla="*/ 25 w 42"/>
                  <a:gd name="T49" fmla="*/ 0 h 40"/>
                  <a:gd name="T50" fmla="*/ 28 w 42"/>
                  <a:gd name="T51" fmla="*/ 0 h 40"/>
                  <a:gd name="T52" fmla="*/ 30 w 42"/>
                  <a:gd name="T53" fmla="*/ 1 h 40"/>
                  <a:gd name="T54" fmla="*/ 31 w 42"/>
                  <a:gd name="T55" fmla="*/ 3 h 40"/>
                  <a:gd name="T56" fmla="*/ 34 w 42"/>
                  <a:gd name="T57" fmla="*/ 4 h 40"/>
                  <a:gd name="T58" fmla="*/ 37 w 42"/>
                  <a:gd name="T59" fmla="*/ 7 h 40"/>
                  <a:gd name="T60" fmla="*/ 41 w 42"/>
                  <a:gd name="T61" fmla="*/ 9 h 40"/>
                  <a:gd name="T62" fmla="*/ 42 w 42"/>
                  <a:gd name="T63" fmla="*/ 12 h 40"/>
                  <a:gd name="T64" fmla="*/ 42 w 42"/>
                  <a:gd name="T65" fmla="*/ 14 h 40"/>
                  <a:gd name="T66" fmla="*/ 41 w 42"/>
                  <a:gd name="T67" fmla="*/ 18 h 40"/>
                  <a:gd name="T68" fmla="*/ 39 w 42"/>
                  <a:gd name="T69" fmla="*/ 20 h 40"/>
                  <a:gd name="T70" fmla="*/ 37 w 42"/>
                  <a:gd name="T71" fmla="*/ 23 h 40"/>
                  <a:gd name="T72" fmla="*/ 36 w 42"/>
                  <a:gd name="T73" fmla="*/ 26 h 40"/>
                  <a:gd name="T74" fmla="*/ 33 w 42"/>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0">
                    <a:moveTo>
                      <a:pt x="30" y="29"/>
                    </a:moveTo>
                    <a:lnTo>
                      <a:pt x="28" y="29"/>
                    </a:lnTo>
                    <a:lnTo>
                      <a:pt x="28" y="29"/>
                    </a:lnTo>
                    <a:lnTo>
                      <a:pt x="28" y="29"/>
                    </a:lnTo>
                    <a:lnTo>
                      <a:pt x="27" y="31"/>
                    </a:lnTo>
                    <a:lnTo>
                      <a:pt x="25" y="31"/>
                    </a:lnTo>
                    <a:lnTo>
                      <a:pt x="25" y="31"/>
                    </a:lnTo>
                    <a:lnTo>
                      <a:pt x="23" y="32"/>
                    </a:lnTo>
                    <a:lnTo>
                      <a:pt x="20" y="36"/>
                    </a:lnTo>
                    <a:lnTo>
                      <a:pt x="20" y="37"/>
                    </a:lnTo>
                    <a:lnTo>
                      <a:pt x="20" y="39"/>
                    </a:lnTo>
                    <a:lnTo>
                      <a:pt x="19" y="39"/>
                    </a:lnTo>
                    <a:lnTo>
                      <a:pt x="19" y="40"/>
                    </a:lnTo>
                    <a:lnTo>
                      <a:pt x="17" y="40"/>
                    </a:lnTo>
                    <a:lnTo>
                      <a:pt x="16" y="40"/>
                    </a:lnTo>
                    <a:lnTo>
                      <a:pt x="12" y="40"/>
                    </a:lnTo>
                    <a:lnTo>
                      <a:pt x="11" y="39"/>
                    </a:lnTo>
                    <a:lnTo>
                      <a:pt x="11" y="37"/>
                    </a:lnTo>
                    <a:lnTo>
                      <a:pt x="9" y="36"/>
                    </a:lnTo>
                    <a:lnTo>
                      <a:pt x="9" y="36"/>
                    </a:lnTo>
                    <a:lnTo>
                      <a:pt x="8" y="36"/>
                    </a:lnTo>
                    <a:lnTo>
                      <a:pt x="8" y="34"/>
                    </a:lnTo>
                    <a:lnTo>
                      <a:pt x="6" y="34"/>
                    </a:lnTo>
                    <a:lnTo>
                      <a:pt x="6" y="34"/>
                    </a:lnTo>
                    <a:lnTo>
                      <a:pt x="6" y="32"/>
                    </a:lnTo>
                    <a:lnTo>
                      <a:pt x="6" y="32"/>
                    </a:lnTo>
                    <a:lnTo>
                      <a:pt x="6" y="31"/>
                    </a:lnTo>
                    <a:lnTo>
                      <a:pt x="5" y="29"/>
                    </a:lnTo>
                    <a:lnTo>
                      <a:pt x="5" y="28"/>
                    </a:lnTo>
                    <a:lnTo>
                      <a:pt x="3" y="26"/>
                    </a:lnTo>
                    <a:lnTo>
                      <a:pt x="1" y="25"/>
                    </a:lnTo>
                    <a:lnTo>
                      <a:pt x="1" y="23"/>
                    </a:lnTo>
                    <a:lnTo>
                      <a:pt x="0" y="21"/>
                    </a:lnTo>
                    <a:lnTo>
                      <a:pt x="1" y="20"/>
                    </a:lnTo>
                    <a:lnTo>
                      <a:pt x="1" y="20"/>
                    </a:lnTo>
                    <a:lnTo>
                      <a:pt x="3" y="18"/>
                    </a:lnTo>
                    <a:lnTo>
                      <a:pt x="5" y="18"/>
                    </a:lnTo>
                    <a:lnTo>
                      <a:pt x="6" y="17"/>
                    </a:lnTo>
                    <a:lnTo>
                      <a:pt x="8" y="15"/>
                    </a:lnTo>
                    <a:lnTo>
                      <a:pt x="8" y="14"/>
                    </a:lnTo>
                    <a:lnTo>
                      <a:pt x="8" y="14"/>
                    </a:lnTo>
                    <a:lnTo>
                      <a:pt x="9" y="12"/>
                    </a:lnTo>
                    <a:lnTo>
                      <a:pt x="11" y="10"/>
                    </a:lnTo>
                    <a:lnTo>
                      <a:pt x="11" y="9"/>
                    </a:lnTo>
                    <a:lnTo>
                      <a:pt x="12" y="6"/>
                    </a:lnTo>
                    <a:lnTo>
                      <a:pt x="14" y="6"/>
                    </a:lnTo>
                    <a:lnTo>
                      <a:pt x="17" y="4"/>
                    </a:lnTo>
                    <a:lnTo>
                      <a:pt x="19" y="3"/>
                    </a:lnTo>
                    <a:lnTo>
                      <a:pt x="22" y="1"/>
                    </a:lnTo>
                    <a:lnTo>
                      <a:pt x="25" y="0"/>
                    </a:lnTo>
                    <a:lnTo>
                      <a:pt x="28" y="0"/>
                    </a:lnTo>
                    <a:lnTo>
                      <a:pt x="28" y="0"/>
                    </a:lnTo>
                    <a:lnTo>
                      <a:pt x="28" y="0"/>
                    </a:lnTo>
                    <a:lnTo>
                      <a:pt x="30" y="1"/>
                    </a:lnTo>
                    <a:lnTo>
                      <a:pt x="30" y="1"/>
                    </a:lnTo>
                    <a:lnTo>
                      <a:pt x="31" y="3"/>
                    </a:lnTo>
                    <a:lnTo>
                      <a:pt x="33" y="3"/>
                    </a:lnTo>
                    <a:lnTo>
                      <a:pt x="34" y="4"/>
                    </a:lnTo>
                    <a:lnTo>
                      <a:pt x="36" y="6"/>
                    </a:lnTo>
                    <a:lnTo>
                      <a:pt x="37" y="7"/>
                    </a:lnTo>
                    <a:lnTo>
                      <a:pt x="39" y="9"/>
                    </a:lnTo>
                    <a:lnTo>
                      <a:pt x="41" y="9"/>
                    </a:lnTo>
                    <a:lnTo>
                      <a:pt x="41" y="10"/>
                    </a:lnTo>
                    <a:lnTo>
                      <a:pt x="42" y="12"/>
                    </a:lnTo>
                    <a:lnTo>
                      <a:pt x="42" y="12"/>
                    </a:lnTo>
                    <a:lnTo>
                      <a:pt x="42" y="14"/>
                    </a:lnTo>
                    <a:lnTo>
                      <a:pt x="41" y="17"/>
                    </a:lnTo>
                    <a:lnTo>
                      <a:pt x="41" y="18"/>
                    </a:lnTo>
                    <a:lnTo>
                      <a:pt x="39" y="20"/>
                    </a:lnTo>
                    <a:lnTo>
                      <a:pt x="39" y="20"/>
                    </a:lnTo>
                    <a:lnTo>
                      <a:pt x="37" y="21"/>
                    </a:lnTo>
                    <a:lnTo>
                      <a:pt x="37" y="23"/>
                    </a:lnTo>
                    <a:lnTo>
                      <a:pt x="36" y="26"/>
                    </a:lnTo>
                    <a:lnTo>
                      <a:pt x="36" y="26"/>
                    </a:lnTo>
                    <a:lnTo>
                      <a:pt x="34" y="28"/>
                    </a:lnTo>
                    <a:lnTo>
                      <a:pt x="33" y="28"/>
                    </a:lnTo>
                    <a:lnTo>
                      <a:pt x="30" y="2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199" name="Freeform 126">
                <a:extLst>
                  <a:ext uri="{FF2B5EF4-FFF2-40B4-BE49-F238E27FC236}">
                    <a16:creationId xmlns:a16="http://schemas.microsoft.com/office/drawing/2014/main" id="{96EABB7F-E492-7B3C-9779-936AD665A242}"/>
                  </a:ext>
                </a:extLst>
              </p:cNvPr>
              <p:cNvSpPr>
                <a:spLocks noEditPoints="1"/>
              </p:cNvSpPr>
              <p:nvPr/>
            </p:nvSpPr>
            <p:spPr bwMode="gray">
              <a:xfrm>
                <a:off x="3041" y="377"/>
                <a:ext cx="103" cy="77"/>
              </a:xfrm>
              <a:custGeom>
                <a:avLst/>
                <a:gdLst>
                  <a:gd name="T0" fmla="*/ 3 w 103"/>
                  <a:gd name="T1" fmla="*/ 32 h 77"/>
                  <a:gd name="T2" fmla="*/ 3 w 103"/>
                  <a:gd name="T3" fmla="*/ 33 h 77"/>
                  <a:gd name="T4" fmla="*/ 5 w 103"/>
                  <a:gd name="T5" fmla="*/ 25 h 77"/>
                  <a:gd name="T6" fmla="*/ 103 w 103"/>
                  <a:gd name="T7" fmla="*/ 35 h 77"/>
                  <a:gd name="T8" fmla="*/ 99 w 103"/>
                  <a:gd name="T9" fmla="*/ 33 h 77"/>
                  <a:gd name="T10" fmla="*/ 100 w 103"/>
                  <a:gd name="T11" fmla="*/ 27 h 77"/>
                  <a:gd name="T12" fmla="*/ 100 w 103"/>
                  <a:gd name="T13" fmla="*/ 24 h 77"/>
                  <a:gd name="T14" fmla="*/ 95 w 103"/>
                  <a:gd name="T15" fmla="*/ 21 h 77"/>
                  <a:gd name="T16" fmla="*/ 91 w 103"/>
                  <a:gd name="T17" fmla="*/ 14 h 77"/>
                  <a:gd name="T18" fmla="*/ 83 w 103"/>
                  <a:gd name="T19" fmla="*/ 8 h 77"/>
                  <a:gd name="T20" fmla="*/ 74 w 103"/>
                  <a:gd name="T21" fmla="*/ 6 h 77"/>
                  <a:gd name="T22" fmla="*/ 70 w 103"/>
                  <a:gd name="T23" fmla="*/ 0 h 77"/>
                  <a:gd name="T24" fmla="*/ 64 w 103"/>
                  <a:gd name="T25" fmla="*/ 3 h 77"/>
                  <a:gd name="T26" fmla="*/ 61 w 103"/>
                  <a:gd name="T27" fmla="*/ 3 h 77"/>
                  <a:gd name="T28" fmla="*/ 52 w 103"/>
                  <a:gd name="T29" fmla="*/ 2 h 77"/>
                  <a:gd name="T30" fmla="*/ 41 w 103"/>
                  <a:gd name="T31" fmla="*/ 2 h 77"/>
                  <a:gd name="T32" fmla="*/ 38 w 103"/>
                  <a:gd name="T33" fmla="*/ 3 h 77"/>
                  <a:gd name="T34" fmla="*/ 33 w 103"/>
                  <a:gd name="T35" fmla="*/ 0 h 77"/>
                  <a:gd name="T36" fmla="*/ 22 w 103"/>
                  <a:gd name="T37" fmla="*/ 0 h 77"/>
                  <a:gd name="T38" fmla="*/ 14 w 103"/>
                  <a:gd name="T39" fmla="*/ 3 h 77"/>
                  <a:gd name="T40" fmla="*/ 3 w 103"/>
                  <a:gd name="T41" fmla="*/ 11 h 77"/>
                  <a:gd name="T42" fmla="*/ 3 w 103"/>
                  <a:gd name="T43" fmla="*/ 13 h 77"/>
                  <a:gd name="T44" fmla="*/ 6 w 103"/>
                  <a:gd name="T45" fmla="*/ 30 h 77"/>
                  <a:gd name="T46" fmla="*/ 6 w 103"/>
                  <a:gd name="T47" fmla="*/ 36 h 77"/>
                  <a:gd name="T48" fmla="*/ 11 w 103"/>
                  <a:gd name="T49" fmla="*/ 36 h 77"/>
                  <a:gd name="T50" fmla="*/ 17 w 103"/>
                  <a:gd name="T51" fmla="*/ 41 h 77"/>
                  <a:gd name="T52" fmla="*/ 27 w 103"/>
                  <a:gd name="T53" fmla="*/ 42 h 77"/>
                  <a:gd name="T54" fmla="*/ 33 w 103"/>
                  <a:gd name="T55" fmla="*/ 46 h 77"/>
                  <a:gd name="T56" fmla="*/ 33 w 103"/>
                  <a:gd name="T57" fmla="*/ 55 h 77"/>
                  <a:gd name="T58" fmla="*/ 33 w 103"/>
                  <a:gd name="T59" fmla="*/ 61 h 77"/>
                  <a:gd name="T60" fmla="*/ 36 w 103"/>
                  <a:gd name="T61" fmla="*/ 63 h 77"/>
                  <a:gd name="T62" fmla="*/ 38 w 103"/>
                  <a:gd name="T63" fmla="*/ 64 h 77"/>
                  <a:gd name="T64" fmla="*/ 39 w 103"/>
                  <a:gd name="T65" fmla="*/ 64 h 77"/>
                  <a:gd name="T66" fmla="*/ 44 w 103"/>
                  <a:gd name="T67" fmla="*/ 68 h 77"/>
                  <a:gd name="T68" fmla="*/ 45 w 103"/>
                  <a:gd name="T69" fmla="*/ 74 h 77"/>
                  <a:gd name="T70" fmla="*/ 47 w 103"/>
                  <a:gd name="T71" fmla="*/ 77 h 77"/>
                  <a:gd name="T72" fmla="*/ 55 w 103"/>
                  <a:gd name="T73" fmla="*/ 75 h 77"/>
                  <a:gd name="T74" fmla="*/ 58 w 103"/>
                  <a:gd name="T75" fmla="*/ 75 h 77"/>
                  <a:gd name="T76" fmla="*/ 64 w 103"/>
                  <a:gd name="T77" fmla="*/ 75 h 77"/>
                  <a:gd name="T78" fmla="*/ 69 w 103"/>
                  <a:gd name="T79" fmla="*/ 74 h 77"/>
                  <a:gd name="T80" fmla="*/ 74 w 103"/>
                  <a:gd name="T81" fmla="*/ 71 h 77"/>
                  <a:gd name="T82" fmla="*/ 75 w 103"/>
                  <a:gd name="T83" fmla="*/ 68 h 77"/>
                  <a:gd name="T84" fmla="*/ 81 w 103"/>
                  <a:gd name="T85" fmla="*/ 64 h 77"/>
                  <a:gd name="T86" fmla="*/ 81 w 103"/>
                  <a:gd name="T87" fmla="*/ 68 h 77"/>
                  <a:gd name="T88" fmla="*/ 83 w 103"/>
                  <a:gd name="T89" fmla="*/ 69 h 77"/>
                  <a:gd name="T90" fmla="*/ 86 w 103"/>
                  <a:gd name="T91" fmla="*/ 69 h 77"/>
                  <a:gd name="T92" fmla="*/ 84 w 103"/>
                  <a:gd name="T93" fmla="*/ 66 h 77"/>
                  <a:gd name="T94" fmla="*/ 83 w 103"/>
                  <a:gd name="T95" fmla="*/ 64 h 77"/>
                  <a:gd name="T96" fmla="*/ 83 w 103"/>
                  <a:gd name="T97" fmla="*/ 60 h 77"/>
                  <a:gd name="T98" fmla="*/ 86 w 103"/>
                  <a:gd name="T99" fmla="*/ 57 h 77"/>
                  <a:gd name="T100" fmla="*/ 86 w 103"/>
                  <a:gd name="T101" fmla="*/ 49 h 77"/>
                  <a:gd name="T102" fmla="*/ 92 w 103"/>
                  <a:gd name="T103" fmla="*/ 46 h 77"/>
                  <a:gd name="T104" fmla="*/ 94 w 103"/>
                  <a:gd name="T105" fmla="*/ 41 h 77"/>
                  <a:gd name="T106" fmla="*/ 100 w 103"/>
                  <a:gd name="T107" fmla="*/ 39 h 77"/>
                  <a:gd name="T108" fmla="*/ 103 w 103"/>
                  <a:gd name="T109" fmla="*/ 3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 h="77">
                    <a:moveTo>
                      <a:pt x="5" y="25"/>
                    </a:moveTo>
                    <a:lnTo>
                      <a:pt x="3" y="28"/>
                    </a:lnTo>
                    <a:lnTo>
                      <a:pt x="3" y="32"/>
                    </a:lnTo>
                    <a:lnTo>
                      <a:pt x="0" y="35"/>
                    </a:lnTo>
                    <a:lnTo>
                      <a:pt x="2" y="35"/>
                    </a:lnTo>
                    <a:lnTo>
                      <a:pt x="3" y="33"/>
                    </a:lnTo>
                    <a:lnTo>
                      <a:pt x="5" y="28"/>
                    </a:lnTo>
                    <a:lnTo>
                      <a:pt x="5" y="27"/>
                    </a:lnTo>
                    <a:lnTo>
                      <a:pt x="5" y="25"/>
                    </a:lnTo>
                    <a:lnTo>
                      <a:pt x="5" y="25"/>
                    </a:lnTo>
                    <a:close/>
                    <a:moveTo>
                      <a:pt x="103" y="35"/>
                    </a:moveTo>
                    <a:lnTo>
                      <a:pt x="103" y="35"/>
                    </a:lnTo>
                    <a:lnTo>
                      <a:pt x="102" y="35"/>
                    </a:lnTo>
                    <a:lnTo>
                      <a:pt x="99" y="35"/>
                    </a:lnTo>
                    <a:lnTo>
                      <a:pt x="99" y="33"/>
                    </a:lnTo>
                    <a:lnTo>
                      <a:pt x="99" y="33"/>
                    </a:lnTo>
                    <a:lnTo>
                      <a:pt x="100" y="30"/>
                    </a:lnTo>
                    <a:lnTo>
                      <a:pt x="100" y="27"/>
                    </a:lnTo>
                    <a:lnTo>
                      <a:pt x="100" y="25"/>
                    </a:lnTo>
                    <a:lnTo>
                      <a:pt x="100" y="24"/>
                    </a:lnTo>
                    <a:lnTo>
                      <a:pt x="100" y="24"/>
                    </a:lnTo>
                    <a:lnTo>
                      <a:pt x="97" y="22"/>
                    </a:lnTo>
                    <a:lnTo>
                      <a:pt x="95" y="21"/>
                    </a:lnTo>
                    <a:lnTo>
                      <a:pt x="95" y="21"/>
                    </a:lnTo>
                    <a:lnTo>
                      <a:pt x="94" y="19"/>
                    </a:lnTo>
                    <a:lnTo>
                      <a:pt x="92" y="16"/>
                    </a:lnTo>
                    <a:lnTo>
                      <a:pt x="91" y="14"/>
                    </a:lnTo>
                    <a:lnTo>
                      <a:pt x="88" y="13"/>
                    </a:lnTo>
                    <a:lnTo>
                      <a:pt x="84" y="10"/>
                    </a:lnTo>
                    <a:lnTo>
                      <a:pt x="83" y="8"/>
                    </a:lnTo>
                    <a:lnTo>
                      <a:pt x="77" y="6"/>
                    </a:lnTo>
                    <a:lnTo>
                      <a:pt x="74" y="6"/>
                    </a:lnTo>
                    <a:lnTo>
                      <a:pt x="74" y="6"/>
                    </a:lnTo>
                    <a:lnTo>
                      <a:pt x="72" y="2"/>
                    </a:lnTo>
                    <a:lnTo>
                      <a:pt x="70" y="0"/>
                    </a:lnTo>
                    <a:lnTo>
                      <a:pt x="70" y="0"/>
                    </a:lnTo>
                    <a:lnTo>
                      <a:pt x="69" y="0"/>
                    </a:lnTo>
                    <a:lnTo>
                      <a:pt x="67" y="0"/>
                    </a:lnTo>
                    <a:lnTo>
                      <a:pt x="64" y="3"/>
                    </a:lnTo>
                    <a:lnTo>
                      <a:pt x="64" y="3"/>
                    </a:lnTo>
                    <a:lnTo>
                      <a:pt x="64" y="3"/>
                    </a:lnTo>
                    <a:lnTo>
                      <a:pt x="61" y="3"/>
                    </a:lnTo>
                    <a:lnTo>
                      <a:pt x="58" y="5"/>
                    </a:lnTo>
                    <a:lnTo>
                      <a:pt x="55" y="3"/>
                    </a:lnTo>
                    <a:lnTo>
                      <a:pt x="52" y="2"/>
                    </a:lnTo>
                    <a:lnTo>
                      <a:pt x="50" y="2"/>
                    </a:lnTo>
                    <a:lnTo>
                      <a:pt x="49" y="2"/>
                    </a:lnTo>
                    <a:lnTo>
                      <a:pt x="41" y="2"/>
                    </a:lnTo>
                    <a:lnTo>
                      <a:pt x="39" y="2"/>
                    </a:lnTo>
                    <a:lnTo>
                      <a:pt x="38" y="3"/>
                    </a:lnTo>
                    <a:lnTo>
                      <a:pt x="38" y="3"/>
                    </a:lnTo>
                    <a:lnTo>
                      <a:pt x="38" y="0"/>
                    </a:lnTo>
                    <a:lnTo>
                      <a:pt x="36" y="0"/>
                    </a:lnTo>
                    <a:lnTo>
                      <a:pt x="33" y="0"/>
                    </a:lnTo>
                    <a:lnTo>
                      <a:pt x="30" y="0"/>
                    </a:lnTo>
                    <a:lnTo>
                      <a:pt x="27" y="0"/>
                    </a:lnTo>
                    <a:lnTo>
                      <a:pt x="22" y="0"/>
                    </a:lnTo>
                    <a:lnTo>
                      <a:pt x="20" y="0"/>
                    </a:lnTo>
                    <a:lnTo>
                      <a:pt x="16" y="2"/>
                    </a:lnTo>
                    <a:lnTo>
                      <a:pt x="14" y="3"/>
                    </a:lnTo>
                    <a:lnTo>
                      <a:pt x="8" y="6"/>
                    </a:lnTo>
                    <a:lnTo>
                      <a:pt x="6" y="8"/>
                    </a:lnTo>
                    <a:lnTo>
                      <a:pt x="3" y="11"/>
                    </a:lnTo>
                    <a:lnTo>
                      <a:pt x="3" y="11"/>
                    </a:lnTo>
                    <a:lnTo>
                      <a:pt x="3" y="11"/>
                    </a:lnTo>
                    <a:lnTo>
                      <a:pt x="3" y="13"/>
                    </a:lnTo>
                    <a:lnTo>
                      <a:pt x="3" y="19"/>
                    </a:lnTo>
                    <a:lnTo>
                      <a:pt x="5" y="25"/>
                    </a:lnTo>
                    <a:lnTo>
                      <a:pt x="6" y="30"/>
                    </a:lnTo>
                    <a:lnTo>
                      <a:pt x="6" y="33"/>
                    </a:lnTo>
                    <a:lnTo>
                      <a:pt x="6" y="36"/>
                    </a:lnTo>
                    <a:lnTo>
                      <a:pt x="6" y="36"/>
                    </a:lnTo>
                    <a:lnTo>
                      <a:pt x="8" y="36"/>
                    </a:lnTo>
                    <a:lnTo>
                      <a:pt x="9" y="35"/>
                    </a:lnTo>
                    <a:lnTo>
                      <a:pt x="11" y="36"/>
                    </a:lnTo>
                    <a:lnTo>
                      <a:pt x="13" y="38"/>
                    </a:lnTo>
                    <a:lnTo>
                      <a:pt x="14" y="39"/>
                    </a:lnTo>
                    <a:lnTo>
                      <a:pt x="17" y="41"/>
                    </a:lnTo>
                    <a:lnTo>
                      <a:pt x="22" y="42"/>
                    </a:lnTo>
                    <a:lnTo>
                      <a:pt x="22" y="42"/>
                    </a:lnTo>
                    <a:lnTo>
                      <a:pt x="27" y="42"/>
                    </a:lnTo>
                    <a:lnTo>
                      <a:pt x="30" y="42"/>
                    </a:lnTo>
                    <a:lnTo>
                      <a:pt x="31" y="44"/>
                    </a:lnTo>
                    <a:lnTo>
                      <a:pt x="33" y="46"/>
                    </a:lnTo>
                    <a:lnTo>
                      <a:pt x="34" y="47"/>
                    </a:lnTo>
                    <a:lnTo>
                      <a:pt x="34" y="49"/>
                    </a:lnTo>
                    <a:lnTo>
                      <a:pt x="33" y="55"/>
                    </a:lnTo>
                    <a:lnTo>
                      <a:pt x="31" y="57"/>
                    </a:lnTo>
                    <a:lnTo>
                      <a:pt x="31" y="60"/>
                    </a:lnTo>
                    <a:lnTo>
                      <a:pt x="33" y="61"/>
                    </a:lnTo>
                    <a:lnTo>
                      <a:pt x="33" y="63"/>
                    </a:lnTo>
                    <a:lnTo>
                      <a:pt x="34" y="63"/>
                    </a:lnTo>
                    <a:lnTo>
                      <a:pt x="36" y="63"/>
                    </a:lnTo>
                    <a:lnTo>
                      <a:pt x="38" y="63"/>
                    </a:lnTo>
                    <a:lnTo>
                      <a:pt x="38" y="63"/>
                    </a:lnTo>
                    <a:lnTo>
                      <a:pt x="38" y="64"/>
                    </a:lnTo>
                    <a:lnTo>
                      <a:pt x="38" y="64"/>
                    </a:lnTo>
                    <a:lnTo>
                      <a:pt x="38" y="64"/>
                    </a:lnTo>
                    <a:lnTo>
                      <a:pt x="39" y="64"/>
                    </a:lnTo>
                    <a:lnTo>
                      <a:pt x="41" y="66"/>
                    </a:lnTo>
                    <a:lnTo>
                      <a:pt x="42" y="68"/>
                    </a:lnTo>
                    <a:lnTo>
                      <a:pt x="44" y="68"/>
                    </a:lnTo>
                    <a:lnTo>
                      <a:pt x="45" y="69"/>
                    </a:lnTo>
                    <a:lnTo>
                      <a:pt x="45" y="72"/>
                    </a:lnTo>
                    <a:lnTo>
                      <a:pt x="45" y="74"/>
                    </a:lnTo>
                    <a:lnTo>
                      <a:pt x="45" y="75"/>
                    </a:lnTo>
                    <a:lnTo>
                      <a:pt x="45" y="75"/>
                    </a:lnTo>
                    <a:lnTo>
                      <a:pt x="47" y="77"/>
                    </a:lnTo>
                    <a:lnTo>
                      <a:pt x="50" y="77"/>
                    </a:lnTo>
                    <a:lnTo>
                      <a:pt x="53" y="75"/>
                    </a:lnTo>
                    <a:lnTo>
                      <a:pt x="55" y="75"/>
                    </a:lnTo>
                    <a:lnTo>
                      <a:pt x="55" y="75"/>
                    </a:lnTo>
                    <a:lnTo>
                      <a:pt x="56" y="75"/>
                    </a:lnTo>
                    <a:lnTo>
                      <a:pt x="58" y="75"/>
                    </a:lnTo>
                    <a:lnTo>
                      <a:pt x="59" y="77"/>
                    </a:lnTo>
                    <a:lnTo>
                      <a:pt x="61" y="77"/>
                    </a:lnTo>
                    <a:lnTo>
                      <a:pt x="64" y="75"/>
                    </a:lnTo>
                    <a:lnTo>
                      <a:pt x="66" y="74"/>
                    </a:lnTo>
                    <a:lnTo>
                      <a:pt x="69" y="75"/>
                    </a:lnTo>
                    <a:lnTo>
                      <a:pt x="69" y="74"/>
                    </a:lnTo>
                    <a:lnTo>
                      <a:pt x="69" y="71"/>
                    </a:lnTo>
                    <a:lnTo>
                      <a:pt x="70" y="69"/>
                    </a:lnTo>
                    <a:lnTo>
                      <a:pt x="74" y="71"/>
                    </a:lnTo>
                    <a:lnTo>
                      <a:pt x="75" y="69"/>
                    </a:lnTo>
                    <a:lnTo>
                      <a:pt x="75" y="68"/>
                    </a:lnTo>
                    <a:lnTo>
                      <a:pt x="75" y="68"/>
                    </a:lnTo>
                    <a:lnTo>
                      <a:pt x="78" y="66"/>
                    </a:lnTo>
                    <a:lnTo>
                      <a:pt x="80" y="66"/>
                    </a:lnTo>
                    <a:lnTo>
                      <a:pt x="81" y="64"/>
                    </a:lnTo>
                    <a:lnTo>
                      <a:pt x="81" y="66"/>
                    </a:lnTo>
                    <a:lnTo>
                      <a:pt x="81" y="66"/>
                    </a:lnTo>
                    <a:lnTo>
                      <a:pt x="81" y="68"/>
                    </a:lnTo>
                    <a:lnTo>
                      <a:pt x="81" y="69"/>
                    </a:lnTo>
                    <a:lnTo>
                      <a:pt x="81" y="69"/>
                    </a:lnTo>
                    <a:lnTo>
                      <a:pt x="83" y="69"/>
                    </a:lnTo>
                    <a:lnTo>
                      <a:pt x="84" y="69"/>
                    </a:lnTo>
                    <a:lnTo>
                      <a:pt x="86" y="69"/>
                    </a:lnTo>
                    <a:lnTo>
                      <a:pt x="86" y="69"/>
                    </a:lnTo>
                    <a:lnTo>
                      <a:pt x="86" y="68"/>
                    </a:lnTo>
                    <a:lnTo>
                      <a:pt x="86" y="66"/>
                    </a:lnTo>
                    <a:lnTo>
                      <a:pt x="84" y="66"/>
                    </a:lnTo>
                    <a:lnTo>
                      <a:pt x="84" y="64"/>
                    </a:lnTo>
                    <a:lnTo>
                      <a:pt x="83" y="64"/>
                    </a:lnTo>
                    <a:lnTo>
                      <a:pt x="83" y="64"/>
                    </a:lnTo>
                    <a:lnTo>
                      <a:pt x="83" y="64"/>
                    </a:lnTo>
                    <a:lnTo>
                      <a:pt x="83" y="63"/>
                    </a:lnTo>
                    <a:lnTo>
                      <a:pt x="83" y="60"/>
                    </a:lnTo>
                    <a:lnTo>
                      <a:pt x="84" y="58"/>
                    </a:lnTo>
                    <a:lnTo>
                      <a:pt x="86" y="57"/>
                    </a:lnTo>
                    <a:lnTo>
                      <a:pt x="86" y="57"/>
                    </a:lnTo>
                    <a:lnTo>
                      <a:pt x="86" y="55"/>
                    </a:lnTo>
                    <a:lnTo>
                      <a:pt x="86" y="52"/>
                    </a:lnTo>
                    <a:lnTo>
                      <a:pt x="86" y="49"/>
                    </a:lnTo>
                    <a:lnTo>
                      <a:pt x="88" y="46"/>
                    </a:lnTo>
                    <a:lnTo>
                      <a:pt x="89" y="46"/>
                    </a:lnTo>
                    <a:lnTo>
                      <a:pt x="92" y="46"/>
                    </a:lnTo>
                    <a:lnTo>
                      <a:pt x="94" y="44"/>
                    </a:lnTo>
                    <a:lnTo>
                      <a:pt x="94" y="42"/>
                    </a:lnTo>
                    <a:lnTo>
                      <a:pt x="94" y="41"/>
                    </a:lnTo>
                    <a:lnTo>
                      <a:pt x="94" y="39"/>
                    </a:lnTo>
                    <a:lnTo>
                      <a:pt x="95" y="39"/>
                    </a:lnTo>
                    <a:lnTo>
                      <a:pt x="100" y="39"/>
                    </a:lnTo>
                    <a:lnTo>
                      <a:pt x="102" y="38"/>
                    </a:lnTo>
                    <a:lnTo>
                      <a:pt x="102" y="36"/>
                    </a:lnTo>
                    <a:lnTo>
                      <a:pt x="103" y="36"/>
                    </a:lnTo>
                    <a:lnTo>
                      <a:pt x="103" y="35"/>
                    </a:lnTo>
                    <a:lnTo>
                      <a:pt x="103" y="3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0" name="Freeform 127">
                <a:extLst>
                  <a:ext uri="{FF2B5EF4-FFF2-40B4-BE49-F238E27FC236}">
                    <a16:creationId xmlns:a16="http://schemas.microsoft.com/office/drawing/2014/main" id="{674151A0-9630-DE40-312C-58638636A26C}"/>
                  </a:ext>
                </a:extLst>
              </p:cNvPr>
              <p:cNvSpPr>
                <a:spLocks/>
              </p:cNvSpPr>
              <p:nvPr/>
            </p:nvSpPr>
            <p:spPr bwMode="gray">
              <a:xfrm>
                <a:off x="2775" y="560"/>
                <a:ext cx="14" cy="21"/>
              </a:xfrm>
              <a:custGeom>
                <a:avLst/>
                <a:gdLst>
                  <a:gd name="T0" fmla="*/ 7 w 14"/>
                  <a:gd name="T1" fmla="*/ 2 h 21"/>
                  <a:gd name="T2" fmla="*/ 7 w 14"/>
                  <a:gd name="T3" fmla="*/ 2 h 21"/>
                  <a:gd name="T4" fmla="*/ 7 w 14"/>
                  <a:gd name="T5" fmla="*/ 3 h 21"/>
                  <a:gd name="T6" fmla="*/ 8 w 14"/>
                  <a:gd name="T7" fmla="*/ 5 h 21"/>
                  <a:gd name="T8" fmla="*/ 8 w 14"/>
                  <a:gd name="T9" fmla="*/ 7 h 21"/>
                  <a:gd name="T10" fmla="*/ 10 w 14"/>
                  <a:gd name="T11" fmla="*/ 8 h 21"/>
                  <a:gd name="T12" fmla="*/ 11 w 14"/>
                  <a:gd name="T13" fmla="*/ 10 h 21"/>
                  <a:gd name="T14" fmla="*/ 13 w 14"/>
                  <a:gd name="T15" fmla="*/ 10 h 21"/>
                  <a:gd name="T16" fmla="*/ 14 w 14"/>
                  <a:gd name="T17" fmla="*/ 10 h 21"/>
                  <a:gd name="T18" fmla="*/ 14 w 14"/>
                  <a:gd name="T19" fmla="*/ 11 h 21"/>
                  <a:gd name="T20" fmla="*/ 14 w 14"/>
                  <a:gd name="T21" fmla="*/ 13 h 21"/>
                  <a:gd name="T22" fmla="*/ 13 w 14"/>
                  <a:gd name="T23" fmla="*/ 13 h 21"/>
                  <a:gd name="T24" fmla="*/ 13 w 14"/>
                  <a:gd name="T25" fmla="*/ 14 h 21"/>
                  <a:gd name="T26" fmla="*/ 11 w 14"/>
                  <a:gd name="T27" fmla="*/ 16 h 21"/>
                  <a:gd name="T28" fmla="*/ 11 w 14"/>
                  <a:gd name="T29" fmla="*/ 18 h 21"/>
                  <a:gd name="T30" fmla="*/ 11 w 14"/>
                  <a:gd name="T31" fmla="*/ 19 h 21"/>
                  <a:gd name="T32" fmla="*/ 10 w 14"/>
                  <a:gd name="T33" fmla="*/ 19 h 21"/>
                  <a:gd name="T34" fmla="*/ 10 w 14"/>
                  <a:gd name="T35" fmla="*/ 19 h 21"/>
                  <a:gd name="T36" fmla="*/ 8 w 14"/>
                  <a:gd name="T37" fmla="*/ 19 h 21"/>
                  <a:gd name="T38" fmla="*/ 8 w 14"/>
                  <a:gd name="T39" fmla="*/ 19 h 21"/>
                  <a:gd name="T40" fmla="*/ 7 w 14"/>
                  <a:gd name="T41" fmla="*/ 19 h 21"/>
                  <a:gd name="T42" fmla="*/ 5 w 14"/>
                  <a:gd name="T43" fmla="*/ 21 h 21"/>
                  <a:gd name="T44" fmla="*/ 5 w 14"/>
                  <a:gd name="T45" fmla="*/ 19 h 21"/>
                  <a:gd name="T46" fmla="*/ 3 w 14"/>
                  <a:gd name="T47" fmla="*/ 19 h 21"/>
                  <a:gd name="T48" fmla="*/ 3 w 14"/>
                  <a:gd name="T49" fmla="*/ 19 h 21"/>
                  <a:gd name="T50" fmla="*/ 2 w 14"/>
                  <a:gd name="T51" fmla="*/ 18 h 21"/>
                  <a:gd name="T52" fmla="*/ 2 w 14"/>
                  <a:gd name="T53" fmla="*/ 18 h 21"/>
                  <a:gd name="T54" fmla="*/ 2 w 14"/>
                  <a:gd name="T55" fmla="*/ 18 h 21"/>
                  <a:gd name="T56" fmla="*/ 2 w 14"/>
                  <a:gd name="T57" fmla="*/ 16 h 21"/>
                  <a:gd name="T58" fmla="*/ 3 w 14"/>
                  <a:gd name="T59" fmla="*/ 16 h 21"/>
                  <a:gd name="T60" fmla="*/ 3 w 14"/>
                  <a:gd name="T61" fmla="*/ 14 h 21"/>
                  <a:gd name="T62" fmla="*/ 2 w 14"/>
                  <a:gd name="T63" fmla="*/ 13 h 21"/>
                  <a:gd name="T64" fmla="*/ 2 w 14"/>
                  <a:gd name="T65" fmla="*/ 11 h 21"/>
                  <a:gd name="T66" fmla="*/ 0 w 14"/>
                  <a:gd name="T67" fmla="*/ 10 h 21"/>
                  <a:gd name="T68" fmla="*/ 0 w 14"/>
                  <a:gd name="T69" fmla="*/ 10 h 21"/>
                  <a:gd name="T70" fmla="*/ 0 w 14"/>
                  <a:gd name="T71" fmla="*/ 8 h 21"/>
                  <a:gd name="T72" fmla="*/ 0 w 14"/>
                  <a:gd name="T73" fmla="*/ 8 h 21"/>
                  <a:gd name="T74" fmla="*/ 0 w 14"/>
                  <a:gd name="T75" fmla="*/ 7 h 21"/>
                  <a:gd name="T76" fmla="*/ 2 w 14"/>
                  <a:gd name="T77" fmla="*/ 7 h 21"/>
                  <a:gd name="T78" fmla="*/ 2 w 14"/>
                  <a:gd name="T79" fmla="*/ 5 h 21"/>
                  <a:gd name="T80" fmla="*/ 3 w 14"/>
                  <a:gd name="T81" fmla="*/ 2 h 21"/>
                  <a:gd name="T82" fmla="*/ 5 w 14"/>
                  <a:gd name="T83" fmla="*/ 0 h 21"/>
                  <a:gd name="T84" fmla="*/ 7 w 14"/>
                  <a:gd name="T85" fmla="*/ 0 h 21"/>
                  <a:gd name="T86" fmla="*/ 7 w 14"/>
                  <a:gd name="T87" fmla="*/ 0 h 21"/>
                  <a:gd name="T88" fmla="*/ 7 w 14"/>
                  <a:gd name="T89" fmla="*/ 2 h 21"/>
                  <a:gd name="T90" fmla="*/ 7 w 14"/>
                  <a:gd name="T9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1">
                    <a:moveTo>
                      <a:pt x="7" y="2"/>
                    </a:moveTo>
                    <a:lnTo>
                      <a:pt x="7" y="2"/>
                    </a:lnTo>
                    <a:lnTo>
                      <a:pt x="7" y="3"/>
                    </a:lnTo>
                    <a:lnTo>
                      <a:pt x="8" y="5"/>
                    </a:lnTo>
                    <a:lnTo>
                      <a:pt x="8" y="7"/>
                    </a:lnTo>
                    <a:lnTo>
                      <a:pt x="10" y="8"/>
                    </a:lnTo>
                    <a:lnTo>
                      <a:pt x="11" y="10"/>
                    </a:lnTo>
                    <a:lnTo>
                      <a:pt x="13" y="10"/>
                    </a:lnTo>
                    <a:lnTo>
                      <a:pt x="14" y="10"/>
                    </a:lnTo>
                    <a:lnTo>
                      <a:pt x="14" y="11"/>
                    </a:lnTo>
                    <a:lnTo>
                      <a:pt x="14" y="13"/>
                    </a:lnTo>
                    <a:lnTo>
                      <a:pt x="13" y="13"/>
                    </a:lnTo>
                    <a:lnTo>
                      <a:pt x="13" y="14"/>
                    </a:lnTo>
                    <a:lnTo>
                      <a:pt x="11" y="16"/>
                    </a:lnTo>
                    <a:lnTo>
                      <a:pt x="11" y="18"/>
                    </a:lnTo>
                    <a:lnTo>
                      <a:pt x="11" y="19"/>
                    </a:lnTo>
                    <a:lnTo>
                      <a:pt x="10" y="19"/>
                    </a:lnTo>
                    <a:lnTo>
                      <a:pt x="10" y="19"/>
                    </a:lnTo>
                    <a:lnTo>
                      <a:pt x="8" y="19"/>
                    </a:lnTo>
                    <a:lnTo>
                      <a:pt x="8" y="19"/>
                    </a:lnTo>
                    <a:lnTo>
                      <a:pt x="7" y="19"/>
                    </a:lnTo>
                    <a:lnTo>
                      <a:pt x="5" y="21"/>
                    </a:lnTo>
                    <a:lnTo>
                      <a:pt x="5" y="19"/>
                    </a:lnTo>
                    <a:lnTo>
                      <a:pt x="3" y="19"/>
                    </a:lnTo>
                    <a:lnTo>
                      <a:pt x="3" y="19"/>
                    </a:lnTo>
                    <a:lnTo>
                      <a:pt x="2" y="18"/>
                    </a:lnTo>
                    <a:lnTo>
                      <a:pt x="2" y="18"/>
                    </a:lnTo>
                    <a:lnTo>
                      <a:pt x="2" y="18"/>
                    </a:lnTo>
                    <a:lnTo>
                      <a:pt x="2" y="16"/>
                    </a:lnTo>
                    <a:lnTo>
                      <a:pt x="3" y="16"/>
                    </a:lnTo>
                    <a:lnTo>
                      <a:pt x="3" y="14"/>
                    </a:lnTo>
                    <a:lnTo>
                      <a:pt x="2" y="13"/>
                    </a:lnTo>
                    <a:lnTo>
                      <a:pt x="2" y="11"/>
                    </a:lnTo>
                    <a:lnTo>
                      <a:pt x="0" y="10"/>
                    </a:lnTo>
                    <a:lnTo>
                      <a:pt x="0" y="10"/>
                    </a:lnTo>
                    <a:lnTo>
                      <a:pt x="0" y="8"/>
                    </a:lnTo>
                    <a:lnTo>
                      <a:pt x="0" y="8"/>
                    </a:lnTo>
                    <a:lnTo>
                      <a:pt x="0" y="7"/>
                    </a:lnTo>
                    <a:lnTo>
                      <a:pt x="2" y="7"/>
                    </a:lnTo>
                    <a:lnTo>
                      <a:pt x="2" y="5"/>
                    </a:lnTo>
                    <a:lnTo>
                      <a:pt x="3" y="2"/>
                    </a:lnTo>
                    <a:lnTo>
                      <a:pt x="5" y="0"/>
                    </a:lnTo>
                    <a:lnTo>
                      <a:pt x="7" y="0"/>
                    </a:lnTo>
                    <a:lnTo>
                      <a:pt x="7" y="0"/>
                    </a:lnTo>
                    <a:lnTo>
                      <a:pt x="7" y="2"/>
                    </a:lnTo>
                    <a:lnTo>
                      <a:pt x="7"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1" name="Freeform 128">
                <a:extLst>
                  <a:ext uri="{FF2B5EF4-FFF2-40B4-BE49-F238E27FC236}">
                    <a16:creationId xmlns:a16="http://schemas.microsoft.com/office/drawing/2014/main" id="{A08A6FBA-C88B-0D40-828B-CFDCCA6DC9FB}"/>
                  </a:ext>
                </a:extLst>
              </p:cNvPr>
              <p:cNvSpPr>
                <a:spLocks/>
              </p:cNvSpPr>
              <p:nvPr/>
            </p:nvSpPr>
            <p:spPr bwMode="gray">
              <a:xfrm>
                <a:off x="3044" y="324"/>
                <a:ext cx="125" cy="77"/>
              </a:xfrm>
              <a:custGeom>
                <a:avLst/>
                <a:gdLst>
                  <a:gd name="T0" fmla="*/ 114 w 125"/>
                  <a:gd name="T1" fmla="*/ 17 h 77"/>
                  <a:gd name="T2" fmla="*/ 119 w 125"/>
                  <a:gd name="T3" fmla="*/ 23 h 77"/>
                  <a:gd name="T4" fmla="*/ 119 w 125"/>
                  <a:gd name="T5" fmla="*/ 28 h 77"/>
                  <a:gd name="T6" fmla="*/ 117 w 125"/>
                  <a:gd name="T7" fmla="*/ 33 h 77"/>
                  <a:gd name="T8" fmla="*/ 116 w 125"/>
                  <a:gd name="T9" fmla="*/ 39 h 77"/>
                  <a:gd name="T10" fmla="*/ 121 w 125"/>
                  <a:gd name="T11" fmla="*/ 39 h 77"/>
                  <a:gd name="T12" fmla="*/ 122 w 125"/>
                  <a:gd name="T13" fmla="*/ 45 h 77"/>
                  <a:gd name="T14" fmla="*/ 124 w 125"/>
                  <a:gd name="T15" fmla="*/ 50 h 77"/>
                  <a:gd name="T16" fmla="*/ 125 w 125"/>
                  <a:gd name="T17" fmla="*/ 58 h 77"/>
                  <a:gd name="T18" fmla="*/ 124 w 125"/>
                  <a:gd name="T19" fmla="*/ 61 h 77"/>
                  <a:gd name="T20" fmla="*/ 117 w 125"/>
                  <a:gd name="T21" fmla="*/ 67 h 77"/>
                  <a:gd name="T22" fmla="*/ 114 w 125"/>
                  <a:gd name="T23" fmla="*/ 72 h 77"/>
                  <a:gd name="T24" fmla="*/ 110 w 125"/>
                  <a:gd name="T25" fmla="*/ 72 h 77"/>
                  <a:gd name="T26" fmla="*/ 102 w 125"/>
                  <a:gd name="T27" fmla="*/ 75 h 77"/>
                  <a:gd name="T28" fmla="*/ 97 w 125"/>
                  <a:gd name="T29" fmla="*/ 77 h 77"/>
                  <a:gd name="T30" fmla="*/ 92 w 125"/>
                  <a:gd name="T31" fmla="*/ 74 h 77"/>
                  <a:gd name="T32" fmla="*/ 88 w 125"/>
                  <a:gd name="T33" fmla="*/ 67 h 77"/>
                  <a:gd name="T34" fmla="*/ 80 w 125"/>
                  <a:gd name="T35" fmla="*/ 61 h 77"/>
                  <a:gd name="T36" fmla="*/ 69 w 125"/>
                  <a:gd name="T37" fmla="*/ 55 h 77"/>
                  <a:gd name="T38" fmla="*/ 66 w 125"/>
                  <a:gd name="T39" fmla="*/ 53 h 77"/>
                  <a:gd name="T40" fmla="*/ 61 w 125"/>
                  <a:gd name="T41" fmla="*/ 56 h 77"/>
                  <a:gd name="T42" fmla="*/ 52 w 125"/>
                  <a:gd name="T43" fmla="*/ 56 h 77"/>
                  <a:gd name="T44" fmla="*/ 46 w 125"/>
                  <a:gd name="T45" fmla="*/ 55 h 77"/>
                  <a:gd name="T46" fmla="*/ 35 w 125"/>
                  <a:gd name="T47" fmla="*/ 56 h 77"/>
                  <a:gd name="T48" fmla="*/ 30 w 125"/>
                  <a:gd name="T49" fmla="*/ 53 h 77"/>
                  <a:gd name="T50" fmla="*/ 19 w 125"/>
                  <a:gd name="T51" fmla="*/ 53 h 77"/>
                  <a:gd name="T52" fmla="*/ 11 w 125"/>
                  <a:gd name="T53" fmla="*/ 56 h 77"/>
                  <a:gd name="T54" fmla="*/ 0 w 125"/>
                  <a:gd name="T55" fmla="*/ 58 h 77"/>
                  <a:gd name="T56" fmla="*/ 3 w 125"/>
                  <a:gd name="T57" fmla="*/ 36 h 77"/>
                  <a:gd name="T58" fmla="*/ 6 w 125"/>
                  <a:gd name="T59" fmla="*/ 27 h 77"/>
                  <a:gd name="T60" fmla="*/ 16 w 125"/>
                  <a:gd name="T61" fmla="*/ 14 h 77"/>
                  <a:gd name="T62" fmla="*/ 28 w 125"/>
                  <a:gd name="T63" fmla="*/ 13 h 77"/>
                  <a:gd name="T64" fmla="*/ 38 w 125"/>
                  <a:gd name="T65" fmla="*/ 23 h 77"/>
                  <a:gd name="T66" fmla="*/ 50 w 125"/>
                  <a:gd name="T67" fmla="*/ 34 h 77"/>
                  <a:gd name="T68" fmla="*/ 60 w 125"/>
                  <a:gd name="T69" fmla="*/ 27 h 77"/>
                  <a:gd name="T70" fmla="*/ 58 w 125"/>
                  <a:gd name="T71" fmla="*/ 8 h 77"/>
                  <a:gd name="T72" fmla="*/ 60 w 125"/>
                  <a:gd name="T73" fmla="*/ 5 h 77"/>
                  <a:gd name="T74" fmla="*/ 67 w 125"/>
                  <a:gd name="T75" fmla="*/ 2 h 77"/>
                  <a:gd name="T76" fmla="*/ 74 w 125"/>
                  <a:gd name="T77" fmla="*/ 2 h 77"/>
                  <a:gd name="T78" fmla="*/ 74 w 125"/>
                  <a:gd name="T79" fmla="*/ 0 h 77"/>
                  <a:gd name="T80" fmla="*/ 80 w 125"/>
                  <a:gd name="T81" fmla="*/ 3 h 77"/>
                  <a:gd name="T82" fmla="*/ 83 w 125"/>
                  <a:gd name="T83" fmla="*/ 6 h 77"/>
                  <a:gd name="T84" fmla="*/ 88 w 125"/>
                  <a:gd name="T85" fmla="*/ 8 h 77"/>
                  <a:gd name="T86" fmla="*/ 96 w 125"/>
                  <a:gd name="T87" fmla="*/ 16 h 77"/>
                  <a:gd name="T88" fmla="*/ 103 w 125"/>
                  <a:gd name="T89" fmla="*/ 14 h 77"/>
                  <a:gd name="T90" fmla="*/ 108 w 125"/>
                  <a:gd name="T91"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77">
                    <a:moveTo>
                      <a:pt x="111" y="17"/>
                    </a:moveTo>
                    <a:lnTo>
                      <a:pt x="113" y="17"/>
                    </a:lnTo>
                    <a:lnTo>
                      <a:pt x="114" y="17"/>
                    </a:lnTo>
                    <a:lnTo>
                      <a:pt x="114" y="20"/>
                    </a:lnTo>
                    <a:lnTo>
                      <a:pt x="116" y="22"/>
                    </a:lnTo>
                    <a:lnTo>
                      <a:pt x="119" y="23"/>
                    </a:lnTo>
                    <a:lnTo>
                      <a:pt x="119" y="25"/>
                    </a:lnTo>
                    <a:lnTo>
                      <a:pt x="119" y="27"/>
                    </a:lnTo>
                    <a:lnTo>
                      <a:pt x="119" y="28"/>
                    </a:lnTo>
                    <a:lnTo>
                      <a:pt x="119" y="28"/>
                    </a:lnTo>
                    <a:lnTo>
                      <a:pt x="117" y="30"/>
                    </a:lnTo>
                    <a:lnTo>
                      <a:pt x="117" y="33"/>
                    </a:lnTo>
                    <a:lnTo>
                      <a:pt x="117" y="34"/>
                    </a:lnTo>
                    <a:lnTo>
                      <a:pt x="116" y="39"/>
                    </a:lnTo>
                    <a:lnTo>
                      <a:pt x="116" y="39"/>
                    </a:lnTo>
                    <a:lnTo>
                      <a:pt x="119" y="38"/>
                    </a:lnTo>
                    <a:lnTo>
                      <a:pt x="119" y="39"/>
                    </a:lnTo>
                    <a:lnTo>
                      <a:pt x="121" y="39"/>
                    </a:lnTo>
                    <a:lnTo>
                      <a:pt x="121" y="42"/>
                    </a:lnTo>
                    <a:lnTo>
                      <a:pt x="121" y="44"/>
                    </a:lnTo>
                    <a:lnTo>
                      <a:pt x="122" y="45"/>
                    </a:lnTo>
                    <a:lnTo>
                      <a:pt x="122" y="47"/>
                    </a:lnTo>
                    <a:lnTo>
                      <a:pt x="124" y="49"/>
                    </a:lnTo>
                    <a:lnTo>
                      <a:pt x="124" y="50"/>
                    </a:lnTo>
                    <a:lnTo>
                      <a:pt x="125" y="53"/>
                    </a:lnTo>
                    <a:lnTo>
                      <a:pt x="125" y="56"/>
                    </a:lnTo>
                    <a:lnTo>
                      <a:pt x="125" y="58"/>
                    </a:lnTo>
                    <a:lnTo>
                      <a:pt x="125" y="59"/>
                    </a:lnTo>
                    <a:lnTo>
                      <a:pt x="125" y="61"/>
                    </a:lnTo>
                    <a:lnTo>
                      <a:pt x="124" y="61"/>
                    </a:lnTo>
                    <a:lnTo>
                      <a:pt x="122" y="61"/>
                    </a:lnTo>
                    <a:lnTo>
                      <a:pt x="121" y="64"/>
                    </a:lnTo>
                    <a:lnTo>
                      <a:pt x="117" y="67"/>
                    </a:lnTo>
                    <a:lnTo>
                      <a:pt x="116" y="69"/>
                    </a:lnTo>
                    <a:lnTo>
                      <a:pt x="116" y="72"/>
                    </a:lnTo>
                    <a:lnTo>
                      <a:pt x="114" y="72"/>
                    </a:lnTo>
                    <a:lnTo>
                      <a:pt x="113" y="72"/>
                    </a:lnTo>
                    <a:lnTo>
                      <a:pt x="113" y="72"/>
                    </a:lnTo>
                    <a:lnTo>
                      <a:pt x="110" y="72"/>
                    </a:lnTo>
                    <a:lnTo>
                      <a:pt x="105" y="70"/>
                    </a:lnTo>
                    <a:lnTo>
                      <a:pt x="103" y="72"/>
                    </a:lnTo>
                    <a:lnTo>
                      <a:pt x="102" y="75"/>
                    </a:lnTo>
                    <a:lnTo>
                      <a:pt x="100" y="75"/>
                    </a:lnTo>
                    <a:lnTo>
                      <a:pt x="99" y="75"/>
                    </a:lnTo>
                    <a:lnTo>
                      <a:pt x="97" y="77"/>
                    </a:lnTo>
                    <a:lnTo>
                      <a:pt x="97" y="77"/>
                    </a:lnTo>
                    <a:lnTo>
                      <a:pt x="94" y="75"/>
                    </a:lnTo>
                    <a:lnTo>
                      <a:pt x="92" y="74"/>
                    </a:lnTo>
                    <a:lnTo>
                      <a:pt x="91" y="72"/>
                    </a:lnTo>
                    <a:lnTo>
                      <a:pt x="89" y="69"/>
                    </a:lnTo>
                    <a:lnTo>
                      <a:pt x="88" y="67"/>
                    </a:lnTo>
                    <a:lnTo>
                      <a:pt x="85" y="66"/>
                    </a:lnTo>
                    <a:lnTo>
                      <a:pt x="81" y="63"/>
                    </a:lnTo>
                    <a:lnTo>
                      <a:pt x="80" y="61"/>
                    </a:lnTo>
                    <a:lnTo>
                      <a:pt x="74" y="59"/>
                    </a:lnTo>
                    <a:lnTo>
                      <a:pt x="71" y="59"/>
                    </a:lnTo>
                    <a:lnTo>
                      <a:pt x="69" y="55"/>
                    </a:lnTo>
                    <a:lnTo>
                      <a:pt x="67" y="53"/>
                    </a:lnTo>
                    <a:lnTo>
                      <a:pt x="67" y="53"/>
                    </a:lnTo>
                    <a:lnTo>
                      <a:pt x="66" y="53"/>
                    </a:lnTo>
                    <a:lnTo>
                      <a:pt x="64" y="53"/>
                    </a:lnTo>
                    <a:lnTo>
                      <a:pt x="61" y="56"/>
                    </a:lnTo>
                    <a:lnTo>
                      <a:pt x="61" y="56"/>
                    </a:lnTo>
                    <a:lnTo>
                      <a:pt x="58" y="56"/>
                    </a:lnTo>
                    <a:lnTo>
                      <a:pt x="55" y="58"/>
                    </a:lnTo>
                    <a:lnTo>
                      <a:pt x="52" y="56"/>
                    </a:lnTo>
                    <a:lnTo>
                      <a:pt x="49" y="55"/>
                    </a:lnTo>
                    <a:lnTo>
                      <a:pt x="47" y="55"/>
                    </a:lnTo>
                    <a:lnTo>
                      <a:pt x="46" y="55"/>
                    </a:lnTo>
                    <a:lnTo>
                      <a:pt x="38" y="55"/>
                    </a:lnTo>
                    <a:lnTo>
                      <a:pt x="36" y="55"/>
                    </a:lnTo>
                    <a:lnTo>
                      <a:pt x="35" y="56"/>
                    </a:lnTo>
                    <a:lnTo>
                      <a:pt x="35" y="53"/>
                    </a:lnTo>
                    <a:lnTo>
                      <a:pt x="33" y="53"/>
                    </a:lnTo>
                    <a:lnTo>
                      <a:pt x="30" y="53"/>
                    </a:lnTo>
                    <a:lnTo>
                      <a:pt x="27" y="53"/>
                    </a:lnTo>
                    <a:lnTo>
                      <a:pt x="24" y="53"/>
                    </a:lnTo>
                    <a:lnTo>
                      <a:pt x="19" y="53"/>
                    </a:lnTo>
                    <a:lnTo>
                      <a:pt x="17" y="53"/>
                    </a:lnTo>
                    <a:lnTo>
                      <a:pt x="13" y="55"/>
                    </a:lnTo>
                    <a:lnTo>
                      <a:pt x="11" y="56"/>
                    </a:lnTo>
                    <a:lnTo>
                      <a:pt x="5" y="59"/>
                    </a:lnTo>
                    <a:lnTo>
                      <a:pt x="0" y="64"/>
                    </a:lnTo>
                    <a:lnTo>
                      <a:pt x="0" y="58"/>
                    </a:lnTo>
                    <a:lnTo>
                      <a:pt x="0" y="45"/>
                    </a:lnTo>
                    <a:lnTo>
                      <a:pt x="0" y="39"/>
                    </a:lnTo>
                    <a:lnTo>
                      <a:pt x="3" y="36"/>
                    </a:lnTo>
                    <a:lnTo>
                      <a:pt x="5" y="33"/>
                    </a:lnTo>
                    <a:lnTo>
                      <a:pt x="6" y="30"/>
                    </a:lnTo>
                    <a:lnTo>
                      <a:pt x="6" y="27"/>
                    </a:lnTo>
                    <a:lnTo>
                      <a:pt x="8" y="23"/>
                    </a:lnTo>
                    <a:lnTo>
                      <a:pt x="13" y="16"/>
                    </a:lnTo>
                    <a:lnTo>
                      <a:pt x="16" y="14"/>
                    </a:lnTo>
                    <a:lnTo>
                      <a:pt x="21" y="13"/>
                    </a:lnTo>
                    <a:lnTo>
                      <a:pt x="27" y="11"/>
                    </a:lnTo>
                    <a:lnTo>
                      <a:pt x="28" y="13"/>
                    </a:lnTo>
                    <a:lnTo>
                      <a:pt x="28" y="14"/>
                    </a:lnTo>
                    <a:lnTo>
                      <a:pt x="35" y="22"/>
                    </a:lnTo>
                    <a:lnTo>
                      <a:pt x="38" y="23"/>
                    </a:lnTo>
                    <a:lnTo>
                      <a:pt x="39" y="31"/>
                    </a:lnTo>
                    <a:lnTo>
                      <a:pt x="46" y="34"/>
                    </a:lnTo>
                    <a:lnTo>
                      <a:pt x="50" y="34"/>
                    </a:lnTo>
                    <a:lnTo>
                      <a:pt x="53" y="31"/>
                    </a:lnTo>
                    <a:lnTo>
                      <a:pt x="56" y="28"/>
                    </a:lnTo>
                    <a:lnTo>
                      <a:pt x="60" y="27"/>
                    </a:lnTo>
                    <a:lnTo>
                      <a:pt x="60" y="23"/>
                    </a:lnTo>
                    <a:lnTo>
                      <a:pt x="58" y="13"/>
                    </a:lnTo>
                    <a:lnTo>
                      <a:pt x="58" y="8"/>
                    </a:lnTo>
                    <a:lnTo>
                      <a:pt x="58" y="6"/>
                    </a:lnTo>
                    <a:lnTo>
                      <a:pt x="58" y="6"/>
                    </a:lnTo>
                    <a:lnTo>
                      <a:pt x="60" y="5"/>
                    </a:lnTo>
                    <a:lnTo>
                      <a:pt x="66" y="2"/>
                    </a:lnTo>
                    <a:lnTo>
                      <a:pt x="67" y="2"/>
                    </a:lnTo>
                    <a:lnTo>
                      <a:pt x="67" y="2"/>
                    </a:lnTo>
                    <a:lnTo>
                      <a:pt x="72" y="0"/>
                    </a:lnTo>
                    <a:lnTo>
                      <a:pt x="72" y="0"/>
                    </a:lnTo>
                    <a:lnTo>
                      <a:pt x="74" y="2"/>
                    </a:lnTo>
                    <a:lnTo>
                      <a:pt x="74" y="2"/>
                    </a:lnTo>
                    <a:lnTo>
                      <a:pt x="75" y="2"/>
                    </a:lnTo>
                    <a:lnTo>
                      <a:pt x="74" y="0"/>
                    </a:lnTo>
                    <a:lnTo>
                      <a:pt x="75" y="0"/>
                    </a:lnTo>
                    <a:lnTo>
                      <a:pt x="75" y="0"/>
                    </a:lnTo>
                    <a:lnTo>
                      <a:pt x="80" y="3"/>
                    </a:lnTo>
                    <a:lnTo>
                      <a:pt x="81" y="5"/>
                    </a:lnTo>
                    <a:lnTo>
                      <a:pt x="83" y="5"/>
                    </a:lnTo>
                    <a:lnTo>
                      <a:pt x="83" y="6"/>
                    </a:lnTo>
                    <a:lnTo>
                      <a:pt x="88" y="6"/>
                    </a:lnTo>
                    <a:lnTo>
                      <a:pt x="88" y="8"/>
                    </a:lnTo>
                    <a:lnTo>
                      <a:pt x="88" y="8"/>
                    </a:lnTo>
                    <a:lnTo>
                      <a:pt x="91" y="13"/>
                    </a:lnTo>
                    <a:lnTo>
                      <a:pt x="92" y="14"/>
                    </a:lnTo>
                    <a:lnTo>
                      <a:pt x="96" y="16"/>
                    </a:lnTo>
                    <a:lnTo>
                      <a:pt x="97" y="17"/>
                    </a:lnTo>
                    <a:lnTo>
                      <a:pt x="102" y="16"/>
                    </a:lnTo>
                    <a:lnTo>
                      <a:pt x="103" y="14"/>
                    </a:lnTo>
                    <a:lnTo>
                      <a:pt x="105" y="14"/>
                    </a:lnTo>
                    <a:lnTo>
                      <a:pt x="105" y="16"/>
                    </a:lnTo>
                    <a:lnTo>
                      <a:pt x="108" y="17"/>
                    </a:lnTo>
                    <a:lnTo>
                      <a:pt x="111" y="17"/>
                    </a:lnTo>
                    <a:lnTo>
                      <a:pt x="111" y="1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2" name="Freeform 129">
                <a:extLst>
                  <a:ext uri="{FF2B5EF4-FFF2-40B4-BE49-F238E27FC236}">
                    <a16:creationId xmlns:a16="http://schemas.microsoft.com/office/drawing/2014/main" id="{75B877BD-F51A-44C7-BC43-5E725FE86C22}"/>
                  </a:ext>
                </a:extLst>
              </p:cNvPr>
              <p:cNvSpPr>
                <a:spLocks/>
              </p:cNvSpPr>
              <p:nvPr/>
            </p:nvSpPr>
            <p:spPr bwMode="gray">
              <a:xfrm>
                <a:off x="2838" y="962"/>
                <a:ext cx="278" cy="268"/>
              </a:xfrm>
              <a:custGeom>
                <a:avLst/>
                <a:gdLst>
                  <a:gd name="T0" fmla="*/ 275 w 278"/>
                  <a:gd name="T1" fmla="*/ 36 h 268"/>
                  <a:gd name="T2" fmla="*/ 275 w 278"/>
                  <a:gd name="T3" fmla="*/ 49 h 268"/>
                  <a:gd name="T4" fmla="*/ 270 w 278"/>
                  <a:gd name="T5" fmla="*/ 61 h 268"/>
                  <a:gd name="T6" fmla="*/ 275 w 278"/>
                  <a:gd name="T7" fmla="*/ 79 h 268"/>
                  <a:gd name="T8" fmla="*/ 275 w 278"/>
                  <a:gd name="T9" fmla="*/ 96 h 268"/>
                  <a:gd name="T10" fmla="*/ 275 w 278"/>
                  <a:gd name="T11" fmla="*/ 118 h 268"/>
                  <a:gd name="T12" fmla="*/ 275 w 278"/>
                  <a:gd name="T13" fmla="*/ 140 h 268"/>
                  <a:gd name="T14" fmla="*/ 275 w 278"/>
                  <a:gd name="T15" fmla="*/ 162 h 268"/>
                  <a:gd name="T16" fmla="*/ 275 w 278"/>
                  <a:gd name="T17" fmla="*/ 184 h 268"/>
                  <a:gd name="T18" fmla="*/ 275 w 278"/>
                  <a:gd name="T19" fmla="*/ 204 h 268"/>
                  <a:gd name="T20" fmla="*/ 275 w 278"/>
                  <a:gd name="T21" fmla="*/ 230 h 268"/>
                  <a:gd name="T22" fmla="*/ 275 w 278"/>
                  <a:gd name="T23" fmla="*/ 259 h 268"/>
                  <a:gd name="T24" fmla="*/ 262 w 278"/>
                  <a:gd name="T25" fmla="*/ 259 h 268"/>
                  <a:gd name="T26" fmla="*/ 258 w 278"/>
                  <a:gd name="T27" fmla="*/ 268 h 268"/>
                  <a:gd name="T28" fmla="*/ 216 w 278"/>
                  <a:gd name="T29" fmla="*/ 246 h 268"/>
                  <a:gd name="T30" fmla="*/ 173 w 278"/>
                  <a:gd name="T31" fmla="*/ 224 h 268"/>
                  <a:gd name="T32" fmla="*/ 131 w 278"/>
                  <a:gd name="T33" fmla="*/ 201 h 268"/>
                  <a:gd name="T34" fmla="*/ 100 w 278"/>
                  <a:gd name="T35" fmla="*/ 202 h 268"/>
                  <a:gd name="T36" fmla="*/ 86 w 278"/>
                  <a:gd name="T37" fmla="*/ 209 h 268"/>
                  <a:gd name="T38" fmla="*/ 56 w 278"/>
                  <a:gd name="T39" fmla="*/ 195 h 268"/>
                  <a:gd name="T40" fmla="*/ 39 w 278"/>
                  <a:gd name="T41" fmla="*/ 177 h 268"/>
                  <a:gd name="T42" fmla="*/ 20 w 278"/>
                  <a:gd name="T43" fmla="*/ 174 h 268"/>
                  <a:gd name="T44" fmla="*/ 12 w 278"/>
                  <a:gd name="T45" fmla="*/ 163 h 268"/>
                  <a:gd name="T46" fmla="*/ 3 w 278"/>
                  <a:gd name="T47" fmla="*/ 143 h 268"/>
                  <a:gd name="T48" fmla="*/ 9 w 278"/>
                  <a:gd name="T49" fmla="*/ 133 h 268"/>
                  <a:gd name="T50" fmla="*/ 8 w 278"/>
                  <a:gd name="T51" fmla="*/ 121 h 268"/>
                  <a:gd name="T52" fmla="*/ 9 w 278"/>
                  <a:gd name="T53" fmla="*/ 94 h 268"/>
                  <a:gd name="T54" fmla="*/ 6 w 278"/>
                  <a:gd name="T55" fmla="*/ 74 h 268"/>
                  <a:gd name="T56" fmla="*/ 3 w 278"/>
                  <a:gd name="T57" fmla="*/ 61 h 268"/>
                  <a:gd name="T58" fmla="*/ 11 w 278"/>
                  <a:gd name="T59" fmla="*/ 57 h 268"/>
                  <a:gd name="T60" fmla="*/ 17 w 278"/>
                  <a:gd name="T61" fmla="*/ 46 h 268"/>
                  <a:gd name="T62" fmla="*/ 15 w 278"/>
                  <a:gd name="T63" fmla="*/ 33 h 268"/>
                  <a:gd name="T64" fmla="*/ 23 w 278"/>
                  <a:gd name="T65" fmla="*/ 27 h 268"/>
                  <a:gd name="T66" fmla="*/ 29 w 278"/>
                  <a:gd name="T67" fmla="*/ 21 h 268"/>
                  <a:gd name="T68" fmla="*/ 39 w 278"/>
                  <a:gd name="T69" fmla="*/ 15 h 268"/>
                  <a:gd name="T70" fmla="*/ 39 w 278"/>
                  <a:gd name="T71" fmla="*/ 0 h 268"/>
                  <a:gd name="T72" fmla="*/ 55 w 278"/>
                  <a:gd name="T73" fmla="*/ 7 h 268"/>
                  <a:gd name="T74" fmla="*/ 76 w 278"/>
                  <a:gd name="T75" fmla="*/ 8 h 268"/>
                  <a:gd name="T76" fmla="*/ 92 w 278"/>
                  <a:gd name="T77" fmla="*/ 15 h 268"/>
                  <a:gd name="T78" fmla="*/ 108 w 278"/>
                  <a:gd name="T79" fmla="*/ 29 h 268"/>
                  <a:gd name="T80" fmla="*/ 120 w 278"/>
                  <a:gd name="T81" fmla="*/ 40 h 268"/>
                  <a:gd name="T82" fmla="*/ 151 w 278"/>
                  <a:gd name="T83" fmla="*/ 47 h 268"/>
                  <a:gd name="T84" fmla="*/ 175 w 278"/>
                  <a:gd name="T85" fmla="*/ 60 h 268"/>
                  <a:gd name="T86" fmla="*/ 191 w 278"/>
                  <a:gd name="T87" fmla="*/ 44 h 268"/>
                  <a:gd name="T88" fmla="*/ 186 w 278"/>
                  <a:gd name="T89" fmla="*/ 29 h 268"/>
                  <a:gd name="T90" fmla="*/ 198 w 278"/>
                  <a:gd name="T91" fmla="*/ 13 h 268"/>
                  <a:gd name="T92" fmla="*/ 219 w 278"/>
                  <a:gd name="T93" fmla="*/ 5 h 268"/>
                  <a:gd name="T94" fmla="*/ 236 w 278"/>
                  <a:gd name="T95" fmla="*/ 10 h 268"/>
                  <a:gd name="T96" fmla="*/ 242 w 278"/>
                  <a:gd name="T97" fmla="*/ 18 h 268"/>
                  <a:gd name="T98" fmla="*/ 261 w 278"/>
                  <a:gd name="T99" fmla="*/ 24 h 268"/>
                  <a:gd name="T100" fmla="*/ 277 w 278"/>
                  <a:gd name="T101" fmla="*/ 2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8" h="268">
                    <a:moveTo>
                      <a:pt x="278" y="32"/>
                    </a:moveTo>
                    <a:lnTo>
                      <a:pt x="278" y="32"/>
                    </a:lnTo>
                    <a:lnTo>
                      <a:pt x="277" y="33"/>
                    </a:lnTo>
                    <a:lnTo>
                      <a:pt x="277" y="35"/>
                    </a:lnTo>
                    <a:lnTo>
                      <a:pt x="275" y="36"/>
                    </a:lnTo>
                    <a:lnTo>
                      <a:pt x="273" y="38"/>
                    </a:lnTo>
                    <a:lnTo>
                      <a:pt x="273" y="41"/>
                    </a:lnTo>
                    <a:lnTo>
                      <a:pt x="273" y="44"/>
                    </a:lnTo>
                    <a:lnTo>
                      <a:pt x="275" y="47"/>
                    </a:lnTo>
                    <a:lnTo>
                      <a:pt x="275" y="49"/>
                    </a:lnTo>
                    <a:lnTo>
                      <a:pt x="275" y="52"/>
                    </a:lnTo>
                    <a:lnTo>
                      <a:pt x="275" y="54"/>
                    </a:lnTo>
                    <a:lnTo>
                      <a:pt x="273" y="57"/>
                    </a:lnTo>
                    <a:lnTo>
                      <a:pt x="270" y="60"/>
                    </a:lnTo>
                    <a:lnTo>
                      <a:pt x="270" y="61"/>
                    </a:lnTo>
                    <a:lnTo>
                      <a:pt x="270" y="63"/>
                    </a:lnTo>
                    <a:lnTo>
                      <a:pt x="272" y="68"/>
                    </a:lnTo>
                    <a:lnTo>
                      <a:pt x="272" y="69"/>
                    </a:lnTo>
                    <a:lnTo>
                      <a:pt x="273" y="74"/>
                    </a:lnTo>
                    <a:lnTo>
                      <a:pt x="275" y="79"/>
                    </a:lnTo>
                    <a:lnTo>
                      <a:pt x="275" y="80"/>
                    </a:lnTo>
                    <a:lnTo>
                      <a:pt x="275" y="82"/>
                    </a:lnTo>
                    <a:lnTo>
                      <a:pt x="275" y="87"/>
                    </a:lnTo>
                    <a:lnTo>
                      <a:pt x="275" y="91"/>
                    </a:lnTo>
                    <a:lnTo>
                      <a:pt x="275" y="96"/>
                    </a:lnTo>
                    <a:lnTo>
                      <a:pt x="275" y="99"/>
                    </a:lnTo>
                    <a:lnTo>
                      <a:pt x="275" y="104"/>
                    </a:lnTo>
                    <a:lnTo>
                      <a:pt x="275" y="108"/>
                    </a:lnTo>
                    <a:lnTo>
                      <a:pt x="275" y="113"/>
                    </a:lnTo>
                    <a:lnTo>
                      <a:pt x="275" y="118"/>
                    </a:lnTo>
                    <a:lnTo>
                      <a:pt x="275" y="123"/>
                    </a:lnTo>
                    <a:lnTo>
                      <a:pt x="275" y="126"/>
                    </a:lnTo>
                    <a:lnTo>
                      <a:pt x="275" y="130"/>
                    </a:lnTo>
                    <a:lnTo>
                      <a:pt x="275" y="135"/>
                    </a:lnTo>
                    <a:lnTo>
                      <a:pt x="275" y="140"/>
                    </a:lnTo>
                    <a:lnTo>
                      <a:pt x="275" y="144"/>
                    </a:lnTo>
                    <a:lnTo>
                      <a:pt x="275" y="148"/>
                    </a:lnTo>
                    <a:lnTo>
                      <a:pt x="275" y="152"/>
                    </a:lnTo>
                    <a:lnTo>
                      <a:pt x="275" y="157"/>
                    </a:lnTo>
                    <a:lnTo>
                      <a:pt x="275" y="162"/>
                    </a:lnTo>
                    <a:lnTo>
                      <a:pt x="275" y="166"/>
                    </a:lnTo>
                    <a:lnTo>
                      <a:pt x="275" y="169"/>
                    </a:lnTo>
                    <a:lnTo>
                      <a:pt x="275" y="174"/>
                    </a:lnTo>
                    <a:lnTo>
                      <a:pt x="275" y="179"/>
                    </a:lnTo>
                    <a:lnTo>
                      <a:pt x="275" y="184"/>
                    </a:lnTo>
                    <a:lnTo>
                      <a:pt x="275" y="187"/>
                    </a:lnTo>
                    <a:lnTo>
                      <a:pt x="275" y="191"/>
                    </a:lnTo>
                    <a:lnTo>
                      <a:pt x="275" y="196"/>
                    </a:lnTo>
                    <a:lnTo>
                      <a:pt x="275" y="199"/>
                    </a:lnTo>
                    <a:lnTo>
                      <a:pt x="275" y="204"/>
                    </a:lnTo>
                    <a:lnTo>
                      <a:pt x="275" y="209"/>
                    </a:lnTo>
                    <a:lnTo>
                      <a:pt x="275" y="213"/>
                    </a:lnTo>
                    <a:lnTo>
                      <a:pt x="275" y="216"/>
                    </a:lnTo>
                    <a:lnTo>
                      <a:pt x="275" y="221"/>
                    </a:lnTo>
                    <a:lnTo>
                      <a:pt x="275" y="230"/>
                    </a:lnTo>
                    <a:lnTo>
                      <a:pt x="275" y="240"/>
                    </a:lnTo>
                    <a:lnTo>
                      <a:pt x="275" y="249"/>
                    </a:lnTo>
                    <a:lnTo>
                      <a:pt x="275" y="259"/>
                    </a:lnTo>
                    <a:lnTo>
                      <a:pt x="275" y="259"/>
                    </a:lnTo>
                    <a:lnTo>
                      <a:pt x="275" y="259"/>
                    </a:lnTo>
                    <a:lnTo>
                      <a:pt x="275" y="259"/>
                    </a:lnTo>
                    <a:lnTo>
                      <a:pt x="275" y="259"/>
                    </a:lnTo>
                    <a:lnTo>
                      <a:pt x="270" y="259"/>
                    </a:lnTo>
                    <a:lnTo>
                      <a:pt x="267" y="259"/>
                    </a:lnTo>
                    <a:lnTo>
                      <a:pt x="262" y="259"/>
                    </a:lnTo>
                    <a:lnTo>
                      <a:pt x="258" y="259"/>
                    </a:lnTo>
                    <a:lnTo>
                      <a:pt x="258" y="260"/>
                    </a:lnTo>
                    <a:lnTo>
                      <a:pt x="258" y="263"/>
                    </a:lnTo>
                    <a:lnTo>
                      <a:pt x="258" y="265"/>
                    </a:lnTo>
                    <a:lnTo>
                      <a:pt x="258" y="268"/>
                    </a:lnTo>
                    <a:lnTo>
                      <a:pt x="250" y="263"/>
                    </a:lnTo>
                    <a:lnTo>
                      <a:pt x="241" y="259"/>
                    </a:lnTo>
                    <a:lnTo>
                      <a:pt x="233" y="254"/>
                    </a:lnTo>
                    <a:lnTo>
                      <a:pt x="223" y="251"/>
                    </a:lnTo>
                    <a:lnTo>
                      <a:pt x="216" y="246"/>
                    </a:lnTo>
                    <a:lnTo>
                      <a:pt x="208" y="241"/>
                    </a:lnTo>
                    <a:lnTo>
                      <a:pt x="198" y="237"/>
                    </a:lnTo>
                    <a:lnTo>
                      <a:pt x="191" y="232"/>
                    </a:lnTo>
                    <a:lnTo>
                      <a:pt x="183" y="229"/>
                    </a:lnTo>
                    <a:lnTo>
                      <a:pt x="173" y="224"/>
                    </a:lnTo>
                    <a:lnTo>
                      <a:pt x="166" y="220"/>
                    </a:lnTo>
                    <a:lnTo>
                      <a:pt x="156" y="215"/>
                    </a:lnTo>
                    <a:lnTo>
                      <a:pt x="148" y="210"/>
                    </a:lnTo>
                    <a:lnTo>
                      <a:pt x="141" y="205"/>
                    </a:lnTo>
                    <a:lnTo>
                      <a:pt x="131" y="201"/>
                    </a:lnTo>
                    <a:lnTo>
                      <a:pt x="123" y="198"/>
                    </a:lnTo>
                    <a:lnTo>
                      <a:pt x="117" y="195"/>
                    </a:lnTo>
                    <a:lnTo>
                      <a:pt x="111" y="196"/>
                    </a:lnTo>
                    <a:lnTo>
                      <a:pt x="106" y="199"/>
                    </a:lnTo>
                    <a:lnTo>
                      <a:pt x="100" y="202"/>
                    </a:lnTo>
                    <a:lnTo>
                      <a:pt x="100" y="202"/>
                    </a:lnTo>
                    <a:lnTo>
                      <a:pt x="92" y="207"/>
                    </a:lnTo>
                    <a:lnTo>
                      <a:pt x="87" y="210"/>
                    </a:lnTo>
                    <a:lnTo>
                      <a:pt x="86" y="210"/>
                    </a:lnTo>
                    <a:lnTo>
                      <a:pt x="86" y="209"/>
                    </a:lnTo>
                    <a:lnTo>
                      <a:pt x="80" y="204"/>
                    </a:lnTo>
                    <a:lnTo>
                      <a:pt x="75" y="199"/>
                    </a:lnTo>
                    <a:lnTo>
                      <a:pt x="73" y="199"/>
                    </a:lnTo>
                    <a:lnTo>
                      <a:pt x="65" y="196"/>
                    </a:lnTo>
                    <a:lnTo>
                      <a:pt x="56" y="195"/>
                    </a:lnTo>
                    <a:lnTo>
                      <a:pt x="47" y="193"/>
                    </a:lnTo>
                    <a:lnTo>
                      <a:pt x="45" y="188"/>
                    </a:lnTo>
                    <a:lnTo>
                      <a:pt x="44" y="185"/>
                    </a:lnTo>
                    <a:lnTo>
                      <a:pt x="40" y="180"/>
                    </a:lnTo>
                    <a:lnTo>
                      <a:pt x="39" y="177"/>
                    </a:lnTo>
                    <a:lnTo>
                      <a:pt x="39" y="177"/>
                    </a:lnTo>
                    <a:lnTo>
                      <a:pt x="33" y="174"/>
                    </a:lnTo>
                    <a:lnTo>
                      <a:pt x="25" y="173"/>
                    </a:lnTo>
                    <a:lnTo>
                      <a:pt x="20" y="174"/>
                    </a:lnTo>
                    <a:lnTo>
                      <a:pt x="20" y="174"/>
                    </a:lnTo>
                    <a:lnTo>
                      <a:pt x="19" y="173"/>
                    </a:lnTo>
                    <a:lnTo>
                      <a:pt x="17" y="173"/>
                    </a:lnTo>
                    <a:lnTo>
                      <a:pt x="17" y="169"/>
                    </a:lnTo>
                    <a:lnTo>
                      <a:pt x="14" y="168"/>
                    </a:lnTo>
                    <a:lnTo>
                      <a:pt x="12" y="163"/>
                    </a:lnTo>
                    <a:lnTo>
                      <a:pt x="12" y="159"/>
                    </a:lnTo>
                    <a:lnTo>
                      <a:pt x="12" y="157"/>
                    </a:lnTo>
                    <a:lnTo>
                      <a:pt x="9" y="152"/>
                    </a:lnTo>
                    <a:lnTo>
                      <a:pt x="4" y="146"/>
                    </a:lnTo>
                    <a:lnTo>
                      <a:pt x="3" y="143"/>
                    </a:lnTo>
                    <a:lnTo>
                      <a:pt x="3" y="141"/>
                    </a:lnTo>
                    <a:lnTo>
                      <a:pt x="3" y="140"/>
                    </a:lnTo>
                    <a:lnTo>
                      <a:pt x="3" y="138"/>
                    </a:lnTo>
                    <a:lnTo>
                      <a:pt x="8" y="137"/>
                    </a:lnTo>
                    <a:lnTo>
                      <a:pt x="9" y="133"/>
                    </a:lnTo>
                    <a:lnTo>
                      <a:pt x="11" y="132"/>
                    </a:lnTo>
                    <a:lnTo>
                      <a:pt x="11" y="129"/>
                    </a:lnTo>
                    <a:lnTo>
                      <a:pt x="9" y="127"/>
                    </a:lnTo>
                    <a:lnTo>
                      <a:pt x="9" y="124"/>
                    </a:lnTo>
                    <a:lnTo>
                      <a:pt x="8" y="121"/>
                    </a:lnTo>
                    <a:lnTo>
                      <a:pt x="8" y="118"/>
                    </a:lnTo>
                    <a:lnTo>
                      <a:pt x="9" y="115"/>
                    </a:lnTo>
                    <a:lnTo>
                      <a:pt x="11" y="110"/>
                    </a:lnTo>
                    <a:lnTo>
                      <a:pt x="9" y="105"/>
                    </a:lnTo>
                    <a:lnTo>
                      <a:pt x="9" y="94"/>
                    </a:lnTo>
                    <a:lnTo>
                      <a:pt x="9" y="87"/>
                    </a:lnTo>
                    <a:lnTo>
                      <a:pt x="9" y="83"/>
                    </a:lnTo>
                    <a:lnTo>
                      <a:pt x="9" y="82"/>
                    </a:lnTo>
                    <a:lnTo>
                      <a:pt x="8" y="79"/>
                    </a:lnTo>
                    <a:lnTo>
                      <a:pt x="6" y="74"/>
                    </a:lnTo>
                    <a:lnTo>
                      <a:pt x="6" y="72"/>
                    </a:lnTo>
                    <a:lnTo>
                      <a:pt x="4" y="69"/>
                    </a:lnTo>
                    <a:lnTo>
                      <a:pt x="1" y="66"/>
                    </a:lnTo>
                    <a:lnTo>
                      <a:pt x="0" y="63"/>
                    </a:lnTo>
                    <a:lnTo>
                      <a:pt x="3" y="61"/>
                    </a:lnTo>
                    <a:lnTo>
                      <a:pt x="4" y="61"/>
                    </a:lnTo>
                    <a:lnTo>
                      <a:pt x="6" y="60"/>
                    </a:lnTo>
                    <a:lnTo>
                      <a:pt x="9" y="58"/>
                    </a:lnTo>
                    <a:lnTo>
                      <a:pt x="11" y="58"/>
                    </a:lnTo>
                    <a:lnTo>
                      <a:pt x="11" y="57"/>
                    </a:lnTo>
                    <a:lnTo>
                      <a:pt x="14" y="54"/>
                    </a:lnTo>
                    <a:lnTo>
                      <a:pt x="14" y="52"/>
                    </a:lnTo>
                    <a:lnTo>
                      <a:pt x="15" y="49"/>
                    </a:lnTo>
                    <a:lnTo>
                      <a:pt x="17" y="47"/>
                    </a:lnTo>
                    <a:lnTo>
                      <a:pt x="17" y="46"/>
                    </a:lnTo>
                    <a:lnTo>
                      <a:pt x="17" y="44"/>
                    </a:lnTo>
                    <a:lnTo>
                      <a:pt x="15" y="40"/>
                    </a:lnTo>
                    <a:lnTo>
                      <a:pt x="14" y="35"/>
                    </a:lnTo>
                    <a:lnTo>
                      <a:pt x="15" y="33"/>
                    </a:lnTo>
                    <a:lnTo>
                      <a:pt x="15" y="33"/>
                    </a:lnTo>
                    <a:lnTo>
                      <a:pt x="17" y="32"/>
                    </a:lnTo>
                    <a:lnTo>
                      <a:pt x="17" y="30"/>
                    </a:lnTo>
                    <a:lnTo>
                      <a:pt x="20" y="30"/>
                    </a:lnTo>
                    <a:lnTo>
                      <a:pt x="22" y="29"/>
                    </a:lnTo>
                    <a:lnTo>
                      <a:pt x="23" y="27"/>
                    </a:lnTo>
                    <a:lnTo>
                      <a:pt x="23" y="26"/>
                    </a:lnTo>
                    <a:lnTo>
                      <a:pt x="25" y="26"/>
                    </a:lnTo>
                    <a:lnTo>
                      <a:pt x="26" y="24"/>
                    </a:lnTo>
                    <a:lnTo>
                      <a:pt x="26" y="22"/>
                    </a:lnTo>
                    <a:lnTo>
                      <a:pt x="29" y="21"/>
                    </a:lnTo>
                    <a:lnTo>
                      <a:pt x="33" y="19"/>
                    </a:lnTo>
                    <a:lnTo>
                      <a:pt x="36" y="18"/>
                    </a:lnTo>
                    <a:lnTo>
                      <a:pt x="39" y="16"/>
                    </a:lnTo>
                    <a:lnTo>
                      <a:pt x="39" y="15"/>
                    </a:lnTo>
                    <a:lnTo>
                      <a:pt x="39" y="15"/>
                    </a:lnTo>
                    <a:lnTo>
                      <a:pt x="37" y="11"/>
                    </a:lnTo>
                    <a:lnTo>
                      <a:pt x="37" y="8"/>
                    </a:lnTo>
                    <a:lnTo>
                      <a:pt x="37" y="7"/>
                    </a:lnTo>
                    <a:lnTo>
                      <a:pt x="39" y="5"/>
                    </a:lnTo>
                    <a:lnTo>
                      <a:pt x="39" y="0"/>
                    </a:lnTo>
                    <a:lnTo>
                      <a:pt x="39" y="0"/>
                    </a:lnTo>
                    <a:lnTo>
                      <a:pt x="42" y="2"/>
                    </a:lnTo>
                    <a:lnTo>
                      <a:pt x="44" y="2"/>
                    </a:lnTo>
                    <a:lnTo>
                      <a:pt x="53" y="7"/>
                    </a:lnTo>
                    <a:lnTo>
                      <a:pt x="55" y="7"/>
                    </a:lnTo>
                    <a:lnTo>
                      <a:pt x="61" y="8"/>
                    </a:lnTo>
                    <a:lnTo>
                      <a:pt x="67" y="7"/>
                    </a:lnTo>
                    <a:lnTo>
                      <a:pt x="70" y="5"/>
                    </a:lnTo>
                    <a:lnTo>
                      <a:pt x="75" y="8"/>
                    </a:lnTo>
                    <a:lnTo>
                      <a:pt x="76" y="8"/>
                    </a:lnTo>
                    <a:lnTo>
                      <a:pt x="80" y="8"/>
                    </a:lnTo>
                    <a:lnTo>
                      <a:pt x="86" y="10"/>
                    </a:lnTo>
                    <a:lnTo>
                      <a:pt x="87" y="10"/>
                    </a:lnTo>
                    <a:lnTo>
                      <a:pt x="90" y="13"/>
                    </a:lnTo>
                    <a:lnTo>
                      <a:pt x="92" y="15"/>
                    </a:lnTo>
                    <a:lnTo>
                      <a:pt x="103" y="16"/>
                    </a:lnTo>
                    <a:lnTo>
                      <a:pt x="105" y="18"/>
                    </a:lnTo>
                    <a:lnTo>
                      <a:pt x="106" y="21"/>
                    </a:lnTo>
                    <a:lnTo>
                      <a:pt x="106" y="26"/>
                    </a:lnTo>
                    <a:lnTo>
                      <a:pt x="108" y="29"/>
                    </a:lnTo>
                    <a:lnTo>
                      <a:pt x="109" y="32"/>
                    </a:lnTo>
                    <a:lnTo>
                      <a:pt x="111" y="35"/>
                    </a:lnTo>
                    <a:lnTo>
                      <a:pt x="112" y="36"/>
                    </a:lnTo>
                    <a:lnTo>
                      <a:pt x="115" y="38"/>
                    </a:lnTo>
                    <a:lnTo>
                      <a:pt x="120" y="40"/>
                    </a:lnTo>
                    <a:lnTo>
                      <a:pt x="125" y="41"/>
                    </a:lnTo>
                    <a:lnTo>
                      <a:pt x="131" y="41"/>
                    </a:lnTo>
                    <a:lnTo>
                      <a:pt x="142" y="43"/>
                    </a:lnTo>
                    <a:lnTo>
                      <a:pt x="150" y="46"/>
                    </a:lnTo>
                    <a:lnTo>
                      <a:pt x="151" y="47"/>
                    </a:lnTo>
                    <a:lnTo>
                      <a:pt x="156" y="49"/>
                    </a:lnTo>
                    <a:lnTo>
                      <a:pt x="164" y="57"/>
                    </a:lnTo>
                    <a:lnTo>
                      <a:pt x="169" y="60"/>
                    </a:lnTo>
                    <a:lnTo>
                      <a:pt x="172" y="60"/>
                    </a:lnTo>
                    <a:lnTo>
                      <a:pt x="175" y="60"/>
                    </a:lnTo>
                    <a:lnTo>
                      <a:pt x="181" y="57"/>
                    </a:lnTo>
                    <a:lnTo>
                      <a:pt x="183" y="55"/>
                    </a:lnTo>
                    <a:lnTo>
                      <a:pt x="187" y="49"/>
                    </a:lnTo>
                    <a:lnTo>
                      <a:pt x="191" y="46"/>
                    </a:lnTo>
                    <a:lnTo>
                      <a:pt x="191" y="44"/>
                    </a:lnTo>
                    <a:lnTo>
                      <a:pt x="191" y="41"/>
                    </a:lnTo>
                    <a:lnTo>
                      <a:pt x="189" y="40"/>
                    </a:lnTo>
                    <a:lnTo>
                      <a:pt x="189" y="36"/>
                    </a:lnTo>
                    <a:lnTo>
                      <a:pt x="187" y="33"/>
                    </a:lnTo>
                    <a:lnTo>
                      <a:pt x="186" y="29"/>
                    </a:lnTo>
                    <a:lnTo>
                      <a:pt x="187" y="24"/>
                    </a:lnTo>
                    <a:lnTo>
                      <a:pt x="189" y="22"/>
                    </a:lnTo>
                    <a:lnTo>
                      <a:pt x="191" y="21"/>
                    </a:lnTo>
                    <a:lnTo>
                      <a:pt x="194" y="16"/>
                    </a:lnTo>
                    <a:lnTo>
                      <a:pt x="198" y="13"/>
                    </a:lnTo>
                    <a:lnTo>
                      <a:pt x="206" y="8"/>
                    </a:lnTo>
                    <a:lnTo>
                      <a:pt x="211" y="8"/>
                    </a:lnTo>
                    <a:lnTo>
                      <a:pt x="212" y="8"/>
                    </a:lnTo>
                    <a:lnTo>
                      <a:pt x="217" y="5"/>
                    </a:lnTo>
                    <a:lnTo>
                      <a:pt x="219" y="5"/>
                    </a:lnTo>
                    <a:lnTo>
                      <a:pt x="220" y="5"/>
                    </a:lnTo>
                    <a:lnTo>
                      <a:pt x="227" y="5"/>
                    </a:lnTo>
                    <a:lnTo>
                      <a:pt x="230" y="7"/>
                    </a:lnTo>
                    <a:lnTo>
                      <a:pt x="233" y="8"/>
                    </a:lnTo>
                    <a:lnTo>
                      <a:pt x="236" y="10"/>
                    </a:lnTo>
                    <a:lnTo>
                      <a:pt x="239" y="10"/>
                    </a:lnTo>
                    <a:lnTo>
                      <a:pt x="242" y="11"/>
                    </a:lnTo>
                    <a:lnTo>
                      <a:pt x="242" y="16"/>
                    </a:lnTo>
                    <a:lnTo>
                      <a:pt x="242" y="16"/>
                    </a:lnTo>
                    <a:lnTo>
                      <a:pt x="242" y="18"/>
                    </a:lnTo>
                    <a:lnTo>
                      <a:pt x="245" y="21"/>
                    </a:lnTo>
                    <a:lnTo>
                      <a:pt x="255" y="21"/>
                    </a:lnTo>
                    <a:lnTo>
                      <a:pt x="256" y="22"/>
                    </a:lnTo>
                    <a:lnTo>
                      <a:pt x="259" y="24"/>
                    </a:lnTo>
                    <a:lnTo>
                      <a:pt x="261" y="24"/>
                    </a:lnTo>
                    <a:lnTo>
                      <a:pt x="267" y="24"/>
                    </a:lnTo>
                    <a:lnTo>
                      <a:pt x="270" y="24"/>
                    </a:lnTo>
                    <a:lnTo>
                      <a:pt x="273" y="26"/>
                    </a:lnTo>
                    <a:lnTo>
                      <a:pt x="275" y="26"/>
                    </a:lnTo>
                    <a:lnTo>
                      <a:pt x="277" y="27"/>
                    </a:lnTo>
                    <a:lnTo>
                      <a:pt x="278" y="30"/>
                    </a:lnTo>
                    <a:lnTo>
                      <a:pt x="278" y="3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3" name="Freeform 130">
                <a:extLst>
                  <a:ext uri="{FF2B5EF4-FFF2-40B4-BE49-F238E27FC236}">
                    <a16:creationId xmlns:a16="http://schemas.microsoft.com/office/drawing/2014/main" id="{34D616FE-A20F-71EA-A807-4EBF32ADB596}"/>
                  </a:ext>
                </a:extLst>
              </p:cNvPr>
              <p:cNvSpPr>
                <a:spLocks/>
              </p:cNvSpPr>
              <p:nvPr/>
            </p:nvSpPr>
            <p:spPr bwMode="gray">
              <a:xfrm>
                <a:off x="2444" y="903"/>
                <a:ext cx="212" cy="171"/>
              </a:xfrm>
              <a:custGeom>
                <a:avLst/>
                <a:gdLst>
                  <a:gd name="T0" fmla="*/ 197 w 212"/>
                  <a:gd name="T1" fmla="*/ 23 h 171"/>
                  <a:gd name="T2" fmla="*/ 198 w 212"/>
                  <a:gd name="T3" fmla="*/ 30 h 171"/>
                  <a:gd name="T4" fmla="*/ 200 w 212"/>
                  <a:gd name="T5" fmla="*/ 33 h 171"/>
                  <a:gd name="T6" fmla="*/ 201 w 212"/>
                  <a:gd name="T7" fmla="*/ 45 h 171"/>
                  <a:gd name="T8" fmla="*/ 201 w 212"/>
                  <a:gd name="T9" fmla="*/ 56 h 171"/>
                  <a:gd name="T10" fmla="*/ 206 w 212"/>
                  <a:gd name="T11" fmla="*/ 67 h 171"/>
                  <a:gd name="T12" fmla="*/ 211 w 212"/>
                  <a:gd name="T13" fmla="*/ 72 h 171"/>
                  <a:gd name="T14" fmla="*/ 209 w 212"/>
                  <a:gd name="T15" fmla="*/ 78 h 171"/>
                  <a:gd name="T16" fmla="*/ 205 w 212"/>
                  <a:gd name="T17" fmla="*/ 81 h 171"/>
                  <a:gd name="T18" fmla="*/ 192 w 212"/>
                  <a:gd name="T19" fmla="*/ 81 h 171"/>
                  <a:gd name="T20" fmla="*/ 181 w 212"/>
                  <a:gd name="T21" fmla="*/ 81 h 171"/>
                  <a:gd name="T22" fmla="*/ 178 w 212"/>
                  <a:gd name="T23" fmla="*/ 86 h 171"/>
                  <a:gd name="T24" fmla="*/ 166 w 212"/>
                  <a:gd name="T25" fmla="*/ 89 h 171"/>
                  <a:gd name="T26" fmla="*/ 164 w 212"/>
                  <a:gd name="T27" fmla="*/ 92 h 171"/>
                  <a:gd name="T28" fmla="*/ 164 w 212"/>
                  <a:gd name="T29" fmla="*/ 99 h 171"/>
                  <a:gd name="T30" fmla="*/ 164 w 212"/>
                  <a:gd name="T31" fmla="*/ 100 h 171"/>
                  <a:gd name="T32" fmla="*/ 167 w 212"/>
                  <a:gd name="T33" fmla="*/ 105 h 171"/>
                  <a:gd name="T34" fmla="*/ 161 w 212"/>
                  <a:gd name="T35" fmla="*/ 106 h 171"/>
                  <a:gd name="T36" fmla="*/ 150 w 212"/>
                  <a:gd name="T37" fmla="*/ 113 h 171"/>
                  <a:gd name="T38" fmla="*/ 141 w 212"/>
                  <a:gd name="T39" fmla="*/ 120 h 171"/>
                  <a:gd name="T40" fmla="*/ 130 w 212"/>
                  <a:gd name="T41" fmla="*/ 127 h 171"/>
                  <a:gd name="T42" fmla="*/ 119 w 212"/>
                  <a:gd name="T43" fmla="*/ 128 h 171"/>
                  <a:gd name="T44" fmla="*/ 117 w 212"/>
                  <a:gd name="T45" fmla="*/ 128 h 171"/>
                  <a:gd name="T46" fmla="*/ 115 w 212"/>
                  <a:gd name="T47" fmla="*/ 133 h 171"/>
                  <a:gd name="T48" fmla="*/ 106 w 212"/>
                  <a:gd name="T49" fmla="*/ 131 h 171"/>
                  <a:gd name="T50" fmla="*/ 101 w 212"/>
                  <a:gd name="T51" fmla="*/ 135 h 171"/>
                  <a:gd name="T52" fmla="*/ 97 w 212"/>
                  <a:gd name="T53" fmla="*/ 138 h 171"/>
                  <a:gd name="T54" fmla="*/ 84 w 212"/>
                  <a:gd name="T55" fmla="*/ 146 h 171"/>
                  <a:gd name="T56" fmla="*/ 78 w 212"/>
                  <a:gd name="T57" fmla="*/ 150 h 171"/>
                  <a:gd name="T58" fmla="*/ 78 w 212"/>
                  <a:gd name="T59" fmla="*/ 163 h 171"/>
                  <a:gd name="T60" fmla="*/ 76 w 212"/>
                  <a:gd name="T61" fmla="*/ 171 h 171"/>
                  <a:gd name="T62" fmla="*/ 1 w 212"/>
                  <a:gd name="T63" fmla="*/ 169 h 171"/>
                  <a:gd name="T64" fmla="*/ 20 w 212"/>
                  <a:gd name="T65" fmla="*/ 161 h 171"/>
                  <a:gd name="T66" fmla="*/ 36 w 212"/>
                  <a:gd name="T67" fmla="*/ 150 h 171"/>
                  <a:gd name="T68" fmla="*/ 55 w 212"/>
                  <a:gd name="T69" fmla="*/ 131 h 171"/>
                  <a:gd name="T70" fmla="*/ 62 w 212"/>
                  <a:gd name="T71" fmla="*/ 117 h 171"/>
                  <a:gd name="T72" fmla="*/ 58 w 212"/>
                  <a:gd name="T73" fmla="*/ 110 h 171"/>
                  <a:gd name="T74" fmla="*/ 61 w 212"/>
                  <a:gd name="T75" fmla="*/ 89 h 171"/>
                  <a:gd name="T76" fmla="*/ 69 w 212"/>
                  <a:gd name="T77" fmla="*/ 72 h 171"/>
                  <a:gd name="T78" fmla="*/ 86 w 212"/>
                  <a:gd name="T79" fmla="*/ 55 h 171"/>
                  <a:gd name="T80" fmla="*/ 112 w 212"/>
                  <a:gd name="T81" fmla="*/ 39 h 171"/>
                  <a:gd name="T82" fmla="*/ 130 w 212"/>
                  <a:gd name="T83" fmla="*/ 3 h 171"/>
                  <a:gd name="T84" fmla="*/ 139 w 212"/>
                  <a:gd name="T85" fmla="*/ 2 h 171"/>
                  <a:gd name="T86" fmla="*/ 141 w 212"/>
                  <a:gd name="T87" fmla="*/ 11 h 171"/>
                  <a:gd name="T88" fmla="*/ 161 w 212"/>
                  <a:gd name="T89" fmla="*/ 16 h 171"/>
                  <a:gd name="T90" fmla="*/ 172 w 212"/>
                  <a:gd name="T91" fmla="*/ 16 h 171"/>
                  <a:gd name="T92" fmla="*/ 180 w 212"/>
                  <a:gd name="T93" fmla="*/ 13 h 171"/>
                  <a:gd name="T94" fmla="*/ 181 w 212"/>
                  <a:gd name="T95" fmla="*/ 19 h 171"/>
                  <a:gd name="T96" fmla="*/ 192 w 212"/>
                  <a:gd name="T97"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171">
                    <a:moveTo>
                      <a:pt x="192" y="19"/>
                    </a:moveTo>
                    <a:lnTo>
                      <a:pt x="192" y="20"/>
                    </a:lnTo>
                    <a:lnTo>
                      <a:pt x="194" y="22"/>
                    </a:lnTo>
                    <a:lnTo>
                      <a:pt x="197" y="23"/>
                    </a:lnTo>
                    <a:lnTo>
                      <a:pt x="200" y="27"/>
                    </a:lnTo>
                    <a:lnTo>
                      <a:pt x="200" y="27"/>
                    </a:lnTo>
                    <a:lnTo>
                      <a:pt x="198" y="28"/>
                    </a:lnTo>
                    <a:lnTo>
                      <a:pt x="198" y="30"/>
                    </a:lnTo>
                    <a:lnTo>
                      <a:pt x="198" y="30"/>
                    </a:lnTo>
                    <a:lnTo>
                      <a:pt x="200" y="31"/>
                    </a:lnTo>
                    <a:lnTo>
                      <a:pt x="200" y="31"/>
                    </a:lnTo>
                    <a:lnTo>
                      <a:pt x="200" y="33"/>
                    </a:lnTo>
                    <a:lnTo>
                      <a:pt x="200" y="34"/>
                    </a:lnTo>
                    <a:lnTo>
                      <a:pt x="201" y="38"/>
                    </a:lnTo>
                    <a:lnTo>
                      <a:pt x="201" y="42"/>
                    </a:lnTo>
                    <a:lnTo>
                      <a:pt x="201" y="45"/>
                    </a:lnTo>
                    <a:lnTo>
                      <a:pt x="201" y="47"/>
                    </a:lnTo>
                    <a:lnTo>
                      <a:pt x="201" y="49"/>
                    </a:lnTo>
                    <a:lnTo>
                      <a:pt x="201" y="52"/>
                    </a:lnTo>
                    <a:lnTo>
                      <a:pt x="201" y="56"/>
                    </a:lnTo>
                    <a:lnTo>
                      <a:pt x="203" y="59"/>
                    </a:lnTo>
                    <a:lnTo>
                      <a:pt x="203" y="61"/>
                    </a:lnTo>
                    <a:lnTo>
                      <a:pt x="205" y="66"/>
                    </a:lnTo>
                    <a:lnTo>
                      <a:pt x="206" y="67"/>
                    </a:lnTo>
                    <a:lnTo>
                      <a:pt x="208" y="69"/>
                    </a:lnTo>
                    <a:lnTo>
                      <a:pt x="208" y="70"/>
                    </a:lnTo>
                    <a:lnTo>
                      <a:pt x="209" y="70"/>
                    </a:lnTo>
                    <a:lnTo>
                      <a:pt x="211" y="72"/>
                    </a:lnTo>
                    <a:lnTo>
                      <a:pt x="212" y="74"/>
                    </a:lnTo>
                    <a:lnTo>
                      <a:pt x="211" y="75"/>
                    </a:lnTo>
                    <a:lnTo>
                      <a:pt x="209" y="77"/>
                    </a:lnTo>
                    <a:lnTo>
                      <a:pt x="209" y="78"/>
                    </a:lnTo>
                    <a:lnTo>
                      <a:pt x="209" y="80"/>
                    </a:lnTo>
                    <a:lnTo>
                      <a:pt x="209" y="81"/>
                    </a:lnTo>
                    <a:lnTo>
                      <a:pt x="208" y="81"/>
                    </a:lnTo>
                    <a:lnTo>
                      <a:pt x="205" y="81"/>
                    </a:lnTo>
                    <a:lnTo>
                      <a:pt x="201" y="81"/>
                    </a:lnTo>
                    <a:lnTo>
                      <a:pt x="198" y="81"/>
                    </a:lnTo>
                    <a:lnTo>
                      <a:pt x="195" y="81"/>
                    </a:lnTo>
                    <a:lnTo>
                      <a:pt x="192" y="81"/>
                    </a:lnTo>
                    <a:lnTo>
                      <a:pt x="187" y="81"/>
                    </a:lnTo>
                    <a:lnTo>
                      <a:pt x="186" y="81"/>
                    </a:lnTo>
                    <a:lnTo>
                      <a:pt x="183" y="81"/>
                    </a:lnTo>
                    <a:lnTo>
                      <a:pt x="181" y="81"/>
                    </a:lnTo>
                    <a:lnTo>
                      <a:pt x="180" y="83"/>
                    </a:lnTo>
                    <a:lnTo>
                      <a:pt x="180" y="83"/>
                    </a:lnTo>
                    <a:lnTo>
                      <a:pt x="180" y="85"/>
                    </a:lnTo>
                    <a:lnTo>
                      <a:pt x="178" y="86"/>
                    </a:lnTo>
                    <a:lnTo>
                      <a:pt x="178" y="88"/>
                    </a:lnTo>
                    <a:lnTo>
                      <a:pt x="170" y="89"/>
                    </a:lnTo>
                    <a:lnTo>
                      <a:pt x="167" y="91"/>
                    </a:lnTo>
                    <a:lnTo>
                      <a:pt x="166" y="89"/>
                    </a:lnTo>
                    <a:lnTo>
                      <a:pt x="164" y="91"/>
                    </a:lnTo>
                    <a:lnTo>
                      <a:pt x="164" y="91"/>
                    </a:lnTo>
                    <a:lnTo>
                      <a:pt x="164" y="91"/>
                    </a:lnTo>
                    <a:lnTo>
                      <a:pt x="164" y="92"/>
                    </a:lnTo>
                    <a:lnTo>
                      <a:pt x="164" y="94"/>
                    </a:lnTo>
                    <a:lnTo>
                      <a:pt x="164" y="95"/>
                    </a:lnTo>
                    <a:lnTo>
                      <a:pt x="164" y="97"/>
                    </a:lnTo>
                    <a:lnTo>
                      <a:pt x="164" y="99"/>
                    </a:lnTo>
                    <a:lnTo>
                      <a:pt x="164" y="99"/>
                    </a:lnTo>
                    <a:lnTo>
                      <a:pt x="164" y="100"/>
                    </a:lnTo>
                    <a:lnTo>
                      <a:pt x="164" y="100"/>
                    </a:lnTo>
                    <a:lnTo>
                      <a:pt x="164" y="100"/>
                    </a:lnTo>
                    <a:lnTo>
                      <a:pt x="166" y="102"/>
                    </a:lnTo>
                    <a:lnTo>
                      <a:pt x="167" y="102"/>
                    </a:lnTo>
                    <a:lnTo>
                      <a:pt x="167" y="103"/>
                    </a:lnTo>
                    <a:lnTo>
                      <a:pt x="167" y="105"/>
                    </a:lnTo>
                    <a:lnTo>
                      <a:pt x="167" y="105"/>
                    </a:lnTo>
                    <a:lnTo>
                      <a:pt x="166" y="105"/>
                    </a:lnTo>
                    <a:lnTo>
                      <a:pt x="162" y="106"/>
                    </a:lnTo>
                    <a:lnTo>
                      <a:pt x="161" y="106"/>
                    </a:lnTo>
                    <a:lnTo>
                      <a:pt x="158" y="108"/>
                    </a:lnTo>
                    <a:lnTo>
                      <a:pt x="155" y="110"/>
                    </a:lnTo>
                    <a:lnTo>
                      <a:pt x="151" y="111"/>
                    </a:lnTo>
                    <a:lnTo>
                      <a:pt x="150" y="113"/>
                    </a:lnTo>
                    <a:lnTo>
                      <a:pt x="147" y="113"/>
                    </a:lnTo>
                    <a:lnTo>
                      <a:pt x="144" y="116"/>
                    </a:lnTo>
                    <a:lnTo>
                      <a:pt x="142" y="117"/>
                    </a:lnTo>
                    <a:lnTo>
                      <a:pt x="141" y="120"/>
                    </a:lnTo>
                    <a:lnTo>
                      <a:pt x="137" y="124"/>
                    </a:lnTo>
                    <a:lnTo>
                      <a:pt x="136" y="125"/>
                    </a:lnTo>
                    <a:lnTo>
                      <a:pt x="133" y="127"/>
                    </a:lnTo>
                    <a:lnTo>
                      <a:pt x="130" y="127"/>
                    </a:lnTo>
                    <a:lnTo>
                      <a:pt x="125" y="128"/>
                    </a:lnTo>
                    <a:lnTo>
                      <a:pt x="123" y="128"/>
                    </a:lnTo>
                    <a:lnTo>
                      <a:pt x="122" y="128"/>
                    </a:lnTo>
                    <a:lnTo>
                      <a:pt x="119" y="128"/>
                    </a:lnTo>
                    <a:lnTo>
                      <a:pt x="119" y="128"/>
                    </a:lnTo>
                    <a:lnTo>
                      <a:pt x="117" y="128"/>
                    </a:lnTo>
                    <a:lnTo>
                      <a:pt x="117" y="128"/>
                    </a:lnTo>
                    <a:lnTo>
                      <a:pt x="117" y="128"/>
                    </a:lnTo>
                    <a:lnTo>
                      <a:pt x="117" y="130"/>
                    </a:lnTo>
                    <a:lnTo>
                      <a:pt x="117" y="131"/>
                    </a:lnTo>
                    <a:lnTo>
                      <a:pt x="115" y="133"/>
                    </a:lnTo>
                    <a:lnTo>
                      <a:pt x="115" y="133"/>
                    </a:lnTo>
                    <a:lnTo>
                      <a:pt x="114" y="133"/>
                    </a:lnTo>
                    <a:lnTo>
                      <a:pt x="112" y="133"/>
                    </a:lnTo>
                    <a:lnTo>
                      <a:pt x="111" y="133"/>
                    </a:lnTo>
                    <a:lnTo>
                      <a:pt x="106" y="131"/>
                    </a:lnTo>
                    <a:lnTo>
                      <a:pt x="106" y="131"/>
                    </a:lnTo>
                    <a:lnTo>
                      <a:pt x="105" y="133"/>
                    </a:lnTo>
                    <a:lnTo>
                      <a:pt x="105" y="133"/>
                    </a:lnTo>
                    <a:lnTo>
                      <a:pt x="101" y="135"/>
                    </a:lnTo>
                    <a:lnTo>
                      <a:pt x="100" y="136"/>
                    </a:lnTo>
                    <a:lnTo>
                      <a:pt x="100" y="136"/>
                    </a:lnTo>
                    <a:lnTo>
                      <a:pt x="97" y="138"/>
                    </a:lnTo>
                    <a:lnTo>
                      <a:pt x="97" y="138"/>
                    </a:lnTo>
                    <a:lnTo>
                      <a:pt x="92" y="141"/>
                    </a:lnTo>
                    <a:lnTo>
                      <a:pt x="90" y="142"/>
                    </a:lnTo>
                    <a:lnTo>
                      <a:pt x="86" y="146"/>
                    </a:lnTo>
                    <a:lnTo>
                      <a:pt x="84" y="146"/>
                    </a:lnTo>
                    <a:lnTo>
                      <a:pt x="84" y="147"/>
                    </a:lnTo>
                    <a:lnTo>
                      <a:pt x="81" y="149"/>
                    </a:lnTo>
                    <a:lnTo>
                      <a:pt x="80" y="150"/>
                    </a:lnTo>
                    <a:lnTo>
                      <a:pt x="78" y="150"/>
                    </a:lnTo>
                    <a:lnTo>
                      <a:pt x="78" y="152"/>
                    </a:lnTo>
                    <a:lnTo>
                      <a:pt x="78" y="155"/>
                    </a:lnTo>
                    <a:lnTo>
                      <a:pt x="78" y="158"/>
                    </a:lnTo>
                    <a:lnTo>
                      <a:pt x="78" y="163"/>
                    </a:lnTo>
                    <a:lnTo>
                      <a:pt x="78" y="166"/>
                    </a:lnTo>
                    <a:lnTo>
                      <a:pt x="78" y="171"/>
                    </a:lnTo>
                    <a:lnTo>
                      <a:pt x="76" y="171"/>
                    </a:lnTo>
                    <a:lnTo>
                      <a:pt x="76" y="171"/>
                    </a:lnTo>
                    <a:lnTo>
                      <a:pt x="76" y="171"/>
                    </a:lnTo>
                    <a:lnTo>
                      <a:pt x="0" y="171"/>
                    </a:lnTo>
                    <a:lnTo>
                      <a:pt x="0" y="171"/>
                    </a:lnTo>
                    <a:lnTo>
                      <a:pt x="1" y="169"/>
                    </a:lnTo>
                    <a:lnTo>
                      <a:pt x="3" y="166"/>
                    </a:lnTo>
                    <a:lnTo>
                      <a:pt x="6" y="164"/>
                    </a:lnTo>
                    <a:lnTo>
                      <a:pt x="12" y="164"/>
                    </a:lnTo>
                    <a:lnTo>
                      <a:pt x="20" y="161"/>
                    </a:lnTo>
                    <a:lnTo>
                      <a:pt x="28" y="158"/>
                    </a:lnTo>
                    <a:lnTo>
                      <a:pt x="29" y="156"/>
                    </a:lnTo>
                    <a:lnTo>
                      <a:pt x="33" y="153"/>
                    </a:lnTo>
                    <a:lnTo>
                      <a:pt x="36" y="150"/>
                    </a:lnTo>
                    <a:lnTo>
                      <a:pt x="44" y="146"/>
                    </a:lnTo>
                    <a:lnTo>
                      <a:pt x="47" y="144"/>
                    </a:lnTo>
                    <a:lnTo>
                      <a:pt x="51" y="136"/>
                    </a:lnTo>
                    <a:lnTo>
                      <a:pt x="55" y="131"/>
                    </a:lnTo>
                    <a:lnTo>
                      <a:pt x="58" y="128"/>
                    </a:lnTo>
                    <a:lnTo>
                      <a:pt x="59" y="125"/>
                    </a:lnTo>
                    <a:lnTo>
                      <a:pt x="61" y="122"/>
                    </a:lnTo>
                    <a:lnTo>
                      <a:pt x="62" y="117"/>
                    </a:lnTo>
                    <a:lnTo>
                      <a:pt x="61" y="116"/>
                    </a:lnTo>
                    <a:lnTo>
                      <a:pt x="59" y="113"/>
                    </a:lnTo>
                    <a:lnTo>
                      <a:pt x="58" y="111"/>
                    </a:lnTo>
                    <a:lnTo>
                      <a:pt x="58" y="110"/>
                    </a:lnTo>
                    <a:lnTo>
                      <a:pt x="58" y="108"/>
                    </a:lnTo>
                    <a:lnTo>
                      <a:pt x="58" y="103"/>
                    </a:lnTo>
                    <a:lnTo>
                      <a:pt x="59" y="95"/>
                    </a:lnTo>
                    <a:lnTo>
                      <a:pt x="61" y="89"/>
                    </a:lnTo>
                    <a:lnTo>
                      <a:pt x="67" y="81"/>
                    </a:lnTo>
                    <a:lnTo>
                      <a:pt x="69" y="78"/>
                    </a:lnTo>
                    <a:lnTo>
                      <a:pt x="69" y="74"/>
                    </a:lnTo>
                    <a:lnTo>
                      <a:pt x="69" y="72"/>
                    </a:lnTo>
                    <a:lnTo>
                      <a:pt x="76" y="64"/>
                    </a:lnTo>
                    <a:lnTo>
                      <a:pt x="80" y="59"/>
                    </a:lnTo>
                    <a:lnTo>
                      <a:pt x="81" y="58"/>
                    </a:lnTo>
                    <a:lnTo>
                      <a:pt x="86" y="55"/>
                    </a:lnTo>
                    <a:lnTo>
                      <a:pt x="98" y="50"/>
                    </a:lnTo>
                    <a:lnTo>
                      <a:pt x="106" y="45"/>
                    </a:lnTo>
                    <a:lnTo>
                      <a:pt x="109" y="42"/>
                    </a:lnTo>
                    <a:lnTo>
                      <a:pt x="112" y="39"/>
                    </a:lnTo>
                    <a:lnTo>
                      <a:pt x="119" y="25"/>
                    </a:lnTo>
                    <a:lnTo>
                      <a:pt x="126" y="6"/>
                    </a:lnTo>
                    <a:lnTo>
                      <a:pt x="126" y="3"/>
                    </a:lnTo>
                    <a:lnTo>
                      <a:pt x="130" y="3"/>
                    </a:lnTo>
                    <a:lnTo>
                      <a:pt x="133" y="3"/>
                    </a:lnTo>
                    <a:lnTo>
                      <a:pt x="134" y="2"/>
                    </a:lnTo>
                    <a:lnTo>
                      <a:pt x="136" y="0"/>
                    </a:lnTo>
                    <a:lnTo>
                      <a:pt x="139" y="2"/>
                    </a:lnTo>
                    <a:lnTo>
                      <a:pt x="137" y="2"/>
                    </a:lnTo>
                    <a:lnTo>
                      <a:pt x="137" y="5"/>
                    </a:lnTo>
                    <a:lnTo>
                      <a:pt x="139" y="8"/>
                    </a:lnTo>
                    <a:lnTo>
                      <a:pt x="141" y="11"/>
                    </a:lnTo>
                    <a:lnTo>
                      <a:pt x="145" y="14"/>
                    </a:lnTo>
                    <a:lnTo>
                      <a:pt x="150" y="16"/>
                    </a:lnTo>
                    <a:lnTo>
                      <a:pt x="155" y="17"/>
                    </a:lnTo>
                    <a:lnTo>
                      <a:pt x="161" y="16"/>
                    </a:lnTo>
                    <a:lnTo>
                      <a:pt x="164" y="16"/>
                    </a:lnTo>
                    <a:lnTo>
                      <a:pt x="166" y="14"/>
                    </a:lnTo>
                    <a:lnTo>
                      <a:pt x="167" y="16"/>
                    </a:lnTo>
                    <a:lnTo>
                      <a:pt x="172" y="16"/>
                    </a:lnTo>
                    <a:lnTo>
                      <a:pt x="175" y="16"/>
                    </a:lnTo>
                    <a:lnTo>
                      <a:pt x="176" y="14"/>
                    </a:lnTo>
                    <a:lnTo>
                      <a:pt x="178" y="13"/>
                    </a:lnTo>
                    <a:lnTo>
                      <a:pt x="180" y="13"/>
                    </a:lnTo>
                    <a:lnTo>
                      <a:pt x="180" y="14"/>
                    </a:lnTo>
                    <a:lnTo>
                      <a:pt x="180" y="14"/>
                    </a:lnTo>
                    <a:lnTo>
                      <a:pt x="181" y="17"/>
                    </a:lnTo>
                    <a:lnTo>
                      <a:pt x="181" y="19"/>
                    </a:lnTo>
                    <a:lnTo>
                      <a:pt x="183" y="17"/>
                    </a:lnTo>
                    <a:lnTo>
                      <a:pt x="184" y="19"/>
                    </a:lnTo>
                    <a:lnTo>
                      <a:pt x="189" y="19"/>
                    </a:lnTo>
                    <a:lnTo>
                      <a:pt x="192" y="1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4" name="Freeform 131">
                <a:extLst>
                  <a:ext uri="{FF2B5EF4-FFF2-40B4-BE49-F238E27FC236}">
                    <a16:creationId xmlns:a16="http://schemas.microsoft.com/office/drawing/2014/main" id="{939929D4-768E-1392-3209-9842D36D0722}"/>
                  </a:ext>
                </a:extLst>
              </p:cNvPr>
              <p:cNvSpPr>
                <a:spLocks/>
              </p:cNvSpPr>
              <p:nvPr/>
            </p:nvSpPr>
            <p:spPr bwMode="gray">
              <a:xfrm>
                <a:off x="2805" y="725"/>
                <a:ext cx="0" cy="1"/>
              </a:xfrm>
              <a:custGeom>
                <a:avLst/>
                <a:gdLst>
                  <a:gd name="T0" fmla="*/ 0 h 1"/>
                  <a:gd name="T1" fmla="*/ 1 h 1"/>
                  <a:gd name="T2" fmla="*/ 0 h 1"/>
                  <a:gd name="T3" fmla="*/ 0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lnTo>
                      <a:pt x="0" y="1"/>
                    </a:lnTo>
                    <a:lnTo>
                      <a:pt x="0" y="0"/>
                    </a:lnTo>
                    <a:lnTo>
                      <a:pt x="0" y="0"/>
                    </a:lnTo>
                    <a:lnTo>
                      <a:pt x="0" y="0"/>
                    </a:lnTo>
                    <a:lnTo>
                      <a:pt x="0"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5" name="Freeform 132">
                <a:extLst>
                  <a:ext uri="{FF2B5EF4-FFF2-40B4-BE49-F238E27FC236}">
                    <a16:creationId xmlns:a16="http://schemas.microsoft.com/office/drawing/2014/main" id="{B82B2934-2E12-564D-062D-76C135CCE6FE}"/>
                  </a:ext>
                </a:extLst>
              </p:cNvPr>
              <p:cNvSpPr>
                <a:spLocks/>
              </p:cNvSpPr>
              <p:nvPr/>
            </p:nvSpPr>
            <p:spPr bwMode="gray">
              <a:xfrm>
                <a:off x="3143" y="606"/>
                <a:ext cx="61" cy="78"/>
              </a:xfrm>
              <a:custGeom>
                <a:avLst/>
                <a:gdLst>
                  <a:gd name="T0" fmla="*/ 25 w 61"/>
                  <a:gd name="T1" fmla="*/ 75 h 78"/>
                  <a:gd name="T2" fmla="*/ 26 w 61"/>
                  <a:gd name="T3" fmla="*/ 73 h 78"/>
                  <a:gd name="T4" fmla="*/ 26 w 61"/>
                  <a:gd name="T5" fmla="*/ 69 h 78"/>
                  <a:gd name="T6" fmla="*/ 25 w 61"/>
                  <a:gd name="T7" fmla="*/ 64 h 78"/>
                  <a:gd name="T8" fmla="*/ 28 w 61"/>
                  <a:gd name="T9" fmla="*/ 53 h 78"/>
                  <a:gd name="T10" fmla="*/ 26 w 61"/>
                  <a:gd name="T11" fmla="*/ 45 h 78"/>
                  <a:gd name="T12" fmla="*/ 23 w 61"/>
                  <a:gd name="T13" fmla="*/ 37 h 78"/>
                  <a:gd name="T14" fmla="*/ 20 w 61"/>
                  <a:gd name="T15" fmla="*/ 33 h 78"/>
                  <a:gd name="T16" fmla="*/ 15 w 61"/>
                  <a:gd name="T17" fmla="*/ 26 h 78"/>
                  <a:gd name="T18" fmla="*/ 12 w 61"/>
                  <a:gd name="T19" fmla="*/ 22 h 78"/>
                  <a:gd name="T20" fmla="*/ 9 w 61"/>
                  <a:gd name="T21" fmla="*/ 17 h 78"/>
                  <a:gd name="T22" fmla="*/ 6 w 61"/>
                  <a:gd name="T23" fmla="*/ 9 h 78"/>
                  <a:gd name="T24" fmla="*/ 3 w 61"/>
                  <a:gd name="T25" fmla="*/ 6 h 78"/>
                  <a:gd name="T26" fmla="*/ 0 w 61"/>
                  <a:gd name="T27" fmla="*/ 4 h 78"/>
                  <a:gd name="T28" fmla="*/ 6 w 61"/>
                  <a:gd name="T29" fmla="*/ 3 h 78"/>
                  <a:gd name="T30" fmla="*/ 12 w 61"/>
                  <a:gd name="T31" fmla="*/ 1 h 78"/>
                  <a:gd name="T32" fmla="*/ 15 w 61"/>
                  <a:gd name="T33" fmla="*/ 0 h 78"/>
                  <a:gd name="T34" fmla="*/ 20 w 61"/>
                  <a:gd name="T35" fmla="*/ 1 h 78"/>
                  <a:gd name="T36" fmla="*/ 25 w 61"/>
                  <a:gd name="T37" fmla="*/ 4 h 78"/>
                  <a:gd name="T38" fmla="*/ 26 w 61"/>
                  <a:gd name="T39" fmla="*/ 6 h 78"/>
                  <a:gd name="T40" fmla="*/ 29 w 61"/>
                  <a:gd name="T41" fmla="*/ 8 h 78"/>
                  <a:gd name="T42" fmla="*/ 31 w 61"/>
                  <a:gd name="T43" fmla="*/ 9 h 78"/>
                  <a:gd name="T44" fmla="*/ 33 w 61"/>
                  <a:gd name="T45" fmla="*/ 9 h 78"/>
                  <a:gd name="T46" fmla="*/ 39 w 61"/>
                  <a:gd name="T47" fmla="*/ 12 h 78"/>
                  <a:gd name="T48" fmla="*/ 42 w 61"/>
                  <a:gd name="T49" fmla="*/ 14 h 78"/>
                  <a:gd name="T50" fmla="*/ 45 w 61"/>
                  <a:gd name="T51" fmla="*/ 15 h 78"/>
                  <a:gd name="T52" fmla="*/ 43 w 61"/>
                  <a:gd name="T53" fmla="*/ 22 h 78"/>
                  <a:gd name="T54" fmla="*/ 43 w 61"/>
                  <a:gd name="T55" fmla="*/ 26 h 78"/>
                  <a:gd name="T56" fmla="*/ 47 w 61"/>
                  <a:gd name="T57" fmla="*/ 28 h 78"/>
                  <a:gd name="T58" fmla="*/ 50 w 61"/>
                  <a:gd name="T59" fmla="*/ 31 h 78"/>
                  <a:gd name="T60" fmla="*/ 50 w 61"/>
                  <a:gd name="T61" fmla="*/ 34 h 78"/>
                  <a:gd name="T62" fmla="*/ 51 w 61"/>
                  <a:gd name="T63" fmla="*/ 37 h 78"/>
                  <a:gd name="T64" fmla="*/ 51 w 61"/>
                  <a:gd name="T65" fmla="*/ 40 h 78"/>
                  <a:gd name="T66" fmla="*/ 58 w 61"/>
                  <a:gd name="T67" fmla="*/ 44 h 78"/>
                  <a:gd name="T68" fmla="*/ 58 w 61"/>
                  <a:gd name="T69" fmla="*/ 50 h 78"/>
                  <a:gd name="T70" fmla="*/ 59 w 61"/>
                  <a:gd name="T71" fmla="*/ 54 h 78"/>
                  <a:gd name="T72" fmla="*/ 54 w 61"/>
                  <a:gd name="T73" fmla="*/ 53 h 78"/>
                  <a:gd name="T74" fmla="*/ 51 w 61"/>
                  <a:gd name="T75" fmla="*/ 53 h 78"/>
                  <a:gd name="T76" fmla="*/ 50 w 61"/>
                  <a:gd name="T77" fmla="*/ 53 h 78"/>
                  <a:gd name="T78" fmla="*/ 47 w 61"/>
                  <a:gd name="T79" fmla="*/ 53 h 78"/>
                  <a:gd name="T80" fmla="*/ 45 w 61"/>
                  <a:gd name="T81" fmla="*/ 54 h 78"/>
                  <a:gd name="T82" fmla="*/ 43 w 61"/>
                  <a:gd name="T83" fmla="*/ 50 h 78"/>
                  <a:gd name="T84" fmla="*/ 40 w 61"/>
                  <a:gd name="T85" fmla="*/ 51 h 78"/>
                  <a:gd name="T86" fmla="*/ 40 w 61"/>
                  <a:gd name="T87" fmla="*/ 56 h 78"/>
                  <a:gd name="T88" fmla="*/ 40 w 61"/>
                  <a:gd name="T89" fmla="*/ 62 h 78"/>
                  <a:gd name="T90" fmla="*/ 36 w 61"/>
                  <a:gd name="T91" fmla="*/ 67 h 78"/>
                  <a:gd name="T92" fmla="*/ 33 w 61"/>
                  <a:gd name="T93" fmla="*/ 72 h 78"/>
                  <a:gd name="T94" fmla="*/ 33 w 61"/>
                  <a:gd name="T95" fmla="*/ 75 h 78"/>
                  <a:gd name="T96" fmla="*/ 29 w 61"/>
                  <a:gd name="T97"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78">
                    <a:moveTo>
                      <a:pt x="28" y="78"/>
                    </a:moveTo>
                    <a:lnTo>
                      <a:pt x="26" y="76"/>
                    </a:lnTo>
                    <a:lnTo>
                      <a:pt x="25" y="75"/>
                    </a:lnTo>
                    <a:lnTo>
                      <a:pt x="25" y="73"/>
                    </a:lnTo>
                    <a:lnTo>
                      <a:pt x="25" y="73"/>
                    </a:lnTo>
                    <a:lnTo>
                      <a:pt x="26" y="73"/>
                    </a:lnTo>
                    <a:lnTo>
                      <a:pt x="26" y="73"/>
                    </a:lnTo>
                    <a:lnTo>
                      <a:pt x="26" y="70"/>
                    </a:lnTo>
                    <a:lnTo>
                      <a:pt x="26" y="69"/>
                    </a:lnTo>
                    <a:lnTo>
                      <a:pt x="25" y="69"/>
                    </a:lnTo>
                    <a:lnTo>
                      <a:pt x="25" y="67"/>
                    </a:lnTo>
                    <a:lnTo>
                      <a:pt x="25" y="64"/>
                    </a:lnTo>
                    <a:lnTo>
                      <a:pt x="25" y="61"/>
                    </a:lnTo>
                    <a:lnTo>
                      <a:pt x="26" y="54"/>
                    </a:lnTo>
                    <a:lnTo>
                      <a:pt x="28" y="53"/>
                    </a:lnTo>
                    <a:lnTo>
                      <a:pt x="28" y="51"/>
                    </a:lnTo>
                    <a:lnTo>
                      <a:pt x="28" y="47"/>
                    </a:lnTo>
                    <a:lnTo>
                      <a:pt x="26" y="45"/>
                    </a:lnTo>
                    <a:lnTo>
                      <a:pt x="26" y="44"/>
                    </a:lnTo>
                    <a:lnTo>
                      <a:pt x="25" y="39"/>
                    </a:lnTo>
                    <a:lnTo>
                      <a:pt x="23" y="37"/>
                    </a:lnTo>
                    <a:lnTo>
                      <a:pt x="20" y="36"/>
                    </a:lnTo>
                    <a:lnTo>
                      <a:pt x="20" y="34"/>
                    </a:lnTo>
                    <a:lnTo>
                      <a:pt x="20" y="33"/>
                    </a:lnTo>
                    <a:lnTo>
                      <a:pt x="18" y="31"/>
                    </a:lnTo>
                    <a:lnTo>
                      <a:pt x="17" y="29"/>
                    </a:lnTo>
                    <a:lnTo>
                      <a:pt x="15" y="26"/>
                    </a:lnTo>
                    <a:lnTo>
                      <a:pt x="14" y="25"/>
                    </a:lnTo>
                    <a:lnTo>
                      <a:pt x="14" y="23"/>
                    </a:lnTo>
                    <a:lnTo>
                      <a:pt x="12" y="22"/>
                    </a:lnTo>
                    <a:lnTo>
                      <a:pt x="11" y="20"/>
                    </a:lnTo>
                    <a:lnTo>
                      <a:pt x="11" y="18"/>
                    </a:lnTo>
                    <a:lnTo>
                      <a:pt x="9" y="17"/>
                    </a:lnTo>
                    <a:lnTo>
                      <a:pt x="9" y="14"/>
                    </a:lnTo>
                    <a:lnTo>
                      <a:pt x="7" y="11"/>
                    </a:lnTo>
                    <a:lnTo>
                      <a:pt x="6" y="9"/>
                    </a:lnTo>
                    <a:lnTo>
                      <a:pt x="6" y="8"/>
                    </a:lnTo>
                    <a:lnTo>
                      <a:pt x="4" y="8"/>
                    </a:lnTo>
                    <a:lnTo>
                      <a:pt x="3" y="6"/>
                    </a:lnTo>
                    <a:lnTo>
                      <a:pt x="1" y="6"/>
                    </a:lnTo>
                    <a:lnTo>
                      <a:pt x="0" y="6"/>
                    </a:lnTo>
                    <a:lnTo>
                      <a:pt x="0" y="4"/>
                    </a:lnTo>
                    <a:lnTo>
                      <a:pt x="3" y="3"/>
                    </a:lnTo>
                    <a:lnTo>
                      <a:pt x="4" y="3"/>
                    </a:lnTo>
                    <a:lnTo>
                      <a:pt x="6" y="3"/>
                    </a:lnTo>
                    <a:lnTo>
                      <a:pt x="9" y="3"/>
                    </a:lnTo>
                    <a:lnTo>
                      <a:pt x="12" y="1"/>
                    </a:lnTo>
                    <a:lnTo>
                      <a:pt x="12" y="1"/>
                    </a:lnTo>
                    <a:lnTo>
                      <a:pt x="14" y="1"/>
                    </a:lnTo>
                    <a:lnTo>
                      <a:pt x="15" y="0"/>
                    </a:lnTo>
                    <a:lnTo>
                      <a:pt x="15" y="0"/>
                    </a:lnTo>
                    <a:lnTo>
                      <a:pt x="15" y="0"/>
                    </a:lnTo>
                    <a:lnTo>
                      <a:pt x="18" y="0"/>
                    </a:lnTo>
                    <a:lnTo>
                      <a:pt x="20" y="1"/>
                    </a:lnTo>
                    <a:lnTo>
                      <a:pt x="22" y="3"/>
                    </a:lnTo>
                    <a:lnTo>
                      <a:pt x="23" y="3"/>
                    </a:lnTo>
                    <a:lnTo>
                      <a:pt x="25" y="4"/>
                    </a:lnTo>
                    <a:lnTo>
                      <a:pt x="25" y="4"/>
                    </a:lnTo>
                    <a:lnTo>
                      <a:pt x="25" y="6"/>
                    </a:lnTo>
                    <a:lnTo>
                      <a:pt x="26" y="6"/>
                    </a:lnTo>
                    <a:lnTo>
                      <a:pt x="28" y="6"/>
                    </a:lnTo>
                    <a:lnTo>
                      <a:pt x="29" y="6"/>
                    </a:lnTo>
                    <a:lnTo>
                      <a:pt x="29" y="8"/>
                    </a:lnTo>
                    <a:lnTo>
                      <a:pt x="29" y="9"/>
                    </a:lnTo>
                    <a:lnTo>
                      <a:pt x="29" y="8"/>
                    </a:lnTo>
                    <a:lnTo>
                      <a:pt x="31" y="9"/>
                    </a:lnTo>
                    <a:lnTo>
                      <a:pt x="31" y="9"/>
                    </a:lnTo>
                    <a:lnTo>
                      <a:pt x="31" y="11"/>
                    </a:lnTo>
                    <a:lnTo>
                      <a:pt x="33" y="9"/>
                    </a:lnTo>
                    <a:lnTo>
                      <a:pt x="34" y="9"/>
                    </a:lnTo>
                    <a:lnTo>
                      <a:pt x="37" y="9"/>
                    </a:lnTo>
                    <a:lnTo>
                      <a:pt x="39" y="12"/>
                    </a:lnTo>
                    <a:lnTo>
                      <a:pt x="39" y="14"/>
                    </a:lnTo>
                    <a:lnTo>
                      <a:pt x="40" y="14"/>
                    </a:lnTo>
                    <a:lnTo>
                      <a:pt x="42" y="14"/>
                    </a:lnTo>
                    <a:lnTo>
                      <a:pt x="42" y="12"/>
                    </a:lnTo>
                    <a:lnTo>
                      <a:pt x="43" y="14"/>
                    </a:lnTo>
                    <a:lnTo>
                      <a:pt x="45" y="15"/>
                    </a:lnTo>
                    <a:lnTo>
                      <a:pt x="45" y="18"/>
                    </a:lnTo>
                    <a:lnTo>
                      <a:pt x="45" y="20"/>
                    </a:lnTo>
                    <a:lnTo>
                      <a:pt x="43" y="22"/>
                    </a:lnTo>
                    <a:lnTo>
                      <a:pt x="43" y="23"/>
                    </a:lnTo>
                    <a:lnTo>
                      <a:pt x="43" y="25"/>
                    </a:lnTo>
                    <a:lnTo>
                      <a:pt x="43" y="26"/>
                    </a:lnTo>
                    <a:lnTo>
                      <a:pt x="43" y="26"/>
                    </a:lnTo>
                    <a:lnTo>
                      <a:pt x="45" y="26"/>
                    </a:lnTo>
                    <a:lnTo>
                      <a:pt x="47" y="28"/>
                    </a:lnTo>
                    <a:lnTo>
                      <a:pt x="48" y="29"/>
                    </a:lnTo>
                    <a:lnTo>
                      <a:pt x="48" y="31"/>
                    </a:lnTo>
                    <a:lnTo>
                      <a:pt x="50" y="31"/>
                    </a:lnTo>
                    <a:lnTo>
                      <a:pt x="50" y="31"/>
                    </a:lnTo>
                    <a:lnTo>
                      <a:pt x="51" y="33"/>
                    </a:lnTo>
                    <a:lnTo>
                      <a:pt x="50" y="34"/>
                    </a:lnTo>
                    <a:lnTo>
                      <a:pt x="50" y="36"/>
                    </a:lnTo>
                    <a:lnTo>
                      <a:pt x="50" y="36"/>
                    </a:lnTo>
                    <a:lnTo>
                      <a:pt x="51" y="37"/>
                    </a:lnTo>
                    <a:lnTo>
                      <a:pt x="51" y="39"/>
                    </a:lnTo>
                    <a:lnTo>
                      <a:pt x="51" y="39"/>
                    </a:lnTo>
                    <a:lnTo>
                      <a:pt x="51" y="40"/>
                    </a:lnTo>
                    <a:lnTo>
                      <a:pt x="53" y="42"/>
                    </a:lnTo>
                    <a:lnTo>
                      <a:pt x="56" y="42"/>
                    </a:lnTo>
                    <a:lnTo>
                      <a:pt x="58" y="44"/>
                    </a:lnTo>
                    <a:lnTo>
                      <a:pt x="58" y="45"/>
                    </a:lnTo>
                    <a:lnTo>
                      <a:pt x="58" y="48"/>
                    </a:lnTo>
                    <a:lnTo>
                      <a:pt x="58" y="50"/>
                    </a:lnTo>
                    <a:lnTo>
                      <a:pt x="61" y="53"/>
                    </a:lnTo>
                    <a:lnTo>
                      <a:pt x="61" y="53"/>
                    </a:lnTo>
                    <a:lnTo>
                      <a:pt x="59" y="54"/>
                    </a:lnTo>
                    <a:lnTo>
                      <a:pt x="56" y="54"/>
                    </a:lnTo>
                    <a:lnTo>
                      <a:pt x="56" y="54"/>
                    </a:lnTo>
                    <a:lnTo>
                      <a:pt x="54" y="53"/>
                    </a:lnTo>
                    <a:lnTo>
                      <a:pt x="53" y="53"/>
                    </a:lnTo>
                    <a:lnTo>
                      <a:pt x="53" y="53"/>
                    </a:lnTo>
                    <a:lnTo>
                      <a:pt x="51" y="53"/>
                    </a:lnTo>
                    <a:lnTo>
                      <a:pt x="51" y="53"/>
                    </a:lnTo>
                    <a:lnTo>
                      <a:pt x="50" y="53"/>
                    </a:lnTo>
                    <a:lnTo>
                      <a:pt x="50" y="53"/>
                    </a:lnTo>
                    <a:lnTo>
                      <a:pt x="48" y="51"/>
                    </a:lnTo>
                    <a:lnTo>
                      <a:pt x="48" y="53"/>
                    </a:lnTo>
                    <a:lnTo>
                      <a:pt x="47" y="53"/>
                    </a:lnTo>
                    <a:lnTo>
                      <a:pt x="47" y="51"/>
                    </a:lnTo>
                    <a:lnTo>
                      <a:pt x="45" y="54"/>
                    </a:lnTo>
                    <a:lnTo>
                      <a:pt x="45" y="54"/>
                    </a:lnTo>
                    <a:lnTo>
                      <a:pt x="45" y="54"/>
                    </a:lnTo>
                    <a:lnTo>
                      <a:pt x="45" y="51"/>
                    </a:lnTo>
                    <a:lnTo>
                      <a:pt x="43" y="50"/>
                    </a:lnTo>
                    <a:lnTo>
                      <a:pt x="43" y="50"/>
                    </a:lnTo>
                    <a:lnTo>
                      <a:pt x="42" y="51"/>
                    </a:lnTo>
                    <a:lnTo>
                      <a:pt x="40" y="51"/>
                    </a:lnTo>
                    <a:lnTo>
                      <a:pt x="40" y="53"/>
                    </a:lnTo>
                    <a:lnTo>
                      <a:pt x="40" y="54"/>
                    </a:lnTo>
                    <a:lnTo>
                      <a:pt x="40" y="56"/>
                    </a:lnTo>
                    <a:lnTo>
                      <a:pt x="40" y="59"/>
                    </a:lnTo>
                    <a:lnTo>
                      <a:pt x="40" y="61"/>
                    </a:lnTo>
                    <a:lnTo>
                      <a:pt x="40" y="62"/>
                    </a:lnTo>
                    <a:lnTo>
                      <a:pt x="39" y="64"/>
                    </a:lnTo>
                    <a:lnTo>
                      <a:pt x="36" y="65"/>
                    </a:lnTo>
                    <a:lnTo>
                      <a:pt x="36" y="67"/>
                    </a:lnTo>
                    <a:lnTo>
                      <a:pt x="36" y="69"/>
                    </a:lnTo>
                    <a:lnTo>
                      <a:pt x="33" y="70"/>
                    </a:lnTo>
                    <a:lnTo>
                      <a:pt x="33" y="72"/>
                    </a:lnTo>
                    <a:lnTo>
                      <a:pt x="33" y="73"/>
                    </a:lnTo>
                    <a:lnTo>
                      <a:pt x="33" y="75"/>
                    </a:lnTo>
                    <a:lnTo>
                      <a:pt x="33" y="75"/>
                    </a:lnTo>
                    <a:lnTo>
                      <a:pt x="33" y="76"/>
                    </a:lnTo>
                    <a:lnTo>
                      <a:pt x="31" y="76"/>
                    </a:lnTo>
                    <a:lnTo>
                      <a:pt x="29" y="76"/>
                    </a:lnTo>
                    <a:lnTo>
                      <a:pt x="28" y="76"/>
                    </a:lnTo>
                    <a:lnTo>
                      <a:pt x="28" y="7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6" name="Freeform 133">
                <a:extLst>
                  <a:ext uri="{FF2B5EF4-FFF2-40B4-BE49-F238E27FC236}">
                    <a16:creationId xmlns:a16="http://schemas.microsoft.com/office/drawing/2014/main" id="{9D1C3651-6436-CE01-CF88-CE1ECF24EB27}"/>
                  </a:ext>
                </a:extLst>
              </p:cNvPr>
              <p:cNvSpPr>
                <a:spLocks/>
              </p:cNvSpPr>
              <p:nvPr/>
            </p:nvSpPr>
            <p:spPr bwMode="gray">
              <a:xfrm>
                <a:off x="2999" y="731"/>
                <a:ext cx="33" cy="39"/>
              </a:xfrm>
              <a:custGeom>
                <a:avLst/>
                <a:gdLst>
                  <a:gd name="T0" fmla="*/ 12 w 33"/>
                  <a:gd name="T1" fmla="*/ 0 h 39"/>
                  <a:gd name="T2" fmla="*/ 14 w 33"/>
                  <a:gd name="T3" fmla="*/ 1 h 39"/>
                  <a:gd name="T4" fmla="*/ 17 w 33"/>
                  <a:gd name="T5" fmla="*/ 5 h 39"/>
                  <a:gd name="T6" fmla="*/ 20 w 33"/>
                  <a:gd name="T7" fmla="*/ 8 h 39"/>
                  <a:gd name="T8" fmla="*/ 23 w 33"/>
                  <a:gd name="T9" fmla="*/ 9 h 39"/>
                  <a:gd name="T10" fmla="*/ 26 w 33"/>
                  <a:gd name="T11" fmla="*/ 11 h 39"/>
                  <a:gd name="T12" fmla="*/ 31 w 33"/>
                  <a:gd name="T13" fmla="*/ 14 h 39"/>
                  <a:gd name="T14" fmla="*/ 33 w 33"/>
                  <a:gd name="T15" fmla="*/ 16 h 39"/>
                  <a:gd name="T16" fmla="*/ 31 w 33"/>
                  <a:gd name="T17" fmla="*/ 17 h 39"/>
                  <a:gd name="T18" fmla="*/ 30 w 33"/>
                  <a:gd name="T19" fmla="*/ 19 h 39"/>
                  <a:gd name="T20" fmla="*/ 28 w 33"/>
                  <a:gd name="T21" fmla="*/ 19 h 39"/>
                  <a:gd name="T22" fmla="*/ 28 w 33"/>
                  <a:gd name="T23" fmla="*/ 22 h 39"/>
                  <a:gd name="T24" fmla="*/ 28 w 33"/>
                  <a:gd name="T25" fmla="*/ 23 h 39"/>
                  <a:gd name="T26" fmla="*/ 26 w 33"/>
                  <a:gd name="T27" fmla="*/ 23 h 39"/>
                  <a:gd name="T28" fmla="*/ 23 w 33"/>
                  <a:gd name="T29" fmla="*/ 25 h 39"/>
                  <a:gd name="T30" fmla="*/ 22 w 33"/>
                  <a:gd name="T31" fmla="*/ 23 h 39"/>
                  <a:gd name="T32" fmla="*/ 22 w 33"/>
                  <a:gd name="T33" fmla="*/ 22 h 39"/>
                  <a:gd name="T34" fmla="*/ 20 w 33"/>
                  <a:gd name="T35" fmla="*/ 22 h 39"/>
                  <a:gd name="T36" fmla="*/ 19 w 33"/>
                  <a:gd name="T37" fmla="*/ 25 h 39"/>
                  <a:gd name="T38" fmla="*/ 17 w 33"/>
                  <a:gd name="T39" fmla="*/ 28 h 39"/>
                  <a:gd name="T40" fmla="*/ 14 w 33"/>
                  <a:gd name="T41" fmla="*/ 33 h 39"/>
                  <a:gd name="T42" fmla="*/ 15 w 33"/>
                  <a:gd name="T43" fmla="*/ 34 h 39"/>
                  <a:gd name="T44" fmla="*/ 15 w 33"/>
                  <a:gd name="T45" fmla="*/ 36 h 39"/>
                  <a:gd name="T46" fmla="*/ 15 w 33"/>
                  <a:gd name="T47" fmla="*/ 39 h 39"/>
                  <a:gd name="T48" fmla="*/ 11 w 33"/>
                  <a:gd name="T49" fmla="*/ 34 h 39"/>
                  <a:gd name="T50" fmla="*/ 3 w 33"/>
                  <a:gd name="T51" fmla="*/ 26 h 39"/>
                  <a:gd name="T52" fmla="*/ 3 w 33"/>
                  <a:gd name="T53" fmla="*/ 26 h 39"/>
                  <a:gd name="T54" fmla="*/ 3 w 33"/>
                  <a:gd name="T55" fmla="*/ 25 h 39"/>
                  <a:gd name="T56" fmla="*/ 1 w 33"/>
                  <a:gd name="T57" fmla="*/ 26 h 39"/>
                  <a:gd name="T58" fmla="*/ 0 w 33"/>
                  <a:gd name="T59" fmla="*/ 23 h 39"/>
                  <a:gd name="T60" fmla="*/ 0 w 33"/>
                  <a:gd name="T61" fmla="*/ 23 h 39"/>
                  <a:gd name="T62" fmla="*/ 1 w 33"/>
                  <a:gd name="T63" fmla="*/ 22 h 39"/>
                  <a:gd name="T64" fmla="*/ 1 w 33"/>
                  <a:gd name="T65" fmla="*/ 20 h 39"/>
                  <a:gd name="T66" fmla="*/ 0 w 33"/>
                  <a:gd name="T67" fmla="*/ 16 h 39"/>
                  <a:gd name="T68" fmla="*/ 0 w 33"/>
                  <a:gd name="T69" fmla="*/ 12 h 39"/>
                  <a:gd name="T70" fmla="*/ 3 w 33"/>
                  <a:gd name="T71" fmla="*/ 12 h 39"/>
                  <a:gd name="T72" fmla="*/ 3 w 33"/>
                  <a:gd name="T73" fmla="*/ 9 h 39"/>
                  <a:gd name="T74" fmla="*/ 3 w 33"/>
                  <a:gd name="T75" fmla="*/ 6 h 39"/>
                  <a:gd name="T76" fmla="*/ 6 w 33"/>
                  <a:gd name="T77" fmla="*/ 5 h 39"/>
                  <a:gd name="T78" fmla="*/ 8 w 33"/>
                  <a:gd name="T79" fmla="*/ 5 h 39"/>
                  <a:gd name="T80" fmla="*/ 9 w 33"/>
                  <a:gd name="T81" fmla="*/ 5 h 39"/>
                  <a:gd name="T82" fmla="*/ 9 w 33"/>
                  <a:gd name="T83" fmla="*/ 1 h 39"/>
                  <a:gd name="T84" fmla="*/ 9 w 33"/>
                  <a:gd name="T85" fmla="*/ 0 h 39"/>
                  <a:gd name="T86" fmla="*/ 9 w 33"/>
                  <a:gd name="T87" fmla="*/ 0 h 39"/>
                  <a:gd name="T88" fmla="*/ 11 w 33"/>
                  <a:gd name="T89" fmla="*/ 0 h 39"/>
                  <a:gd name="T90" fmla="*/ 12 w 33"/>
                  <a:gd name="T9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9">
                    <a:moveTo>
                      <a:pt x="12" y="0"/>
                    </a:moveTo>
                    <a:lnTo>
                      <a:pt x="12" y="0"/>
                    </a:lnTo>
                    <a:lnTo>
                      <a:pt x="12" y="0"/>
                    </a:lnTo>
                    <a:lnTo>
                      <a:pt x="14" y="1"/>
                    </a:lnTo>
                    <a:lnTo>
                      <a:pt x="14" y="3"/>
                    </a:lnTo>
                    <a:lnTo>
                      <a:pt x="17" y="5"/>
                    </a:lnTo>
                    <a:lnTo>
                      <a:pt x="19" y="8"/>
                    </a:lnTo>
                    <a:lnTo>
                      <a:pt x="20" y="8"/>
                    </a:lnTo>
                    <a:lnTo>
                      <a:pt x="22" y="8"/>
                    </a:lnTo>
                    <a:lnTo>
                      <a:pt x="23" y="9"/>
                    </a:lnTo>
                    <a:lnTo>
                      <a:pt x="25" y="9"/>
                    </a:lnTo>
                    <a:lnTo>
                      <a:pt x="26" y="11"/>
                    </a:lnTo>
                    <a:lnTo>
                      <a:pt x="30" y="12"/>
                    </a:lnTo>
                    <a:lnTo>
                      <a:pt x="31" y="14"/>
                    </a:lnTo>
                    <a:lnTo>
                      <a:pt x="33" y="16"/>
                    </a:lnTo>
                    <a:lnTo>
                      <a:pt x="33" y="16"/>
                    </a:lnTo>
                    <a:lnTo>
                      <a:pt x="33" y="17"/>
                    </a:lnTo>
                    <a:lnTo>
                      <a:pt x="31" y="17"/>
                    </a:lnTo>
                    <a:lnTo>
                      <a:pt x="30" y="19"/>
                    </a:lnTo>
                    <a:lnTo>
                      <a:pt x="30" y="19"/>
                    </a:lnTo>
                    <a:lnTo>
                      <a:pt x="28" y="19"/>
                    </a:lnTo>
                    <a:lnTo>
                      <a:pt x="28" y="19"/>
                    </a:lnTo>
                    <a:lnTo>
                      <a:pt x="28" y="20"/>
                    </a:lnTo>
                    <a:lnTo>
                      <a:pt x="28" y="22"/>
                    </a:lnTo>
                    <a:lnTo>
                      <a:pt x="28" y="23"/>
                    </a:lnTo>
                    <a:lnTo>
                      <a:pt x="28" y="23"/>
                    </a:lnTo>
                    <a:lnTo>
                      <a:pt x="28" y="23"/>
                    </a:lnTo>
                    <a:lnTo>
                      <a:pt x="26" y="23"/>
                    </a:lnTo>
                    <a:lnTo>
                      <a:pt x="25" y="25"/>
                    </a:lnTo>
                    <a:lnTo>
                      <a:pt x="23" y="25"/>
                    </a:lnTo>
                    <a:lnTo>
                      <a:pt x="23" y="25"/>
                    </a:lnTo>
                    <a:lnTo>
                      <a:pt x="22" y="23"/>
                    </a:lnTo>
                    <a:lnTo>
                      <a:pt x="22" y="22"/>
                    </a:lnTo>
                    <a:lnTo>
                      <a:pt x="22" y="22"/>
                    </a:lnTo>
                    <a:lnTo>
                      <a:pt x="22" y="20"/>
                    </a:lnTo>
                    <a:lnTo>
                      <a:pt x="20" y="22"/>
                    </a:lnTo>
                    <a:lnTo>
                      <a:pt x="20" y="23"/>
                    </a:lnTo>
                    <a:lnTo>
                      <a:pt x="19" y="25"/>
                    </a:lnTo>
                    <a:lnTo>
                      <a:pt x="17" y="26"/>
                    </a:lnTo>
                    <a:lnTo>
                      <a:pt x="17" y="28"/>
                    </a:lnTo>
                    <a:lnTo>
                      <a:pt x="15" y="30"/>
                    </a:lnTo>
                    <a:lnTo>
                      <a:pt x="14" y="33"/>
                    </a:lnTo>
                    <a:lnTo>
                      <a:pt x="15" y="33"/>
                    </a:lnTo>
                    <a:lnTo>
                      <a:pt x="15" y="34"/>
                    </a:lnTo>
                    <a:lnTo>
                      <a:pt x="15" y="36"/>
                    </a:lnTo>
                    <a:lnTo>
                      <a:pt x="15" y="36"/>
                    </a:lnTo>
                    <a:lnTo>
                      <a:pt x="15" y="37"/>
                    </a:lnTo>
                    <a:lnTo>
                      <a:pt x="15" y="39"/>
                    </a:lnTo>
                    <a:lnTo>
                      <a:pt x="12" y="37"/>
                    </a:lnTo>
                    <a:lnTo>
                      <a:pt x="11" y="34"/>
                    </a:lnTo>
                    <a:lnTo>
                      <a:pt x="8" y="30"/>
                    </a:lnTo>
                    <a:lnTo>
                      <a:pt x="3" y="26"/>
                    </a:lnTo>
                    <a:lnTo>
                      <a:pt x="3" y="26"/>
                    </a:lnTo>
                    <a:lnTo>
                      <a:pt x="3" y="26"/>
                    </a:lnTo>
                    <a:lnTo>
                      <a:pt x="3" y="25"/>
                    </a:lnTo>
                    <a:lnTo>
                      <a:pt x="3" y="25"/>
                    </a:lnTo>
                    <a:lnTo>
                      <a:pt x="1" y="26"/>
                    </a:lnTo>
                    <a:lnTo>
                      <a:pt x="1" y="26"/>
                    </a:lnTo>
                    <a:lnTo>
                      <a:pt x="0" y="25"/>
                    </a:lnTo>
                    <a:lnTo>
                      <a:pt x="0" y="23"/>
                    </a:lnTo>
                    <a:lnTo>
                      <a:pt x="0" y="23"/>
                    </a:lnTo>
                    <a:lnTo>
                      <a:pt x="0" y="23"/>
                    </a:lnTo>
                    <a:lnTo>
                      <a:pt x="0" y="22"/>
                    </a:lnTo>
                    <a:lnTo>
                      <a:pt x="1" y="22"/>
                    </a:lnTo>
                    <a:lnTo>
                      <a:pt x="1" y="20"/>
                    </a:lnTo>
                    <a:lnTo>
                      <a:pt x="1" y="20"/>
                    </a:lnTo>
                    <a:lnTo>
                      <a:pt x="0" y="17"/>
                    </a:lnTo>
                    <a:lnTo>
                      <a:pt x="0" y="16"/>
                    </a:lnTo>
                    <a:lnTo>
                      <a:pt x="0" y="12"/>
                    </a:lnTo>
                    <a:lnTo>
                      <a:pt x="0" y="12"/>
                    </a:lnTo>
                    <a:lnTo>
                      <a:pt x="0" y="12"/>
                    </a:lnTo>
                    <a:lnTo>
                      <a:pt x="3" y="12"/>
                    </a:lnTo>
                    <a:lnTo>
                      <a:pt x="3" y="9"/>
                    </a:lnTo>
                    <a:lnTo>
                      <a:pt x="3" y="9"/>
                    </a:lnTo>
                    <a:lnTo>
                      <a:pt x="3" y="8"/>
                    </a:lnTo>
                    <a:lnTo>
                      <a:pt x="3" y="6"/>
                    </a:lnTo>
                    <a:lnTo>
                      <a:pt x="5" y="6"/>
                    </a:lnTo>
                    <a:lnTo>
                      <a:pt x="6" y="5"/>
                    </a:lnTo>
                    <a:lnTo>
                      <a:pt x="8" y="5"/>
                    </a:lnTo>
                    <a:lnTo>
                      <a:pt x="8" y="5"/>
                    </a:lnTo>
                    <a:lnTo>
                      <a:pt x="9" y="6"/>
                    </a:lnTo>
                    <a:lnTo>
                      <a:pt x="9" y="5"/>
                    </a:lnTo>
                    <a:lnTo>
                      <a:pt x="11" y="3"/>
                    </a:lnTo>
                    <a:lnTo>
                      <a:pt x="9" y="1"/>
                    </a:lnTo>
                    <a:lnTo>
                      <a:pt x="8" y="0"/>
                    </a:lnTo>
                    <a:lnTo>
                      <a:pt x="9" y="0"/>
                    </a:lnTo>
                    <a:lnTo>
                      <a:pt x="9" y="0"/>
                    </a:lnTo>
                    <a:lnTo>
                      <a:pt x="9" y="0"/>
                    </a:lnTo>
                    <a:lnTo>
                      <a:pt x="11" y="0"/>
                    </a:lnTo>
                    <a:lnTo>
                      <a:pt x="11" y="0"/>
                    </a:lnTo>
                    <a:lnTo>
                      <a:pt x="12" y="0"/>
                    </a:lnTo>
                    <a:lnTo>
                      <a:pt x="12"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7" name="Freeform 134">
                <a:extLst>
                  <a:ext uri="{FF2B5EF4-FFF2-40B4-BE49-F238E27FC236}">
                    <a16:creationId xmlns:a16="http://schemas.microsoft.com/office/drawing/2014/main" id="{97F809CC-C71A-8D3D-9995-91BD87D8F17E}"/>
                  </a:ext>
                </a:extLst>
              </p:cNvPr>
              <p:cNvSpPr>
                <a:spLocks/>
              </p:cNvSpPr>
              <p:nvPr/>
            </p:nvSpPr>
            <p:spPr bwMode="gray">
              <a:xfrm>
                <a:off x="1567" y="1255"/>
                <a:ext cx="1" cy="2"/>
              </a:xfrm>
              <a:custGeom>
                <a:avLst/>
                <a:gdLst>
                  <a:gd name="T0" fmla="*/ 1 w 1"/>
                  <a:gd name="T1" fmla="*/ 2 h 2"/>
                  <a:gd name="T2" fmla="*/ 0 w 1"/>
                  <a:gd name="T3" fmla="*/ 2 h 2"/>
                  <a:gd name="T4" fmla="*/ 0 w 1"/>
                  <a:gd name="T5" fmla="*/ 0 h 2"/>
                  <a:gd name="T6" fmla="*/ 1 w 1"/>
                  <a:gd name="T7" fmla="*/ 0 h 2"/>
                  <a:gd name="T8" fmla="*/ 1 w 1"/>
                  <a:gd name="T9" fmla="*/ 0 h 2"/>
                  <a:gd name="T10" fmla="*/ 1 w 1"/>
                  <a:gd name="T11" fmla="*/ 0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0" y="2"/>
                    </a:lnTo>
                    <a:lnTo>
                      <a:pt x="0" y="0"/>
                    </a:lnTo>
                    <a:lnTo>
                      <a:pt x="1" y="0"/>
                    </a:lnTo>
                    <a:lnTo>
                      <a:pt x="1" y="0"/>
                    </a:lnTo>
                    <a:lnTo>
                      <a:pt x="1" y="0"/>
                    </a:lnTo>
                    <a:lnTo>
                      <a:pt x="1"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8" name="Freeform 135">
                <a:extLst>
                  <a:ext uri="{FF2B5EF4-FFF2-40B4-BE49-F238E27FC236}">
                    <a16:creationId xmlns:a16="http://schemas.microsoft.com/office/drawing/2014/main" id="{88748F2B-CCBB-A5C4-90C4-06EB1E0AF828}"/>
                  </a:ext>
                </a:extLst>
              </p:cNvPr>
              <p:cNvSpPr>
                <a:spLocks noEditPoints="1"/>
              </p:cNvSpPr>
              <p:nvPr/>
            </p:nvSpPr>
            <p:spPr bwMode="gray">
              <a:xfrm>
                <a:off x="3433" y="1789"/>
                <a:ext cx="129" cy="250"/>
              </a:xfrm>
              <a:custGeom>
                <a:avLst/>
                <a:gdLst>
                  <a:gd name="T0" fmla="*/ 119 w 129"/>
                  <a:gd name="T1" fmla="*/ 84 h 250"/>
                  <a:gd name="T2" fmla="*/ 90 w 129"/>
                  <a:gd name="T3" fmla="*/ 22 h 250"/>
                  <a:gd name="T4" fmla="*/ 91 w 129"/>
                  <a:gd name="T5" fmla="*/ 22 h 250"/>
                  <a:gd name="T6" fmla="*/ 122 w 129"/>
                  <a:gd name="T7" fmla="*/ 36 h 250"/>
                  <a:gd name="T8" fmla="*/ 116 w 129"/>
                  <a:gd name="T9" fmla="*/ 15 h 250"/>
                  <a:gd name="T10" fmla="*/ 108 w 129"/>
                  <a:gd name="T11" fmla="*/ 3 h 250"/>
                  <a:gd name="T12" fmla="*/ 102 w 129"/>
                  <a:gd name="T13" fmla="*/ 4 h 250"/>
                  <a:gd name="T14" fmla="*/ 99 w 129"/>
                  <a:gd name="T15" fmla="*/ 9 h 250"/>
                  <a:gd name="T16" fmla="*/ 96 w 129"/>
                  <a:gd name="T17" fmla="*/ 25 h 250"/>
                  <a:gd name="T18" fmla="*/ 88 w 129"/>
                  <a:gd name="T19" fmla="*/ 29 h 250"/>
                  <a:gd name="T20" fmla="*/ 82 w 129"/>
                  <a:gd name="T21" fmla="*/ 29 h 250"/>
                  <a:gd name="T22" fmla="*/ 83 w 129"/>
                  <a:gd name="T23" fmla="*/ 34 h 250"/>
                  <a:gd name="T24" fmla="*/ 82 w 129"/>
                  <a:gd name="T25" fmla="*/ 47 h 250"/>
                  <a:gd name="T26" fmla="*/ 76 w 129"/>
                  <a:gd name="T27" fmla="*/ 53 h 250"/>
                  <a:gd name="T28" fmla="*/ 76 w 129"/>
                  <a:gd name="T29" fmla="*/ 50 h 250"/>
                  <a:gd name="T30" fmla="*/ 72 w 129"/>
                  <a:gd name="T31" fmla="*/ 50 h 250"/>
                  <a:gd name="T32" fmla="*/ 69 w 129"/>
                  <a:gd name="T33" fmla="*/ 58 h 250"/>
                  <a:gd name="T34" fmla="*/ 68 w 129"/>
                  <a:gd name="T35" fmla="*/ 61 h 250"/>
                  <a:gd name="T36" fmla="*/ 61 w 129"/>
                  <a:gd name="T37" fmla="*/ 59 h 250"/>
                  <a:gd name="T38" fmla="*/ 55 w 129"/>
                  <a:gd name="T39" fmla="*/ 67 h 250"/>
                  <a:gd name="T40" fmla="*/ 52 w 129"/>
                  <a:gd name="T41" fmla="*/ 67 h 250"/>
                  <a:gd name="T42" fmla="*/ 43 w 129"/>
                  <a:gd name="T43" fmla="*/ 69 h 250"/>
                  <a:gd name="T44" fmla="*/ 40 w 129"/>
                  <a:gd name="T45" fmla="*/ 70 h 250"/>
                  <a:gd name="T46" fmla="*/ 35 w 129"/>
                  <a:gd name="T47" fmla="*/ 70 h 250"/>
                  <a:gd name="T48" fmla="*/ 22 w 129"/>
                  <a:gd name="T49" fmla="*/ 75 h 250"/>
                  <a:gd name="T50" fmla="*/ 21 w 129"/>
                  <a:gd name="T51" fmla="*/ 84 h 250"/>
                  <a:gd name="T52" fmla="*/ 15 w 129"/>
                  <a:gd name="T53" fmla="*/ 106 h 250"/>
                  <a:gd name="T54" fmla="*/ 19 w 129"/>
                  <a:gd name="T55" fmla="*/ 123 h 250"/>
                  <a:gd name="T56" fmla="*/ 22 w 129"/>
                  <a:gd name="T57" fmla="*/ 136 h 250"/>
                  <a:gd name="T58" fmla="*/ 18 w 129"/>
                  <a:gd name="T59" fmla="*/ 151 h 250"/>
                  <a:gd name="T60" fmla="*/ 11 w 129"/>
                  <a:gd name="T61" fmla="*/ 167 h 250"/>
                  <a:gd name="T62" fmla="*/ 4 w 129"/>
                  <a:gd name="T63" fmla="*/ 177 h 250"/>
                  <a:gd name="T64" fmla="*/ 2 w 129"/>
                  <a:gd name="T65" fmla="*/ 183 h 250"/>
                  <a:gd name="T66" fmla="*/ 4 w 129"/>
                  <a:gd name="T67" fmla="*/ 198 h 250"/>
                  <a:gd name="T68" fmla="*/ 10 w 129"/>
                  <a:gd name="T69" fmla="*/ 211 h 250"/>
                  <a:gd name="T70" fmla="*/ 8 w 129"/>
                  <a:gd name="T71" fmla="*/ 225 h 250"/>
                  <a:gd name="T72" fmla="*/ 15 w 129"/>
                  <a:gd name="T73" fmla="*/ 236 h 250"/>
                  <a:gd name="T74" fmla="*/ 21 w 129"/>
                  <a:gd name="T75" fmla="*/ 244 h 250"/>
                  <a:gd name="T76" fmla="*/ 33 w 129"/>
                  <a:gd name="T77" fmla="*/ 250 h 250"/>
                  <a:gd name="T78" fmla="*/ 47 w 129"/>
                  <a:gd name="T79" fmla="*/ 245 h 250"/>
                  <a:gd name="T80" fmla="*/ 66 w 129"/>
                  <a:gd name="T81" fmla="*/ 239 h 250"/>
                  <a:gd name="T82" fmla="*/ 72 w 129"/>
                  <a:gd name="T83" fmla="*/ 225 h 250"/>
                  <a:gd name="T84" fmla="*/ 77 w 129"/>
                  <a:gd name="T85" fmla="*/ 213 h 250"/>
                  <a:gd name="T86" fmla="*/ 83 w 129"/>
                  <a:gd name="T87" fmla="*/ 189 h 250"/>
                  <a:gd name="T88" fmla="*/ 97 w 129"/>
                  <a:gd name="T89" fmla="*/ 148 h 250"/>
                  <a:gd name="T90" fmla="*/ 107 w 129"/>
                  <a:gd name="T91" fmla="*/ 117 h 250"/>
                  <a:gd name="T92" fmla="*/ 110 w 129"/>
                  <a:gd name="T93" fmla="*/ 94 h 250"/>
                  <a:gd name="T94" fmla="*/ 115 w 129"/>
                  <a:gd name="T95" fmla="*/ 86 h 250"/>
                  <a:gd name="T96" fmla="*/ 116 w 129"/>
                  <a:gd name="T97" fmla="*/ 75 h 250"/>
                  <a:gd name="T98" fmla="*/ 115 w 129"/>
                  <a:gd name="T99" fmla="*/ 67 h 250"/>
                  <a:gd name="T100" fmla="*/ 116 w 129"/>
                  <a:gd name="T101" fmla="*/ 61 h 250"/>
                  <a:gd name="T102" fmla="*/ 122 w 129"/>
                  <a:gd name="T103" fmla="*/ 70 h 250"/>
                  <a:gd name="T104" fmla="*/ 129 w 129"/>
                  <a:gd name="T105" fmla="*/ 5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250">
                    <a:moveTo>
                      <a:pt x="119" y="84"/>
                    </a:moveTo>
                    <a:lnTo>
                      <a:pt x="116" y="87"/>
                    </a:lnTo>
                    <a:lnTo>
                      <a:pt x="116" y="90"/>
                    </a:lnTo>
                    <a:lnTo>
                      <a:pt x="118" y="87"/>
                    </a:lnTo>
                    <a:lnTo>
                      <a:pt x="119" y="84"/>
                    </a:lnTo>
                    <a:lnTo>
                      <a:pt x="119" y="84"/>
                    </a:lnTo>
                    <a:close/>
                    <a:moveTo>
                      <a:pt x="91" y="22"/>
                    </a:moveTo>
                    <a:lnTo>
                      <a:pt x="90" y="20"/>
                    </a:lnTo>
                    <a:lnTo>
                      <a:pt x="90" y="20"/>
                    </a:lnTo>
                    <a:lnTo>
                      <a:pt x="90" y="22"/>
                    </a:lnTo>
                    <a:lnTo>
                      <a:pt x="88" y="22"/>
                    </a:lnTo>
                    <a:lnTo>
                      <a:pt x="88" y="23"/>
                    </a:lnTo>
                    <a:lnTo>
                      <a:pt x="91" y="25"/>
                    </a:lnTo>
                    <a:lnTo>
                      <a:pt x="90" y="23"/>
                    </a:lnTo>
                    <a:lnTo>
                      <a:pt x="91" y="22"/>
                    </a:lnTo>
                    <a:close/>
                    <a:moveTo>
                      <a:pt x="127" y="56"/>
                    </a:moveTo>
                    <a:lnTo>
                      <a:pt x="126" y="51"/>
                    </a:lnTo>
                    <a:lnTo>
                      <a:pt x="124" y="48"/>
                    </a:lnTo>
                    <a:lnTo>
                      <a:pt x="122" y="44"/>
                    </a:lnTo>
                    <a:lnTo>
                      <a:pt x="122" y="36"/>
                    </a:lnTo>
                    <a:lnTo>
                      <a:pt x="121" y="28"/>
                    </a:lnTo>
                    <a:lnTo>
                      <a:pt x="119" y="22"/>
                    </a:lnTo>
                    <a:lnTo>
                      <a:pt x="118" y="18"/>
                    </a:lnTo>
                    <a:lnTo>
                      <a:pt x="118" y="17"/>
                    </a:lnTo>
                    <a:lnTo>
                      <a:pt x="116" y="15"/>
                    </a:lnTo>
                    <a:lnTo>
                      <a:pt x="113" y="11"/>
                    </a:lnTo>
                    <a:lnTo>
                      <a:pt x="112" y="9"/>
                    </a:lnTo>
                    <a:lnTo>
                      <a:pt x="112" y="6"/>
                    </a:lnTo>
                    <a:lnTo>
                      <a:pt x="110" y="6"/>
                    </a:lnTo>
                    <a:lnTo>
                      <a:pt x="108" y="3"/>
                    </a:lnTo>
                    <a:lnTo>
                      <a:pt x="108" y="3"/>
                    </a:lnTo>
                    <a:lnTo>
                      <a:pt x="107" y="1"/>
                    </a:lnTo>
                    <a:lnTo>
                      <a:pt x="107" y="0"/>
                    </a:lnTo>
                    <a:lnTo>
                      <a:pt x="105" y="0"/>
                    </a:lnTo>
                    <a:lnTo>
                      <a:pt x="102" y="4"/>
                    </a:lnTo>
                    <a:lnTo>
                      <a:pt x="101" y="8"/>
                    </a:lnTo>
                    <a:lnTo>
                      <a:pt x="101" y="8"/>
                    </a:lnTo>
                    <a:lnTo>
                      <a:pt x="99" y="8"/>
                    </a:lnTo>
                    <a:lnTo>
                      <a:pt x="97" y="8"/>
                    </a:lnTo>
                    <a:lnTo>
                      <a:pt x="99" y="9"/>
                    </a:lnTo>
                    <a:lnTo>
                      <a:pt x="101" y="12"/>
                    </a:lnTo>
                    <a:lnTo>
                      <a:pt x="101" y="14"/>
                    </a:lnTo>
                    <a:lnTo>
                      <a:pt x="101" y="15"/>
                    </a:lnTo>
                    <a:lnTo>
                      <a:pt x="99" y="22"/>
                    </a:lnTo>
                    <a:lnTo>
                      <a:pt x="96" y="25"/>
                    </a:lnTo>
                    <a:lnTo>
                      <a:pt x="93" y="25"/>
                    </a:lnTo>
                    <a:lnTo>
                      <a:pt x="91" y="26"/>
                    </a:lnTo>
                    <a:lnTo>
                      <a:pt x="90" y="28"/>
                    </a:lnTo>
                    <a:lnTo>
                      <a:pt x="90" y="29"/>
                    </a:lnTo>
                    <a:lnTo>
                      <a:pt x="88" y="29"/>
                    </a:lnTo>
                    <a:lnTo>
                      <a:pt x="86" y="28"/>
                    </a:lnTo>
                    <a:lnTo>
                      <a:pt x="85" y="28"/>
                    </a:lnTo>
                    <a:lnTo>
                      <a:pt x="83" y="28"/>
                    </a:lnTo>
                    <a:lnTo>
                      <a:pt x="83" y="29"/>
                    </a:lnTo>
                    <a:lnTo>
                      <a:pt x="82" y="29"/>
                    </a:lnTo>
                    <a:lnTo>
                      <a:pt x="82" y="31"/>
                    </a:lnTo>
                    <a:lnTo>
                      <a:pt x="83" y="33"/>
                    </a:lnTo>
                    <a:lnTo>
                      <a:pt x="85" y="34"/>
                    </a:lnTo>
                    <a:lnTo>
                      <a:pt x="83" y="34"/>
                    </a:lnTo>
                    <a:lnTo>
                      <a:pt x="83" y="34"/>
                    </a:lnTo>
                    <a:lnTo>
                      <a:pt x="83" y="36"/>
                    </a:lnTo>
                    <a:lnTo>
                      <a:pt x="80" y="42"/>
                    </a:lnTo>
                    <a:lnTo>
                      <a:pt x="82" y="45"/>
                    </a:lnTo>
                    <a:lnTo>
                      <a:pt x="83" y="47"/>
                    </a:lnTo>
                    <a:lnTo>
                      <a:pt x="82" y="47"/>
                    </a:lnTo>
                    <a:lnTo>
                      <a:pt x="80" y="47"/>
                    </a:lnTo>
                    <a:lnTo>
                      <a:pt x="79" y="47"/>
                    </a:lnTo>
                    <a:lnTo>
                      <a:pt x="79" y="48"/>
                    </a:lnTo>
                    <a:lnTo>
                      <a:pt x="77" y="50"/>
                    </a:lnTo>
                    <a:lnTo>
                      <a:pt x="76" y="53"/>
                    </a:lnTo>
                    <a:lnTo>
                      <a:pt x="76" y="53"/>
                    </a:lnTo>
                    <a:lnTo>
                      <a:pt x="74" y="53"/>
                    </a:lnTo>
                    <a:lnTo>
                      <a:pt x="74" y="51"/>
                    </a:lnTo>
                    <a:lnTo>
                      <a:pt x="76" y="50"/>
                    </a:lnTo>
                    <a:lnTo>
                      <a:pt x="76" y="50"/>
                    </a:lnTo>
                    <a:lnTo>
                      <a:pt x="76" y="48"/>
                    </a:lnTo>
                    <a:lnTo>
                      <a:pt x="76" y="48"/>
                    </a:lnTo>
                    <a:lnTo>
                      <a:pt x="74" y="48"/>
                    </a:lnTo>
                    <a:lnTo>
                      <a:pt x="72" y="48"/>
                    </a:lnTo>
                    <a:lnTo>
                      <a:pt x="72" y="50"/>
                    </a:lnTo>
                    <a:lnTo>
                      <a:pt x="72" y="51"/>
                    </a:lnTo>
                    <a:lnTo>
                      <a:pt x="71" y="53"/>
                    </a:lnTo>
                    <a:lnTo>
                      <a:pt x="68" y="56"/>
                    </a:lnTo>
                    <a:lnTo>
                      <a:pt x="68" y="56"/>
                    </a:lnTo>
                    <a:lnTo>
                      <a:pt x="69" y="58"/>
                    </a:lnTo>
                    <a:lnTo>
                      <a:pt x="69" y="58"/>
                    </a:lnTo>
                    <a:lnTo>
                      <a:pt x="69" y="59"/>
                    </a:lnTo>
                    <a:lnTo>
                      <a:pt x="69" y="61"/>
                    </a:lnTo>
                    <a:lnTo>
                      <a:pt x="68" y="61"/>
                    </a:lnTo>
                    <a:lnTo>
                      <a:pt x="68" y="61"/>
                    </a:lnTo>
                    <a:lnTo>
                      <a:pt x="68" y="61"/>
                    </a:lnTo>
                    <a:lnTo>
                      <a:pt x="66" y="58"/>
                    </a:lnTo>
                    <a:lnTo>
                      <a:pt x="66" y="56"/>
                    </a:lnTo>
                    <a:lnTo>
                      <a:pt x="65" y="58"/>
                    </a:lnTo>
                    <a:lnTo>
                      <a:pt x="61" y="59"/>
                    </a:lnTo>
                    <a:lnTo>
                      <a:pt x="58" y="62"/>
                    </a:lnTo>
                    <a:lnTo>
                      <a:pt x="57" y="64"/>
                    </a:lnTo>
                    <a:lnTo>
                      <a:pt x="55" y="65"/>
                    </a:lnTo>
                    <a:lnTo>
                      <a:pt x="55" y="67"/>
                    </a:lnTo>
                    <a:lnTo>
                      <a:pt x="55" y="67"/>
                    </a:lnTo>
                    <a:lnTo>
                      <a:pt x="57" y="69"/>
                    </a:lnTo>
                    <a:lnTo>
                      <a:pt x="57" y="70"/>
                    </a:lnTo>
                    <a:lnTo>
                      <a:pt x="55" y="70"/>
                    </a:lnTo>
                    <a:lnTo>
                      <a:pt x="55" y="69"/>
                    </a:lnTo>
                    <a:lnTo>
                      <a:pt x="52" y="67"/>
                    </a:lnTo>
                    <a:lnTo>
                      <a:pt x="52" y="65"/>
                    </a:lnTo>
                    <a:lnTo>
                      <a:pt x="49" y="67"/>
                    </a:lnTo>
                    <a:lnTo>
                      <a:pt x="47" y="67"/>
                    </a:lnTo>
                    <a:lnTo>
                      <a:pt x="44" y="67"/>
                    </a:lnTo>
                    <a:lnTo>
                      <a:pt x="43" y="69"/>
                    </a:lnTo>
                    <a:lnTo>
                      <a:pt x="43" y="69"/>
                    </a:lnTo>
                    <a:lnTo>
                      <a:pt x="43" y="70"/>
                    </a:lnTo>
                    <a:lnTo>
                      <a:pt x="43" y="70"/>
                    </a:lnTo>
                    <a:lnTo>
                      <a:pt x="41" y="70"/>
                    </a:lnTo>
                    <a:lnTo>
                      <a:pt x="40" y="70"/>
                    </a:lnTo>
                    <a:lnTo>
                      <a:pt x="38" y="72"/>
                    </a:lnTo>
                    <a:lnTo>
                      <a:pt x="36" y="72"/>
                    </a:lnTo>
                    <a:lnTo>
                      <a:pt x="36" y="70"/>
                    </a:lnTo>
                    <a:lnTo>
                      <a:pt x="35" y="70"/>
                    </a:lnTo>
                    <a:lnTo>
                      <a:pt x="35" y="70"/>
                    </a:lnTo>
                    <a:lnTo>
                      <a:pt x="32" y="73"/>
                    </a:lnTo>
                    <a:lnTo>
                      <a:pt x="30" y="73"/>
                    </a:lnTo>
                    <a:lnTo>
                      <a:pt x="30" y="75"/>
                    </a:lnTo>
                    <a:lnTo>
                      <a:pt x="24" y="75"/>
                    </a:lnTo>
                    <a:lnTo>
                      <a:pt x="22" y="75"/>
                    </a:lnTo>
                    <a:lnTo>
                      <a:pt x="22" y="75"/>
                    </a:lnTo>
                    <a:lnTo>
                      <a:pt x="22" y="76"/>
                    </a:lnTo>
                    <a:lnTo>
                      <a:pt x="21" y="78"/>
                    </a:lnTo>
                    <a:lnTo>
                      <a:pt x="22" y="83"/>
                    </a:lnTo>
                    <a:lnTo>
                      <a:pt x="21" y="84"/>
                    </a:lnTo>
                    <a:lnTo>
                      <a:pt x="15" y="97"/>
                    </a:lnTo>
                    <a:lnTo>
                      <a:pt x="13" y="100"/>
                    </a:lnTo>
                    <a:lnTo>
                      <a:pt x="15" y="101"/>
                    </a:lnTo>
                    <a:lnTo>
                      <a:pt x="15" y="105"/>
                    </a:lnTo>
                    <a:lnTo>
                      <a:pt x="15" y="106"/>
                    </a:lnTo>
                    <a:lnTo>
                      <a:pt x="15" y="112"/>
                    </a:lnTo>
                    <a:lnTo>
                      <a:pt x="16" y="117"/>
                    </a:lnTo>
                    <a:lnTo>
                      <a:pt x="18" y="119"/>
                    </a:lnTo>
                    <a:lnTo>
                      <a:pt x="18" y="122"/>
                    </a:lnTo>
                    <a:lnTo>
                      <a:pt x="19" y="123"/>
                    </a:lnTo>
                    <a:lnTo>
                      <a:pt x="18" y="126"/>
                    </a:lnTo>
                    <a:lnTo>
                      <a:pt x="18" y="128"/>
                    </a:lnTo>
                    <a:lnTo>
                      <a:pt x="21" y="131"/>
                    </a:lnTo>
                    <a:lnTo>
                      <a:pt x="22" y="134"/>
                    </a:lnTo>
                    <a:lnTo>
                      <a:pt x="22" y="136"/>
                    </a:lnTo>
                    <a:lnTo>
                      <a:pt x="22" y="139"/>
                    </a:lnTo>
                    <a:lnTo>
                      <a:pt x="21" y="144"/>
                    </a:lnTo>
                    <a:lnTo>
                      <a:pt x="21" y="145"/>
                    </a:lnTo>
                    <a:lnTo>
                      <a:pt x="21" y="147"/>
                    </a:lnTo>
                    <a:lnTo>
                      <a:pt x="18" y="151"/>
                    </a:lnTo>
                    <a:lnTo>
                      <a:pt x="16" y="155"/>
                    </a:lnTo>
                    <a:lnTo>
                      <a:pt x="15" y="156"/>
                    </a:lnTo>
                    <a:lnTo>
                      <a:pt x="13" y="161"/>
                    </a:lnTo>
                    <a:lnTo>
                      <a:pt x="11" y="164"/>
                    </a:lnTo>
                    <a:lnTo>
                      <a:pt x="11" y="167"/>
                    </a:lnTo>
                    <a:lnTo>
                      <a:pt x="8" y="167"/>
                    </a:lnTo>
                    <a:lnTo>
                      <a:pt x="7" y="169"/>
                    </a:lnTo>
                    <a:lnTo>
                      <a:pt x="5" y="170"/>
                    </a:lnTo>
                    <a:lnTo>
                      <a:pt x="4" y="175"/>
                    </a:lnTo>
                    <a:lnTo>
                      <a:pt x="4" y="177"/>
                    </a:lnTo>
                    <a:lnTo>
                      <a:pt x="4" y="177"/>
                    </a:lnTo>
                    <a:lnTo>
                      <a:pt x="2" y="178"/>
                    </a:lnTo>
                    <a:lnTo>
                      <a:pt x="2" y="180"/>
                    </a:lnTo>
                    <a:lnTo>
                      <a:pt x="2" y="181"/>
                    </a:lnTo>
                    <a:lnTo>
                      <a:pt x="2" y="183"/>
                    </a:lnTo>
                    <a:lnTo>
                      <a:pt x="0" y="187"/>
                    </a:lnTo>
                    <a:lnTo>
                      <a:pt x="0" y="189"/>
                    </a:lnTo>
                    <a:lnTo>
                      <a:pt x="2" y="195"/>
                    </a:lnTo>
                    <a:lnTo>
                      <a:pt x="4" y="197"/>
                    </a:lnTo>
                    <a:lnTo>
                      <a:pt x="4" y="198"/>
                    </a:lnTo>
                    <a:lnTo>
                      <a:pt x="7" y="202"/>
                    </a:lnTo>
                    <a:lnTo>
                      <a:pt x="7" y="205"/>
                    </a:lnTo>
                    <a:lnTo>
                      <a:pt x="8" y="206"/>
                    </a:lnTo>
                    <a:lnTo>
                      <a:pt x="8" y="209"/>
                    </a:lnTo>
                    <a:lnTo>
                      <a:pt x="10" y="211"/>
                    </a:lnTo>
                    <a:lnTo>
                      <a:pt x="8" y="213"/>
                    </a:lnTo>
                    <a:lnTo>
                      <a:pt x="8" y="214"/>
                    </a:lnTo>
                    <a:lnTo>
                      <a:pt x="8" y="219"/>
                    </a:lnTo>
                    <a:lnTo>
                      <a:pt x="8" y="222"/>
                    </a:lnTo>
                    <a:lnTo>
                      <a:pt x="8" y="225"/>
                    </a:lnTo>
                    <a:lnTo>
                      <a:pt x="8" y="227"/>
                    </a:lnTo>
                    <a:lnTo>
                      <a:pt x="11" y="230"/>
                    </a:lnTo>
                    <a:lnTo>
                      <a:pt x="13" y="231"/>
                    </a:lnTo>
                    <a:lnTo>
                      <a:pt x="13" y="234"/>
                    </a:lnTo>
                    <a:lnTo>
                      <a:pt x="15" y="236"/>
                    </a:lnTo>
                    <a:lnTo>
                      <a:pt x="15" y="238"/>
                    </a:lnTo>
                    <a:lnTo>
                      <a:pt x="15" y="239"/>
                    </a:lnTo>
                    <a:lnTo>
                      <a:pt x="16" y="239"/>
                    </a:lnTo>
                    <a:lnTo>
                      <a:pt x="19" y="241"/>
                    </a:lnTo>
                    <a:lnTo>
                      <a:pt x="21" y="244"/>
                    </a:lnTo>
                    <a:lnTo>
                      <a:pt x="21" y="244"/>
                    </a:lnTo>
                    <a:lnTo>
                      <a:pt x="22" y="244"/>
                    </a:lnTo>
                    <a:lnTo>
                      <a:pt x="27" y="245"/>
                    </a:lnTo>
                    <a:lnTo>
                      <a:pt x="29" y="245"/>
                    </a:lnTo>
                    <a:lnTo>
                      <a:pt x="33" y="250"/>
                    </a:lnTo>
                    <a:lnTo>
                      <a:pt x="35" y="250"/>
                    </a:lnTo>
                    <a:lnTo>
                      <a:pt x="41" y="250"/>
                    </a:lnTo>
                    <a:lnTo>
                      <a:pt x="43" y="249"/>
                    </a:lnTo>
                    <a:lnTo>
                      <a:pt x="44" y="249"/>
                    </a:lnTo>
                    <a:lnTo>
                      <a:pt x="47" y="245"/>
                    </a:lnTo>
                    <a:lnTo>
                      <a:pt x="52" y="244"/>
                    </a:lnTo>
                    <a:lnTo>
                      <a:pt x="57" y="242"/>
                    </a:lnTo>
                    <a:lnTo>
                      <a:pt x="60" y="242"/>
                    </a:lnTo>
                    <a:lnTo>
                      <a:pt x="61" y="242"/>
                    </a:lnTo>
                    <a:lnTo>
                      <a:pt x="66" y="239"/>
                    </a:lnTo>
                    <a:lnTo>
                      <a:pt x="68" y="239"/>
                    </a:lnTo>
                    <a:lnTo>
                      <a:pt x="69" y="234"/>
                    </a:lnTo>
                    <a:lnTo>
                      <a:pt x="71" y="231"/>
                    </a:lnTo>
                    <a:lnTo>
                      <a:pt x="72" y="228"/>
                    </a:lnTo>
                    <a:lnTo>
                      <a:pt x="72" y="225"/>
                    </a:lnTo>
                    <a:lnTo>
                      <a:pt x="74" y="223"/>
                    </a:lnTo>
                    <a:lnTo>
                      <a:pt x="74" y="222"/>
                    </a:lnTo>
                    <a:lnTo>
                      <a:pt x="77" y="217"/>
                    </a:lnTo>
                    <a:lnTo>
                      <a:pt x="77" y="216"/>
                    </a:lnTo>
                    <a:lnTo>
                      <a:pt x="77" y="213"/>
                    </a:lnTo>
                    <a:lnTo>
                      <a:pt x="80" y="205"/>
                    </a:lnTo>
                    <a:lnTo>
                      <a:pt x="80" y="200"/>
                    </a:lnTo>
                    <a:lnTo>
                      <a:pt x="82" y="195"/>
                    </a:lnTo>
                    <a:lnTo>
                      <a:pt x="83" y="191"/>
                    </a:lnTo>
                    <a:lnTo>
                      <a:pt x="83" y="189"/>
                    </a:lnTo>
                    <a:lnTo>
                      <a:pt x="88" y="178"/>
                    </a:lnTo>
                    <a:lnTo>
                      <a:pt x="91" y="170"/>
                    </a:lnTo>
                    <a:lnTo>
                      <a:pt x="93" y="161"/>
                    </a:lnTo>
                    <a:lnTo>
                      <a:pt x="94" y="153"/>
                    </a:lnTo>
                    <a:lnTo>
                      <a:pt x="97" y="148"/>
                    </a:lnTo>
                    <a:lnTo>
                      <a:pt x="99" y="144"/>
                    </a:lnTo>
                    <a:lnTo>
                      <a:pt x="101" y="136"/>
                    </a:lnTo>
                    <a:lnTo>
                      <a:pt x="104" y="128"/>
                    </a:lnTo>
                    <a:lnTo>
                      <a:pt x="105" y="122"/>
                    </a:lnTo>
                    <a:lnTo>
                      <a:pt x="107" y="117"/>
                    </a:lnTo>
                    <a:lnTo>
                      <a:pt x="108" y="114"/>
                    </a:lnTo>
                    <a:lnTo>
                      <a:pt x="110" y="106"/>
                    </a:lnTo>
                    <a:lnTo>
                      <a:pt x="110" y="101"/>
                    </a:lnTo>
                    <a:lnTo>
                      <a:pt x="110" y="95"/>
                    </a:lnTo>
                    <a:lnTo>
                      <a:pt x="110" y="94"/>
                    </a:lnTo>
                    <a:lnTo>
                      <a:pt x="112" y="90"/>
                    </a:lnTo>
                    <a:lnTo>
                      <a:pt x="113" y="87"/>
                    </a:lnTo>
                    <a:lnTo>
                      <a:pt x="113" y="87"/>
                    </a:lnTo>
                    <a:lnTo>
                      <a:pt x="115" y="86"/>
                    </a:lnTo>
                    <a:lnTo>
                      <a:pt x="115" y="86"/>
                    </a:lnTo>
                    <a:lnTo>
                      <a:pt x="115" y="84"/>
                    </a:lnTo>
                    <a:lnTo>
                      <a:pt x="115" y="84"/>
                    </a:lnTo>
                    <a:lnTo>
                      <a:pt x="116" y="83"/>
                    </a:lnTo>
                    <a:lnTo>
                      <a:pt x="116" y="80"/>
                    </a:lnTo>
                    <a:lnTo>
                      <a:pt x="116" y="75"/>
                    </a:lnTo>
                    <a:lnTo>
                      <a:pt x="116" y="73"/>
                    </a:lnTo>
                    <a:lnTo>
                      <a:pt x="115" y="73"/>
                    </a:lnTo>
                    <a:lnTo>
                      <a:pt x="115" y="72"/>
                    </a:lnTo>
                    <a:lnTo>
                      <a:pt x="115" y="70"/>
                    </a:lnTo>
                    <a:lnTo>
                      <a:pt x="115" y="67"/>
                    </a:lnTo>
                    <a:lnTo>
                      <a:pt x="113" y="65"/>
                    </a:lnTo>
                    <a:lnTo>
                      <a:pt x="113" y="62"/>
                    </a:lnTo>
                    <a:lnTo>
                      <a:pt x="113" y="62"/>
                    </a:lnTo>
                    <a:lnTo>
                      <a:pt x="115" y="61"/>
                    </a:lnTo>
                    <a:lnTo>
                      <a:pt x="116" y="61"/>
                    </a:lnTo>
                    <a:lnTo>
                      <a:pt x="118" y="61"/>
                    </a:lnTo>
                    <a:lnTo>
                      <a:pt x="118" y="64"/>
                    </a:lnTo>
                    <a:lnTo>
                      <a:pt x="119" y="67"/>
                    </a:lnTo>
                    <a:lnTo>
                      <a:pt x="121" y="69"/>
                    </a:lnTo>
                    <a:lnTo>
                      <a:pt x="122" y="70"/>
                    </a:lnTo>
                    <a:lnTo>
                      <a:pt x="122" y="70"/>
                    </a:lnTo>
                    <a:lnTo>
                      <a:pt x="124" y="69"/>
                    </a:lnTo>
                    <a:lnTo>
                      <a:pt x="124" y="69"/>
                    </a:lnTo>
                    <a:lnTo>
                      <a:pt x="127" y="64"/>
                    </a:lnTo>
                    <a:lnTo>
                      <a:pt x="129" y="59"/>
                    </a:lnTo>
                    <a:lnTo>
                      <a:pt x="127" y="5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09" name="Freeform 136">
                <a:extLst>
                  <a:ext uri="{FF2B5EF4-FFF2-40B4-BE49-F238E27FC236}">
                    <a16:creationId xmlns:a16="http://schemas.microsoft.com/office/drawing/2014/main" id="{36EF9926-B871-ADB6-90DE-9C6E2CE7E22A}"/>
                  </a:ext>
                </a:extLst>
              </p:cNvPr>
              <p:cNvSpPr>
                <a:spLocks/>
              </p:cNvSpPr>
              <p:nvPr/>
            </p:nvSpPr>
            <p:spPr bwMode="gray">
              <a:xfrm>
                <a:off x="3033" y="759"/>
                <a:ext cx="46" cy="34"/>
              </a:xfrm>
              <a:custGeom>
                <a:avLst/>
                <a:gdLst>
                  <a:gd name="T0" fmla="*/ 36 w 46"/>
                  <a:gd name="T1" fmla="*/ 5 h 34"/>
                  <a:gd name="T2" fmla="*/ 39 w 46"/>
                  <a:gd name="T3" fmla="*/ 6 h 34"/>
                  <a:gd name="T4" fmla="*/ 42 w 46"/>
                  <a:gd name="T5" fmla="*/ 8 h 34"/>
                  <a:gd name="T6" fmla="*/ 44 w 46"/>
                  <a:gd name="T7" fmla="*/ 13 h 34"/>
                  <a:gd name="T8" fmla="*/ 46 w 46"/>
                  <a:gd name="T9" fmla="*/ 14 h 34"/>
                  <a:gd name="T10" fmla="*/ 44 w 46"/>
                  <a:gd name="T11" fmla="*/ 17 h 34"/>
                  <a:gd name="T12" fmla="*/ 44 w 46"/>
                  <a:gd name="T13" fmla="*/ 24 h 34"/>
                  <a:gd name="T14" fmla="*/ 42 w 46"/>
                  <a:gd name="T15" fmla="*/ 24 h 34"/>
                  <a:gd name="T16" fmla="*/ 41 w 46"/>
                  <a:gd name="T17" fmla="*/ 27 h 34"/>
                  <a:gd name="T18" fmla="*/ 36 w 46"/>
                  <a:gd name="T19" fmla="*/ 28 h 34"/>
                  <a:gd name="T20" fmla="*/ 32 w 46"/>
                  <a:gd name="T21" fmla="*/ 28 h 34"/>
                  <a:gd name="T22" fmla="*/ 30 w 46"/>
                  <a:gd name="T23" fmla="*/ 28 h 34"/>
                  <a:gd name="T24" fmla="*/ 27 w 46"/>
                  <a:gd name="T25" fmla="*/ 28 h 34"/>
                  <a:gd name="T26" fmla="*/ 22 w 46"/>
                  <a:gd name="T27" fmla="*/ 34 h 34"/>
                  <a:gd name="T28" fmla="*/ 19 w 46"/>
                  <a:gd name="T29" fmla="*/ 33 h 34"/>
                  <a:gd name="T30" fmla="*/ 16 w 46"/>
                  <a:gd name="T31" fmla="*/ 34 h 34"/>
                  <a:gd name="T32" fmla="*/ 13 w 46"/>
                  <a:gd name="T33" fmla="*/ 34 h 34"/>
                  <a:gd name="T34" fmla="*/ 10 w 46"/>
                  <a:gd name="T35" fmla="*/ 34 h 34"/>
                  <a:gd name="T36" fmla="*/ 8 w 46"/>
                  <a:gd name="T37" fmla="*/ 33 h 34"/>
                  <a:gd name="T38" fmla="*/ 5 w 46"/>
                  <a:gd name="T39" fmla="*/ 33 h 34"/>
                  <a:gd name="T40" fmla="*/ 3 w 46"/>
                  <a:gd name="T41" fmla="*/ 30 h 34"/>
                  <a:gd name="T42" fmla="*/ 2 w 46"/>
                  <a:gd name="T43" fmla="*/ 25 h 34"/>
                  <a:gd name="T44" fmla="*/ 2 w 46"/>
                  <a:gd name="T45" fmla="*/ 22 h 34"/>
                  <a:gd name="T46" fmla="*/ 2 w 46"/>
                  <a:gd name="T47" fmla="*/ 19 h 34"/>
                  <a:gd name="T48" fmla="*/ 2 w 46"/>
                  <a:gd name="T49" fmla="*/ 17 h 34"/>
                  <a:gd name="T50" fmla="*/ 3 w 46"/>
                  <a:gd name="T51" fmla="*/ 11 h 34"/>
                  <a:gd name="T52" fmla="*/ 3 w 46"/>
                  <a:gd name="T53" fmla="*/ 11 h 34"/>
                  <a:gd name="T54" fmla="*/ 5 w 46"/>
                  <a:gd name="T55" fmla="*/ 11 h 34"/>
                  <a:gd name="T56" fmla="*/ 6 w 46"/>
                  <a:gd name="T57" fmla="*/ 8 h 34"/>
                  <a:gd name="T58" fmla="*/ 11 w 46"/>
                  <a:gd name="T59" fmla="*/ 5 h 34"/>
                  <a:gd name="T60" fmla="*/ 14 w 46"/>
                  <a:gd name="T61" fmla="*/ 5 h 34"/>
                  <a:gd name="T62" fmla="*/ 16 w 46"/>
                  <a:gd name="T63" fmla="*/ 6 h 34"/>
                  <a:gd name="T64" fmla="*/ 16 w 46"/>
                  <a:gd name="T65" fmla="*/ 3 h 34"/>
                  <a:gd name="T66" fmla="*/ 21 w 46"/>
                  <a:gd name="T67" fmla="*/ 2 h 34"/>
                  <a:gd name="T68" fmla="*/ 21 w 46"/>
                  <a:gd name="T69" fmla="*/ 2 h 34"/>
                  <a:gd name="T70" fmla="*/ 25 w 46"/>
                  <a:gd name="T71" fmla="*/ 2 h 34"/>
                  <a:gd name="T72" fmla="*/ 27 w 46"/>
                  <a:gd name="T73" fmla="*/ 0 h 34"/>
                  <a:gd name="T74" fmla="*/ 28 w 46"/>
                  <a:gd name="T75" fmla="*/ 2 h 34"/>
                  <a:gd name="T76" fmla="*/ 32 w 46"/>
                  <a:gd name="T77" fmla="*/ 0 h 34"/>
                  <a:gd name="T78" fmla="*/ 33 w 46"/>
                  <a:gd name="T7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 h="34">
                    <a:moveTo>
                      <a:pt x="35" y="0"/>
                    </a:moveTo>
                    <a:lnTo>
                      <a:pt x="36" y="5"/>
                    </a:lnTo>
                    <a:lnTo>
                      <a:pt x="38" y="6"/>
                    </a:lnTo>
                    <a:lnTo>
                      <a:pt x="39" y="6"/>
                    </a:lnTo>
                    <a:lnTo>
                      <a:pt x="42" y="8"/>
                    </a:lnTo>
                    <a:lnTo>
                      <a:pt x="42" y="8"/>
                    </a:lnTo>
                    <a:lnTo>
                      <a:pt x="44" y="13"/>
                    </a:lnTo>
                    <a:lnTo>
                      <a:pt x="44" y="13"/>
                    </a:lnTo>
                    <a:lnTo>
                      <a:pt x="46" y="14"/>
                    </a:lnTo>
                    <a:lnTo>
                      <a:pt x="46" y="14"/>
                    </a:lnTo>
                    <a:lnTo>
                      <a:pt x="46" y="14"/>
                    </a:lnTo>
                    <a:lnTo>
                      <a:pt x="44" y="17"/>
                    </a:lnTo>
                    <a:lnTo>
                      <a:pt x="44" y="24"/>
                    </a:lnTo>
                    <a:lnTo>
                      <a:pt x="44" y="24"/>
                    </a:lnTo>
                    <a:lnTo>
                      <a:pt x="42" y="24"/>
                    </a:lnTo>
                    <a:lnTo>
                      <a:pt x="42" y="24"/>
                    </a:lnTo>
                    <a:lnTo>
                      <a:pt x="41" y="24"/>
                    </a:lnTo>
                    <a:lnTo>
                      <a:pt x="41" y="27"/>
                    </a:lnTo>
                    <a:lnTo>
                      <a:pt x="39" y="28"/>
                    </a:lnTo>
                    <a:lnTo>
                      <a:pt x="36" y="28"/>
                    </a:lnTo>
                    <a:lnTo>
                      <a:pt x="35" y="28"/>
                    </a:lnTo>
                    <a:lnTo>
                      <a:pt x="32" y="28"/>
                    </a:lnTo>
                    <a:lnTo>
                      <a:pt x="32" y="28"/>
                    </a:lnTo>
                    <a:lnTo>
                      <a:pt x="30" y="28"/>
                    </a:lnTo>
                    <a:lnTo>
                      <a:pt x="28" y="28"/>
                    </a:lnTo>
                    <a:lnTo>
                      <a:pt x="27" y="28"/>
                    </a:lnTo>
                    <a:lnTo>
                      <a:pt x="24" y="33"/>
                    </a:lnTo>
                    <a:lnTo>
                      <a:pt x="22" y="34"/>
                    </a:lnTo>
                    <a:lnTo>
                      <a:pt x="21" y="34"/>
                    </a:lnTo>
                    <a:lnTo>
                      <a:pt x="19" y="33"/>
                    </a:lnTo>
                    <a:lnTo>
                      <a:pt x="17" y="33"/>
                    </a:lnTo>
                    <a:lnTo>
                      <a:pt x="16" y="34"/>
                    </a:lnTo>
                    <a:lnTo>
                      <a:pt x="13" y="34"/>
                    </a:lnTo>
                    <a:lnTo>
                      <a:pt x="13" y="34"/>
                    </a:lnTo>
                    <a:lnTo>
                      <a:pt x="10" y="34"/>
                    </a:lnTo>
                    <a:lnTo>
                      <a:pt x="10" y="34"/>
                    </a:lnTo>
                    <a:lnTo>
                      <a:pt x="10" y="33"/>
                    </a:lnTo>
                    <a:lnTo>
                      <a:pt x="8" y="33"/>
                    </a:lnTo>
                    <a:lnTo>
                      <a:pt x="6" y="33"/>
                    </a:lnTo>
                    <a:lnTo>
                      <a:pt x="5" y="33"/>
                    </a:lnTo>
                    <a:lnTo>
                      <a:pt x="5" y="30"/>
                    </a:lnTo>
                    <a:lnTo>
                      <a:pt x="3" y="30"/>
                    </a:lnTo>
                    <a:lnTo>
                      <a:pt x="3" y="28"/>
                    </a:lnTo>
                    <a:lnTo>
                      <a:pt x="2" y="25"/>
                    </a:lnTo>
                    <a:lnTo>
                      <a:pt x="2" y="24"/>
                    </a:lnTo>
                    <a:lnTo>
                      <a:pt x="2" y="22"/>
                    </a:lnTo>
                    <a:lnTo>
                      <a:pt x="0" y="19"/>
                    </a:lnTo>
                    <a:lnTo>
                      <a:pt x="2" y="19"/>
                    </a:lnTo>
                    <a:lnTo>
                      <a:pt x="2" y="17"/>
                    </a:lnTo>
                    <a:lnTo>
                      <a:pt x="2" y="17"/>
                    </a:lnTo>
                    <a:lnTo>
                      <a:pt x="2" y="16"/>
                    </a:lnTo>
                    <a:lnTo>
                      <a:pt x="3" y="11"/>
                    </a:lnTo>
                    <a:lnTo>
                      <a:pt x="3" y="11"/>
                    </a:lnTo>
                    <a:lnTo>
                      <a:pt x="3" y="11"/>
                    </a:lnTo>
                    <a:lnTo>
                      <a:pt x="5" y="11"/>
                    </a:lnTo>
                    <a:lnTo>
                      <a:pt x="5" y="11"/>
                    </a:lnTo>
                    <a:lnTo>
                      <a:pt x="6" y="11"/>
                    </a:lnTo>
                    <a:lnTo>
                      <a:pt x="6" y="8"/>
                    </a:lnTo>
                    <a:lnTo>
                      <a:pt x="6" y="6"/>
                    </a:lnTo>
                    <a:lnTo>
                      <a:pt x="11" y="5"/>
                    </a:lnTo>
                    <a:lnTo>
                      <a:pt x="13" y="3"/>
                    </a:lnTo>
                    <a:lnTo>
                      <a:pt x="14" y="5"/>
                    </a:lnTo>
                    <a:lnTo>
                      <a:pt x="14" y="6"/>
                    </a:lnTo>
                    <a:lnTo>
                      <a:pt x="16" y="6"/>
                    </a:lnTo>
                    <a:lnTo>
                      <a:pt x="16" y="5"/>
                    </a:lnTo>
                    <a:lnTo>
                      <a:pt x="16" y="3"/>
                    </a:lnTo>
                    <a:lnTo>
                      <a:pt x="17" y="3"/>
                    </a:lnTo>
                    <a:lnTo>
                      <a:pt x="21" y="2"/>
                    </a:lnTo>
                    <a:lnTo>
                      <a:pt x="21" y="2"/>
                    </a:lnTo>
                    <a:lnTo>
                      <a:pt x="21" y="2"/>
                    </a:lnTo>
                    <a:lnTo>
                      <a:pt x="24" y="2"/>
                    </a:lnTo>
                    <a:lnTo>
                      <a:pt x="25" y="2"/>
                    </a:lnTo>
                    <a:lnTo>
                      <a:pt x="25" y="0"/>
                    </a:lnTo>
                    <a:lnTo>
                      <a:pt x="27" y="0"/>
                    </a:lnTo>
                    <a:lnTo>
                      <a:pt x="28" y="0"/>
                    </a:lnTo>
                    <a:lnTo>
                      <a:pt x="28" y="2"/>
                    </a:lnTo>
                    <a:lnTo>
                      <a:pt x="30" y="0"/>
                    </a:lnTo>
                    <a:lnTo>
                      <a:pt x="32" y="0"/>
                    </a:lnTo>
                    <a:lnTo>
                      <a:pt x="33" y="0"/>
                    </a:lnTo>
                    <a:lnTo>
                      <a:pt x="33" y="0"/>
                    </a:lnTo>
                    <a:lnTo>
                      <a:pt x="35"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0" name="Freeform 137">
                <a:extLst>
                  <a:ext uri="{FF2B5EF4-FFF2-40B4-BE49-F238E27FC236}">
                    <a16:creationId xmlns:a16="http://schemas.microsoft.com/office/drawing/2014/main" id="{67ADF852-C780-2BED-E13D-9E86F15B2A35}"/>
                  </a:ext>
                </a:extLst>
              </p:cNvPr>
              <p:cNvSpPr>
                <a:spLocks/>
              </p:cNvSpPr>
              <p:nvPr/>
            </p:nvSpPr>
            <p:spPr bwMode="gray">
              <a:xfrm>
                <a:off x="2459" y="1127"/>
                <a:ext cx="290" cy="272"/>
              </a:xfrm>
              <a:custGeom>
                <a:avLst/>
                <a:gdLst>
                  <a:gd name="T0" fmla="*/ 290 w 290"/>
                  <a:gd name="T1" fmla="*/ 144 h 272"/>
                  <a:gd name="T2" fmla="*/ 285 w 290"/>
                  <a:gd name="T3" fmla="*/ 169 h 272"/>
                  <a:gd name="T4" fmla="*/ 277 w 290"/>
                  <a:gd name="T5" fmla="*/ 178 h 272"/>
                  <a:gd name="T6" fmla="*/ 252 w 290"/>
                  <a:gd name="T7" fmla="*/ 180 h 272"/>
                  <a:gd name="T8" fmla="*/ 224 w 290"/>
                  <a:gd name="T9" fmla="*/ 186 h 272"/>
                  <a:gd name="T10" fmla="*/ 208 w 290"/>
                  <a:gd name="T11" fmla="*/ 184 h 272"/>
                  <a:gd name="T12" fmla="*/ 190 w 290"/>
                  <a:gd name="T13" fmla="*/ 192 h 272"/>
                  <a:gd name="T14" fmla="*/ 172 w 290"/>
                  <a:gd name="T15" fmla="*/ 199 h 272"/>
                  <a:gd name="T16" fmla="*/ 165 w 290"/>
                  <a:gd name="T17" fmla="*/ 209 h 272"/>
                  <a:gd name="T18" fmla="*/ 157 w 290"/>
                  <a:gd name="T19" fmla="*/ 217 h 272"/>
                  <a:gd name="T20" fmla="*/ 143 w 290"/>
                  <a:gd name="T21" fmla="*/ 217 h 272"/>
                  <a:gd name="T22" fmla="*/ 138 w 290"/>
                  <a:gd name="T23" fmla="*/ 228 h 272"/>
                  <a:gd name="T24" fmla="*/ 133 w 290"/>
                  <a:gd name="T25" fmla="*/ 238 h 272"/>
                  <a:gd name="T26" fmla="*/ 122 w 290"/>
                  <a:gd name="T27" fmla="*/ 244 h 272"/>
                  <a:gd name="T28" fmla="*/ 119 w 290"/>
                  <a:gd name="T29" fmla="*/ 256 h 272"/>
                  <a:gd name="T30" fmla="*/ 116 w 290"/>
                  <a:gd name="T31" fmla="*/ 267 h 272"/>
                  <a:gd name="T32" fmla="*/ 107 w 290"/>
                  <a:gd name="T33" fmla="*/ 270 h 272"/>
                  <a:gd name="T34" fmla="*/ 107 w 290"/>
                  <a:gd name="T35" fmla="*/ 264 h 272"/>
                  <a:gd name="T36" fmla="*/ 104 w 290"/>
                  <a:gd name="T37" fmla="*/ 264 h 272"/>
                  <a:gd name="T38" fmla="*/ 99 w 290"/>
                  <a:gd name="T39" fmla="*/ 269 h 272"/>
                  <a:gd name="T40" fmla="*/ 94 w 290"/>
                  <a:gd name="T41" fmla="*/ 272 h 272"/>
                  <a:gd name="T42" fmla="*/ 86 w 290"/>
                  <a:gd name="T43" fmla="*/ 269 h 272"/>
                  <a:gd name="T44" fmla="*/ 77 w 290"/>
                  <a:gd name="T45" fmla="*/ 270 h 272"/>
                  <a:gd name="T46" fmla="*/ 71 w 290"/>
                  <a:gd name="T47" fmla="*/ 264 h 272"/>
                  <a:gd name="T48" fmla="*/ 66 w 290"/>
                  <a:gd name="T49" fmla="*/ 256 h 272"/>
                  <a:gd name="T50" fmla="*/ 68 w 290"/>
                  <a:gd name="T51" fmla="*/ 252 h 272"/>
                  <a:gd name="T52" fmla="*/ 63 w 290"/>
                  <a:gd name="T53" fmla="*/ 245 h 272"/>
                  <a:gd name="T54" fmla="*/ 58 w 290"/>
                  <a:gd name="T55" fmla="*/ 233 h 272"/>
                  <a:gd name="T56" fmla="*/ 52 w 290"/>
                  <a:gd name="T57" fmla="*/ 233 h 272"/>
                  <a:gd name="T58" fmla="*/ 46 w 290"/>
                  <a:gd name="T59" fmla="*/ 238 h 272"/>
                  <a:gd name="T60" fmla="*/ 32 w 290"/>
                  <a:gd name="T61" fmla="*/ 236 h 272"/>
                  <a:gd name="T62" fmla="*/ 25 w 290"/>
                  <a:gd name="T63" fmla="*/ 238 h 272"/>
                  <a:gd name="T64" fmla="*/ 18 w 290"/>
                  <a:gd name="T65" fmla="*/ 239 h 272"/>
                  <a:gd name="T66" fmla="*/ 16 w 290"/>
                  <a:gd name="T67" fmla="*/ 230 h 272"/>
                  <a:gd name="T68" fmla="*/ 14 w 290"/>
                  <a:gd name="T69" fmla="*/ 220 h 272"/>
                  <a:gd name="T70" fmla="*/ 10 w 290"/>
                  <a:gd name="T71" fmla="*/ 214 h 272"/>
                  <a:gd name="T72" fmla="*/ 5 w 290"/>
                  <a:gd name="T73" fmla="*/ 208 h 272"/>
                  <a:gd name="T74" fmla="*/ 4 w 290"/>
                  <a:gd name="T75" fmla="*/ 199 h 272"/>
                  <a:gd name="T76" fmla="*/ 4 w 290"/>
                  <a:gd name="T77" fmla="*/ 189 h 272"/>
                  <a:gd name="T78" fmla="*/ 11 w 290"/>
                  <a:gd name="T79" fmla="*/ 177 h 272"/>
                  <a:gd name="T80" fmla="*/ 24 w 290"/>
                  <a:gd name="T81" fmla="*/ 183 h 272"/>
                  <a:gd name="T82" fmla="*/ 36 w 290"/>
                  <a:gd name="T83" fmla="*/ 178 h 272"/>
                  <a:gd name="T84" fmla="*/ 50 w 290"/>
                  <a:gd name="T85" fmla="*/ 173 h 272"/>
                  <a:gd name="T86" fmla="*/ 65 w 290"/>
                  <a:gd name="T87" fmla="*/ 177 h 272"/>
                  <a:gd name="T88" fmla="*/ 94 w 290"/>
                  <a:gd name="T89" fmla="*/ 177 h 272"/>
                  <a:gd name="T90" fmla="*/ 121 w 290"/>
                  <a:gd name="T91" fmla="*/ 170 h 272"/>
                  <a:gd name="T92" fmla="*/ 115 w 290"/>
                  <a:gd name="T93" fmla="*/ 139 h 272"/>
                  <a:gd name="T94" fmla="*/ 111 w 290"/>
                  <a:gd name="T95" fmla="*/ 101 h 272"/>
                  <a:gd name="T96" fmla="*/ 107 w 290"/>
                  <a:gd name="T97" fmla="*/ 65 h 272"/>
                  <a:gd name="T98" fmla="*/ 104 w 290"/>
                  <a:gd name="T99" fmla="*/ 28 h 272"/>
                  <a:gd name="T100" fmla="*/ 111 w 290"/>
                  <a:gd name="T101" fmla="*/ 0 h 272"/>
                  <a:gd name="T102" fmla="*/ 158 w 290"/>
                  <a:gd name="T103" fmla="*/ 19 h 272"/>
                  <a:gd name="T104" fmla="*/ 205 w 290"/>
                  <a:gd name="T105" fmla="*/ 51 h 272"/>
                  <a:gd name="T106" fmla="*/ 237 w 290"/>
                  <a:gd name="T107" fmla="*/ 75 h 272"/>
                  <a:gd name="T108" fmla="*/ 246 w 290"/>
                  <a:gd name="T109" fmla="*/ 86 h 272"/>
                  <a:gd name="T110" fmla="*/ 263 w 290"/>
                  <a:gd name="T111" fmla="*/ 94 h 272"/>
                  <a:gd name="T112" fmla="*/ 272 w 290"/>
                  <a:gd name="T113" fmla="*/ 101 h 272"/>
                  <a:gd name="T114" fmla="*/ 271 w 290"/>
                  <a:gd name="T115" fmla="*/ 109 h 272"/>
                  <a:gd name="T116" fmla="*/ 280 w 290"/>
                  <a:gd name="T117" fmla="*/ 11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 h="272">
                    <a:moveTo>
                      <a:pt x="290" y="109"/>
                    </a:moveTo>
                    <a:lnTo>
                      <a:pt x="290" y="112"/>
                    </a:lnTo>
                    <a:lnTo>
                      <a:pt x="290" y="117"/>
                    </a:lnTo>
                    <a:lnTo>
                      <a:pt x="290" y="123"/>
                    </a:lnTo>
                    <a:lnTo>
                      <a:pt x="290" y="128"/>
                    </a:lnTo>
                    <a:lnTo>
                      <a:pt x="290" y="134"/>
                    </a:lnTo>
                    <a:lnTo>
                      <a:pt x="290" y="137"/>
                    </a:lnTo>
                    <a:lnTo>
                      <a:pt x="290" y="144"/>
                    </a:lnTo>
                    <a:lnTo>
                      <a:pt x="290" y="148"/>
                    </a:lnTo>
                    <a:lnTo>
                      <a:pt x="290" y="150"/>
                    </a:lnTo>
                    <a:lnTo>
                      <a:pt x="290" y="153"/>
                    </a:lnTo>
                    <a:lnTo>
                      <a:pt x="290" y="156"/>
                    </a:lnTo>
                    <a:lnTo>
                      <a:pt x="288" y="161"/>
                    </a:lnTo>
                    <a:lnTo>
                      <a:pt x="287" y="164"/>
                    </a:lnTo>
                    <a:lnTo>
                      <a:pt x="285" y="166"/>
                    </a:lnTo>
                    <a:lnTo>
                      <a:pt x="285" y="169"/>
                    </a:lnTo>
                    <a:lnTo>
                      <a:pt x="285" y="169"/>
                    </a:lnTo>
                    <a:lnTo>
                      <a:pt x="285" y="170"/>
                    </a:lnTo>
                    <a:lnTo>
                      <a:pt x="283" y="172"/>
                    </a:lnTo>
                    <a:lnTo>
                      <a:pt x="283" y="172"/>
                    </a:lnTo>
                    <a:lnTo>
                      <a:pt x="283" y="173"/>
                    </a:lnTo>
                    <a:lnTo>
                      <a:pt x="280" y="173"/>
                    </a:lnTo>
                    <a:lnTo>
                      <a:pt x="277" y="177"/>
                    </a:lnTo>
                    <a:lnTo>
                      <a:pt x="277" y="178"/>
                    </a:lnTo>
                    <a:lnTo>
                      <a:pt x="274" y="178"/>
                    </a:lnTo>
                    <a:lnTo>
                      <a:pt x="269" y="178"/>
                    </a:lnTo>
                    <a:lnTo>
                      <a:pt x="269" y="178"/>
                    </a:lnTo>
                    <a:lnTo>
                      <a:pt x="269" y="178"/>
                    </a:lnTo>
                    <a:lnTo>
                      <a:pt x="268" y="180"/>
                    </a:lnTo>
                    <a:lnTo>
                      <a:pt x="263" y="180"/>
                    </a:lnTo>
                    <a:lnTo>
                      <a:pt x="258" y="180"/>
                    </a:lnTo>
                    <a:lnTo>
                      <a:pt x="252" y="180"/>
                    </a:lnTo>
                    <a:lnTo>
                      <a:pt x="249" y="180"/>
                    </a:lnTo>
                    <a:lnTo>
                      <a:pt x="243" y="180"/>
                    </a:lnTo>
                    <a:lnTo>
                      <a:pt x="238" y="180"/>
                    </a:lnTo>
                    <a:lnTo>
                      <a:pt x="235" y="183"/>
                    </a:lnTo>
                    <a:lnTo>
                      <a:pt x="233" y="186"/>
                    </a:lnTo>
                    <a:lnTo>
                      <a:pt x="232" y="186"/>
                    </a:lnTo>
                    <a:lnTo>
                      <a:pt x="229" y="186"/>
                    </a:lnTo>
                    <a:lnTo>
                      <a:pt x="224" y="186"/>
                    </a:lnTo>
                    <a:lnTo>
                      <a:pt x="221" y="186"/>
                    </a:lnTo>
                    <a:lnTo>
                      <a:pt x="219" y="186"/>
                    </a:lnTo>
                    <a:lnTo>
                      <a:pt x="219" y="186"/>
                    </a:lnTo>
                    <a:lnTo>
                      <a:pt x="216" y="186"/>
                    </a:lnTo>
                    <a:lnTo>
                      <a:pt x="211" y="184"/>
                    </a:lnTo>
                    <a:lnTo>
                      <a:pt x="208" y="184"/>
                    </a:lnTo>
                    <a:lnTo>
                      <a:pt x="208" y="184"/>
                    </a:lnTo>
                    <a:lnTo>
                      <a:pt x="208" y="184"/>
                    </a:lnTo>
                    <a:lnTo>
                      <a:pt x="207" y="184"/>
                    </a:lnTo>
                    <a:lnTo>
                      <a:pt x="204" y="184"/>
                    </a:lnTo>
                    <a:lnTo>
                      <a:pt x="202" y="184"/>
                    </a:lnTo>
                    <a:lnTo>
                      <a:pt x="201" y="186"/>
                    </a:lnTo>
                    <a:lnTo>
                      <a:pt x="197" y="188"/>
                    </a:lnTo>
                    <a:lnTo>
                      <a:pt x="197" y="189"/>
                    </a:lnTo>
                    <a:lnTo>
                      <a:pt x="194" y="189"/>
                    </a:lnTo>
                    <a:lnTo>
                      <a:pt x="190" y="192"/>
                    </a:lnTo>
                    <a:lnTo>
                      <a:pt x="186" y="194"/>
                    </a:lnTo>
                    <a:lnTo>
                      <a:pt x="186" y="194"/>
                    </a:lnTo>
                    <a:lnTo>
                      <a:pt x="185" y="194"/>
                    </a:lnTo>
                    <a:lnTo>
                      <a:pt x="183" y="194"/>
                    </a:lnTo>
                    <a:lnTo>
                      <a:pt x="182" y="195"/>
                    </a:lnTo>
                    <a:lnTo>
                      <a:pt x="180" y="200"/>
                    </a:lnTo>
                    <a:lnTo>
                      <a:pt x="179" y="200"/>
                    </a:lnTo>
                    <a:lnTo>
                      <a:pt x="172" y="199"/>
                    </a:lnTo>
                    <a:lnTo>
                      <a:pt x="171" y="199"/>
                    </a:lnTo>
                    <a:lnTo>
                      <a:pt x="171" y="199"/>
                    </a:lnTo>
                    <a:lnTo>
                      <a:pt x="168" y="202"/>
                    </a:lnTo>
                    <a:lnTo>
                      <a:pt x="166" y="205"/>
                    </a:lnTo>
                    <a:lnTo>
                      <a:pt x="165" y="206"/>
                    </a:lnTo>
                    <a:lnTo>
                      <a:pt x="165" y="208"/>
                    </a:lnTo>
                    <a:lnTo>
                      <a:pt x="165" y="209"/>
                    </a:lnTo>
                    <a:lnTo>
                      <a:pt x="165" y="209"/>
                    </a:lnTo>
                    <a:lnTo>
                      <a:pt x="163" y="209"/>
                    </a:lnTo>
                    <a:lnTo>
                      <a:pt x="163" y="209"/>
                    </a:lnTo>
                    <a:lnTo>
                      <a:pt x="160" y="209"/>
                    </a:lnTo>
                    <a:lnTo>
                      <a:pt x="158" y="209"/>
                    </a:lnTo>
                    <a:lnTo>
                      <a:pt x="158" y="211"/>
                    </a:lnTo>
                    <a:lnTo>
                      <a:pt x="158" y="214"/>
                    </a:lnTo>
                    <a:lnTo>
                      <a:pt x="158" y="216"/>
                    </a:lnTo>
                    <a:lnTo>
                      <a:pt x="157" y="217"/>
                    </a:lnTo>
                    <a:lnTo>
                      <a:pt x="155" y="217"/>
                    </a:lnTo>
                    <a:lnTo>
                      <a:pt x="154" y="217"/>
                    </a:lnTo>
                    <a:lnTo>
                      <a:pt x="154" y="217"/>
                    </a:lnTo>
                    <a:lnTo>
                      <a:pt x="149" y="214"/>
                    </a:lnTo>
                    <a:lnTo>
                      <a:pt x="146" y="214"/>
                    </a:lnTo>
                    <a:lnTo>
                      <a:pt x="144" y="214"/>
                    </a:lnTo>
                    <a:lnTo>
                      <a:pt x="143" y="216"/>
                    </a:lnTo>
                    <a:lnTo>
                      <a:pt x="143" y="217"/>
                    </a:lnTo>
                    <a:lnTo>
                      <a:pt x="141" y="217"/>
                    </a:lnTo>
                    <a:lnTo>
                      <a:pt x="140" y="219"/>
                    </a:lnTo>
                    <a:lnTo>
                      <a:pt x="140" y="220"/>
                    </a:lnTo>
                    <a:lnTo>
                      <a:pt x="141" y="222"/>
                    </a:lnTo>
                    <a:lnTo>
                      <a:pt x="141" y="224"/>
                    </a:lnTo>
                    <a:lnTo>
                      <a:pt x="141" y="225"/>
                    </a:lnTo>
                    <a:lnTo>
                      <a:pt x="138" y="227"/>
                    </a:lnTo>
                    <a:lnTo>
                      <a:pt x="138" y="228"/>
                    </a:lnTo>
                    <a:lnTo>
                      <a:pt x="138" y="228"/>
                    </a:lnTo>
                    <a:lnTo>
                      <a:pt x="138" y="230"/>
                    </a:lnTo>
                    <a:lnTo>
                      <a:pt x="138" y="233"/>
                    </a:lnTo>
                    <a:lnTo>
                      <a:pt x="138" y="234"/>
                    </a:lnTo>
                    <a:lnTo>
                      <a:pt x="136" y="234"/>
                    </a:lnTo>
                    <a:lnTo>
                      <a:pt x="135" y="236"/>
                    </a:lnTo>
                    <a:lnTo>
                      <a:pt x="135" y="236"/>
                    </a:lnTo>
                    <a:lnTo>
                      <a:pt x="133" y="238"/>
                    </a:lnTo>
                    <a:lnTo>
                      <a:pt x="132" y="239"/>
                    </a:lnTo>
                    <a:lnTo>
                      <a:pt x="129" y="239"/>
                    </a:lnTo>
                    <a:lnTo>
                      <a:pt x="126" y="239"/>
                    </a:lnTo>
                    <a:lnTo>
                      <a:pt x="126" y="241"/>
                    </a:lnTo>
                    <a:lnTo>
                      <a:pt x="124" y="241"/>
                    </a:lnTo>
                    <a:lnTo>
                      <a:pt x="122" y="242"/>
                    </a:lnTo>
                    <a:lnTo>
                      <a:pt x="122" y="244"/>
                    </a:lnTo>
                    <a:lnTo>
                      <a:pt x="122" y="244"/>
                    </a:lnTo>
                    <a:lnTo>
                      <a:pt x="124" y="245"/>
                    </a:lnTo>
                    <a:lnTo>
                      <a:pt x="124" y="247"/>
                    </a:lnTo>
                    <a:lnTo>
                      <a:pt x="124" y="247"/>
                    </a:lnTo>
                    <a:lnTo>
                      <a:pt x="124" y="250"/>
                    </a:lnTo>
                    <a:lnTo>
                      <a:pt x="122" y="253"/>
                    </a:lnTo>
                    <a:lnTo>
                      <a:pt x="122" y="255"/>
                    </a:lnTo>
                    <a:lnTo>
                      <a:pt x="121" y="255"/>
                    </a:lnTo>
                    <a:lnTo>
                      <a:pt x="119" y="256"/>
                    </a:lnTo>
                    <a:lnTo>
                      <a:pt x="119" y="258"/>
                    </a:lnTo>
                    <a:lnTo>
                      <a:pt x="121" y="261"/>
                    </a:lnTo>
                    <a:lnTo>
                      <a:pt x="119" y="263"/>
                    </a:lnTo>
                    <a:lnTo>
                      <a:pt x="119" y="264"/>
                    </a:lnTo>
                    <a:lnTo>
                      <a:pt x="119" y="266"/>
                    </a:lnTo>
                    <a:lnTo>
                      <a:pt x="119" y="267"/>
                    </a:lnTo>
                    <a:lnTo>
                      <a:pt x="118" y="267"/>
                    </a:lnTo>
                    <a:lnTo>
                      <a:pt x="116" y="267"/>
                    </a:lnTo>
                    <a:lnTo>
                      <a:pt x="113" y="267"/>
                    </a:lnTo>
                    <a:lnTo>
                      <a:pt x="113" y="269"/>
                    </a:lnTo>
                    <a:lnTo>
                      <a:pt x="111" y="269"/>
                    </a:lnTo>
                    <a:lnTo>
                      <a:pt x="111" y="269"/>
                    </a:lnTo>
                    <a:lnTo>
                      <a:pt x="111" y="270"/>
                    </a:lnTo>
                    <a:lnTo>
                      <a:pt x="110" y="270"/>
                    </a:lnTo>
                    <a:lnTo>
                      <a:pt x="108" y="270"/>
                    </a:lnTo>
                    <a:lnTo>
                      <a:pt x="107" y="270"/>
                    </a:lnTo>
                    <a:lnTo>
                      <a:pt x="107" y="270"/>
                    </a:lnTo>
                    <a:lnTo>
                      <a:pt x="107" y="269"/>
                    </a:lnTo>
                    <a:lnTo>
                      <a:pt x="107" y="269"/>
                    </a:lnTo>
                    <a:lnTo>
                      <a:pt x="107" y="267"/>
                    </a:lnTo>
                    <a:lnTo>
                      <a:pt x="107" y="267"/>
                    </a:lnTo>
                    <a:lnTo>
                      <a:pt x="107" y="266"/>
                    </a:lnTo>
                    <a:lnTo>
                      <a:pt x="107" y="264"/>
                    </a:lnTo>
                    <a:lnTo>
                      <a:pt x="107" y="264"/>
                    </a:lnTo>
                    <a:lnTo>
                      <a:pt x="107" y="261"/>
                    </a:lnTo>
                    <a:lnTo>
                      <a:pt x="107" y="261"/>
                    </a:lnTo>
                    <a:lnTo>
                      <a:pt x="104" y="263"/>
                    </a:lnTo>
                    <a:lnTo>
                      <a:pt x="104" y="263"/>
                    </a:lnTo>
                    <a:lnTo>
                      <a:pt x="104" y="263"/>
                    </a:lnTo>
                    <a:lnTo>
                      <a:pt x="104" y="263"/>
                    </a:lnTo>
                    <a:lnTo>
                      <a:pt x="104" y="264"/>
                    </a:lnTo>
                    <a:lnTo>
                      <a:pt x="104" y="264"/>
                    </a:lnTo>
                    <a:lnTo>
                      <a:pt x="102" y="264"/>
                    </a:lnTo>
                    <a:lnTo>
                      <a:pt x="100" y="264"/>
                    </a:lnTo>
                    <a:lnTo>
                      <a:pt x="99" y="263"/>
                    </a:lnTo>
                    <a:lnTo>
                      <a:pt x="99" y="263"/>
                    </a:lnTo>
                    <a:lnTo>
                      <a:pt x="99" y="264"/>
                    </a:lnTo>
                    <a:lnTo>
                      <a:pt x="99" y="266"/>
                    </a:lnTo>
                    <a:lnTo>
                      <a:pt x="99" y="267"/>
                    </a:lnTo>
                    <a:lnTo>
                      <a:pt x="99" y="269"/>
                    </a:lnTo>
                    <a:lnTo>
                      <a:pt x="97" y="269"/>
                    </a:lnTo>
                    <a:lnTo>
                      <a:pt x="96" y="269"/>
                    </a:lnTo>
                    <a:lnTo>
                      <a:pt x="94" y="269"/>
                    </a:lnTo>
                    <a:lnTo>
                      <a:pt x="94" y="269"/>
                    </a:lnTo>
                    <a:lnTo>
                      <a:pt x="93" y="269"/>
                    </a:lnTo>
                    <a:lnTo>
                      <a:pt x="93" y="270"/>
                    </a:lnTo>
                    <a:lnTo>
                      <a:pt x="94" y="270"/>
                    </a:lnTo>
                    <a:lnTo>
                      <a:pt x="94" y="272"/>
                    </a:lnTo>
                    <a:lnTo>
                      <a:pt x="93" y="272"/>
                    </a:lnTo>
                    <a:lnTo>
                      <a:pt x="93" y="272"/>
                    </a:lnTo>
                    <a:lnTo>
                      <a:pt x="93" y="272"/>
                    </a:lnTo>
                    <a:lnTo>
                      <a:pt x="91" y="270"/>
                    </a:lnTo>
                    <a:lnTo>
                      <a:pt x="90" y="270"/>
                    </a:lnTo>
                    <a:lnTo>
                      <a:pt x="86" y="270"/>
                    </a:lnTo>
                    <a:lnTo>
                      <a:pt x="86" y="269"/>
                    </a:lnTo>
                    <a:lnTo>
                      <a:pt x="86" y="269"/>
                    </a:lnTo>
                    <a:lnTo>
                      <a:pt x="85" y="267"/>
                    </a:lnTo>
                    <a:lnTo>
                      <a:pt x="85" y="267"/>
                    </a:lnTo>
                    <a:lnTo>
                      <a:pt x="83" y="267"/>
                    </a:lnTo>
                    <a:lnTo>
                      <a:pt x="83" y="267"/>
                    </a:lnTo>
                    <a:lnTo>
                      <a:pt x="82" y="267"/>
                    </a:lnTo>
                    <a:lnTo>
                      <a:pt x="80" y="269"/>
                    </a:lnTo>
                    <a:lnTo>
                      <a:pt x="79" y="270"/>
                    </a:lnTo>
                    <a:lnTo>
                      <a:pt x="77" y="270"/>
                    </a:lnTo>
                    <a:lnTo>
                      <a:pt x="75" y="272"/>
                    </a:lnTo>
                    <a:lnTo>
                      <a:pt x="75" y="272"/>
                    </a:lnTo>
                    <a:lnTo>
                      <a:pt x="75" y="270"/>
                    </a:lnTo>
                    <a:lnTo>
                      <a:pt x="75" y="269"/>
                    </a:lnTo>
                    <a:lnTo>
                      <a:pt x="75" y="269"/>
                    </a:lnTo>
                    <a:lnTo>
                      <a:pt x="71" y="267"/>
                    </a:lnTo>
                    <a:lnTo>
                      <a:pt x="71" y="266"/>
                    </a:lnTo>
                    <a:lnTo>
                      <a:pt x="71" y="264"/>
                    </a:lnTo>
                    <a:lnTo>
                      <a:pt x="69" y="261"/>
                    </a:lnTo>
                    <a:lnTo>
                      <a:pt x="69" y="260"/>
                    </a:lnTo>
                    <a:lnTo>
                      <a:pt x="71" y="258"/>
                    </a:lnTo>
                    <a:lnTo>
                      <a:pt x="69" y="258"/>
                    </a:lnTo>
                    <a:lnTo>
                      <a:pt x="69" y="256"/>
                    </a:lnTo>
                    <a:lnTo>
                      <a:pt x="68" y="256"/>
                    </a:lnTo>
                    <a:lnTo>
                      <a:pt x="68" y="256"/>
                    </a:lnTo>
                    <a:lnTo>
                      <a:pt x="66" y="256"/>
                    </a:lnTo>
                    <a:lnTo>
                      <a:pt x="65" y="256"/>
                    </a:lnTo>
                    <a:lnTo>
                      <a:pt x="65" y="256"/>
                    </a:lnTo>
                    <a:lnTo>
                      <a:pt x="65" y="256"/>
                    </a:lnTo>
                    <a:lnTo>
                      <a:pt x="65" y="256"/>
                    </a:lnTo>
                    <a:lnTo>
                      <a:pt x="66" y="253"/>
                    </a:lnTo>
                    <a:lnTo>
                      <a:pt x="66" y="253"/>
                    </a:lnTo>
                    <a:lnTo>
                      <a:pt x="68" y="252"/>
                    </a:lnTo>
                    <a:lnTo>
                      <a:pt x="68" y="252"/>
                    </a:lnTo>
                    <a:lnTo>
                      <a:pt x="68" y="250"/>
                    </a:lnTo>
                    <a:lnTo>
                      <a:pt x="69" y="250"/>
                    </a:lnTo>
                    <a:lnTo>
                      <a:pt x="68" y="250"/>
                    </a:lnTo>
                    <a:lnTo>
                      <a:pt x="68" y="250"/>
                    </a:lnTo>
                    <a:lnTo>
                      <a:pt x="66" y="249"/>
                    </a:lnTo>
                    <a:lnTo>
                      <a:pt x="65" y="249"/>
                    </a:lnTo>
                    <a:lnTo>
                      <a:pt x="65" y="247"/>
                    </a:lnTo>
                    <a:lnTo>
                      <a:pt x="63" y="245"/>
                    </a:lnTo>
                    <a:lnTo>
                      <a:pt x="63" y="245"/>
                    </a:lnTo>
                    <a:lnTo>
                      <a:pt x="61" y="245"/>
                    </a:lnTo>
                    <a:lnTo>
                      <a:pt x="61" y="245"/>
                    </a:lnTo>
                    <a:lnTo>
                      <a:pt x="61" y="242"/>
                    </a:lnTo>
                    <a:lnTo>
                      <a:pt x="61" y="241"/>
                    </a:lnTo>
                    <a:lnTo>
                      <a:pt x="60" y="238"/>
                    </a:lnTo>
                    <a:lnTo>
                      <a:pt x="58" y="234"/>
                    </a:lnTo>
                    <a:lnTo>
                      <a:pt x="58" y="233"/>
                    </a:lnTo>
                    <a:lnTo>
                      <a:pt x="57" y="231"/>
                    </a:lnTo>
                    <a:lnTo>
                      <a:pt x="55" y="231"/>
                    </a:lnTo>
                    <a:lnTo>
                      <a:pt x="54" y="230"/>
                    </a:lnTo>
                    <a:lnTo>
                      <a:pt x="52" y="230"/>
                    </a:lnTo>
                    <a:lnTo>
                      <a:pt x="52" y="230"/>
                    </a:lnTo>
                    <a:lnTo>
                      <a:pt x="50" y="231"/>
                    </a:lnTo>
                    <a:lnTo>
                      <a:pt x="50" y="231"/>
                    </a:lnTo>
                    <a:lnTo>
                      <a:pt x="52" y="233"/>
                    </a:lnTo>
                    <a:lnTo>
                      <a:pt x="52" y="233"/>
                    </a:lnTo>
                    <a:lnTo>
                      <a:pt x="52" y="234"/>
                    </a:lnTo>
                    <a:lnTo>
                      <a:pt x="52" y="234"/>
                    </a:lnTo>
                    <a:lnTo>
                      <a:pt x="50" y="234"/>
                    </a:lnTo>
                    <a:lnTo>
                      <a:pt x="49" y="234"/>
                    </a:lnTo>
                    <a:lnTo>
                      <a:pt x="47" y="236"/>
                    </a:lnTo>
                    <a:lnTo>
                      <a:pt x="46" y="236"/>
                    </a:lnTo>
                    <a:lnTo>
                      <a:pt x="46" y="238"/>
                    </a:lnTo>
                    <a:lnTo>
                      <a:pt x="44" y="239"/>
                    </a:lnTo>
                    <a:lnTo>
                      <a:pt x="44" y="238"/>
                    </a:lnTo>
                    <a:lnTo>
                      <a:pt x="40" y="238"/>
                    </a:lnTo>
                    <a:lnTo>
                      <a:pt x="38" y="236"/>
                    </a:lnTo>
                    <a:lnTo>
                      <a:pt x="35" y="234"/>
                    </a:lnTo>
                    <a:lnTo>
                      <a:pt x="35" y="236"/>
                    </a:lnTo>
                    <a:lnTo>
                      <a:pt x="33" y="236"/>
                    </a:lnTo>
                    <a:lnTo>
                      <a:pt x="32" y="236"/>
                    </a:lnTo>
                    <a:lnTo>
                      <a:pt x="30" y="239"/>
                    </a:lnTo>
                    <a:lnTo>
                      <a:pt x="30" y="241"/>
                    </a:lnTo>
                    <a:lnTo>
                      <a:pt x="29" y="241"/>
                    </a:lnTo>
                    <a:lnTo>
                      <a:pt x="29" y="241"/>
                    </a:lnTo>
                    <a:lnTo>
                      <a:pt x="29" y="241"/>
                    </a:lnTo>
                    <a:lnTo>
                      <a:pt x="27" y="241"/>
                    </a:lnTo>
                    <a:lnTo>
                      <a:pt x="27" y="241"/>
                    </a:lnTo>
                    <a:lnTo>
                      <a:pt x="25" y="238"/>
                    </a:lnTo>
                    <a:lnTo>
                      <a:pt x="25" y="236"/>
                    </a:lnTo>
                    <a:lnTo>
                      <a:pt x="24" y="236"/>
                    </a:lnTo>
                    <a:lnTo>
                      <a:pt x="22" y="234"/>
                    </a:lnTo>
                    <a:lnTo>
                      <a:pt x="22" y="236"/>
                    </a:lnTo>
                    <a:lnTo>
                      <a:pt x="21" y="238"/>
                    </a:lnTo>
                    <a:lnTo>
                      <a:pt x="19" y="239"/>
                    </a:lnTo>
                    <a:lnTo>
                      <a:pt x="18" y="239"/>
                    </a:lnTo>
                    <a:lnTo>
                      <a:pt x="18" y="239"/>
                    </a:lnTo>
                    <a:lnTo>
                      <a:pt x="16" y="238"/>
                    </a:lnTo>
                    <a:lnTo>
                      <a:pt x="14" y="236"/>
                    </a:lnTo>
                    <a:lnTo>
                      <a:pt x="14" y="236"/>
                    </a:lnTo>
                    <a:lnTo>
                      <a:pt x="14" y="234"/>
                    </a:lnTo>
                    <a:lnTo>
                      <a:pt x="14" y="233"/>
                    </a:lnTo>
                    <a:lnTo>
                      <a:pt x="16" y="233"/>
                    </a:lnTo>
                    <a:lnTo>
                      <a:pt x="16" y="231"/>
                    </a:lnTo>
                    <a:lnTo>
                      <a:pt x="16" y="230"/>
                    </a:lnTo>
                    <a:lnTo>
                      <a:pt x="14" y="230"/>
                    </a:lnTo>
                    <a:lnTo>
                      <a:pt x="14" y="230"/>
                    </a:lnTo>
                    <a:lnTo>
                      <a:pt x="14" y="228"/>
                    </a:lnTo>
                    <a:lnTo>
                      <a:pt x="16" y="225"/>
                    </a:lnTo>
                    <a:lnTo>
                      <a:pt x="16" y="224"/>
                    </a:lnTo>
                    <a:lnTo>
                      <a:pt x="16" y="222"/>
                    </a:lnTo>
                    <a:lnTo>
                      <a:pt x="14" y="222"/>
                    </a:lnTo>
                    <a:lnTo>
                      <a:pt x="14" y="220"/>
                    </a:lnTo>
                    <a:lnTo>
                      <a:pt x="14" y="219"/>
                    </a:lnTo>
                    <a:lnTo>
                      <a:pt x="13" y="217"/>
                    </a:lnTo>
                    <a:lnTo>
                      <a:pt x="13" y="217"/>
                    </a:lnTo>
                    <a:lnTo>
                      <a:pt x="13" y="216"/>
                    </a:lnTo>
                    <a:lnTo>
                      <a:pt x="11" y="214"/>
                    </a:lnTo>
                    <a:lnTo>
                      <a:pt x="11" y="214"/>
                    </a:lnTo>
                    <a:lnTo>
                      <a:pt x="10" y="214"/>
                    </a:lnTo>
                    <a:lnTo>
                      <a:pt x="10" y="214"/>
                    </a:lnTo>
                    <a:lnTo>
                      <a:pt x="8" y="216"/>
                    </a:lnTo>
                    <a:lnTo>
                      <a:pt x="8" y="216"/>
                    </a:lnTo>
                    <a:lnTo>
                      <a:pt x="7" y="214"/>
                    </a:lnTo>
                    <a:lnTo>
                      <a:pt x="7" y="214"/>
                    </a:lnTo>
                    <a:lnTo>
                      <a:pt x="7" y="213"/>
                    </a:lnTo>
                    <a:lnTo>
                      <a:pt x="7" y="213"/>
                    </a:lnTo>
                    <a:lnTo>
                      <a:pt x="4" y="209"/>
                    </a:lnTo>
                    <a:lnTo>
                      <a:pt x="5" y="208"/>
                    </a:lnTo>
                    <a:lnTo>
                      <a:pt x="5" y="206"/>
                    </a:lnTo>
                    <a:lnTo>
                      <a:pt x="5" y="206"/>
                    </a:lnTo>
                    <a:lnTo>
                      <a:pt x="7" y="205"/>
                    </a:lnTo>
                    <a:lnTo>
                      <a:pt x="5" y="205"/>
                    </a:lnTo>
                    <a:lnTo>
                      <a:pt x="5" y="203"/>
                    </a:lnTo>
                    <a:lnTo>
                      <a:pt x="5" y="202"/>
                    </a:lnTo>
                    <a:lnTo>
                      <a:pt x="5" y="200"/>
                    </a:lnTo>
                    <a:lnTo>
                      <a:pt x="4" y="199"/>
                    </a:lnTo>
                    <a:lnTo>
                      <a:pt x="4" y="197"/>
                    </a:lnTo>
                    <a:lnTo>
                      <a:pt x="2" y="197"/>
                    </a:lnTo>
                    <a:lnTo>
                      <a:pt x="2" y="195"/>
                    </a:lnTo>
                    <a:lnTo>
                      <a:pt x="2" y="192"/>
                    </a:lnTo>
                    <a:lnTo>
                      <a:pt x="2" y="192"/>
                    </a:lnTo>
                    <a:lnTo>
                      <a:pt x="0" y="189"/>
                    </a:lnTo>
                    <a:lnTo>
                      <a:pt x="4" y="189"/>
                    </a:lnTo>
                    <a:lnTo>
                      <a:pt x="4" y="189"/>
                    </a:lnTo>
                    <a:lnTo>
                      <a:pt x="5" y="189"/>
                    </a:lnTo>
                    <a:lnTo>
                      <a:pt x="7" y="188"/>
                    </a:lnTo>
                    <a:lnTo>
                      <a:pt x="8" y="186"/>
                    </a:lnTo>
                    <a:lnTo>
                      <a:pt x="8" y="183"/>
                    </a:lnTo>
                    <a:lnTo>
                      <a:pt x="8" y="181"/>
                    </a:lnTo>
                    <a:lnTo>
                      <a:pt x="8" y="178"/>
                    </a:lnTo>
                    <a:lnTo>
                      <a:pt x="10" y="178"/>
                    </a:lnTo>
                    <a:lnTo>
                      <a:pt x="11" y="177"/>
                    </a:lnTo>
                    <a:lnTo>
                      <a:pt x="13" y="175"/>
                    </a:lnTo>
                    <a:lnTo>
                      <a:pt x="14" y="173"/>
                    </a:lnTo>
                    <a:lnTo>
                      <a:pt x="14" y="173"/>
                    </a:lnTo>
                    <a:lnTo>
                      <a:pt x="16" y="175"/>
                    </a:lnTo>
                    <a:lnTo>
                      <a:pt x="19" y="178"/>
                    </a:lnTo>
                    <a:lnTo>
                      <a:pt x="22" y="181"/>
                    </a:lnTo>
                    <a:lnTo>
                      <a:pt x="24" y="183"/>
                    </a:lnTo>
                    <a:lnTo>
                      <a:pt x="24" y="183"/>
                    </a:lnTo>
                    <a:lnTo>
                      <a:pt x="25" y="180"/>
                    </a:lnTo>
                    <a:lnTo>
                      <a:pt x="27" y="178"/>
                    </a:lnTo>
                    <a:lnTo>
                      <a:pt x="29" y="178"/>
                    </a:lnTo>
                    <a:lnTo>
                      <a:pt x="30" y="177"/>
                    </a:lnTo>
                    <a:lnTo>
                      <a:pt x="32" y="177"/>
                    </a:lnTo>
                    <a:lnTo>
                      <a:pt x="33" y="177"/>
                    </a:lnTo>
                    <a:lnTo>
                      <a:pt x="36" y="178"/>
                    </a:lnTo>
                    <a:lnTo>
                      <a:pt x="36" y="178"/>
                    </a:lnTo>
                    <a:lnTo>
                      <a:pt x="38" y="178"/>
                    </a:lnTo>
                    <a:lnTo>
                      <a:pt x="41" y="178"/>
                    </a:lnTo>
                    <a:lnTo>
                      <a:pt x="44" y="178"/>
                    </a:lnTo>
                    <a:lnTo>
                      <a:pt x="47" y="177"/>
                    </a:lnTo>
                    <a:lnTo>
                      <a:pt x="50" y="177"/>
                    </a:lnTo>
                    <a:lnTo>
                      <a:pt x="50" y="177"/>
                    </a:lnTo>
                    <a:lnTo>
                      <a:pt x="50" y="175"/>
                    </a:lnTo>
                    <a:lnTo>
                      <a:pt x="50" y="173"/>
                    </a:lnTo>
                    <a:lnTo>
                      <a:pt x="50" y="173"/>
                    </a:lnTo>
                    <a:lnTo>
                      <a:pt x="52" y="173"/>
                    </a:lnTo>
                    <a:lnTo>
                      <a:pt x="52" y="175"/>
                    </a:lnTo>
                    <a:lnTo>
                      <a:pt x="52" y="177"/>
                    </a:lnTo>
                    <a:lnTo>
                      <a:pt x="55" y="177"/>
                    </a:lnTo>
                    <a:lnTo>
                      <a:pt x="58" y="177"/>
                    </a:lnTo>
                    <a:lnTo>
                      <a:pt x="61" y="177"/>
                    </a:lnTo>
                    <a:lnTo>
                      <a:pt x="65" y="177"/>
                    </a:lnTo>
                    <a:lnTo>
                      <a:pt x="69" y="177"/>
                    </a:lnTo>
                    <a:lnTo>
                      <a:pt x="72" y="177"/>
                    </a:lnTo>
                    <a:lnTo>
                      <a:pt x="75" y="177"/>
                    </a:lnTo>
                    <a:lnTo>
                      <a:pt x="80" y="177"/>
                    </a:lnTo>
                    <a:lnTo>
                      <a:pt x="83" y="177"/>
                    </a:lnTo>
                    <a:lnTo>
                      <a:pt x="86" y="177"/>
                    </a:lnTo>
                    <a:lnTo>
                      <a:pt x="91" y="177"/>
                    </a:lnTo>
                    <a:lnTo>
                      <a:pt x="94" y="177"/>
                    </a:lnTo>
                    <a:lnTo>
                      <a:pt x="97" y="177"/>
                    </a:lnTo>
                    <a:lnTo>
                      <a:pt x="100" y="177"/>
                    </a:lnTo>
                    <a:lnTo>
                      <a:pt x="105" y="177"/>
                    </a:lnTo>
                    <a:lnTo>
                      <a:pt x="108" y="177"/>
                    </a:lnTo>
                    <a:lnTo>
                      <a:pt x="111" y="177"/>
                    </a:lnTo>
                    <a:lnTo>
                      <a:pt x="116" y="177"/>
                    </a:lnTo>
                    <a:lnTo>
                      <a:pt x="119" y="177"/>
                    </a:lnTo>
                    <a:lnTo>
                      <a:pt x="121" y="170"/>
                    </a:lnTo>
                    <a:lnTo>
                      <a:pt x="121" y="166"/>
                    </a:lnTo>
                    <a:lnTo>
                      <a:pt x="122" y="163"/>
                    </a:lnTo>
                    <a:lnTo>
                      <a:pt x="119" y="159"/>
                    </a:lnTo>
                    <a:lnTo>
                      <a:pt x="118" y="156"/>
                    </a:lnTo>
                    <a:lnTo>
                      <a:pt x="116" y="152"/>
                    </a:lnTo>
                    <a:lnTo>
                      <a:pt x="116" y="148"/>
                    </a:lnTo>
                    <a:lnTo>
                      <a:pt x="116" y="144"/>
                    </a:lnTo>
                    <a:lnTo>
                      <a:pt x="115" y="139"/>
                    </a:lnTo>
                    <a:lnTo>
                      <a:pt x="115" y="134"/>
                    </a:lnTo>
                    <a:lnTo>
                      <a:pt x="115" y="130"/>
                    </a:lnTo>
                    <a:lnTo>
                      <a:pt x="113" y="125"/>
                    </a:lnTo>
                    <a:lnTo>
                      <a:pt x="113" y="120"/>
                    </a:lnTo>
                    <a:lnTo>
                      <a:pt x="113" y="116"/>
                    </a:lnTo>
                    <a:lnTo>
                      <a:pt x="111" y="111"/>
                    </a:lnTo>
                    <a:lnTo>
                      <a:pt x="111" y="106"/>
                    </a:lnTo>
                    <a:lnTo>
                      <a:pt x="111" y="101"/>
                    </a:lnTo>
                    <a:lnTo>
                      <a:pt x="110" y="97"/>
                    </a:lnTo>
                    <a:lnTo>
                      <a:pt x="110" y="92"/>
                    </a:lnTo>
                    <a:lnTo>
                      <a:pt x="110" y="87"/>
                    </a:lnTo>
                    <a:lnTo>
                      <a:pt x="110" y="84"/>
                    </a:lnTo>
                    <a:lnTo>
                      <a:pt x="108" y="80"/>
                    </a:lnTo>
                    <a:lnTo>
                      <a:pt x="108" y="75"/>
                    </a:lnTo>
                    <a:lnTo>
                      <a:pt x="108" y="70"/>
                    </a:lnTo>
                    <a:lnTo>
                      <a:pt x="107" y="65"/>
                    </a:lnTo>
                    <a:lnTo>
                      <a:pt x="107" y="61"/>
                    </a:lnTo>
                    <a:lnTo>
                      <a:pt x="107" y="56"/>
                    </a:lnTo>
                    <a:lnTo>
                      <a:pt x="105" y="51"/>
                    </a:lnTo>
                    <a:lnTo>
                      <a:pt x="105" y="47"/>
                    </a:lnTo>
                    <a:lnTo>
                      <a:pt x="105" y="42"/>
                    </a:lnTo>
                    <a:lnTo>
                      <a:pt x="104" y="37"/>
                    </a:lnTo>
                    <a:lnTo>
                      <a:pt x="104" y="33"/>
                    </a:lnTo>
                    <a:lnTo>
                      <a:pt x="104" y="28"/>
                    </a:lnTo>
                    <a:lnTo>
                      <a:pt x="102" y="23"/>
                    </a:lnTo>
                    <a:lnTo>
                      <a:pt x="102" y="19"/>
                    </a:lnTo>
                    <a:lnTo>
                      <a:pt x="102" y="12"/>
                    </a:lnTo>
                    <a:lnTo>
                      <a:pt x="100" y="8"/>
                    </a:lnTo>
                    <a:lnTo>
                      <a:pt x="100" y="3"/>
                    </a:lnTo>
                    <a:lnTo>
                      <a:pt x="100" y="0"/>
                    </a:lnTo>
                    <a:lnTo>
                      <a:pt x="105" y="0"/>
                    </a:lnTo>
                    <a:lnTo>
                      <a:pt x="111" y="0"/>
                    </a:lnTo>
                    <a:lnTo>
                      <a:pt x="116" y="0"/>
                    </a:lnTo>
                    <a:lnTo>
                      <a:pt x="126" y="0"/>
                    </a:lnTo>
                    <a:lnTo>
                      <a:pt x="132" y="0"/>
                    </a:lnTo>
                    <a:lnTo>
                      <a:pt x="136" y="3"/>
                    </a:lnTo>
                    <a:lnTo>
                      <a:pt x="141" y="6"/>
                    </a:lnTo>
                    <a:lnTo>
                      <a:pt x="147" y="11"/>
                    </a:lnTo>
                    <a:lnTo>
                      <a:pt x="154" y="14"/>
                    </a:lnTo>
                    <a:lnTo>
                      <a:pt x="158" y="19"/>
                    </a:lnTo>
                    <a:lnTo>
                      <a:pt x="165" y="23"/>
                    </a:lnTo>
                    <a:lnTo>
                      <a:pt x="171" y="26"/>
                    </a:lnTo>
                    <a:lnTo>
                      <a:pt x="176" y="31"/>
                    </a:lnTo>
                    <a:lnTo>
                      <a:pt x="182" y="34"/>
                    </a:lnTo>
                    <a:lnTo>
                      <a:pt x="188" y="39"/>
                    </a:lnTo>
                    <a:lnTo>
                      <a:pt x="193" y="44"/>
                    </a:lnTo>
                    <a:lnTo>
                      <a:pt x="199" y="47"/>
                    </a:lnTo>
                    <a:lnTo>
                      <a:pt x="205" y="51"/>
                    </a:lnTo>
                    <a:lnTo>
                      <a:pt x="210" y="55"/>
                    </a:lnTo>
                    <a:lnTo>
                      <a:pt x="216" y="59"/>
                    </a:lnTo>
                    <a:lnTo>
                      <a:pt x="222" y="64"/>
                    </a:lnTo>
                    <a:lnTo>
                      <a:pt x="227" y="67"/>
                    </a:lnTo>
                    <a:lnTo>
                      <a:pt x="233" y="72"/>
                    </a:lnTo>
                    <a:lnTo>
                      <a:pt x="237" y="73"/>
                    </a:lnTo>
                    <a:lnTo>
                      <a:pt x="237" y="73"/>
                    </a:lnTo>
                    <a:lnTo>
                      <a:pt x="237" y="75"/>
                    </a:lnTo>
                    <a:lnTo>
                      <a:pt x="237" y="76"/>
                    </a:lnTo>
                    <a:lnTo>
                      <a:pt x="237" y="78"/>
                    </a:lnTo>
                    <a:lnTo>
                      <a:pt x="237" y="80"/>
                    </a:lnTo>
                    <a:lnTo>
                      <a:pt x="238" y="80"/>
                    </a:lnTo>
                    <a:lnTo>
                      <a:pt x="244" y="83"/>
                    </a:lnTo>
                    <a:lnTo>
                      <a:pt x="244" y="84"/>
                    </a:lnTo>
                    <a:lnTo>
                      <a:pt x="244" y="84"/>
                    </a:lnTo>
                    <a:lnTo>
                      <a:pt x="246" y="86"/>
                    </a:lnTo>
                    <a:lnTo>
                      <a:pt x="246" y="87"/>
                    </a:lnTo>
                    <a:lnTo>
                      <a:pt x="247" y="87"/>
                    </a:lnTo>
                    <a:lnTo>
                      <a:pt x="249" y="89"/>
                    </a:lnTo>
                    <a:lnTo>
                      <a:pt x="255" y="89"/>
                    </a:lnTo>
                    <a:lnTo>
                      <a:pt x="255" y="89"/>
                    </a:lnTo>
                    <a:lnTo>
                      <a:pt x="258" y="92"/>
                    </a:lnTo>
                    <a:lnTo>
                      <a:pt x="260" y="94"/>
                    </a:lnTo>
                    <a:lnTo>
                      <a:pt x="263" y="94"/>
                    </a:lnTo>
                    <a:lnTo>
                      <a:pt x="265" y="94"/>
                    </a:lnTo>
                    <a:lnTo>
                      <a:pt x="266" y="94"/>
                    </a:lnTo>
                    <a:lnTo>
                      <a:pt x="268" y="95"/>
                    </a:lnTo>
                    <a:lnTo>
                      <a:pt x="271" y="97"/>
                    </a:lnTo>
                    <a:lnTo>
                      <a:pt x="272" y="97"/>
                    </a:lnTo>
                    <a:lnTo>
                      <a:pt x="272" y="98"/>
                    </a:lnTo>
                    <a:lnTo>
                      <a:pt x="272" y="98"/>
                    </a:lnTo>
                    <a:lnTo>
                      <a:pt x="272" y="101"/>
                    </a:lnTo>
                    <a:lnTo>
                      <a:pt x="272" y="103"/>
                    </a:lnTo>
                    <a:lnTo>
                      <a:pt x="272" y="105"/>
                    </a:lnTo>
                    <a:lnTo>
                      <a:pt x="272" y="105"/>
                    </a:lnTo>
                    <a:lnTo>
                      <a:pt x="272" y="106"/>
                    </a:lnTo>
                    <a:lnTo>
                      <a:pt x="272" y="106"/>
                    </a:lnTo>
                    <a:lnTo>
                      <a:pt x="271" y="108"/>
                    </a:lnTo>
                    <a:lnTo>
                      <a:pt x="271" y="108"/>
                    </a:lnTo>
                    <a:lnTo>
                      <a:pt x="271" y="109"/>
                    </a:lnTo>
                    <a:lnTo>
                      <a:pt x="271" y="111"/>
                    </a:lnTo>
                    <a:lnTo>
                      <a:pt x="271" y="111"/>
                    </a:lnTo>
                    <a:lnTo>
                      <a:pt x="272" y="112"/>
                    </a:lnTo>
                    <a:lnTo>
                      <a:pt x="274" y="112"/>
                    </a:lnTo>
                    <a:lnTo>
                      <a:pt x="274" y="112"/>
                    </a:lnTo>
                    <a:lnTo>
                      <a:pt x="276" y="112"/>
                    </a:lnTo>
                    <a:lnTo>
                      <a:pt x="276" y="112"/>
                    </a:lnTo>
                    <a:lnTo>
                      <a:pt x="280" y="111"/>
                    </a:lnTo>
                    <a:lnTo>
                      <a:pt x="285" y="111"/>
                    </a:lnTo>
                    <a:lnTo>
                      <a:pt x="290" y="10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1" name="Freeform 138">
                <a:extLst>
                  <a:ext uri="{FF2B5EF4-FFF2-40B4-BE49-F238E27FC236}">
                    <a16:creationId xmlns:a16="http://schemas.microsoft.com/office/drawing/2014/main" id="{CDEF5F09-7D74-AE5B-5075-0CACDE1C8011}"/>
                  </a:ext>
                </a:extLst>
              </p:cNvPr>
              <p:cNvSpPr>
                <a:spLocks noEditPoints="1"/>
              </p:cNvSpPr>
              <p:nvPr/>
            </p:nvSpPr>
            <p:spPr bwMode="gray">
              <a:xfrm>
                <a:off x="4293" y="1058"/>
                <a:ext cx="157" cy="346"/>
              </a:xfrm>
              <a:custGeom>
                <a:avLst/>
                <a:gdLst>
                  <a:gd name="T0" fmla="*/ 105 w 157"/>
                  <a:gd name="T1" fmla="*/ 327 h 346"/>
                  <a:gd name="T2" fmla="*/ 107 w 157"/>
                  <a:gd name="T3" fmla="*/ 313 h 346"/>
                  <a:gd name="T4" fmla="*/ 108 w 157"/>
                  <a:gd name="T5" fmla="*/ 313 h 346"/>
                  <a:gd name="T6" fmla="*/ 110 w 157"/>
                  <a:gd name="T7" fmla="*/ 307 h 346"/>
                  <a:gd name="T8" fmla="*/ 102 w 157"/>
                  <a:gd name="T9" fmla="*/ 303 h 346"/>
                  <a:gd name="T10" fmla="*/ 104 w 157"/>
                  <a:gd name="T11" fmla="*/ 300 h 346"/>
                  <a:gd name="T12" fmla="*/ 107 w 157"/>
                  <a:gd name="T13" fmla="*/ 286 h 346"/>
                  <a:gd name="T14" fmla="*/ 46 w 157"/>
                  <a:gd name="T15" fmla="*/ 238 h 346"/>
                  <a:gd name="T16" fmla="*/ 93 w 157"/>
                  <a:gd name="T17" fmla="*/ 228 h 346"/>
                  <a:gd name="T18" fmla="*/ 27 w 157"/>
                  <a:gd name="T19" fmla="*/ 185 h 346"/>
                  <a:gd name="T20" fmla="*/ 30 w 157"/>
                  <a:gd name="T21" fmla="*/ 174 h 346"/>
                  <a:gd name="T22" fmla="*/ 15 w 157"/>
                  <a:gd name="T23" fmla="*/ 164 h 346"/>
                  <a:gd name="T24" fmla="*/ 140 w 157"/>
                  <a:gd name="T25" fmla="*/ 134 h 346"/>
                  <a:gd name="T26" fmla="*/ 126 w 157"/>
                  <a:gd name="T27" fmla="*/ 124 h 346"/>
                  <a:gd name="T28" fmla="*/ 129 w 157"/>
                  <a:gd name="T29" fmla="*/ 106 h 346"/>
                  <a:gd name="T30" fmla="*/ 115 w 157"/>
                  <a:gd name="T31" fmla="*/ 91 h 346"/>
                  <a:gd name="T32" fmla="*/ 102 w 157"/>
                  <a:gd name="T33" fmla="*/ 86 h 346"/>
                  <a:gd name="T34" fmla="*/ 94 w 157"/>
                  <a:gd name="T35" fmla="*/ 75 h 346"/>
                  <a:gd name="T36" fmla="*/ 105 w 157"/>
                  <a:gd name="T37" fmla="*/ 56 h 346"/>
                  <a:gd name="T38" fmla="*/ 115 w 157"/>
                  <a:gd name="T39" fmla="*/ 45 h 346"/>
                  <a:gd name="T40" fmla="*/ 110 w 157"/>
                  <a:gd name="T41" fmla="*/ 16 h 346"/>
                  <a:gd name="T42" fmla="*/ 100 w 157"/>
                  <a:gd name="T43" fmla="*/ 3 h 346"/>
                  <a:gd name="T44" fmla="*/ 91 w 157"/>
                  <a:gd name="T45" fmla="*/ 5 h 346"/>
                  <a:gd name="T46" fmla="*/ 82 w 157"/>
                  <a:gd name="T47" fmla="*/ 17 h 346"/>
                  <a:gd name="T48" fmla="*/ 66 w 157"/>
                  <a:gd name="T49" fmla="*/ 27 h 346"/>
                  <a:gd name="T50" fmla="*/ 52 w 157"/>
                  <a:gd name="T51" fmla="*/ 48 h 346"/>
                  <a:gd name="T52" fmla="*/ 43 w 157"/>
                  <a:gd name="T53" fmla="*/ 64 h 346"/>
                  <a:gd name="T54" fmla="*/ 32 w 157"/>
                  <a:gd name="T55" fmla="*/ 89 h 346"/>
                  <a:gd name="T56" fmla="*/ 21 w 157"/>
                  <a:gd name="T57" fmla="*/ 100 h 346"/>
                  <a:gd name="T58" fmla="*/ 18 w 157"/>
                  <a:gd name="T59" fmla="*/ 119 h 346"/>
                  <a:gd name="T60" fmla="*/ 8 w 157"/>
                  <a:gd name="T61" fmla="*/ 124 h 346"/>
                  <a:gd name="T62" fmla="*/ 2 w 157"/>
                  <a:gd name="T63" fmla="*/ 136 h 346"/>
                  <a:gd name="T64" fmla="*/ 10 w 157"/>
                  <a:gd name="T65" fmla="*/ 152 h 346"/>
                  <a:gd name="T66" fmla="*/ 15 w 157"/>
                  <a:gd name="T67" fmla="*/ 160 h 346"/>
                  <a:gd name="T68" fmla="*/ 27 w 157"/>
                  <a:gd name="T69" fmla="*/ 164 h 346"/>
                  <a:gd name="T70" fmla="*/ 27 w 157"/>
                  <a:gd name="T71" fmla="*/ 177 h 346"/>
                  <a:gd name="T72" fmla="*/ 32 w 157"/>
                  <a:gd name="T73" fmla="*/ 178 h 346"/>
                  <a:gd name="T74" fmla="*/ 40 w 157"/>
                  <a:gd name="T75" fmla="*/ 219 h 346"/>
                  <a:gd name="T76" fmla="*/ 44 w 157"/>
                  <a:gd name="T77" fmla="*/ 227 h 346"/>
                  <a:gd name="T78" fmla="*/ 47 w 157"/>
                  <a:gd name="T79" fmla="*/ 235 h 346"/>
                  <a:gd name="T80" fmla="*/ 61 w 157"/>
                  <a:gd name="T81" fmla="*/ 236 h 346"/>
                  <a:gd name="T82" fmla="*/ 71 w 157"/>
                  <a:gd name="T83" fmla="*/ 222 h 346"/>
                  <a:gd name="T84" fmla="*/ 82 w 157"/>
                  <a:gd name="T85" fmla="*/ 211 h 346"/>
                  <a:gd name="T86" fmla="*/ 96 w 157"/>
                  <a:gd name="T87" fmla="*/ 227 h 346"/>
                  <a:gd name="T88" fmla="*/ 100 w 157"/>
                  <a:gd name="T89" fmla="*/ 260 h 346"/>
                  <a:gd name="T90" fmla="*/ 111 w 157"/>
                  <a:gd name="T91" fmla="*/ 288 h 346"/>
                  <a:gd name="T92" fmla="*/ 115 w 157"/>
                  <a:gd name="T93" fmla="*/ 308 h 346"/>
                  <a:gd name="T94" fmla="*/ 115 w 157"/>
                  <a:gd name="T95" fmla="*/ 322 h 346"/>
                  <a:gd name="T96" fmla="*/ 115 w 157"/>
                  <a:gd name="T97" fmla="*/ 339 h 346"/>
                  <a:gd name="T98" fmla="*/ 129 w 157"/>
                  <a:gd name="T99" fmla="*/ 314 h 346"/>
                  <a:gd name="T100" fmla="*/ 127 w 157"/>
                  <a:gd name="T101" fmla="*/ 299 h 346"/>
                  <a:gd name="T102" fmla="*/ 122 w 157"/>
                  <a:gd name="T103" fmla="*/ 280 h 346"/>
                  <a:gd name="T104" fmla="*/ 105 w 157"/>
                  <a:gd name="T105" fmla="*/ 250 h 346"/>
                  <a:gd name="T106" fmla="*/ 113 w 157"/>
                  <a:gd name="T107" fmla="*/ 235 h 346"/>
                  <a:gd name="T108" fmla="*/ 110 w 157"/>
                  <a:gd name="T109" fmla="*/ 222 h 346"/>
                  <a:gd name="T110" fmla="*/ 97 w 157"/>
                  <a:gd name="T111" fmla="*/ 200 h 346"/>
                  <a:gd name="T112" fmla="*/ 93 w 157"/>
                  <a:gd name="T113" fmla="*/ 191 h 346"/>
                  <a:gd name="T114" fmla="*/ 99 w 157"/>
                  <a:gd name="T115" fmla="*/ 172 h 346"/>
                  <a:gd name="T116" fmla="*/ 118 w 157"/>
                  <a:gd name="T117" fmla="*/ 167 h 346"/>
                  <a:gd name="T118" fmla="*/ 127 w 157"/>
                  <a:gd name="T119" fmla="*/ 161 h 346"/>
                  <a:gd name="T120" fmla="*/ 136 w 157"/>
                  <a:gd name="T121" fmla="*/ 155 h 346"/>
                  <a:gd name="T122" fmla="*/ 147 w 157"/>
                  <a:gd name="T123" fmla="*/ 14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346">
                    <a:moveTo>
                      <a:pt x="105" y="343"/>
                    </a:moveTo>
                    <a:lnTo>
                      <a:pt x="105" y="344"/>
                    </a:lnTo>
                    <a:lnTo>
                      <a:pt x="104" y="346"/>
                    </a:lnTo>
                    <a:lnTo>
                      <a:pt x="104" y="346"/>
                    </a:lnTo>
                    <a:lnTo>
                      <a:pt x="105" y="344"/>
                    </a:lnTo>
                    <a:lnTo>
                      <a:pt x="107" y="344"/>
                    </a:lnTo>
                    <a:lnTo>
                      <a:pt x="107" y="344"/>
                    </a:lnTo>
                    <a:lnTo>
                      <a:pt x="107" y="343"/>
                    </a:lnTo>
                    <a:lnTo>
                      <a:pt x="105" y="343"/>
                    </a:lnTo>
                    <a:close/>
                    <a:moveTo>
                      <a:pt x="105" y="327"/>
                    </a:moveTo>
                    <a:lnTo>
                      <a:pt x="105" y="325"/>
                    </a:lnTo>
                    <a:lnTo>
                      <a:pt x="105" y="327"/>
                    </a:lnTo>
                    <a:lnTo>
                      <a:pt x="104" y="329"/>
                    </a:lnTo>
                    <a:lnTo>
                      <a:pt x="105" y="327"/>
                    </a:lnTo>
                    <a:lnTo>
                      <a:pt x="105" y="329"/>
                    </a:lnTo>
                    <a:lnTo>
                      <a:pt x="107" y="330"/>
                    </a:lnTo>
                    <a:lnTo>
                      <a:pt x="107" y="330"/>
                    </a:lnTo>
                    <a:lnTo>
                      <a:pt x="107" y="330"/>
                    </a:lnTo>
                    <a:lnTo>
                      <a:pt x="107" y="330"/>
                    </a:lnTo>
                    <a:lnTo>
                      <a:pt x="105" y="327"/>
                    </a:lnTo>
                    <a:close/>
                    <a:moveTo>
                      <a:pt x="111" y="324"/>
                    </a:moveTo>
                    <a:lnTo>
                      <a:pt x="110" y="325"/>
                    </a:lnTo>
                    <a:lnTo>
                      <a:pt x="111" y="327"/>
                    </a:lnTo>
                    <a:lnTo>
                      <a:pt x="111" y="327"/>
                    </a:lnTo>
                    <a:lnTo>
                      <a:pt x="111" y="327"/>
                    </a:lnTo>
                    <a:lnTo>
                      <a:pt x="111" y="324"/>
                    </a:lnTo>
                    <a:close/>
                    <a:moveTo>
                      <a:pt x="107" y="311"/>
                    </a:moveTo>
                    <a:lnTo>
                      <a:pt x="107" y="313"/>
                    </a:lnTo>
                    <a:lnTo>
                      <a:pt x="107" y="314"/>
                    </a:lnTo>
                    <a:lnTo>
                      <a:pt x="105" y="316"/>
                    </a:lnTo>
                    <a:lnTo>
                      <a:pt x="105" y="318"/>
                    </a:lnTo>
                    <a:lnTo>
                      <a:pt x="105" y="318"/>
                    </a:lnTo>
                    <a:lnTo>
                      <a:pt x="105" y="318"/>
                    </a:lnTo>
                    <a:lnTo>
                      <a:pt x="105" y="318"/>
                    </a:lnTo>
                    <a:lnTo>
                      <a:pt x="107" y="316"/>
                    </a:lnTo>
                    <a:lnTo>
                      <a:pt x="107" y="314"/>
                    </a:lnTo>
                    <a:lnTo>
                      <a:pt x="107" y="313"/>
                    </a:lnTo>
                    <a:lnTo>
                      <a:pt x="107" y="311"/>
                    </a:lnTo>
                    <a:close/>
                    <a:moveTo>
                      <a:pt x="111" y="311"/>
                    </a:moveTo>
                    <a:lnTo>
                      <a:pt x="108" y="311"/>
                    </a:lnTo>
                    <a:lnTo>
                      <a:pt x="108" y="313"/>
                    </a:lnTo>
                    <a:lnTo>
                      <a:pt x="108" y="313"/>
                    </a:lnTo>
                    <a:lnTo>
                      <a:pt x="110" y="316"/>
                    </a:lnTo>
                    <a:lnTo>
                      <a:pt x="110" y="316"/>
                    </a:lnTo>
                    <a:lnTo>
                      <a:pt x="111" y="316"/>
                    </a:lnTo>
                    <a:lnTo>
                      <a:pt x="111" y="313"/>
                    </a:lnTo>
                    <a:lnTo>
                      <a:pt x="111" y="311"/>
                    </a:lnTo>
                    <a:close/>
                    <a:moveTo>
                      <a:pt x="104" y="313"/>
                    </a:moveTo>
                    <a:lnTo>
                      <a:pt x="104" y="313"/>
                    </a:lnTo>
                    <a:lnTo>
                      <a:pt x="104" y="313"/>
                    </a:lnTo>
                    <a:lnTo>
                      <a:pt x="102" y="310"/>
                    </a:lnTo>
                    <a:lnTo>
                      <a:pt x="102" y="313"/>
                    </a:lnTo>
                    <a:lnTo>
                      <a:pt x="104" y="314"/>
                    </a:lnTo>
                    <a:lnTo>
                      <a:pt x="104" y="313"/>
                    </a:lnTo>
                    <a:close/>
                    <a:moveTo>
                      <a:pt x="111" y="308"/>
                    </a:moveTo>
                    <a:lnTo>
                      <a:pt x="110" y="307"/>
                    </a:lnTo>
                    <a:lnTo>
                      <a:pt x="110" y="307"/>
                    </a:lnTo>
                    <a:lnTo>
                      <a:pt x="110" y="310"/>
                    </a:lnTo>
                    <a:lnTo>
                      <a:pt x="111" y="310"/>
                    </a:lnTo>
                    <a:lnTo>
                      <a:pt x="111" y="310"/>
                    </a:lnTo>
                    <a:lnTo>
                      <a:pt x="113" y="308"/>
                    </a:lnTo>
                    <a:lnTo>
                      <a:pt x="111" y="308"/>
                    </a:lnTo>
                    <a:close/>
                    <a:moveTo>
                      <a:pt x="104" y="305"/>
                    </a:moveTo>
                    <a:lnTo>
                      <a:pt x="104" y="303"/>
                    </a:lnTo>
                    <a:lnTo>
                      <a:pt x="104" y="303"/>
                    </a:lnTo>
                    <a:lnTo>
                      <a:pt x="104" y="303"/>
                    </a:lnTo>
                    <a:lnTo>
                      <a:pt x="104" y="303"/>
                    </a:lnTo>
                    <a:lnTo>
                      <a:pt x="104" y="303"/>
                    </a:lnTo>
                    <a:lnTo>
                      <a:pt x="104" y="303"/>
                    </a:lnTo>
                    <a:lnTo>
                      <a:pt x="102" y="303"/>
                    </a:lnTo>
                    <a:lnTo>
                      <a:pt x="104" y="305"/>
                    </a:lnTo>
                    <a:lnTo>
                      <a:pt x="104" y="305"/>
                    </a:lnTo>
                    <a:lnTo>
                      <a:pt x="104" y="305"/>
                    </a:lnTo>
                    <a:lnTo>
                      <a:pt x="104" y="305"/>
                    </a:lnTo>
                    <a:lnTo>
                      <a:pt x="104" y="305"/>
                    </a:lnTo>
                    <a:close/>
                    <a:moveTo>
                      <a:pt x="104" y="300"/>
                    </a:moveTo>
                    <a:lnTo>
                      <a:pt x="102" y="300"/>
                    </a:lnTo>
                    <a:lnTo>
                      <a:pt x="102" y="300"/>
                    </a:lnTo>
                    <a:lnTo>
                      <a:pt x="100" y="302"/>
                    </a:lnTo>
                    <a:lnTo>
                      <a:pt x="100" y="302"/>
                    </a:lnTo>
                    <a:lnTo>
                      <a:pt x="102" y="303"/>
                    </a:lnTo>
                    <a:lnTo>
                      <a:pt x="104" y="302"/>
                    </a:lnTo>
                    <a:lnTo>
                      <a:pt x="104" y="300"/>
                    </a:lnTo>
                    <a:lnTo>
                      <a:pt x="104" y="300"/>
                    </a:lnTo>
                    <a:close/>
                    <a:moveTo>
                      <a:pt x="110" y="297"/>
                    </a:moveTo>
                    <a:lnTo>
                      <a:pt x="110" y="297"/>
                    </a:lnTo>
                    <a:lnTo>
                      <a:pt x="108" y="296"/>
                    </a:lnTo>
                    <a:lnTo>
                      <a:pt x="107" y="296"/>
                    </a:lnTo>
                    <a:lnTo>
                      <a:pt x="107" y="297"/>
                    </a:lnTo>
                    <a:lnTo>
                      <a:pt x="108" y="299"/>
                    </a:lnTo>
                    <a:lnTo>
                      <a:pt x="107" y="302"/>
                    </a:lnTo>
                    <a:lnTo>
                      <a:pt x="108" y="302"/>
                    </a:lnTo>
                    <a:lnTo>
                      <a:pt x="108" y="302"/>
                    </a:lnTo>
                    <a:lnTo>
                      <a:pt x="110" y="299"/>
                    </a:lnTo>
                    <a:lnTo>
                      <a:pt x="110" y="297"/>
                    </a:lnTo>
                    <a:lnTo>
                      <a:pt x="110" y="297"/>
                    </a:lnTo>
                    <a:close/>
                    <a:moveTo>
                      <a:pt x="107" y="288"/>
                    </a:moveTo>
                    <a:lnTo>
                      <a:pt x="107" y="286"/>
                    </a:lnTo>
                    <a:lnTo>
                      <a:pt x="107" y="286"/>
                    </a:lnTo>
                    <a:lnTo>
                      <a:pt x="107" y="286"/>
                    </a:lnTo>
                    <a:lnTo>
                      <a:pt x="107" y="288"/>
                    </a:lnTo>
                    <a:lnTo>
                      <a:pt x="107" y="289"/>
                    </a:lnTo>
                    <a:lnTo>
                      <a:pt x="107" y="291"/>
                    </a:lnTo>
                    <a:lnTo>
                      <a:pt x="107" y="288"/>
                    </a:lnTo>
                    <a:lnTo>
                      <a:pt x="107" y="288"/>
                    </a:lnTo>
                    <a:close/>
                    <a:moveTo>
                      <a:pt x="46" y="238"/>
                    </a:moveTo>
                    <a:lnTo>
                      <a:pt x="44" y="239"/>
                    </a:lnTo>
                    <a:lnTo>
                      <a:pt x="44" y="239"/>
                    </a:lnTo>
                    <a:lnTo>
                      <a:pt x="46" y="239"/>
                    </a:lnTo>
                    <a:lnTo>
                      <a:pt x="46" y="239"/>
                    </a:lnTo>
                    <a:lnTo>
                      <a:pt x="46" y="238"/>
                    </a:lnTo>
                    <a:lnTo>
                      <a:pt x="46" y="238"/>
                    </a:lnTo>
                    <a:close/>
                    <a:moveTo>
                      <a:pt x="43" y="232"/>
                    </a:moveTo>
                    <a:lnTo>
                      <a:pt x="41" y="233"/>
                    </a:lnTo>
                    <a:lnTo>
                      <a:pt x="41" y="235"/>
                    </a:lnTo>
                    <a:lnTo>
                      <a:pt x="38" y="236"/>
                    </a:lnTo>
                    <a:lnTo>
                      <a:pt x="40" y="239"/>
                    </a:lnTo>
                    <a:lnTo>
                      <a:pt x="40" y="236"/>
                    </a:lnTo>
                    <a:lnTo>
                      <a:pt x="41" y="236"/>
                    </a:lnTo>
                    <a:lnTo>
                      <a:pt x="43" y="233"/>
                    </a:lnTo>
                    <a:lnTo>
                      <a:pt x="43" y="232"/>
                    </a:lnTo>
                    <a:close/>
                    <a:moveTo>
                      <a:pt x="94" y="228"/>
                    </a:moveTo>
                    <a:lnTo>
                      <a:pt x="94" y="227"/>
                    </a:lnTo>
                    <a:lnTo>
                      <a:pt x="94" y="227"/>
                    </a:lnTo>
                    <a:lnTo>
                      <a:pt x="94" y="227"/>
                    </a:lnTo>
                    <a:lnTo>
                      <a:pt x="93" y="228"/>
                    </a:lnTo>
                    <a:lnTo>
                      <a:pt x="93" y="230"/>
                    </a:lnTo>
                    <a:lnTo>
                      <a:pt x="94" y="232"/>
                    </a:lnTo>
                    <a:lnTo>
                      <a:pt x="94" y="232"/>
                    </a:lnTo>
                    <a:lnTo>
                      <a:pt x="94" y="228"/>
                    </a:lnTo>
                    <a:lnTo>
                      <a:pt x="94" y="228"/>
                    </a:lnTo>
                    <a:lnTo>
                      <a:pt x="94" y="228"/>
                    </a:lnTo>
                    <a:close/>
                    <a:moveTo>
                      <a:pt x="27" y="183"/>
                    </a:moveTo>
                    <a:lnTo>
                      <a:pt x="25" y="183"/>
                    </a:lnTo>
                    <a:lnTo>
                      <a:pt x="22" y="183"/>
                    </a:lnTo>
                    <a:lnTo>
                      <a:pt x="24" y="186"/>
                    </a:lnTo>
                    <a:lnTo>
                      <a:pt x="25" y="188"/>
                    </a:lnTo>
                    <a:lnTo>
                      <a:pt x="27" y="186"/>
                    </a:lnTo>
                    <a:lnTo>
                      <a:pt x="27" y="186"/>
                    </a:lnTo>
                    <a:lnTo>
                      <a:pt x="27" y="185"/>
                    </a:lnTo>
                    <a:lnTo>
                      <a:pt x="27" y="183"/>
                    </a:lnTo>
                    <a:close/>
                    <a:moveTo>
                      <a:pt x="30" y="172"/>
                    </a:moveTo>
                    <a:lnTo>
                      <a:pt x="29" y="172"/>
                    </a:lnTo>
                    <a:lnTo>
                      <a:pt x="27" y="170"/>
                    </a:lnTo>
                    <a:lnTo>
                      <a:pt x="27" y="170"/>
                    </a:lnTo>
                    <a:lnTo>
                      <a:pt x="25" y="172"/>
                    </a:lnTo>
                    <a:lnTo>
                      <a:pt x="25" y="172"/>
                    </a:lnTo>
                    <a:lnTo>
                      <a:pt x="27" y="174"/>
                    </a:lnTo>
                    <a:lnTo>
                      <a:pt x="27" y="175"/>
                    </a:lnTo>
                    <a:lnTo>
                      <a:pt x="29" y="175"/>
                    </a:lnTo>
                    <a:lnTo>
                      <a:pt x="30" y="175"/>
                    </a:lnTo>
                    <a:lnTo>
                      <a:pt x="30" y="174"/>
                    </a:lnTo>
                    <a:lnTo>
                      <a:pt x="30" y="174"/>
                    </a:lnTo>
                    <a:lnTo>
                      <a:pt x="30" y="174"/>
                    </a:lnTo>
                    <a:lnTo>
                      <a:pt x="30" y="172"/>
                    </a:lnTo>
                    <a:close/>
                    <a:moveTo>
                      <a:pt x="22" y="164"/>
                    </a:moveTo>
                    <a:lnTo>
                      <a:pt x="21" y="164"/>
                    </a:lnTo>
                    <a:lnTo>
                      <a:pt x="22" y="164"/>
                    </a:lnTo>
                    <a:lnTo>
                      <a:pt x="22" y="166"/>
                    </a:lnTo>
                    <a:lnTo>
                      <a:pt x="24" y="167"/>
                    </a:lnTo>
                    <a:lnTo>
                      <a:pt x="22" y="164"/>
                    </a:lnTo>
                    <a:close/>
                    <a:moveTo>
                      <a:pt x="15" y="164"/>
                    </a:moveTo>
                    <a:lnTo>
                      <a:pt x="13" y="161"/>
                    </a:lnTo>
                    <a:lnTo>
                      <a:pt x="13" y="161"/>
                    </a:lnTo>
                    <a:lnTo>
                      <a:pt x="13" y="163"/>
                    </a:lnTo>
                    <a:lnTo>
                      <a:pt x="15" y="166"/>
                    </a:lnTo>
                    <a:lnTo>
                      <a:pt x="15" y="166"/>
                    </a:lnTo>
                    <a:lnTo>
                      <a:pt x="15" y="164"/>
                    </a:lnTo>
                    <a:close/>
                    <a:moveTo>
                      <a:pt x="157" y="131"/>
                    </a:moveTo>
                    <a:lnTo>
                      <a:pt x="157" y="130"/>
                    </a:lnTo>
                    <a:lnTo>
                      <a:pt x="157" y="130"/>
                    </a:lnTo>
                    <a:lnTo>
                      <a:pt x="157" y="130"/>
                    </a:lnTo>
                    <a:lnTo>
                      <a:pt x="155" y="130"/>
                    </a:lnTo>
                    <a:lnTo>
                      <a:pt x="152" y="131"/>
                    </a:lnTo>
                    <a:lnTo>
                      <a:pt x="149" y="134"/>
                    </a:lnTo>
                    <a:lnTo>
                      <a:pt x="147" y="134"/>
                    </a:lnTo>
                    <a:lnTo>
                      <a:pt x="146" y="136"/>
                    </a:lnTo>
                    <a:lnTo>
                      <a:pt x="144" y="134"/>
                    </a:lnTo>
                    <a:lnTo>
                      <a:pt x="143" y="134"/>
                    </a:lnTo>
                    <a:lnTo>
                      <a:pt x="141" y="134"/>
                    </a:lnTo>
                    <a:lnTo>
                      <a:pt x="140" y="134"/>
                    </a:lnTo>
                    <a:lnTo>
                      <a:pt x="140" y="134"/>
                    </a:lnTo>
                    <a:lnTo>
                      <a:pt x="138" y="133"/>
                    </a:lnTo>
                    <a:lnTo>
                      <a:pt x="140" y="133"/>
                    </a:lnTo>
                    <a:lnTo>
                      <a:pt x="138" y="131"/>
                    </a:lnTo>
                    <a:lnTo>
                      <a:pt x="138" y="131"/>
                    </a:lnTo>
                    <a:lnTo>
                      <a:pt x="136" y="131"/>
                    </a:lnTo>
                    <a:lnTo>
                      <a:pt x="136" y="130"/>
                    </a:lnTo>
                    <a:lnTo>
                      <a:pt x="136" y="128"/>
                    </a:lnTo>
                    <a:lnTo>
                      <a:pt x="136" y="127"/>
                    </a:lnTo>
                    <a:lnTo>
                      <a:pt x="136" y="125"/>
                    </a:lnTo>
                    <a:lnTo>
                      <a:pt x="135" y="125"/>
                    </a:lnTo>
                    <a:lnTo>
                      <a:pt x="133" y="124"/>
                    </a:lnTo>
                    <a:lnTo>
                      <a:pt x="130" y="124"/>
                    </a:lnTo>
                    <a:lnTo>
                      <a:pt x="127" y="124"/>
                    </a:lnTo>
                    <a:lnTo>
                      <a:pt x="126" y="124"/>
                    </a:lnTo>
                    <a:lnTo>
                      <a:pt x="124" y="124"/>
                    </a:lnTo>
                    <a:lnTo>
                      <a:pt x="122" y="122"/>
                    </a:lnTo>
                    <a:lnTo>
                      <a:pt x="122" y="122"/>
                    </a:lnTo>
                    <a:lnTo>
                      <a:pt x="122" y="122"/>
                    </a:lnTo>
                    <a:lnTo>
                      <a:pt x="122" y="120"/>
                    </a:lnTo>
                    <a:lnTo>
                      <a:pt x="124" y="119"/>
                    </a:lnTo>
                    <a:lnTo>
                      <a:pt x="126" y="116"/>
                    </a:lnTo>
                    <a:lnTo>
                      <a:pt x="126" y="114"/>
                    </a:lnTo>
                    <a:lnTo>
                      <a:pt x="126" y="113"/>
                    </a:lnTo>
                    <a:lnTo>
                      <a:pt x="126" y="109"/>
                    </a:lnTo>
                    <a:lnTo>
                      <a:pt x="127" y="108"/>
                    </a:lnTo>
                    <a:lnTo>
                      <a:pt x="129" y="106"/>
                    </a:lnTo>
                    <a:lnTo>
                      <a:pt x="129" y="106"/>
                    </a:lnTo>
                    <a:lnTo>
                      <a:pt x="129" y="106"/>
                    </a:lnTo>
                    <a:lnTo>
                      <a:pt x="127" y="105"/>
                    </a:lnTo>
                    <a:lnTo>
                      <a:pt x="127" y="105"/>
                    </a:lnTo>
                    <a:lnTo>
                      <a:pt x="126" y="105"/>
                    </a:lnTo>
                    <a:lnTo>
                      <a:pt x="124" y="105"/>
                    </a:lnTo>
                    <a:lnTo>
                      <a:pt x="121" y="103"/>
                    </a:lnTo>
                    <a:lnTo>
                      <a:pt x="118" y="103"/>
                    </a:lnTo>
                    <a:lnTo>
                      <a:pt x="118" y="100"/>
                    </a:lnTo>
                    <a:lnTo>
                      <a:pt x="118" y="99"/>
                    </a:lnTo>
                    <a:lnTo>
                      <a:pt x="118" y="99"/>
                    </a:lnTo>
                    <a:lnTo>
                      <a:pt x="116" y="97"/>
                    </a:lnTo>
                    <a:lnTo>
                      <a:pt x="116" y="97"/>
                    </a:lnTo>
                    <a:lnTo>
                      <a:pt x="116" y="94"/>
                    </a:lnTo>
                    <a:lnTo>
                      <a:pt x="116" y="92"/>
                    </a:lnTo>
                    <a:lnTo>
                      <a:pt x="115" y="91"/>
                    </a:lnTo>
                    <a:lnTo>
                      <a:pt x="115" y="91"/>
                    </a:lnTo>
                    <a:lnTo>
                      <a:pt x="115" y="89"/>
                    </a:lnTo>
                    <a:lnTo>
                      <a:pt x="115" y="88"/>
                    </a:lnTo>
                    <a:lnTo>
                      <a:pt x="116" y="86"/>
                    </a:lnTo>
                    <a:lnTo>
                      <a:pt x="116" y="84"/>
                    </a:lnTo>
                    <a:lnTo>
                      <a:pt x="116" y="84"/>
                    </a:lnTo>
                    <a:lnTo>
                      <a:pt x="116" y="84"/>
                    </a:lnTo>
                    <a:lnTo>
                      <a:pt x="113" y="86"/>
                    </a:lnTo>
                    <a:lnTo>
                      <a:pt x="113" y="86"/>
                    </a:lnTo>
                    <a:lnTo>
                      <a:pt x="111" y="86"/>
                    </a:lnTo>
                    <a:lnTo>
                      <a:pt x="111" y="84"/>
                    </a:lnTo>
                    <a:lnTo>
                      <a:pt x="108" y="84"/>
                    </a:lnTo>
                    <a:lnTo>
                      <a:pt x="105" y="84"/>
                    </a:lnTo>
                    <a:lnTo>
                      <a:pt x="102" y="86"/>
                    </a:lnTo>
                    <a:lnTo>
                      <a:pt x="99" y="88"/>
                    </a:lnTo>
                    <a:lnTo>
                      <a:pt x="97" y="89"/>
                    </a:lnTo>
                    <a:lnTo>
                      <a:pt x="96" y="89"/>
                    </a:lnTo>
                    <a:lnTo>
                      <a:pt x="96" y="89"/>
                    </a:lnTo>
                    <a:lnTo>
                      <a:pt x="94" y="89"/>
                    </a:lnTo>
                    <a:lnTo>
                      <a:pt x="94" y="88"/>
                    </a:lnTo>
                    <a:lnTo>
                      <a:pt x="96" y="84"/>
                    </a:lnTo>
                    <a:lnTo>
                      <a:pt x="97" y="83"/>
                    </a:lnTo>
                    <a:lnTo>
                      <a:pt x="96" y="81"/>
                    </a:lnTo>
                    <a:lnTo>
                      <a:pt x="96" y="80"/>
                    </a:lnTo>
                    <a:lnTo>
                      <a:pt x="96" y="80"/>
                    </a:lnTo>
                    <a:lnTo>
                      <a:pt x="94" y="78"/>
                    </a:lnTo>
                    <a:lnTo>
                      <a:pt x="94" y="78"/>
                    </a:lnTo>
                    <a:lnTo>
                      <a:pt x="94" y="75"/>
                    </a:lnTo>
                    <a:lnTo>
                      <a:pt x="94" y="72"/>
                    </a:lnTo>
                    <a:lnTo>
                      <a:pt x="96" y="72"/>
                    </a:lnTo>
                    <a:lnTo>
                      <a:pt x="97" y="70"/>
                    </a:lnTo>
                    <a:lnTo>
                      <a:pt x="97" y="70"/>
                    </a:lnTo>
                    <a:lnTo>
                      <a:pt x="97" y="69"/>
                    </a:lnTo>
                    <a:lnTo>
                      <a:pt x="97" y="67"/>
                    </a:lnTo>
                    <a:lnTo>
                      <a:pt x="97" y="66"/>
                    </a:lnTo>
                    <a:lnTo>
                      <a:pt x="99" y="63"/>
                    </a:lnTo>
                    <a:lnTo>
                      <a:pt x="100" y="64"/>
                    </a:lnTo>
                    <a:lnTo>
                      <a:pt x="102" y="63"/>
                    </a:lnTo>
                    <a:lnTo>
                      <a:pt x="102" y="63"/>
                    </a:lnTo>
                    <a:lnTo>
                      <a:pt x="104" y="61"/>
                    </a:lnTo>
                    <a:lnTo>
                      <a:pt x="104" y="59"/>
                    </a:lnTo>
                    <a:lnTo>
                      <a:pt x="105" y="56"/>
                    </a:lnTo>
                    <a:lnTo>
                      <a:pt x="105" y="56"/>
                    </a:lnTo>
                    <a:lnTo>
                      <a:pt x="107" y="56"/>
                    </a:lnTo>
                    <a:lnTo>
                      <a:pt x="108" y="56"/>
                    </a:lnTo>
                    <a:lnTo>
                      <a:pt x="108" y="55"/>
                    </a:lnTo>
                    <a:lnTo>
                      <a:pt x="110" y="53"/>
                    </a:lnTo>
                    <a:lnTo>
                      <a:pt x="111" y="52"/>
                    </a:lnTo>
                    <a:lnTo>
                      <a:pt x="113" y="52"/>
                    </a:lnTo>
                    <a:lnTo>
                      <a:pt x="113" y="52"/>
                    </a:lnTo>
                    <a:lnTo>
                      <a:pt x="113" y="50"/>
                    </a:lnTo>
                    <a:lnTo>
                      <a:pt x="113" y="48"/>
                    </a:lnTo>
                    <a:lnTo>
                      <a:pt x="111" y="47"/>
                    </a:lnTo>
                    <a:lnTo>
                      <a:pt x="111" y="47"/>
                    </a:lnTo>
                    <a:lnTo>
                      <a:pt x="113" y="45"/>
                    </a:lnTo>
                    <a:lnTo>
                      <a:pt x="115" y="45"/>
                    </a:lnTo>
                    <a:lnTo>
                      <a:pt x="113" y="42"/>
                    </a:lnTo>
                    <a:lnTo>
                      <a:pt x="115" y="41"/>
                    </a:lnTo>
                    <a:lnTo>
                      <a:pt x="115" y="37"/>
                    </a:lnTo>
                    <a:lnTo>
                      <a:pt x="115" y="34"/>
                    </a:lnTo>
                    <a:lnTo>
                      <a:pt x="115" y="33"/>
                    </a:lnTo>
                    <a:lnTo>
                      <a:pt x="115" y="31"/>
                    </a:lnTo>
                    <a:lnTo>
                      <a:pt x="115" y="28"/>
                    </a:lnTo>
                    <a:lnTo>
                      <a:pt x="115" y="25"/>
                    </a:lnTo>
                    <a:lnTo>
                      <a:pt x="115" y="25"/>
                    </a:lnTo>
                    <a:lnTo>
                      <a:pt x="115" y="20"/>
                    </a:lnTo>
                    <a:lnTo>
                      <a:pt x="113" y="17"/>
                    </a:lnTo>
                    <a:lnTo>
                      <a:pt x="113" y="17"/>
                    </a:lnTo>
                    <a:lnTo>
                      <a:pt x="111" y="17"/>
                    </a:lnTo>
                    <a:lnTo>
                      <a:pt x="110" y="16"/>
                    </a:lnTo>
                    <a:lnTo>
                      <a:pt x="110" y="17"/>
                    </a:lnTo>
                    <a:lnTo>
                      <a:pt x="108" y="17"/>
                    </a:lnTo>
                    <a:lnTo>
                      <a:pt x="108" y="19"/>
                    </a:lnTo>
                    <a:lnTo>
                      <a:pt x="107" y="19"/>
                    </a:lnTo>
                    <a:lnTo>
                      <a:pt x="107" y="19"/>
                    </a:lnTo>
                    <a:lnTo>
                      <a:pt x="107" y="17"/>
                    </a:lnTo>
                    <a:lnTo>
                      <a:pt x="107" y="16"/>
                    </a:lnTo>
                    <a:lnTo>
                      <a:pt x="104" y="9"/>
                    </a:lnTo>
                    <a:lnTo>
                      <a:pt x="104" y="8"/>
                    </a:lnTo>
                    <a:lnTo>
                      <a:pt x="104" y="6"/>
                    </a:lnTo>
                    <a:lnTo>
                      <a:pt x="104" y="6"/>
                    </a:lnTo>
                    <a:lnTo>
                      <a:pt x="102" y="5"/>
                    </a:lnTo>
                    <a:lnTo>
                      <a:pt x="102" y="5"/>
                    </a:lnTo>
                    <a:lnTo>
                      <a:pt x="100" y="3"/>
                    </a:lnTo>
                    <a:lnTo>
                      <a:pt x="100" y="3"/>
                    </a:lnTo>
                    <a:lnTo>
                      <a:pt x="99" y="1"/>
                    </a:lnTo>
                    <a:lnTo>
                      <a:pt x="99" y="3"/>
                    </a:lnTo>
                    <a:lnTo>
                      <a:pt x="97" y="3"/>
                    </a:lnTo>
                    <a:lnTo>
                      <a:pt x="97" y="3"/>
                    </a:lnTo>
                    <a:lnTo>
                      <a:pt x="97" y="1"/>
                    </a:lnTo>
                    <a:lnTo>
                      <a:pt x="97" y="0"/>
                    </a:lnTo>
                    <a:lnTo>
                      <a:pt x="96" y="0"/>
                    </a:lnTo>
                    <a:lnTo>
                      <a:pt x="94" y="0"/>
                    </a:lnTo>
                    <a:lnTo>
                      <a:pt x="94" y="0"/>
                    </a:lnTo>
                    <a:lnTo>
                      <a:pt x="93" y="0"/>
                    </a:lnTo>
                    <a:lnTo>
                      <a:pt x="93" y="1"/>
                    </a:lnTo>
                    <a:lnTo>
                      <a:pt x="93" y="3"/>
                    </a:lnTo>
                    <a:lnTo>
                      <a:pt x="91" y="5"/>
                    </a:lnTo>
                    <a:lnTo>
                      <a:pt x="90" y="5"/>
                    </a:lnTo>
                    <a:lnTo>
                      <a:pt x="90" y="5"/>
                    </a:lnTo>
                    <a:lnTo>
                      <a:pt x="90" y="6"/>
                    </a:lnTo>
                    <a:lnTo>
                      <a:pt x="90" y="8"/>
                    </a:lnTo>
                    <a:lnTo>
                      <a:pt x="91" y="9"/>
                    </a:lnTo>
                    <a:lnTo>
                      <a:pt x="91" y="9"/>
                    </a:lnTo>
                    <a:lnTo>
                      <a:pt x="90" y="11"/>
                    </a:lnTo>
                    <a:lnTo>
                      <a:pt x="90" y="11"/>
                    </a:lnTo>
                    <a:lnTo>
                      <a:pt x="88" y="11"/>
                    </a:lnTo>
                    <a:lnTo>
                      <a:pt x="86" y="12"/>
                    </a:lnTo>
                    <a:lnTo>
                      <a:pt x="85" y="14"/>
                    </a:lnTo>
                    <a:lnTo>
                      <a:pt x="83" y="16"/>
                    </a:lnTo>
                    <a:lnTo>
                      <a:pt x="83" y="17"/>
                    </a:lnTo>
                    <a:lnTo>
                      <a:pt x="82" y="17"/>
                    </a:lnTo>
                    <a:lnTo>
                      <a:pt x="82" y="19"/>
                    </a:lnTo>
                    <a:lnTo>
                      <a:pt x="83" y="20"/>
                    </a:lnTo>
                    <a:lnTo>
                      <a:pt x="86" y="27"/>
                    </a:lnTo>
                    <a:lnTo>
                      <a:pt x="86" y="27"/>
                    </a:lnTo>
                    <a:lnTo>
                      <a:pt x="85" y="27"/>
                    </a:lnTo>
                    <a:lnTo>
                      <a:pt x="83" y="27"/>
                    </a:lnTo>
                    <a:lnTo>
                      <a:pt x="82" y="25"/>
                    </a:lnTo>
                    <a:lnTo>
                      <a:pt x="80" y="23"/>
                    </a:lnTo>
                    <a:lnTo>
                      <a:pt x="80" y="22"/>
                    </a:lnTo>
                    <a:lnTo>
                      <a:pt x="79" y="22"/>
                    </a:lnTo>
                    <a:lnTo>
                      <a:pt x="72" y="23"/>
                    </a:lnTo>
                    <a:lnTo>
                      <a:pt x="71" y="23"/>
                    </a:lnTo>
                    <a:lnTo>
                      <a:pt x="68" y="25"/>
                    </a:lnTo>
                    <a:lnTo>
                      <a:pt x="66" y="27"/>
                    </a:lnTo>
                    <a:lnTo>
                      <a:pt x="65" y="28"/>
                    </a:lnTo>
                    <a:lnTo>
                      <a:pt x="65" y="28"/>
                    </a:lnTo>
                    <a:lnTo>
                      <a:pt x="63" y="30"/>
                    </a:lnTo>
                    <a:lnTo>
                      <a:pt x="57" y="34"/>
                    </a:lnTo>
                    <a:lnTo>
                      <a:pt x="55" y="36"/>
                    </a:lnTo>
                    <a:lnTo>
                      <a:pt x="54" y="36"/>
                    </a:lnTo>
                    <a:lnTo>
                      <a:pt x="52" y="37"/>
                    </a:lnTo>
                    <a:lnTo>
                      <a:pt x="50" y="39"/>
                    </a:lnTo>
                    <a:lnTo>
                      <a:pt x="50" y="39"/>
                    </a:lnTo>
                    <a:lnTo>
                      <a:pt x="50" y="42"/>
                    </a:lnTo>
                    <a:lnTo>
                      <a:pt x="50" y="45"/>
                    </a:lnTo>
                    <a:lnTo>
                      <a:pt x="50" y="47"/>
                    </a:lnTo>
                    <a:lnTo>
                      <a:pt x="52" y="47"/>
                    </a:lnTo>
                    <a:lnTo>
                      <a:pt x="52" y="48"/>
                    </a:lnTo>
                    <a:lnTo>
                      <a:pt x="50" y="48"/>
                    </a:lnTo>
                    <a:lnTo>
                      <a:pt x="50" y="50"/>
                    </a:lnTo>
                    <a:lnTo>
                      <a:pt x="49" y="50"/>
                    </a:lnTo>
                    <a:lnTo>
                      <a:pt x="49" y="53"/>
                    </a:lnTo>
                    <a:lnTo>
                      <a:pt x="49" y="55"/>
                    </a:lnTo>
                    <a:lnTo>
                      <a:pt x="47" y="56"/>
                    </a:lnTo>
                    <a:lnTo>
                      <a:pt x="46" y="58"/>
                    </a:lnTo>
                    <a:lnTo>
                      <a:pt x="44" y="59"/>
                    </a:lnTo>
                    <a:lnTo>
                      <a:pt x="43" y="59"/>
                    </a:lnTo>
                    <a:lnTo>
                      <a:pt x="43" y="63"/>
                    </a:lnTo>
                    <a:lnTo>
                      <a:pt x="41" y="63"/>
                    </a:lnTo>
                    <a:lnTo>
                      <a:pt x="41" y="64"/>
                    </a:lnTo>
                    <a:lnTo>
                      <a:pt x="41" y="64"/>
                    </a:lnTo>
                    <a:lnTo>
                      <a:pt x="43" y="64"/>
                    </a:lnTo>
                    <a:lnTo>
                      <a:pt x="44" y="66"/>
                    </a:lnTo>
                    <a:lnTo>
                      <a:pt x="44" y="66"/>
                    </a:lnTo>
                    <a:lnTo>
                      <a:pt x="44" y="67"/>
                    </a:lnTo>
                    <a:lnTo>
                      <a:pt x="44" y="69"/>
                    </a:lnTo>
                    <a:lnTo>
                      <a:pt x="43" y="72"/>
                    </a:lnTo>
                    <a:lnTo>
                      <a:pt x="41" y="75"/>
                    </a:lnTo>
                    <a:lnTo>
                      <a:pt x="40" y="77"/>
                    </a:lnTo>
                    <a:lnTo>
                      <a:pt x="38" y="78"/>
                    </a:lnTo>
                    <a:lnTo>
                      <a:pt x="36" y="81"/>
                    </a:lnTo>
                    <a:lnTo>
                      <a:pt x="36" y="84"/>
                    </a:lnTo>
                    <a:lnTo>
                      <a:pt x="35" y="88"/>
                    </a:lnTo>
                    <a:lnTo>
                      <a:pt x="33" y="89"/>
                    </a:lnTo>
                    <a:lnTo>
                      <a:pt x="33" y="89"/>
                    </a:lnTo>
                    <a:lnTo>
                      <a:pt x="32" y="89"/>
                    </a:lnTo>
                    <a:lnTo>
                      <a:pt x="29" y="88"/>
                    </a:lnTo>
                    <a:lnTo>
                      <a:pt x="27" y="88"/>
                    </a:lnTo>
                    <a:lnTo>
                      <a:pt x="27" y="88"/>
                    </a:lnTo>
                    <a:lnTo>
                      <a:pt x="25" y="88"/>
                    </a:lnTo>
                    <a:lnTo>
                      <a:pt x="24" y="88"/>
                    </a:lnTo>
                    <a:lnTo>
                      <a:pt x="22" y="88"/>
                    </a:lnTo>
                    <a:lnTo>
                      <a:pt x="22" y="88"/>
                    </a:lnTo>
                    <a:lnTo>
                      <a:pt x="21" y="86"/>
                    </a:lnTo>
                    <a:lnTo>
                      <a:pt x="19" y="86"/>
                    </a:lnTo>
                    <a:lnTo>
                      <a:pt x="19" y="86"/>
                    </a:lnTo>
                    <a:lnTo>
                      <a:pt x="21" y="92"/>
                    </a:lnTo>
                    <a:lnTo>
                      <a:pt x="21" y="94"/>
                    </a:lnTo>
                    <a:lnTo>
                      <a:pt x="21" y="97"/>
                    </a:lnTo>
                    <a:lnTo>
                      <a:pt x="21" y="100"/>
                    </a:lnTo>
                    <a:lnTo>
                      <a:pt x="21" y="103"/>
                    </a:lnTo>
                    <a:lnTo>
                      <a:pt x="21" y="105"/>
                    </a:lnTo>
                    <a:lnTo>
                      <a:pt x="19" y="106"/>
                    </a:lnTo>
                    <a:lnTo>
                      <a:pt x="19" y="106"/>
                    </a:lnTo>
                    <a:lnTo>
                      <a:pt x="18" y="105"/>
                    </a:lnTo>
                    <a:lnTo>
                      <a:pt x="18" y="106"/>
                    </a:lnTo>
                    <a:lnTo>
                      <a:pt x="18" y="106"/>
                    </a:lnTo>
                    <a:lnTo>
                      <a:pt x="18" y="108"/>
                    </a:lnTo>
                    <a:lnTo>
                      <a:pt x="16" y="109"/>
                    </a:lnTo>
                    <a:lnTo>
                      <a:pt x="16" y="111"/>
                    </a:lnTo>
                    <a:lnTo>
                      <a:pt x="16" y="113"/>
                    </a:lnTo>
                    <a:lnTo>
                      <a:pt x="16" y="114"/>
                    </a:lnTo>
                    <a:lnTo>
                      <a:pt x="18" y="119"/>
                    </a:lnTo>
                    <a:lnTo>
                      <a:pt x="18" y="119"/>
                    </a:lnTo>
                    <a:lnTo>
                      <a:pt x="18" y="120"/>
                    </a:lnTo>
                    <a:lnTo>
                      <a:pt x="16" y="122"/>
                    </a:lnTo>
                    <a:lnTo>
                      <a:pt x="16" y="120"/>
                    </a:lnTo>
                    <a:lnTo>
                      <a:pt x="16" y="122"/>
                    </a:lnTo>
                    <a:lnTo>
                      <a:pt x="15" y="122"/>
                    </a:lnTo>
                    <a:lnTo>
                      <a:pt x="15" y="122"/>
                    </a:lnTo>
                    <a:lnTo>
                      <a:pt x="13" y="125"/>
                    </a:lnTo>
                    <a:lnTo>
                      <a:pt x="13" y="125"/>
                    </a:lnTo>
                    <a:lnTo>
                      <a:pt x="11" y="125"/>
                    </a:lnTo>
                    <a:lnTo>
                      <a:pt x="10" y="124"/>
                    </a:lnTo>
                    <a:lnTo>
                      <a:pt x="10" y="122"/>
                    </a:lnTo>
                    <a:lnTo>
                      <a:pt x="8" y="122"/>
                    </a:lnTo>
                    <a:lnTo>
                      <a:pt x="8" y="124"/>
                    </a:lnTo>
                    <a:lnTo>
                      <a:pt x="8" y="124"/>
                    </a:lnTo>
                    <a:lnTo>
                      <a:pt x="8" y="125"/>
                    </a:lnTo>
                    <a:lnTo>
                      <a:pt x="7" y="125"/>
                    </a:lnTo>
                    <a:lnTo>
                      <a:pt x="7" y="127"/>
                    </a:lnTo>
                    <a:lnTo>
                      <a:pt x="7" y="133"/>
                    </a:lnTo>
                    <a:lnTo>
                      <a:pt x="7" y="134"/>
                    </a:lnTo>
                    <a:lnTo>
                      <a:pt x="8" y="138"/>
                    </a:lnTo>
                    <a:lnTo>
                      <a:pt x="8" y="138"/>
                    </a:lnTo>
                    <a:lnTo>
                      <a:pt x="7" y="139"/>
                    </a:lnTo>
                    <a:lnTo>
                      <a:pt x="7" y="139"/>
                    </a:lnTo>
                    <a:lnTo>
                      <a:pt x="7" y="138"/>
                    </a:lnTo>
                    <a:lnTo>
                      <a:pt x="5" y="138"/>
                    </a:lnTo>
                    <a:lnTo>
                      <a:pt x="4" y="136"/>
                    </a:lnTo>
                    <a:lnTo>
                      <a:pt x="2" y="136"/>
                    </a:lnTo>
                    <a:lnTo>
                      <a:pt x="2" y="136"/>
                    </a:lnTo>
                    <a:lnTo>
                      <a:pt x="0" y="138"/>
                    </a:lnTo>
                    <a:lnTo>
                      <a:pt x="0" y="139"/>
                    </a:lnTo>
                    <a:lnTo>
                      <a:pt x="0" y="141"/>
                    </a:lnTo>
                    <a:lnTo>
                      <a:pt x="0" y="142"/>
                    </a:lnTo>
                    <a:lnTo>
                      <a:pt x="2" y="142"/>
                    </a:lnTo>
                    <a:lnTo>
                      <a:pt x="2" y="144"/>
                    </a:lnTo>
                    <a:lnTo>
                      <a:pt x="2" y="145"/>
                    </a:lnTo>
                    <a:lnTo>
                      <a:pt x="2" y="147"/>
                    </a:lnTo>
                    <a:lnTo>
                      <a:pt x="2" y="149"/>
                    </a:lnTo>
                    <a:lnTo>
                      <a:pt x="4" y="149"/>
                    </a:lnTo>
                    <a:lnTo>
                      <a:pt x="7" y="153"/>
                    </a:lnTo>
                    <a:lnTo>
                      <a:pt x="10" y="156"/>
                    </a:lnTo>
                    <a:lnTo>
                      <a:pt x="10" y="155"/>
                    </a:lnTo>
                    <a:lnTo>
                      <a:pt x="10" y="152"/>
                    </a:lnTo>
                    <a:lnTo>
                      <a:pt x="10" y="152"/>
                    </a:lnTo>
                    <a:lnTo>
                      <a:pt x="10" y="153"/>
                    </a:lnTo>
                    <a:lnTo>
                      <a:pt x="11" y="155"/>
                    </a:lnTo>
                    <a:lnTo>
                      <a:pt x="13" y="156"/>
                    </a:lnTo>
                    <a:lnTo>
                      <a:pt x="11" y="156"/>
                    </a:lnTo>
                    <a:lnTo>
                      <a:pt x="11" y="158"/>
                    </a:lnTo>
                    <a:lnTo>
                      <a:pt x="10" y="158"/>
                    </a:lnTo>
                    <a:lnTo>
                      <a:pt x="11" y="160"/>
                    </a:lnTo>
                    <a:lnTo>
                      <a:pt x="11" y="160"/>
                    </a:lnTo>
                    <a:lnTo>
                      <a:pt x="15" y="158"/>
                    </a:lnTo>
                    <a:lnTo>
                      <a:pt x="15" y="156"/>
                    </a:lnTo>
                    <a:lnTo>
                      <a:pt x="15" y="155"/>
                    </a:lnTo>
                    <a:lnTo>
                      <a:pt x="16" y="155"/>
                    </a:lnTo>
                    <a:lnTo>
                      <a:pt x="15" y="160"/>
                    </a:lnTo>
                    <a:lnTo>
                      <a:pt x="16" y="160"/>
                    </a:lnTo>
                    <a:lnTo>
                      <a:pt x="16" y="160"/>
                    </a:lnTo>
                    <a:lnTo>
                      <a:pt x="15" y="160"/>
                    </a:lnTo>
                    <a:lnTo>
                      <a:pt x="15" y="161"/>
                    </a:lnTo>
                    <a:lnTo>
                      <a:pt x="16" y="166"/>
                    </a:lnTo>
                    <a:lnTo>
                      <a:pt x="18" y="166"/>
                    </a:lnTo>
                    <a:lnTo>
                      <a:pt x="18" y="164"/>
                    </a:lnTo>
                    <a:lnTo>
                      <a:pt x="18" y="161"/>
                    </a:lnTo>
                    <a:lnTo>
                      <a:pt x="19" y="161"/>
                    </a:lnTo>
                    <a:lnTo>
                      <a:pt x="21" y="161"/>
                    </a:lnTo>
                    <a:lnTo>
                      <a:pt x="21" y="161"/>
                    </a:lnTo>
                    <a:lnTo>
                      <a:pt x="22" y="163"/>
                    </a:lnTo>
                    <a:lnTo>
                      <a:pt x="24" y="164"/>
                    </a:lnTo>
                    <a:lnTo>
                      <a:pt x="27" y="164"/>
                    </a:lnTo>
                    <a:lnTo>
                      <a:pt x="25" y="166"/>
                    </a:lnTo>
                    <a:lnTo>
                      <a:pt x="25" y="167"/>
                    </a:lnTo>
                    <a:lnTo>
                      <a:pt x="25" y="167"/>
                    </a:lnTo>
                    <a:lnTo>
                      <a:pt x="27" y="169"/>
                    </a:lnTo>
                    <a:lnTo>
                      <a:pt x="27" y="169"/>
                    </a:lnTo>
                    <a:lnTo>
                      <a:pt x="27" y="170"/>
                    </a:lnTo>
                    <a:lnTo>
                      <a:pt x="29" y="170"/>
                    </a:lnTo>
                    <a:lnTo>
                      <a:pt x="30" y="172"/>
                    </a:lnTo>
                    <a:lnTo>
                      <a:pt x="32" y="172"/>
                    </a:lnTo>
                    <a:lnTo>
                      <a:pt x="32" y="174"/>
                    </a:lnTo>
                    <a:lnTo>
                      <a:pt x="32" y="175"/>
                    </a:lnTo>
                    <a:lnTo>
                      <a:pt x="30" y="177"/>
                    </a:lnTo>
                    <a:lnTo>
                      <a:pt x="29" y="177"/>
                    </a:lnTo>
                    <a:lnTo>
                      <a:pt x="27" y="177"/>
                    </a:lnTo>
                    <a:lnTo>
                      <a:pt x="24" y="174"/>
                    </a:lnTo>
                    <a:lnTo>
                      <a:pt x="24" y="174"/>
                    </a:lnTo>
                    <a:lnTo>
                      <a:pt x="22" y="174"/>
                    </a:lnTo>
                    <a:lnTo>
                      <a:pt x="25" y="178"/>
                    </a:lnTo>
                    <a:lnTo>
                      <a:pt x="27" y="180"/>
                    </a:lnTo>
                    <a:lnTo>
                      <a:pt x="29" y="181"/>
                    </a:lnTo>
                    <a:lnTo>
                      <a:pt x="30" y="183"/>
                    </a:lnTo>
                    <a:lnTo>
                      <a:pt x="32" y="181"/>
                    </a:lnTo>
                    <a:lnTo>
                      <a:pt x="32" y="181"/>
                    </a:lnTo>
                    <a:lnTo>
                      <a:pt x="30" y="178"/>
                    </a:lnTo>
                    <a:lnTo>
                      <a:pt x="32" y="178"/>
                    </a:lnTo>
                    <a:lnTo>
                      <a:pt x="32" y="177"/>
                    </a:lnTo>
                    <a:lnTo>
                      <a:pt x="33" y="175"/>
                    </a:lnTo>
                    <a:lnTo>
                      <a:pt x="32" y="178"/>
                    </a:lnTo>
                    <a:lnTo>
                      <a:pt x="33" y="183"/>
                    </a:lnTo>
                    <a:lnTo>
                      <a:pt x="33" y="185"/>
                    </a:lnTo>
                    <a:lnTo>
                      <a:pt x="36" y="186"/>
                    </a:lnTo>
                    <a:lnTo>
                      <a:pt x="35" y="186"/>
                    </a:lnTo>
                    <a:lnTo>
                      <a:pt x="36" y="188"/>
                    </a:lnTo>
                    <a:lnTo>
                      <a:pt x="36" y="191"/>
                    </a:lnTo>
                    <a:lnTo>
                      <a:pt x="40" y="196"/>
                    </a:lnTo>
                    <a:lnTo>
                      <a:pt x="41" y="203"/>
                    </a:lnTo>
                    <a:lnTo>
                      <a:pt x="41" y="205"/>
                    </a:lnTo>
                    <a:lnTo>
                      <a:pt x="43" y="208"/>
                    </a:lnTo>
                    <a:lnTo>
                      <a:pt x="41" y="213"/>
                    </a:lnTo>
                    <a:lnTo>
                      <a:pt x="41" y="214"/>
                    </a:lnTo>
                    <a:lnTo>
                      <a:pt x="40" y="216"/>
                    </a:lnTo>
                    <a:lnTo>
                      <a:pt x="40" y="219"/>
                    </a:lnTo>
                    <a:lnTo>
                      <a:pt x="40" y="221"/>
                    </a:lnTo>
                    <a:lnTo>
                      <a:pt x="38" y="224"/>
                    </a:lnTo>
                    <a:lnTo>
                      <a:pt x="38" y="225"/>
                    </a:lnTo>
                    <a:lnTo>
                      <a:pt x="36" y="227"/>
                    </a:lnTo>
                    <a:lnTo>
                      <a:pt x="35" y="233"/>
                    </a:lnTo>
                    <a:lnTo>
                      <a:pt x="36" y="236"/>
                    </a:lnTo>
                    <a:lnTo>
                      <a:pt x="36" y="236"/>
                    </a:lnTo>
                    <a:lnTo>
                      <a:pt x="40" y="235"/>
                    </a:lnTo>
                    <a:lnTo>
                      <a:pt x="41" y="233"/>
                    </a:lnTo>
                    <a:lnTo>
                      <a:pt x="43" y="232"/>
                    </a:lnTo>
                    <a:lnTo>
                      <a:pt x="43" y="230"/>
                    </a:lnTo>
                    <a:lnTo>
                      <a:pt x="44" y="230"/>
                    </a:lnTo>
                    <a:lnTo>
                      <a:pt x="44" y="228"/>
                    </a:lnTo>
                    <a:lnTo>
                      <a:pt x="44" y="227"/>
                    </a:lnTo>
                    <a:lnTo>
                      <a:pt x="44" y="228"/>
                    </a:lnTo>
                    <a:lnTo>
                      <a:pt x="44" y="228"/>
                    </a:lnTo>
                    <a:lnTo>
                      <a:pt x="44" y="232"/>
                    </a:lnTo>
                    <a:lnTo>
                      <a:pt x="44" y="233"/>
                    </a:lnTo>
                    <a:lnTo>
                      <a:pt x="43" y="235"/>
                    </a:lnTo>
                    <a:lnTo>
                      <a:pt x="43" y="236"/>
                    </a:lnTo>
                    <a:lnTo>
                      <a:pt x="43" y="238"/>
                    </a:lnTo>
                    <a:lnTo>
                      <a:pt x="46" y="236"/>
                    </a:lnTo>
                    <a:lnTo>
                      <a:pt x="47" y="236"/>
                    </a:lnTo>
                    <a:lnTo>
                      <a:pt x="47" y="235"/>
                    </a:lnTo>
                    <a:lnTo>
                      <a:pt x="47" y="233"/>
                    </a:lnTo>
                    <a:lnTo>
                      <a:pt x="47" y="233"/>
                    </a:lnTo>
                    <a:lnTo>
                      <a:pt x="47" y="235"/>
                    </a:lnTo>
                    <a:lnTo>
                      <a:pt x="47" y="235"/>
                    </a:lnTo>
                    <a:lnTo>
                      <a:pt x="47" y="236"/>
                    </a:lnTo>
                    <a:lnTo>
                      <a:pt x="49" y="239"/>
                    </a:lnTo>
                    <a:lnTo>
                      <a:pt x="50" y="239"/>
                    </a:lnTo>
                    <a:lnTo>
                      <a:pt x="52" y="239"/>
                    </a:lnTo>
                    <a:lnTo>
                      <a:pt x="54" y="238"/>
                    </a:lnTo>
                    <a:lnTo>
                      <a:pt x="55" y="236"/>
                    </a:lnTo>
                    <a:lnTo>
                      <a:pt x="55" y="235"/>
                    </a:lnTo>
                    <a:lnTo>
                      <a:pt x="55" y="236"/>
                    </a:lnTo>
                    <a:lnTo>
                      <a:pt x="55" y="238"/>
                    </a:lnTo>
                    <a:lnTo>
                      <a:pt x="55" y="241"/>
                    </a:lnTo>
                    <a:lnTo>
                      <a:pt x="55" y="241"/>
                    </a:lnTo>
                    <a:lnTo>
                      <a:pt x="57" y="241"/>
                    </a:lnTo>
                    <a:lnTo>
                      <a:pt x="60" y="239"/>
                    </a:lnTo>
                    <a:lnTo>
                      <a:pt x="61" y="236"/>
                    </a:lnTo>
                    <a:lnTo>
                      <a:pt x="61" y="235"/>
                    </a:lnTo>
                    <a:lnTo>
                      <a:pt x="63" y="233"/>
                    </a:lnTo>
                    <a:lnTo>
                      <a:pt x="68" y="232"/>
                    </a:lnTo>
                    <a:lnTo>
                      <a:pt x="68" y="232"/>
                    </a:lnTo>
                    <a:lnTo>
                      <a:pt x="68" y="230"/>
                    </a:lnTo>
                    <a:lnTo>
                      <a:pt x="68" y="230"/>
                    </a:lnTo>
                    <a:lnTo>
                      <a:pt x="69" y="230"/>
                    </a:lnTo>
                    <a:lnTo>
                      <a:pt x="72" y="228"/>
                    </a:lnTo>
                    <a:lnTo>
                      <a:pt x="72" y="228"/>
                    </a:lnTo>
                    <a:lnTo>
                      <a:pt x="71" y="225"/>
                    </a:lnTo>
                    <a:lnTo>
                      <a:pt x="71" y="225"/>
                    </a:lnTo>
                    <a:lnTo>
                      <a:pt x="71" y="222"/>
                    </a:lnTo>
                    <a:lnTo>
                      <a:pt x="71" y="222"/>
                    </a:lnTo>
                    <a:lnTo>
                      <a:pt x="71" y="222"/>
                    </a:lnTo>
                    <a:lnTo>
                      <a:pt x="71" y="224"/>
                    </a:lnTo>
                    <a:lnTo>
                      <a:pt x="72" y="225"/>
                    </a:lnTo>
                    <a:lnTo>
                      <a:pt x="74" y="227"/>
                    </a:lnTo>
                    <a:lnTo>
                      <a:pt x="74" y="227"/>
                    </a:lnTo>
                    <a:lnTo>
                      <a:pt x="75" y="227"/>
                    </a:lnTo>
                    <a:lnTo>
                      <a:pt x="79" y="225"/>
                    </a:lnTo>
                    <a:lnTo>
                      <a:pt x="80" y="224"/>
                    </a:lnTo>
                    <a:lnTo>
                      <a:pt x="82" y="222"/>
                    </a:lnTo>
                    <a:lnTo>
                      <a:pt x="82" y="219"/>
                    </a:lnTo>
                    <a:lnTo>
                      <a:pt x="83" y="217"/>
                    </a:lnTo>
                    <a:lnTo>
                      <a:pt x="82" y="214"/>
                    </a:lnTo>
                    <a:lnTo>
                      <a:pt x="83" y="213"/>
                    </a:lnTo>
                    <a:lnTo>
                      <a:pt x="82" y="211"/>
                    </a:lnTo>
                    <a:lnTo>
                      <a:pt x="82" y="211"/>
                    </a:lnTo>
                    <a:lnTo>
                      <a:pt x="83" y="213"/>
                    </a:lnTo>
                    <a:lnTo>
                      <a:pt x="86" y="214"/>
                    </a:lnTo>
                    <a:lnTo>
                      <a:pt x="86" y="214"/>
                    </a:lnTo>
                    <a:lnTo>
                      <a:pt x="88" y="216"/>
                    </a:lnTo>
                    <a:lnTo>
                      <a:pt x="88" y="217"/>
                    </a:lnTo>
                    <a:lnTo>
                      <a:pt x="88" y="221"/>
                    </a:lnTo>
                    <a:lnTo>
                      <a:pt x="90" y="222"/>
                    </a:lnTo>
                    <a:lnTo>
                      <a:pt x="90" y="224"/>
                    </a:lnTo>
                    <a:lnTo>
                      <a:pt x="91" y="227"/>
                    </a:lnTo>
                    <a:lnTo>
                      <a:pt x="93" y="227"/>
                    </a:lnTo>
                    <a:lnTo>
                      <a:pt x="96" y="227"/>
                    </a:lnTo>
                    <a:lnTo>
                      <a:pt x="96" y="225"/>
                    </a:lnTo>
                    <a:lnTo>
                      <a:pt x="97" y="225"/>
                    </a:lnTo>
                    <a:lnTo>
                      <a:pt x="96" y="227"/>
                    </a:lnTo>
                    <a:lnTo>
                      <a:pt x="96" y="228"/>
                    </a:lnTo>
                    <a:lnTo>
                      <a:pt x="96" y="232"/>
                    </a:lnTo>
                    <a:lnTo>
                      <a:pt x="96" y="233"/>
                    </a:lnTo>
                    <a:lnTo>
                      <a:pt x="94" y="236"/>
                    </a:lnTo>
                    <a:lnTo>
                      <a:pt x="97" y="238"/>
                    </a:lnTo>
                    <a:lnTo>
                      <a:pt x="97" y="246"/>
                    </a:lnTo>
                    <a:lnTo>
                      <a:pt x="97" y="249"/>
                    </a:lnTo>
                    <a:lnTo>
                      <a:pt x="99" y="250"/>
                    </a:lnTo>
                    <a:lnTo>
                      <a:pt x="99" y="257"/>
                    </a:lnTo>
                    <a:lnTo>
                      <a:pt x="99" y="258"/>
                    </a:lnTo>
                    <a:lnTo>
                      <a:pt x="100" y="258"/>
                    </a:lnTo>
                    <a:lnTo>
                      <a:pt x="102" y="260"/>
                    </a:lnTo>
                    <a:lnTo>
                      <a:pt x="100" y="260"/>
                    </a:lnTo>
                    <a:lnTo>
                      <a:pt x="100" y="260"/>
                    </a:lnTo>
                    <a:lnTo>
                      <a:pt x="102" y="264"/>
                    </a:lnTo>
                    <a:lnTo>
                      <a:pt x="102" y="266"/>
                    </a:lnTo>
                    <a:lnTo>
                      <a:pt x="104" y="269"/>
                    </a:lnTo>
                    <a:lnTo>
                      <a:pt x="104" y="272"/>
                    </a:lnTo>
                    <a:lnTo>
                      <a:pt x="104" y="274"/>
                    </a:lnTo>
                    <a:lnTo>
                      <a:pt x="104" y="277"/>
                    </a:lnTo>
                    <a:lnTo>
                      <a:pt x="105" y="278"/>
                    </a:lnTo>
                    <a:lnTo>
                      <a:pt x="105" y="272"/>
                    </a:lnTo>
                    <a:lnTo>
                      <a:pt x="107" y="274"/>
                    </a:lnTo>
                    <a:lnTo>
                      <a:pt x="107" y="275"/>
                    </a:lnTo>
                    <a:lnTo>
                      <a:pt x="107" y="277"/>
                    </a:lnTo>
                    <a:lnTo>
                      <a:pt x="110" y="282"/>
                    </a:lnTo>
                    <a:lnTo>
                      <a:pt x="110" y="285"/>
                    </a:lnTo>
                    <a:lnTo>
                      <a:pt x="111" y="288"/>
                    </a:lnTo>
                    <a:lnTo>
                      <a:pt x="113" y="291"/>
                    </a:lnTo>
                    <a:lnTo>
                      <a:pt x="113" y="293"/>
                    </a:lnTo>
                    <a:lnTo>
                      <a:pt x="113" y="294"/>
                    </a:lnTo>
                    <a:lnTo>
                      <a:pt x="113" y="296"/>
                    </a:lnTo>
                    <a:lnTo>
                      <a:pt x="113" y="299"/>
                    </a:lnTo>
                    <a:lnTo>
                      <a:pt x="113" y="300"/>
                    </a:lnTo>
                    <a:lnTo>
                      <a:pt x="115" y="302"/>
                    </a:lnTo>
                    <a:lnTo>
                      <a:pt x="113" y="302"/>
                    </a:lnTo>
                    <a:lnTo>
                      <a:pt x="113" y="303"/>
                    </a:lnTo>
                    <a:lnTo>
                      <a:pt x="113" y="303"/>
                    </a:lnTo>
                    <a:lnTo>
                      <a:pt x="115" y="303"/>
                    </a:lnTo>
                    <a:lnTo>
                      <a:pt x="113" y="305"/>
                    </a:lnTo>
                    <a:lnTo>
                      <a:pt x="115" y="307"/>
                    </a:lnTo>
                    <a:lnTo>
                      <a:pt x="115" y="308"/>
                    </a:lnTo>
                    <a:lnTo>
                      <a:pt x="113" y="310"/>
                    </a:lnTo>
                    <a:lnTo>
                      <a:pt x="113" y="310"/>
                    </a:lnTo>
                    <a:lnTo>
                      <a:pt x="113" y="311"/>
                    </a:lnTo>
                    <a:lnTo>
                      <a:pt x="113" y="313"/>
                    </a:lnTo>
                    <a:lnTo>
                      <a:pt x="115" y="313"/>
                    </a:lnTo>
                    <a:lnTo>
                      <a:pt x="116" y="311"/>
                    </a:lnTo>
                    <a:lnTo>
                      <a:pt x="116" y="313"/>
                    </a:lnTo>
                    <a:lnTo>
                      <a:pt x="118" y="313"/>
                    </a:lnTo>
                    <a:lnTo>
                      <a:pt x="116" y="314"/>
                    </a:lnTo>
                    <a:lnTo>
                      <a:pt x="115" y="316"/>
                    </a:lnTo>
                    <a:lnTo>
                      <a:pt x="115" y="316"/>
                    </a:lnTo>
                    <a:lnTo>
                      <a:pt x="115" y="318"/>
                    </a:lnTo>
                    <a:lnTo>
                      <a:pt x="115" y="321"/>
                    </a:lnTo>
                    <a:lnTo>
                      <a:pt x="115" y="322"/>
                    </a:lnTo>
                    <a:lnTo>
                      <a:pt x="115" y="324"/>
                    </a:lnTo>
                    <a:lnTo>
                      <a:pt x="115" y="325"/>
                    </a:lnTo>
                    <a:lnTo>
                      <a:pt x="113" y="329"/>
                    </a:lnTo>
                    <a:lnTo>
                      <a:pt x="111" y="330"/>
                    </a:lnTo>
                    <a:lnTo>
                      <a:pt x="111" y="330"/>
                    </a:lnTo>
                    <a:lnTo>
                      <a:pt x="110" y="332"/>
                    </a:lnTo>
                    <a:lnTo>
                      <a:pt x="111" y="338"/>
                    </a:lnTo>
                    <a:lnTo>
                      <a:pt x="111" y="341"/>
                    </a:lnTo>
                    <a:lnTo>
                      <a:pt x="111" y="341"/>
                    </a:lnTo>
                    <a:lnTo>
                      <a:pt x="111" y="343"/>
                    </a:lnTo>
                    <a:lnTo>
                      <a:pt x="113" y="341"/>
                    </a:lnTo>
                    <a:lnTo>
                      <a:pt x="115" y="339"/>
                    </a:lnTo>
                    <a:lnTo>
                      <a:pt x="115" y="339"/>
                    </a:lnTo>
                    <a:lnTo>
                      <a:pt x="115" y="339"/>
                    </a:lnTo>
                    <a:lnTo>
                      <a:pt x="115" y="338"/>
                    </a:lnTo>
                    <a:lnTo>
                      <a:pt x="116" y="336"/>
                    </a:lnTo>
                    <a:lnTo>
                      <a:pt x="116" y="333"/>
                    </a:lnTo>
                    <a:lnTo>
                      <a:pt x="115" y="333"/>
                    </a:lnTo>
                    <a:lnTo>
                      <a:pt x="115" y="332"/>
                    </a:lnTo>
                    <a:lnTo>
                      <a:pt x="115" y="332"/>
                    </a:lnTo>
                    <a:lnTo>
                      <a:pt x="116" y="332"/>
                    </a:lnTo>
                    <a:lnTo>
                      <a:pt x="118" y="330"/>
                    </a:lnTo>
                    <a:lnTo>
                      <a:pt x="119" y="327"/>
                    </a:lnTo>
                    <a:lnTo>
                      <a:pt x="119" y="327"/>
                    </a:lnTo>
                    <a:lnTo>
                      <a:pt x="122" y="324"/>
                    </a:lnTo>
                    <a:lnTo>
                      <a:pt x="126" y="319"/>
                    </a:lnTo>
                    <a:lnTo>
                      <a:pt x="127" y="316"/>
                    </a:lnTo>
                    <a:lnTo>
                      <a:pt x="129" y="314"/>
                    </a:lnTo>
                    <a:lnTo>
                      <a:pt x="129" y="314"/>
                    </a:lnTo>
                    <a:lnTo>
                      <a:pt x="129" y="314"/>
                    </a:lnTo>
                    <a:lnTo>
                      <a:pt x="130" y="313"/>
                    </a:lnTo>
                    <a:lnTo>
                      <a:pt x="130" y="313"/>
                    </a:lnTo>
                    <a:lnTo>
                      <a:pt x="130" y="311"/>
                    </a:lnTo>
                    <a:lnTo>
                      <a:pt x="130" y="311"/>
                    </a:lnTo>
                    <a:lnTo>
                      <a:pt x="129" y="307"/>
                    </a:lnTo>
                    <a:lnTo>
                      <a:pt x="127" y="305"/>
                    </a:lnTo>
                    <a:lnTo>
                      <a:pt x="127" y="302"/>
                    </a:lnTo>
                    <a:lnTo>
                      <a:pt x="127" y="302"/>
                    </a:lnTo>
                    <a:lnTo>
                      <a:pt x="127" y="300"/>
                    </a:lnTo>
                    <a:lnTo>
                      <a:pt x="127" y="299"/>
                    </a:lnTo>
                    <a:lnTo>
                      <a:pt x="127" y="299"/>
                    </a:lnTo>
                    <a:lnTo>
                      <a:pt x="127" y="299"/>
                    </a:lnTo>
                    <a:lnTo>
                      <a:pt x="126" y="297"/>
                    </a:lnTo>
                    <a:lnTo>
                      <a:pt x="126" y="296"/>
                    </a:lnTo>
                    <a:lnTo>
                      <a:pt x="126" y="296"/>
                    </a:lnTo>
                    <a:lnTo>
                      <a:pt x="124" y="294"/>
                    </a:lnTo>
                    <a:lnTo>
                      <a:pt x="122" y="293"/>
                    </a:lnTo>
                    <a:lnTo>
                      <a:pt x="122" y="291"/>
                    </a:lnTo>
                    <a:lnTo>
                      <a:pt x="122" y="289"/>
                    </a:lnTo>
                    <a:lnTo>
                      <a:pt x="121" y="288"/>
                    </a:lnTo>
                    <a:lnTo>
                      <a:pt x="121" y="288"/>
                    </a:lnTo>
                    <a:lnTo>
                      <a:pt x="122" y="286"/>
                    </a:lnTo>
                    <a:lnTo>
                      <a:pt x="122" y="286"/>
                    </a:lnTo>
                    <a:lnTo>
                      <a:pt x="122" y="282"/>
                    </a:lnTo>
                    <a:lnTo>
                      <a:pt x="122" y="280"/>
                    </a:lnTo>
                    <a:lnTo>
                      <a:pt x="122" y="280"/>
                    </a:lnTo>
                    <a:lnTo>
                      <a:pt x="122" y="277"/>
                    </a:lnTo>
                    <a:lnTo>
                      <a:pt x="121" y="275"/>
                    </a:lnTo>
                    <a:lnTo>
                      <a:pt x="119" y="274"/>
                    </a:lnTo>
                    <a:lnTo>
                      <a:pt x="118" y="271"/>
                    </a:lnTo>
                    <a:lnTo>
                      <a:pt x="115" y="268"/>
                    </a:lnTo>
                    <a:lnTo>
                      <a:pt x="111" y="266"/>
                    </a:lnTo>
                    <a:lnTo>
                      <a:pt x="110" y="264"/>
                    </a:lnTo>
                    <a:lnTo>
                      <a:pt x="108" y="261"/>
                    </a:lnTo>
                    <a:lnTo>
                      <a:pt x="108" y="261"/>
                    </a:lnTo>
                    <a:lnTo>
                      <a:pt x="108" y="260"/>
                    </a:lnTo>
                    <a:lnTo>
                      <a:pt x="107" y="258"/>
                    </a:lnTo>
                    <a:lnTo>
                      <a:pt x="105" y="255"/>
                    </a:lnTo>
                    <a:lnTo>
                      <a:pt x="105" y="252"/>
                    </a:lnTo>
                    <a:lnTo>
                      <a:pt x="105" y="250"/>
                    </a:lnTo>
                    <a:lnTo>
                      <a:pt x="105" y="250"/>
                    </a:lnTo>
                    <a:lnTo>
                      <a:pt x="107" y="250"/>
                    </a:lnTo>
                    <a:lnTo>
                      <a:pt x="107" y="249"/>
                    </a:lnTo>
                    <a:lnTo>
                      <a:pt x="108" y="249"/>
                    </a:lnTo>
                    <a:lnTo>
                      <a:pt x="110" y="247"/>
                    </a:lnTo>
                    <a:lnTo>
                      <a:pt x="111" y="247"/>
                    </a:lnTo>
                    <a:lnTo>
                      <a:pt x="111" y="247"/>
                    </a:lnTo>
                    <a:lnTo>
                      <a:pt x="111" y="247"/>
                    </a:lnTo>
                    <a:lnTo>
                      <a:pt x="111" y="244"/>
                    </a:lnTo>
                    <a:lnTo>
                      <a:pt x="111" y="241"/>
                    </a:lnTo>
                    <a:lnTo>
                      <a:pt x="111" y="239"/>
                    </a:lnTo>
                    <a:lnTo>
                      <a:pt x="111" y="238"/>
                    </a:lnTo>
                    <a:lnTo>
                      <a:pt x="113" y="236"/>
                    </a:lnTo>
                    <a:lnTo>
                      <a:pt x="113" y="235"/>
                    </a:lnTo>
                    <a:lnTo>
                      <a:pt x="116" y="233"/>
                    </a:lnTo>
                    <a:lnTo>
                      <a:pt x="116" y="233"/>
                    </a:lnTo>
                    <a:lnTo>
                      <a:pt x="118" y="232"/>
                    </a:lnTo>
                    <a:lnTo>
                      <a:pt x="118" y="230"/>
                    </a:lnTo>
                    <a:lnTo>
                      <a:pt x="118" y="230"/>
                    </a:lnTo>
                    <a:lnTo>
                      <a:pt x="118" y="228"/>
                    </a:lnTo>
                    <a:lnTo>
                      <a:pt x="116" y="228"/>
                    </a:lnTo>
                    <a:lnTo>
                      <a:pt x="115" y="230"/>
                    </a:lnTo>
                    <a:lnTo>
                      <a:pt x="113" y="230"/>
                    </a:lnTo>
                    <a:lnTo>
                      <a:pt x="113" y="230"/>
                    </a:lnTo>
                    <a:lnTo>
                      <a:pt x="113" y="227"/>
                    </a:lnTo>
                    <a:lnTo>
                      <a:pt x="111" y="225"/>
                    </a:lnTo>
                    <a:lnTo>
                      <a:pt x="111" y="224"/>
                    </a:lnTo>
                    <a:lnTo>
                      <a:pt x="110" y="222"/>
                    </a:lnTo>
                    <a:lnTo>
                      <a:pt x="110" y="222"/>
                    </a:lnTo>
                    <a:lnTo>
                      <a:pt x="110" y="219"/>
                    </a:lnTo>
                    <a:lnTo>
                      <a:pt x="110" y="219"/>
                    </a:lnTo>
                    <a:lnTo>
                      <a:pt x="107" y="216"/>
                    </a:lnTo>
                    <a:lnTo>
                      <a:pt x="105" y="213"/>
                    </a:lnTo>
                    <a:lnTo>
                      <a:pt x="104" y="211"/>
                    </a:lnTo>
                    <a:lnTo>
                      <a:pt x="100" y="208"/>
                    </a:lnTo>
                    <a:lnTo>
                      <a:pt x="100" y="208"/>
                    </a:lnTo>
                    <a:lnTo>
                      <a:pt x="99" y="205"/>
                    </a:lnTo>
                    <a:lnTo>
                      <a:pt x="97" y="203"/>
                    </a:lnTo>
                    <a:lnTo>
                      <a:pt x="97" y="203"/>
                    </a:lnTo>
                    <a:lnTo>
                      <a:pt x="97" y="203"/>
                    </a:lnTo>
                    <a:lnTo>
                      <a:pt x="97" y="202"/>
                    </a:lnTo>
                    <a:lnTo>
                      <a:pt x="97" y="200"/>
                    </a:lnTo>
                    <a:lnTo>
                      <a:pt x="97" y="199"/>
                    </a:lnTo>
                    <a:lnTo>
                      <a:pt x="96" y="196"/>
                    </a:lnTo>
                    <a:lnTo>
                      <a:pt x="96" y="194"/>
                    </a:lnTo>
                    <a:lnTo>
                      <a:pt x="96" y="194"/>
                    </a:lnTo>
                    <a:lnTo>
                      <a:pt x="96" y="194"/>
                    </a:lnTo>
                    <a:lnTo>
                      <a:pt x="94" y="194"/>
                    </a:lnTo>
                    <a:lnTo>
                      <a:pt x="94" y="194"/>
                    </a:lnTo>
                    <a:lnTo>
                      <a:pt x="93" y="192"/>
                    </a:lnTo>
                    <a:lnTo>
                      <a:pt x="91" y="191"/>
                    </a:lnTo>
                    <a:lnTo>
                      <a:pt x="91" y="191"/>
                    </a:lnTo>
                    <a:lnTo>
                      <a:pt x="91" y="189"/>
                    </a:lnTo>
                    <a:lnTo>
                      <a:pt x="91" y="189"/>
                    </a:lnTo>
                    <a:lnTo>
                      <a:pt x="93" y="191"/>
                    </a:lnTo>
                    <a:lnTo>
                      <a:pt x="93" y="191"/>
                    </a:lnTo>
                    <a:lnTo>
                      <a:pt x="94" y="191"/>
                    </a:lnTo>
                    <a:lnTo>
                      <a:pt x="94" y="189"/>
                    </a:lnTo>
                    <a:lnTo>
                      <a:pt x="96" y="189"/>
                    </a:lnTo>
                    <a:lnTo>
                      <a:pt x="97" y="189"/>
                    </a:lnTo>
                    <a:lnTo>
                      <a:pt x="97" y="189"/>
                    </a:lnTo>
                    <a:lnTo>
                      <a:pt x="97" y="188"/>
                    </a:lnTo>
                    <a:lnTo>
                      <a:pt x="97" y="183"/>
                    </a:lnTo>
                    <a:lnTo>
                      <a:pt x="97" y="181"/>
                    </a:lnTo>
                    <a:lnTo>
                      <a:pt x="97" y="181"/>
                    </a:lnTo>
                    <a:lnTo>
                      <a:pt x="97" y="181"/>
                    </a:lnTo>
                    <a:lnTo>
                      <a:pt x="99" y="178"/>
                    </a:lnTo>
                    <a:lnTo>
                      <a:pt x="99" y="177"/>
                    </a:lnTo>
                    <a:lnTo>
                      <a:pt x="99" y="177"/>
                    </a:lnTo>
                    <a:lnTo>
                      <a:pt x="99" y="172"/>
                    </a:lnTo>
                    <a:lnTo>
                      <a:pt x="100" y="170"/>
                    </a:lnTo>
                    <a:lnTo>
                      <a:pt x="102" y="169"/>
                    </a:lnTo>
                    <a:lnTo>
                      <a:pt x="102" y="169"/>
                    </a:lnTo>
                    <a:lnTo>
                      <a:pt x="102" y="167"/>
                    </a:lnTo>
                    <a:lnTo>
                      <a:pt x="102" y="167"/>
                    </a:lnTo>
                    <a:lnTo>
                      <a:pt x="104" y="167"/>
                    </a:lnTo>
                    <a:lnTo>
                      <a:pt x="107" y="169"/>
                    </a:lnTo>
                    <a:lnTo>
                      <a:pt x="107" y="169"/>
                    </a:lnTo>
                    <a:lnTo>
                      <a:pt x="108" y="169"/>
                    </a:lnTo>
                    <a:lnTo>
                      <a:pt x="110" y="169"/>
                    </a:lnTo>
                    <a:lnTo>
                      <a:pt x="110" y="167"/>
                    </a:lnTo>
                    <a:lnTo>
                      <a:pt x="115" y="167"/>
                    </a:lnTo>
                    <a:lnTo>
                      <a:pt x="116" y="167"/>
                    </a:lnTo>
                    <a:lnTo>
                      <a:pt x="118" y="167"/>
                    </a:lnTo>
                    <a:lnTo>
                      <a:pt x="118" y="167"/>
                    </a:lnTo>
                    <a:lnTo>
                      <a:pt x="119" y="166"/>
                    </a:lnTo>
                    <a:lnTo>
                      <a:pt x="119" y="166"/>
                    </a:lnTo>
                    <a:lnTo>
                      <a:pt x="119" y="166"/>
                    </a:lnTo>
                    <a:lnTo>
                      <a:pt x="119" y="163"/>
                    </a:lnTo>
                    <a:lnTo>
                      <a:pt x="119" y="161"/>
                    </a:lnTo>
                    <a:lnTo>
                      <a:pt x="121" y="161"/>
                    </a:lnTo>
                    <a:lnTo>
                      <a:pt x="121" y="161"/>
                    </a:lnTo>
                    <a:lnTo>
                      <a:pt x="122" y="161"/>
                    </a:lnTo>
                    <a:lnTo>
                      <a:pt x="122" y="161"/>
                    </a:lnTo>
                    <a:lnTo>
                      <a:pt x="124" y="161"/>
                    </a:lnTo>
                    <a:lnTo>
                      <a:pt x="126" y="161"/>
                    </a:lnTo>
                    <a:lnTo>
                      <a:pt x="127" y="161"/>
                    </a:lnTo>
                    <a:lnTo>
                      <a:pt x="127" y="161"/>
                    </a:lnTo>
                    <a:lnTo>
                      <a:pt x="129" y="160"/>
                    </a:lnTo>
                    <a:lnTo>
                      <a:pt x="129" y="160"/>
                    </a:lnTo>
                    <a:lnTo>
                      <a:pt x="129" y="158"/>
                    </a:lnTo>
                    <a:lnTo>
                      <a:pt x="127" y="156"/>
                    </a:lnTo>
                    <a:lnTo>
                      <a:pt x="127" y="156"/>
                    </a:lnTo>
                    <a:lnTo>
                      <a:pt x="129" y="156"/>
                    </a:lnTo>
                    <a:lnTo>
                      <a:pt x="130" y="156"/>
                    </a:lnTo>
                    <a:lnTo>
                      <a:pt x="132" y="156"/>
                    </a:lnTo>
                    <a:lnTo>
                      <a:pt x="133" y="156"/>
                    </a:lnTo>
                    <a:lnTo>
                      <a:pt x="133" y="155"/>
                    </a:lnTo>
                    <a:lnTo>
                      <a:pt x="133" y="155"/>
                    </a:lnTo>
                    <a:lnTo>
                      <a:pt x="135" y="155"/>
                    </a:lnTo>
                    <a:lnTo>
                      <a:pt x="136" y="155"/>
                    </a:lnTo>
                    <a:lnTo>
                      <a:pt x="136" y="155"/>
                    </a:lnTo>
                    <a:lnTo>
                      <a:pt x="140" y="156"/>
                    </a:lnTo>
                    <a:lnTo>
                      <a:pt x="140" y="155"/>
                    </a:lnTo>
                    <a:lnTo>
                      <a:pt x="140" y="152"/>
                    </a:lnTo>
                    <a:lnTo>
                      <a:pt x="141" y="149"/>
                    </a:lnTo>
                    <a:lnTo>
                      <a:pt x="143" y="147"/>
                    </a:lnTo>
                    <a:lnTo>
                      <a:pt x="144" y="147"/>
                    </a:lnTo>
                    <a:lnTo>
                      <a:pt x="146" y="147"/>
                    </a:lnTo>
                    <a:lnTo>
                      <a:pt x="147" y="147"/>
                    </a:lnTo>
                    <a:lnTo>
                      <a:pt x="147" y="147"/>
                    </a:lnTo>
                    <a:lnTo>
                      <a:pt x="147" y="145"/>
                    </a:lnTo>
                    <a:lnTo>
                      <a:pt x="147" y="145"/>
                    </a:lnTo>
                    <a:lnTo>
                      <a:pt x="146" y="145"/>
                    </a:lnTo>
                    <a:lnTo>
                      <a:pt x="146" y="144"/>
                    </a:lnTo>
                    <a:lnTo>
                      <a:pt x="147" y="144"/>
                    </a:lnTo>
                    <a:lnTo>
                      <a:pt x="147" y="142"/>
                    </a:lnTo>
                    <a:lnTo>
                      <a:pt x="149" y="141"/>
                    </a:lnTo>
                    <a:lnTo>
                      <a:pt x="149" y="139"/>
                    </a:lnTo>
                    <a:lnTo>
                      <a:pt x="151" y="138"/>
                    </a:lnTo>
                    <a:lnTo>
                      <a:pt x="152" y="138"/>
                    </a:lnTo>
                    <a:lnTo>
                      <a:pt x="154" y="138"/>
                    </a:lnTo>
                    <a:lnTo>
                      <a:pt x="157" y="134"/>
                    </a:lnTo>
                    <a:lnTo>
                      <a:pt x="157" y="133"/>
                    </a:lnTo>
                    <a:lnTo>
                      <a:pt x="157" y="133"/>
                    </a:lnTo>
                    <a:lnTo>
                      <a:pt x="157" y="13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2" name="Freeform 139">
                <a:extLst>
                  <a:ext uri="{FF2B5EF4-FFF2-40B4-BE49-F238E27FC236}">
                    <a16:creationId xmlns:a16="http://schemas.microsoft.com/office/drawing/2014/main" id="{B78F42D2-59B5-073F-963B-D893C79A4503}"/>
                  </a:ext>
                </a:extLst>
              </p:cNvPr>
              <p:cNvSpPr>
                <a:spLocks/>
              </p:cNvSpPr>
              <p:nvPr/>
            </p:nvSpPr>
            <p:spPr bwMode="gray">
              <a:xfrm>
                <a:off x="4215" y="506"/>
                <a:ext cx="565" cy="270"/>
              </a:xfrm>
              <a:custGeom>
                <a:avLst/>
                <a:gdLst>
                  <a:gd name="T0" fmla="*/ 493 w 565"/>
                  <a:gd name="T1" fmla="*/ 103 h 270"/>
                  <a:gd name="T2" fmla="*/ 502 w 565"/>
                  <a:gd name="T3" fmla="*/ 115 h 270"/>
                  <a:gd name="T4" fmla="*/ 521 w 565"/>
                  <a:gd name="T5" fmla="*/ 118 h 270"/>
                  <a:gd name="T6" fmla="*/ 544 w 565"/>
                  <a:gd name="T7" fmla="*/ 118 h 270"/>
                  <a:gd name="T8" fmla="*/ 555 w 565"/>
                  <a:gd name="T9" fmla="*/ 128 h 270"/>
                  <a:gd name="T10" fmla="*/ 562 w 565"/>
                  <a:gd name="T11" fmla="*/ 148 h 270"/>
                  <a:gd name="T12" fmla="*/ 541 w 565"/>
                  <a:gd name="T13" fmla="*/ 147 h 270"/>
                  <a:gd name="T14" fmla="*/ 521 w 565"/>
                  <a:gd name="T15" fmla="*/ 150 h 270"/>
                  <a:gd name="T16" fmla="*/ 505 w 565"/>
                  <a:gd name="T17" fmla="*/ 156 h 270"/>
                  <a:gd name="T18" fmla="*/ 493 w 565"/>
                  <a:gd name="T19" fmla="*/ 175 h 270"/>
                  <a:gd name="T20" fmla="*/ 469 w 565"/>
                  <a:gd name="T21" fmla="*/ 183 h 270"/>
                  <a:gd name="T22" fmla="*/ 451 w 565"/>
                  <a:gd name="T23" fmla="*/ 194 h 270"/>
                  <a:gd name="T24" fmla="*/ 421 w 565"/>
                  <a:gd name="T25" fmla="*/ 189 h 270"/>
                  <a:gd name="T26" fmla="*/ 421 w 565"/>
                  <a:gd name="T27" fmla="*/ 212 h 270"/>
                  <a:gd name="T28" fmla="*/ 416 w 565"/>
                  <a:gd name="T29" fmla="*/ 226 h 270"/>
                  <a:gd name="T30" fmla="*/ 397 w 565"/>
                  <a:gd name="T31" fmla="*/ 242 h 270"/>
                  <a:gd name="T32" fmla="*/ 365 w 565"/>
                  <a:gd name="T33" fmla="*/ 251 h 270"/>
                  <a:gd name="T34" fmla="*/ 330 w 565"/>
                  <a:gd name="T35" fmla="*/ 256 h 270"/>
                  <a:gd name="T36" fmla="*/ 294 w 565"/>
                  <a:gd name="T37" fmla="*/ 269 h 270"/>
                  <a:gd name="T38" fmla="*/ 247 w 565"/>
                  <a:gd name="T39" fmla="*/ 255 h 270"/>
                  <a:gd name="T40" fmla="*/ 205 w 565"/>
                  <a:gd name="T41" fmla="*/ 248 h 270"/>
                  <a:gd name="T42" fmla="*/ 147 w 565"/>
                  <a:gd name="T43" fmla="*/ 237 h 270"/>
                  <a:gd name="T44" fmla="*/ 133 w 565"/>
                  <a:gd name="T45" fmla="*/ 211 h 270"/>
                  <a:gd name="T46" fmla="*/ 105 w 565"/>
                  <a:gd name="T47" fmla="*/ 192 h 270"/>
                  <a:gd name="T48" fmla="*/ 67 w 565"/>
                  <a:gd name="T49" fmla="*/ 187 h 270"/>
                  <a:gd name="T50" fmla="*/ 53 w 565"/>
                  <a:gd name="T51" fmla="*/ 178 h 270"/>
                  <a:gd name="T52" fmla="*/ 55 w 565"/>
                  <a:gd name="T53" fmla="*/ 156 h 270"/>
                  <a:gd name="T54" fmla="*/ 50 w 565"/>
                  <a:gd name="T55" fmla="*/ 136 h 270"/>
                  <a:gd name="T56" fmla="*/ 41 w 565"/>
                  <a:gd name="T57" fmla="*/ 117 h 270"/>
                  <a:gd name="T58" fmla="*/ 28 w 565"/>
                  <a:gd name="T59" fmla="*/ 112 h 270"/>
                  <a:gd name="T60" fmla="*/ 10 w 565"/>
                  <a:gd name="T61" fmla="*/ 100 h 270"/>
                  <a:gd name="T62" fmla="*/ 2 w 565"/>
                  <a:gd name="T63" fmla="*/ 90 h 270"/>
                  <a:gd name="T64" fmla="*/ 5 w 565"/>
                  <a:gd name="T65" fmla="*/ 81 h 270"/>
                  <a:gd name="T66" fmla="*/ 17 w 565"/>
                  <a:gd name="T67" fmla="*/ 73 h 270"/>
                  <a:gd name="T68" fmla="*/ 27 w 565"/>
                  <a:gd name="T69" fmla="*/ 70 h 270"/>
                  <a:gd name="T70" fmla="*/ 41 w 565"/>
                  <a:gd name="T71" fmla="*/ 56 h 270"/>
                  <a:gd name="T72" fmla="*/ 58 w 565"/>
                  <a:gd name="T73" fmla="*/ 48 h 270"/>
                  <a:gd name="T74" fmla="*/ 77 w 565"/>
                  <a:gd name="T75" fmla="*/ 40 h 270"/>
                  <a:gd name="T76" fmla="*/ 88 w 565"/>
                  <a:gd name="T77" fmla="*/ 37 h 270"/>
                  <a:gd name="T78" fmla="*/ 103 w 565"/>
                  <a:gd name="T79" fmla="*/ 43 h 270"/>
                  <a:gd name="T80" fmla="*/ 119 w 565"/>
                  <a:gd name="T81" fmla="*/ 56 h 270"/>
                  <a:gd name="T82" fmla="*/ 135 w 565"/>
                  <a:gd name="T83" fmla="*/ 61 h 270"/>
                  <a:gd name="T84" fmla="*/ 149 w 565"/>
                  <a:gd name="T85" fmla="*/ 61 h 270"/>
                  <a:gd name="T86" fmla="*/ 164 w 565"/>
                  <a:gd name="T87" fmla="*/ 65 h 270"/>
                  <a:gd name="T88" fmla="*/ 182 w 565"/>
                  <a:gd name="T89" fmla="*/ 57 h 270"/>
                  <a:gd name="T90" fmla="*/ 180 w 565"/>
                  <a:gd name="T91" fmla="*/ 40 h 270"/>
                  <a:gd name="T92" fmla="*/ 178 w 565"/>
                  <a:gd name="T93" fmla="*/ 21 h 270"/>
                  <a:gd name="T94" fmla="*/ 194 w 565"/>
                  <a:gd name="T95" fmla="*/ 4 h 270"/>
                  <a:gd name="T96" fmla="*/ 214 w 565"/>
                  <a:gd name="T97" fmla="*/ 10 h 270"/>
                  <a:gd name="T98" fmla="*/ 243 w 565"/>
                  <a:gd name="T99" fmla="*/ 18 h 270"/>
                  <a:gd name="T100" fmla="*/ 254 w 565"/>
                  <a:gd name="T101" fmla="*/ 37 h 270"/>
                  <a:gd name="T102" fmla="*/ 264 w 565"/>
                  <a:gd name="T103" fmla="*/ 50 h 270"/>
                  <a:gd name="T104" fmla="*/ 286 w 565"/>
                  <a:gd name="T105" fmla="*/ 54 h 270"/>
                  <a:gd name="T106" fmla="*/ 313 w 565"/>
                  <a:gd name="T107" fmla="*/ 46 h 270"/>
                  <a:gd name="T108" fmla="*/ 341 w 565"/>
                  <a:gd name="T109" fmla="*/ 57 h 270"/>
                  <a:gd name="T110" fmla="*/ 357 w 565"/>
                  <a:gd name="T111" fmla="*/ 70 h 270"/>
                  <a:gd name="T112" fmla="*/ 391 w 565"/>
                  <a:gd name="T113" fmla="*/ 81 h 270"/>
                  <a:gd name="T114" fmla="*/ 418 w 565"/>
                  <a:gd name="T115" fmla="*/ 76 h 270"/>
                  <a:gd name="T116" fmla="*/ 446 w 565"/>
                  <a:gd name="T117" fmla="*/ 64 h 270"/>
                  <a:gd name="T118" fmla="*/ 474 w 565"/>
                  <a:gd name="T119" fmla="*/ 53 h 270"/>
                  <a:gd name="T120" fmla="*/ 499 w 565"/>
                  <a:gd name="T121" fmla="*/ 5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5" h="270">
                    <a:moveTo>
                      <a:pt x="508" y="64"/>
                    </a:moveTo>
                    <a:lnTo>
                      <a:pt x="507" y="67"/>
                    </a:lnTo>
                    <a:lnTo>
                      <a:pt x="504" y="75"/>
                    </a:lnTo>
                    <a:lnTo>
                      <a:pt x="501" y="81"/>
                    </a:lnTo>
                    <a:lnTo>
                      <a:pt x="499" y="86"/>
                    </a:lnTo>
                    <a:lnTo>
                      <a:pt x="497" y="87"/>
                    </a:lnTo>
                    <a:lnTo>
                      <a:pt x="496" y="90"/>
                    </a:lnTo>
                    <a:lnTo>
                      <a:pt x="496" y="92"/>
                    </a:lnTo>
                    <a:lnTo>
                      <a:pt x="494" y="93"/>
                    </a:lnTo>
                    <a:lnTo>
                      <a:pt x="493" y="97"/>
                    </a:lnTo>
                    <a:lnTo>
                      <a:pt x="493" y="100"/>
                    </a:lnTo>
                    <a:lnTo>
                      <a:pt x="493" y="103"/>
                    </a:lnTo>
                    <a:lnTo>
                      <a:pt x="493" y="106"/>
                    </a:lnTo>
                    <a:lnTo>
                      <a:pt x="490" y="108"/>
                    </a:lnTo>
                    <a:lnTo>
                      <a:pt x="488" y="109"/>
                    </a:lnTo>
                    <a:lnTo>
                      <a:pt x="488" y="114"/>
                    </a:lnTo>
                    <a:lnTo>
                      <a:pt x="490" y="115"/>
                    </a:lnTo>
                    <a:lnTo>
                      <a:pt x="491" y="117"/>
                    </a:lnTo>
                    <a:lnTo>
                      <a:pt x="493" y="118"/>
                    </a:lnTo>
                    <a:lnTo>
                      <a:pt x="494" y="120"/>
                    </a:lnTo>
                    <a:lnTo>
                      <a:pt x="496" y="120"/>
                    </a:lnTo>
                    <a:lnTo>
                      <a:pt x="497" y="118"/>
                    </a:lnTo>
                    <a:lnTo>
                      <a:pt x="501" y="115"/>
                    </a:lnTo>
                    <a:lnTo>
                      <a:pt x="502" y="115"/>
                    </a:lnTo>
                    <a:lnTo>
                      <a:pt x="502" y="117"/>
                    </a:lnTo>
                    <a:lnTo>
                      <a:pt x="505" y="117"/>
                    </a:lnTo>
                    <a:lnTo>
                      <a:pt x="507" y="115"/>
                    </a:lnTo>
                    <a:lnTo>
                      <a:pt x="510" y="115"/>
                    </a:lnTo>
                    <a:lnTo>
                      <a:pt x="512" y="115"/>
                    </a:lnTo>
                    <a:lnTo>
                      <a:pt x="513" y="117"/>
                    </a:lnTo>
                    <a:lnTo>
                      <a:pt x="515" y="117"/>
                    </a:lnTo>
                    <a:lnTo>
                      <a:pt x="516" y="118"/>
                    </a:lnTo>
                    <a:lnTo>
                      <a:pt x="518" y="122"/>
                    </a:lnTo>
                    <a:lnTo>
                      <a:pt x="519" y="122"/>
                    </a:lnTo>
                    <a:lnTo>
                      <a:pt x="521" y="120"/>
                    </a:lnTo>
                    <a:lnTo>
                      <a:pt x="521" y="118"/>
                    </a:lnTo>
                    <a:lnTo>
                      <a:pt x="522" y="117"/>
                    </a:lnTo>
                    <a:lnTo>
                      <a:pt x="526" y="115"/>
                    </a:lnTo>
                    <a:lnTo>
                      <a:pt x="527" y="112"/>
                    </a:lnTo>
                    <a:lnTo>
                      <a:pt x="529" y="112"/>
                    </a:lnTo>
                    <a:lnTo>
                      <a:pt x="530" y="112"/>
                    </a:lnTo>
                    <a:lnTo>
                      <a:pt x="532" y="112"/>
                    </a:lnTo>
                    <a:lnTo>
                      <a:pt x="533" y="112"/>
                    </a:lnTo>
                    <a:lnTo>
                      <a:pt x="535" y="112"/>
                    </a:lnTo>
                    <a:lnTo>
                      <a:pt x="540" y="112"/>
                    </a:lnTo>
                    <a:lnTo>
                      <a:pt x="541" y="114"/>
                    </a:lnTo>
                    <a:lnTo>
                      <a:pt x="543" y="117"/>
                    </a:lnTo>
                    <a:lnTo>
                      <a:pt x="544" y="118"/>
                    </a:lnTo>
                    <a:lnTo>
                      <a:pt x="546" y="120"/>
                    </a:lnTo>
                    <a:lnTo>
                      <a:pt x="547" y="120"/>
                    </a:lnTo>
                    <a:lnTo>
                      <a:pt x="549" y="120"/>
                    </a:lnTo>
                    <a:lnTo>
                      <a:pt x="551" y="122"/>
                    </a:lnTo>
                    <a:lnTo>
                      <a:pt x="551" y="122"/>
                    </a:lnTo>
                    <a:lnTo>
                      <a:pt x="551" y="123"/>
                    </a:lnTo>
                    <a:lnTo>
                      <a:pt x="552" y="125"/>
                    </a:lnTo>
                    <a:lnTo>
                      <a:pt x="552" y="125"/>
                    </a:lnTo>
                    <a:lnTo>
                      <a:pt x="554" y="126"/>
                    </a:lnTo>
                    <a:lnTo>
                      <a:pt x="554" y="128"/>
                    </a:lnTo>
                    <a:lnTo>
                      <a:pt x="554" y="128"/>
                    </a:lnTo>
                    <a:lnTo>
                      <a:pt x="555" y="128"/>
                    </a:lnTo>
                    <a:lnTo>
                      <a:pt x="558" y="131"/>
                    </a:lnTo>
                    <a:lnTo>
                      <a:pt x="558" y="133"/>
                    </a:lnTo>
                    <a:lnTo>
                      <a:pt x="562" y="134"/>
                    </a:lnTo>
                    <a:lnTo>
                      <a:pt x="562" y="136"/>
                    </a:lnTo>
                    <a:lnTo>
                      <a:pt x="562" y="137"/>
                    </a:lnTo>
                    <a:lnTo>
                      <a:pt x="563" y="139"/>
                    </a:lnTo>
                    <a:lnTo>
                      <a:pt x="563" y="140"/>
                    </a:lnTo>
                    <a:lnTo>
                      <a:pt x="565" y="142"/>
                    </a:lnTo>
                    <a:lnTo>
                      <a:pt x="565" y="144"/>
                    </a:lnTo>
                    <a:lnTo>
                      <a:pt x="565" y="145"/>
                    </a:lnTo>
                    <a:lnTo>
                      <a:pt x="563" y="147"/>
                    </a:lnTo>
                    <a:lnTo>
                      <a:pt x="562" y="148"/>
                    </a:lnTo>
                    <a:lnTo>
                      <a:pt x="562" y="148"/>
                    </a:lnTo>
                    <a:lnTo>
                      <a:pt x="560" y="148"/>
                    </a:lnTo>
                    <a:lnTo>
                      <a:pt x="557" y="148"/>
                    </a:lnTo>
                    <a:lnTo>
                      <a:pt x="554" y="148"/>
                    </a:lnTo>
                    <a:lnTo>
                      <a:pt x="552" y="148"/>
                    </a:lnTo>
                    <a:lnTo>
                      <a:pt x="549" y="147"/>
                    </a:lnTo>
                    <a:lnTo>
                      <a:pt x="547" y="145"/>
                    </a:lnTo>
                    <a:lnTo>
                      <a:pt x="546" y="145"/>
                    </a:lnTo>
                    <a:lnTo>
                      <a:pt x="544" y="145"/>
                    </a:lnTo>
                    <a:lnTo>
                      <a:pt x="544" y="147"/>
                    </a:lnTo>
                    <a:lnTo>
                      <a:pt x="543" y="145"/>
                    </a:lnTo>
                    <a:lnTo>
                      <a:pt x="541" y="147"/>
                    </a:lnTo>
                    <a:lnTo>
                      <a:pt x="538" y="145"/>
                    </a:lnTo>
                    <a:lnTo>
                      <a:pt x="537" y="145"/>
                    </a:lnTo>
                    <a:lnTo>
                      <a:pt x="533" y="147"/>
                    </a:lnTo>
                    <a:lnTo>
                      <a:pt x="532" y="147"/>
                    </a:lnTo>
                    <a:lnTo>
                      <a:pt x="529" y="148"/>
                    </a:lnTo>
                    <a:lnTo>
                      <a:pt x="527" y="150"/>
                    </a:lnTo>
                    <a:lnTo>
                      <a:pt x="527" y="150"/>
                    </a:lnTo>
                    <a:lnTo>
                      <a:pt x="526" y="150"/>
                    </a:lnTo>
                    <a:lnTo>
                      <a:pt x="524" y="150"/>
                    </a:lnTo>
                    <a:lnTo>
                      <a:pt x="522" y="148"/>
                    </a:lnTo>
                    <a:lnTo>
                      <a:pt x="521" y="148"/>
                    </a:lnTo>
                    <a:lnTo>
                      <a:pt x="521" y="150"/>
                    </a:lnTo>
                    <a:lnTo>
                      <a:pt x="521" y="150"/>
                    </a:lnTo>
                    <a:lnTo>
                      <a:pt x="519" y="153"/>
                    </a:lnTo>
                    <a:lnTo>
                      <a:pt x="519" y="154"/>
                    </a:lnTo>
                    <a:lnTo>
                      <a:pt x="519" y="154"/>
                    </a:lnTo>
                    <a:lnTo>
                      <a:pt x="518" y="154"/>
                    </a:lnTo>
                    <a:lnTo>
                      <a:pt x="516" y="154"/>
                    </a:lnTo>
                    <a:lnTo>
                      <a:pt x="513" y="154"/>
                    </a:lnTo>
                    <a:lnTo>
                      <a:pt x="512" y="154"/>
                    </a:lnTo>
                    <a:lnTo>
                      <a:pt x="510" y="154"/>
                    </a:lnTo>
                    <a:lnTo>
                      <a:pt x="508" y="156"/>
                    </a:lnTo>
                    <a:lnTo>
                      <a:pt x="507" y="156"/>
                    </a:lnTo>
                    <a:lnTo>
                      <a:pt x="505" y="156"/>
                    </a:lnTo>
                    <a:lnTo>
                      <a:pt x="505" y="158"/>
                    </a:lnTo>
                    <a:lnTo>
                      <a:pt x="504" y="159"/>
                    </a:lnTo>
                    <a:lnTo>
                      <a:pt x="502" y="161"/>
                    </a:lnTo>
                    <a:lnTo>
                      <a:pt x="501" y="164"/>
                    </a:lnTo>
                    <a:lnTo>
                      <a:pt x="499" y="167"/>
                    </a:lnTo>
                    <a:lnTo>
                      <a:pt x="501" y="167"/>
                    </a:lnTo>
                    <a:lnTo>
                      <a:pt x="501" y="169"/>
                    </a:lnTo>
                    <a:lnTo>
                      <a:pt x="499" y="170"/>
                    </a:lnTo>
                    <a:lnTo>
                      <a:pt x="497" y="172"/>
                    </a:lnTo>
                    <a:lnTo>
                      <a:pt x="496" y="172"/>
                    </a:lnTo>
                    <a:lnTo>
                      <a:pt x="494" y="173"/>
                    </a:lnTo>
                    <a:lnTo>
                      <a:pt x="493" y="175"/>
                    </a:lnTo>
                    <a:lnTo>
                      <a:pt x="490" y="178"/>
                    </a:lnTo>
                    <a:lnTo>
                      <a:pt x="488" y="178"/>
                    </a:lnTo>
                    <a:lnTo>
                      <a:pt x="487" y="178"/>
                    </a:lnTo>
                    <a:lnTo>
                      <a:pt x="482" y="179"/>
                    </a:lnTo>
                    <a:lnTo>
                      <a:pt x="482" y="179"/>
                    </a:lnTo>
                    <a:lnTo>
                      <a:pt x="477" y="179"/>
                    </a:lnTo>
                    <a:lnTo>
                      <a:pt x="474" y="178"/>
                    </a:lnTo>
                    <a:lnTo>
                      <a:pt x="472" y="178"/>
                    </a:lnTo>
                    <a:lnTo>
                      <a:pt x="471" y="179"/>
                    </a:lnTo>
                    <a:lnTo>
                      <a:pt x="469" y="179"/>
                    </a:lnTo>
                    <a:lnTo>
                      <a:pt x="469" y="181"/>
                    </a:lnTo>
                    <a:lnTo>
                      <a:pt x="469" y="183"/>
                    </a:lnTo>
                    <a:lnTo>
                      <a:pt x="468" y="184"/>
                    </a:lnTo>
                    <a:lnTo>
                      <a:pt x="466" y="186"/>
                    </a:lnTo>
                    <a:lnTo>
                      <a:pt x="463" y="187"/>
                    </a:lnTo>
                    <a:lnTo>
                      <a:pt x="461" y="189"/>
                    </a:lnTo>
                    <a:lnTo>
                      <a:pt x="461" y="190"/>
                    </a:lnTo>
                    <a:lnTo>
                      <a:pt x="460" y="190"/>
                    </a:lnTo>
                    <a:lnTo>
                      <a:pt x="458" y="190"/>
                    </a:lnTo>
                    <a:lnTo>
                      <a:pt x="457" y="194"/>
                    </a:lnTo>
                    <a:lnTo>
                      <a:pt x="455" y="195"/>
                    </a:lnTo>
                    <a:lnTo>
                      <a:pt x="454" y="195"/>
                    </a:lnTo>
                    <a:lnTo>
                      <a:pt x="452" y="195"/>
                    </a:lnTo>
                    <a:lnTo>
                      <a:pt x="451" y="194"/>
                    </a:lnTo>
                    <a:lnTo>
                      <a:pt x="449" y="194"/>
                    </a:lnTo>
                    <a:lnTo>
                      <a:pt x="447" y="194"/>
                    </a:lnTo>
                    <a:lnTo>
                      <a:pt x="444" y="194"/>
                    </a:lnTo>
                    <a:lnTo>
                      <a:pt x="438" y="192"/>
                    </a:lnTo>
                    <a:lnTo>
                      <a:pt x="436" y="190"/>
                    </a:lnTo>
                    <a:lnTo>
                      <a:pt x="435" y="189"/>
                    </a:lnTo>
                    <a:lnTo>
                      <a:pt x="433" y="187"/>
                    </a:lnTo>
                    <a:lnTo>
                      <a:pt x="430" y="187"/>
                    </a:lnTo>
                    <a:lnTo>
                      <a:pt x="427" y="187"/>
                    </a:lnTo>
                    <a:lnTo>
                      <a:pt x="426" y="187"/>
                    </a:lnTo>
                    <a:lnTo>
                      <a:pt x="424" y="187"/>
                    </a:lnTo>
                    <a:lnTo>
                      <a:pt x="421" y="189"/>
                    </a:lnTo>
                    <a:lnTo>
                      <a:pt x="421" y="190"/>
                    </a:lnTo>
                    <a:lnTo>
                      <a:pt x="419" y="194"/>
                    </a:lnTo>
                    <a:lnTo>
                      <a:pt x="418" y="197"/>
                    </a:lnTo>
                    <a:lnTo>
                      <a:pt x="418" y="200"/>
                    </a:lnTo>
                    <a:lnTo>
                      <a:pt x="416" y="201"/>
                    </a:lnTo>
                    <a:lnTo>
                      <a:pt x="415" y="203"/>
                    </a:lnTo>
                    <a:lnTo>
                      <a:pt x="415" y="205"/>
                    </a:lnTo>
                    <a:lnTo>
                      <a:pt x="416" y="205"/>
                    </a:lnTo>
                    <a:lnTo>
                      <a:pt x="416" y="206"/>
                    </a:lnTo>
                    <a:lnTo>
                      <a:pt x="418" y="209"/>
                    </a:lnTo>
                    <a:lnTo>
                      <a:pt x="419" y="211"/>
                    </a:lnTo>
                    <a:lnTo>
                      <a:pt x="421" y="212"/>
                    </a:lnTo>
                    <a:lnTo>
                      <a:pt x="422" y="215"/>
                    </a:lnTo>
                    <a:lnTo>
                      <a:pt x="424" y="215"/>
                    </a:lnTo>
                    <a:lnTo>
                      <a:pt x="424" y="217"/>
                    </a:lnTo>
                    <a:lnTo>
                      <a:pt x="424" y="219"/>
                    </a:lnTo>
                    <a:lnTo>
                      <a:pt x="424" y="220"/>
                    </a:lnTo>
                    <a:lnTo>
                      <a:pt x="424" y="220"/>
                    </a:lnTo>
                    <a:lnTo>
                      <a:pt x="422" y="222"/>
                    </a:lnTo>
                    <a:lnTo>
                      <a:pt x="421" y="222"/>
                    </a:lnTo>
                    <a:lnTo>
                      <a:pt x="419" y="223"/>
                    </a:lnTo>
                    <a:lnTo>
                      <a:pt x="418" y="225"/>
                    </a:lnTo>
                    <a:lnTo>
                      <a:pt x="418" y="225"/>
                    </a:lnTo>
                    <a:lnTo>
                      <a:pt x="416" y="226"/>
                    </a:lnTo>
                    <a:lnTo>
                      <a:pt x="411" y="228"/>
                    </a:lnTo>
                    <a:lnTo>
                      <a:pt x="410" y="228"/>
                    </a:lnTo>
                    <a:lnTo>
                      <a:pt x="408" y="230"/>
                    </a:lnTo>
                    <a:lnTo>
                      <a:pt x="407" y="231"/>
                    </a:lnTo>
                    <a:lnTo>
                      <a:pt x="405" y="233"/>
                    </a:lnTo>
                    <a:lnTo>
                      <a:pt x="404" y="234"/>
                    </a:lnTo>
                    <a:lnTo>
                      <a:pt x="404" y="236"/>
                    </a:lnTo>
                    <a:lnTo>
                      <a:pt x="402" y="237"/>
                    </a:lnTo>
                    <a:lnTo>
                      <a:pt x="401" y="241"/>
                    </a:lnTo>
                    <a:lnTo>
                      <a:pt x="399" y="241"/>
                    </a:lnTo>
                    <a:lnTo>
                      <a:pt x="397" y="242"/>
                    </a:lnTo>
                    <a:lnTo>
                      <a:pt x="397" y="242"/>
                    </a:lnTo>
                    <a:lnTo>
                      <a:pt x="396" y="244"/>
                    </a:lnTo>
                    <a:lnTo>
                      <a:pt x="394" y="244"/>
                    </a:lnTo>
                    <a:lnTo>
                      <a:pt x="391" y="245"/>
                    </a:lnTo>
                    <a:lnTo>
                      <a:pt x="388" y="247"/>
                    </a:lnTo>
                    <a:lnTo>
                      <a:pt x="385" y="248"/>
                    </a:lnTo>
                    <a:lnTo>
                      <a:pt x="383" y="248"/>
                    </a:lnTo>
                    <a:lnTo>
                      <a:pt x="380" y="250"/>
                    </a:lnTo>
                    <a:lnTo>
                      <a:pt x="379" y="250"/>
                    </a:lnTo>
                    <a:lnTo>
                      <a:pt x="375" y="250"/>
                    </a:lnTo>
                    <a:lnTo>
                      <a:pt x="371" y="251"/>
                    </a:lnTo>
                    <a:lnTo>
                      <a:pt x="368" y="251"/>
                    </a:lnTo>
                    <a:lnTo>
                      <a:pt x="365" y="251"/>
                    </a:lnTo>
                    <a:lnTo>
                      <a:pt x="361" y="251"/>
                    </a:lnTo>
                    <a:lnTo>
                      <a:pt x="358" y="250"/>
                    </a:lnTo>
                    <a:lnTo>
                      <a:pt x="357" y="251"/>
                    </a:lnTo>
                    <a:lnTo>
                      <a:pt x="352" y="251"/>
                    </a:lnTo>
                    <a:lnTo>
                      <a:pt x="350" y="251"/>
                    </a:lnTo>
                    <a:lnTo>
                      <a:pt x="343" y="253"/>
                    </a:lnTo>
                    <a:lnTo>
                      <a:pt x="340" y="253"/>
                    </a:lnTo>
                    <a:lnTo>
                      <a:pt x="336" y="253"/>
                    </a:lnTo>
                    <a:lnTo>
                      <a:pt x="333" y="255"/>
                    </a:lnTo>
                    <a:lnTo>
                      <a:pt x="333" y="255"/>
                    </a:lnTo>
                    <a:lnTo>
                      <a:pt x="330" y="256"/>
                    </a:lnTo>
                    <a:lnTo>
                      <a:pt x="330" y="256"/>
                    </a:lnTo>
                    <a:lnTo>
                      <a:pt x="325" y="258"/>
                    </a:lnTo>
                    <a:lnTo>
                      <a:pt x="318" y="261"/>
                    </a:lnTo>
                    <a:lnTo>
                      <a:pt x="313" y="264"/>
                    </a:lnTo>
                    <a:lnTo>
                      <a:pt x="311" y="264"/>
                    </a:lnTo>
                    <a:lnTo>
                      <a:pt x="308" y="267"/>
                    </a:lnTo>
                    <a:lnTo>
                      <a:pt x="307" y="267"/>
                    </a:lnTo>
                    <a:lnTo>
                      <a:pt x="305" y="269"/>
                    </a:lnTo>
                    <a:lnTo>
                      <a:pt x="304" y="270"/>
                    </a:lnTo>
                    <a:lnTo>
                      <a:pt x="302" y="270"/>
                    </a:lnTo>
                    <a:lnTo>
                      <a:pt x="300" y="269"/>
                    </a:lnTo>
                    <a:lnTo>
                      <a:pt x="299" y="269"/>
                    </a:lnTo>
                    <a:lnTo>
                      <a:pt x="294" y="269"/>
                    </a:lnTo>
                    <a:lnTo>
                      <a:pt x="294" y="264"/>
                    </a:lnTo>
                    <a:lnTo>
                      <a:pt x="291" y="264"/>
                    </a:lnTo>
                    <a:lnTo>
                      <a:pt x="285" y="266"/>
                    </a:lnTo>
                    <a:lnTo>
                      <a:pt x="280" y="267"/>
                    </a:lnTo>
                    <a:lnTo>
                      <a:pt x="275" y="264"/>
                    </a:lnTo>
                    <a:lnTo>
                      <a:pt x="272" y="262"/>
                    </a:lnTo>
                    <a:lnTo>
                      <a:pt x="269" y="261"/>
                    </a:lnTo>
                    <a:lnTo>
                      <a:pt x="264" y="259"/>
                    </a:lnTo>
                    <a:lnTo>
                      <a:pt x="260" y="259"/>
                    </a:lnTo>
                    <a:lnTo>
                      <a:pt x="254" y="258"/>
                    </a:lnTo>
                    <a:lnTo>
                      <a:pt x="250" y="256"/>
                    </a:lnTo>
                    <a:lnTo>
                      <a:pt x="247" y="255"/>
                    </a:lnTo>
                    <a:lnTo>
                      <a:pt x="246" y="250"/>
                    </a:lnTo>
                    <a:lnTo>
                      <a:pt x="244" y="250"/>
                    </a:lnTo>
                    <a:lnTo>
                      <a:pt x="243" y="248"/>
                    </a:lnTo>
                    <a:lnTo>
                      <a:pt x="241" y="248"/>
                    </a:lnTo>
                    <a:lnTo>
                      <a:pt x="238" y="248"/>
                    </a:lnTo>
                    <a:lnTo>
                      <a:pt x="235" y="248"/>
                    </a:lnTo>
                    <a:lnTo>
                      <a:pt x="229" y="247"/>
                    </a:lnTo>
                    <a:lnTo>
                      <a:pt x="224" y="247"/>
                    </a:lnTo>
                    <a:lnTo>
                      <a:pt x="216" y="245"/>
                    </a:lnTo>
                    <a:lnTo>
                      <a:pt x="214" y="245"/>
                    </a:lnTo>
                    <a:lnTo>
                      <a:pt x="211" y="247"/>
                    </a:lnTo>
                    <a:lnTo>
                      <a:pt x="205" y="248"/>
                    </a:lnTo>
                    <a:lnTo>
                      <a:pt x="197" y="247"/>
                    </a:lnTo>
                    <a:lnTo>
                      <a:pt x="193" y="245"/>
                    </a:lnTo>
                    <a:lnTo>
                      <a:pt x="185" y="245"/>
                    </a:lnTo>
                    <a:lnTo>
                      <a:pt x="175" y="244"/>
                    </a:lnTo>
                    <a:lnTo>
                      <a:pt x="166" y="242"/>
                    </a:lnTo>
                    <a:lnTo>
                      <a:pt x="160" y="244"/>
                    </a:lnTo>
                    <a:lnTo>
                      <a:pt x="157" y="244"/>
                    </a:lnTo>
                    <a:lnTo>
                      <a:pt x="152" y="244"/>
                    </a:lnTo>
                    <a:lnTo>
                      <a:pt x="150" y="244"/>
                    </a:lnTo>
                    <a:lnTo>
                      <a:pt x="150" y="241"/>
                    </a:lnTo>
                    <a:lnTo>
                      <a:pt x="150" y="239"/>
                    </a:lnTo>
                    <a:lnTo>
                      <a:pt x="147" y="237"/>
                    </a:lnTo>
                    <a:lnTo>
                      <a:pt x="146" y="234"/>
                    </a:lnTo>
                    <a:lnTo>
                      <a:pt x="144" y="233"/>
                    </a:lnTo>
                    <a:lnTo>
                      <a:pt x="143" y="231"/>
                    </a:lnTo>
                    <a:lnTo>
                      <a:pt x="143" y="228"/>
                    </a:lnTo>
                    <a:lnTo>
                      <a:pt x="139" y="222"/>
                    </a:lnTo>
                    <a:lnTo>
                      <a:pt x="138" y="217"/>
                    </a:lnTo>
                    <a:lnTo>
                      <a:pt x="138" y="215"/>
                    </a:lnTo>
                    <a:lnTo>
                      <a:pt x="136" y="214"/>
                    </a:lnTo>
                    <a:lnTo>
                      <a:pt x="136" y="214"/>
                    </a:lnTo>
                    <a:lnTo>
                      <a:pt x="133" y="212"/>
                    </a:lnTo>
                    <a:lnTo>
                      <a:pt x="133" y="212"/>
                    </a:lnTo>
                    <a:lnTo>
                      <a:pt x="133" y="211"/>
                    </a:lnTo>
                    <a:lnTo>
                      <a:pt x="133" y="208"/>
                    </a:lnTo>
                    <a:lnTo>
                      <a:pt x="133" y="206"/>
                    </a:lnTo>
                    <a:lnTo>
                      <a:pt x="133" y="206"/>
                    </a:lnTo>
                    <a:lnTo>
                      <a:pt x="128" y="206"/>
                    </a:lnTo>
                    <a:lnTo>
                      <a:pt x="125" y="206"/>
                    </a:lnTo>
                    <a:lnTo>
                      <a:pt x="122" y="205"/>
                    </a:lnTo>
                    <a:lnTo>
                      <a:pt x="119" y="201"/>
                    </a:lnTo>
                    <a:lnTo>
                      <a:pt x="116" y="200"/>
                    </a:lnTo>
                    <a:lnTo>
                      <a:pt x="113" y="197"/>
                    </a:lnTo>
                    <a:lnTo>
                      <a:pt x="110" y="197"/>
                    </a:lnTo>
                    <a:lnTo>
                      <a:pt x="108" y="195"/>
                    </a:lnTo>
                    <a:lnTo>
                      <a:pt x="105" y="192"/>
                    </a:lnTo>
                    <a:lnTo>
                      <a:pt x="103" y="190"/>
                    </a:lnTo>
                    <a:lnTo>
                      <a:pt x="102" y="190"/>
                    </a:lnTo>
                    <a:lnTo>
                      <a:pt x="97" y="189"/>
                    </a:lnTo>
                    <a:lnTo>
                      <a:pt x="91" y="189"/>
                    </a:lnTo>
                    <a:lnTo>
                      <a:pt x="88" y="187"/>
                    </a:lnTo>
                    <a:lnTo>
                      <a:pt x="85" y="189"/>
                    </a:lnTo>
                    <a:lnTo>
                      <a:pt x="82" y="189"/>
                    </a:lnTo>
                    <a:lnTo>
                      <a:pt x="78" y="187"/>
                    </a:lnTo>
                    <a:lnTo>
                      <a:pt x="75" y="187"/>
                    </a:lnTo>
                    <a:lnTo>
                      <a:pt x="72" y="187"/>
                    </a:lnTo>
                    <a:lnTo>
                      <a:pt x="71" y="187"/>
                    </a:lnTo>
                    <a:lnTo>
                      <a:pt x="67" y="187"/>
                    </a:lnTo>
                    <a:lnTo>
                      <a:pt x="66" y="186"/>
                    </a:lnTo>
                    <a:lnTo>
                      <a:pt x="64" y="186"/>
                    </a:lnTo>
                    <a:lnTo>
                      <a:pt x="63" y="186"/>
                    </a:lnTo>
                    <a:lnTo>
                      <a:pt x="61" y="186"/>
                    </a:lnTo>
                    <a:lnTo>
                      <a:pt x="60" y="184"/>
                    </a:lnTo>
                    <a:lnTo>
                      <a:pt x="58" y="183"/>
                    </a:lnTo>
                    <a:lnTo>
                      <a:pt x="57" y="183"/>
                    </a:lnTo>
                    <a:lnTo>
                      <a:pt x="55" y="184"/>
                    </a:lnTo>
                    <a:lnTo>
                      <a:pt x="55" y="184"/>
                    </a:lnTo>
                    <a:lnTo>
                      <a:pt x="55" y="183"/>
                    </a:lnTo>
                    <a:lnTo>
                      <a:pt x="53" y="179"/>
                    </a:lnTo>
                    <a:lnTo>
                      <a:pt x="53" y="178"/>
                    </a:lnTo>
                    <a:lnTo>
                      <a:pt x="52" y="176"/>
                    </a:lnTo>
                    <a:lnTo>
                      <a:pt x="52" y="175"/>
                    </a:lnTo>
                    <a:lnTo>
                      <a:pt x="52" y="173"/>
                    </a:lnTo>
                    <a:lnTo>
                      <a:pt x="52" y="170"/>
                    </a:lnTo>
                    <a:lnTo>
                      <a:pt x="53" y="167"/>
                    </a:lnTo>
                    <a:lnTo>
                      <a:pt x="55" y="167"/>
                    </a:lnTo>
                    <a:lnTo>
                      <a:pt x="55" y="165"/>
                    </a:lnTo>
                    <a:lnTo>
                      <a:pt x="57" y="164"/>
                    </a:lnTo>
                    <a:lnTo>
                      <a:pt x="57" y="162"/>
                    </a:lnTo>
                    <a:lnTo>
                      <a:pt x="57" y="161"/>
                    </a:lnTo>
                    <a:lnTo>
                      <a:pt x="57" y="159"/>
                    </a:lnTo>
                    <a:lnTo>
                      <a:pt x="55" y="156"/>
                    </a:lnTo>
                    <a:lnTo>
                      <a:pt x="55" y="156"/>
                    </a:lnTo>
                    <a:lnTo>
                      <a:pt x="57" y="154"/>
                    </a:lnTo>
                    <a:lnTo>
                      <a:pt x="58" y="150"/>
                    </a:lnTo>
                    <a:lnTo>
                      <a:pt x="58" y="150"/>
                    </a:lnTo>
                    <a:lnTo>
                      <a:pt x="57" y="148"/>
                    </a:lnTo>
                    <a:lnTo>
                      <a:pt x="57" y="147"/>
                    </a:lnTo>
                    <a:lnTo>
                      <a:pt x="57" y="145"/>
                    </a:lnTo>
                    <a:lnTo>
                      <a:pt x="55" y="142"/>
                    </a:lnTo>
                    <a:lnTo>
                      <a:pt x="55" y="139"/>
                    </a:lnTo>
                    <a:lnTo>
                      <a:pt x="53" y="139"/>
                    </a:lnTo>
                    <a:lnTo>
                      <a:pt x="52" y="139"/>
                    </a:lnTo>
                    <a:lnTo>
                      <a:pt x="50" y="136"/>
                    </a:lnTo>
                    <a:lnTo>
                      <a:pt x="49" y="133"/>
                    </a:lnTo>
                    <a:lnTo>
                      <a:pt x="49" y="131"/>
                    </a:lnTo>
                    <a:lnTo>
                      <a:pt x="47" y="129"/>
                    </a:lnTo>
                    <a:lnTo>
                      <a:pt x="47" y="128"/>
                    </a:lnTo>
                    <a:lnTo>
                      <a:pt x="47" y="125"/>
                    </a:lnTo>
                    <a:lnTo>
                      <a:pt x="46" y="123"/>
                    </a:lnTo>
                    <a:lnTo>
                      <a:pt x="46" y="123"/>
                    </a:lnTo>
                    <a:lnTo>
                      <a:pt x="46" y="122"/>
                    </a:lnTo>
                    <a:lnTo>
                      <a:pt x="46" y="120"/>
                    </a:lnTo>
                    <a:lnTo>
                      <a:pt x="42" y="120"/>
                    </a:lnTo>
                    <a:lnTo>
                      <a:pt x="41" y="118"/>
                    </a:lnTo>
                    <a:lnTo>
                      <a:pt x="41" y="117"/>
                    </a:lnTo>
                    <a:lnTo>
                      <a:pt x="41" y="117"/>
                    </a:lnTo>
                    <a:lnTo>
                      <a:pt x="39" y="115"/>
                    </a:lnTo>
                    <a:lnTo>
                      <a:pt x="39" y="115"/>
                    </a:lnTo>
                    <a:lnTo>
                      <a:pt x="38" y="117"/>
                    </a:lnTo>
                    <a:lnTo>
                      <a:pt x="36" y="117"/>
                    </a:lnTo>
                    <a:lnTo>
                      <a:pt x="36" y="117"/>
                    </a:lnTo>
                    <a:lnTo>
                      <a:pt x="35" y="117"/>
                    </a:lnTo>
                    <a:lnTo>
                      <a:pt x="35" y="115"/>
                    </a:lnTo>
                    <a:lnTo>
                      <a:pt x="33" y="115"/>
                    </a:lnTo>
                    <a:lnTo>
                      <a:pt x="32" y="112"/>
                    </a:lnTo>
                    <a:lnTo>
                      <a:pt x="30" y="112"/>
                    </a:lnTo>
                    <a:lnTo>
                      <a:pt x="28" y="112"/>
                    </a:lnTo>
                    <a:lnTo>
                      <a:pt x="25" y="112"/>
                    </a:lnTo>
                    <a:lnTo>
                      <a:pt x="24" y="112"/>
                    </a:lnTo>
                    <a:lnTo>
                      <a:pt x="22" y="112"/>
                    </a:lnTo>
                    <a:lnTo>
                      <a:pt x="22" y="111"/>
                    </a:lnTo>
                    <a:lnTo>
                      <a:pt x="21" y="111"/>
                    </a:lnTo>
                    <a:lnTo>
                      <a:pt x="19" y="109"/>
                    </a:lnTo>
                    <a:lnTo>
                      <a:pt x="16" y="108"/>
                    </a:lnTo>
                    <a:lnTo>
                      <a:pt x="14" y="106"/>
                    </a:lnTo>
                    <a:lnTo>
                      <a:pt x="14" y="104"/>
                    </a:lnTo>
                    <a:lnTo>
                      <a:pt x="13" y="103"/>
                    </a:lnTo>
                    <a:lnTo>
                      <a:pt x="11" y="101"/>
                    </a:lnTo>
                    <a:lnTo>
                      <a:pt x="10" y="100"/>
                    </a:lnTo>
                    <a:lnTo>
                      <a:pt x="7" y="98"/>
                    </a:lnTo>
                    <a:lnTo>
                      <a:pt x="5" y="98"/>
                    </a:lnTo>
                    <a:lnTo>
                      <a:pt x="3" y="98"/>
                    </a:lnTo>
                    <a:lnTo>
                      <a:pt x="3" y="97"/>
                    </a:lnTo>
                    <a:lnTo>
                      <a:pt x="3" y="97"/>
                    </a:lnTo>
                    <a:lnTo>
                      <a:pt x="5" y="95"/>
                    </a:lnTo>
                    <a:lnTo>
                      <a:pt x="5" y="95"/>
                    </a:lnTo>
                    <a:lnTo>
                      <a:pt x="5" y="93"/>
                    </a:lnTo>
                    <a:lnTo>
                      <a:pt x="5" y="93"/>
                    </a:lnTo>
                    <a:lnTo>
                      <a:pt x="3" y="92"/>
                    </a:lnTo>
                    <a:lnTo>
                      <a:pt x="2" y="92"/>
                    </a:lnTo>
                    <a:lnTo>
                      <a:pt x="2" y="90"/>
                    </a:lnTo>
                    <a:lnTo>
                      <a:pt x="0" y="89"/>
                    </a:lnTo>
                    <a:lnTo>
                      <a:pt x="0" y="89"/>
                    </a:lnTo>
                    <a:lnTo>
                      <a:pt x="2" y="87"/>
                    </a:lnTo>
                    <a:lnTo>
                      <a:pt x="2" y="87"/>
                    </a:lnTo>
                    <a:lnTo>
                      <a:pt x="2" y="86"/>
                    </a:lnTo>
                    <a:lnTo>
                      <a:pt x="2" y="86"/>
                    </a:lnTo>
                    <a:lnTo>
                      <a:pt x="2" y="84"/>
                    </a:lnTo>
                    <a:lnTo>
                      <a:pt x="2" y="82"/>
                    </a:lnTo>
                    <a:lnTo>
                      <a:pt x="2" y="81"/>
                    </a:lnTo>
                    <a:lnTo>
                      <a:pt x="2" y="81"/>
                    </a:lnTo>
                    <a:lnTo>
                      <a:pt x="3" y="81"/>
                    </a:lnTo>
                    <a:lnTo>
                      <a:pt x="5" y="81"/>
                    </a:lnTo>
                    <a:lnTo>
                      <a:pt x="5" y="79"/>
                    </a:lnTo>
                    <a:lnTo>
                      <a:pt x="7" y="79"/>
                    </a:lnTo>
                    <a:lnTo>
                      <a:pt x="7" y="78"/>
                    </a:lnTo>
                    <a:lnTo>
                      <a:pt x="7" y="76"/>
                    </a:lnTo>
                    <a:lnTo>
                      <a:pt x="8" y="73"/>
                    </a:lnTo>
                    <a:lnTo>
                      <a:pt x="10" y="73"/>
                    </a:lnTo>
                    <a:lnTo>
                      <a:pt x="11" y="73"/>
                    </a:lnTo>
                    <a:lnTo>
                      <a:pt x="13" y="73"/>
                    </a:lnTo>
                    <a:lnTo>
                      <a:pt x="14" y="73"/>
                    </a:lnTo>
                    <a:lnTo>
                      <a:pt x="16" y="73"/>
                    </a:lnTo>
                    <a:lnTo>
                      <a:pt x="16" y="73"/>
                    </a:lnTo>
                    <a:lnTo>
                      <a:pt x="17" y="73"/>
                    </a:lnTo>
                    <a:lnTo>
                      <a:pt x="19" y="73"/>
                    </a:lnTo>
                    <a:lnTo>
                      <a:pt x="19" y="73"/>
                    </a:lnTo>
                    <a:lnTo>
                      <a:pt x="19" y="72"/>
                    </a:lnTo>
                    <a:lnTo>
                      <a:pt x="21" y="72"/>
                    </a:lnTo>
                    <a:lnTo>
                      <a:pt x="21" y="72"/>
                    </a:lnTo>
                    <a:lnTo>
                      <a:pt x="22" y="73"/>
                    </a:lnTo>
                    <a:lnTo>
                      <a:pt x="22" y="73"/>
                    </a:lnTo>
                    <a:lnTo>
                      <a:pt x="24" y="73"/>
                    </a:lnTo>
                    <a:lnTo>
                      <a:pt x="25" y="72"/>
                    </a:lnTo>
                    <a:lnTo>
                      <a:pt x="25" y="70"/>
                    </a:lnTo>
                    <a:lnTo>
                      <a:pt x="27" y="68"/>
                    </a:lnTo>
                    <a:lnTo>
                      <a:pt x="27" y="70"/>
                    </a:lnTo>
                    <a:lnTo>
                      <a:pt x="28" y="70"/>
                    </a:lnTo>
                    <a:lnTo>
                      <a:pt x="30" y="68"/>
                    </a:lnTo>
                    <a:lnTo>
                      <a:pt x="32" y="67"/>
                    </a:lnTo>
                    <a:lnTo>
                      <a:pt x="33" y="67"/>
                    </a:lnTo>
                    <a:lnTo>
                      <a:pt x="33" y="65"/>
                    </a:lnTo>
                    <a:lnTo>
                      <a:pt x="33" y="64"/>
                    </a:lnTo>
                    <a:lnTo>
                      <a:pt x="33" y="62"/>
                    </a:lnTo>
                    <a:lnTo>
                      <a:pt x="35" y="61"/>
                    </a:lnTo>
                    <a:lnTo>
                      <a:pt x="38" y="61"/>
                    </a:lnTo>
                    <a:lnTo>
                      <a:pt x="39" y="59"/>
                    </a:lnTo>
                    <a:lnTo>
                      <a:pt x="39" y="57"/>
                    </a:lnTo>
                    <a:lnTo>
                      <a:pt x="41" y="56"/>
                    </a:lnTo>
                    <a:lnTo>
                      <a:pt x="41" y="56"/>
                    </a:lnTo>
                    <a:lnTo>
                      <a:pt x="44" y="56"/>
                    </a:lnTo>
                    <a:lnTo>
                      <a:pt x="46" y="54"/>
                    </a:lnTo>
                    <a:lnTo>
                      <a:pt x="46" y="54"/>
                    </a:lnTo>
                    <a:lnTo>
                      <a:pt x="49" y="53"/>
                    </a:lnTo>
                    <a:lnTo>
                      <a:pt x="50" y="53"/>
                    </a:lnTo>
                    <a:lnTo>
                      <a:pt x="52" y="51"/>
                    </a:lnTo>
                    <a:lnTo>
                      <a:pt x="53" y="51"/>
                    </a:lnTo>
                    <a:lnTo>
                      <a:pt x="55" y="50"/>
                    </a:lnTo>
                    <a:lnTo>
                      <a:pt x="55" y="50"/>
                    </a:lnTo>
                    <a:lnTo>
                      <a:pt x="58" y="48"/>
                    </a:lnTo>
                    <a:lnTo>
                      <a:pt x="58" y="48"/>
                    </a:lnTo>
                    <a:lnTo>
                      <a:pt x="61" y="46"/>
                    </a:lnTo>
                    <a:lnTo>
                      <a:pt x="63" y="46"/>
                    </a:lnTo>
                    <a:lnTo>
                      <a:pt x="63" y="46"/>
                    </a:lnTo>
                    <a:lnTo>
                      <a:pt x="64" y="46"/>
                    </a:lnTo>
                    <a:lnTo>
                      <a:pt x="64" y="45"/>
                    </a:lnTo>
                    <a:lnTo>
                      <a:pt x="66" y="43"/>
                    </a:lnTo>
                    <a:lnTo>
                      <a:pt x="67" y="43"/>
                    </a:lnTo>
                    <a:lnTo>
                      <a:pt x="67" y="42"/>
                    </a:lnTo>
                    <a:lnTo>
                      <a:pt x="69" y="40"/>
                    </a:lnTo>
                    <a:lnTo>
                      <a:pt x="71" y="40"/>
                    </a:lnTo>
                    <a:lnTo>
                      <a:pt x="74" y="40"/>
                    </a:lnTo>
                    <a:lnTo>
                      <a:pt x="77" y="40"/>
                    </a:lnTo>
                    <a:lnTo>
                      <a:pt x="78" y="40"/>
                    </a:lnTo>
                    <a:lnTo>
                      <a:pt x="80" y="37"/>
                    </a:lnTo>
                    <a:lnTo>
                      <a:pt x="80" y="37"/>
                    </a:lnTo>
                    <a:lnTo>
                      <a:pt x="80" y="36"/>
                    </a:lnTo>
                    <a:lnTo>
                      <a:pt x="82" y="36"/>
                    </a:lnTo>
                    <a:lnTo>
                      <a:pt x="82" y="37"/>
                    </a:lnTo>
                    <a:lnTo>
                      <a:pt x="83" y="37"/>
                    </a:lnTo>
                    <a:lnTo>
                      <a:pt x="85" y="39"/>
                    </a:lnTo>
                    <a:lnTo>
                      <a:pt x="86" y="40"/>
                    </a:lnTo>
                    <a:lnTo>
                      <a:pt x="86" y="40"/>
                    </a:lnTo>
                    <a:lnTo>
                      <a:pt x="88" y="39"/>
                    </a:lnTo>
                    <a:lnTo>
                      <a:pt x="88" y="37"/>
                    </a:lnTo>
                    <a:lnTo>
                      <a:pt x="89" y="37"/>
                    </a:lnTo>
                    <a:lnTo>
                      <a:pt x="91" y="37"/>
                    </a:lnTo>
                    <a:lnTo>
                      <a:pt x="91" y="39"/>
                    </a:lnTo>
                    <a:lnTo>
                      <a:pt x="91" y="39"/>
                    </a:lnTo>
                    <a:lnTo>
                      <a:pt x="93" y="40"/>
                    </a:lnTo>
                    <a:lnTo>
                      <a:pt x="94" y="42"/>
                    </a:lnTo>
                    <a:lnTo>
                      <a:pt x="96" y="42"/>
                    </a:lnTo>
                    <a:lnTo>
                      <a:pt x="97" y="42"/>
                    </a:lnTo>
                    <a:lnTo>
                      <a:pt x="99" y="42"/>
                    </a:lnTo>
                    <a:lnTo>
                      <a:pt x="100" y="42"/>
                    </a:lnTo>
                    <a:lnTo>
                      <a:pt x="103" y="43"/>
                    </a:lnTo>
                    <a:lnTo>
                      <a:pt x="103" y="43"/>
                    </a:lnTo>
                    <a:lnTo>
                      <a:pt x="107" y="43"/>
                    </a:lnTo>
                    <a:lnTo>
                      <a:pt x="110" y="43"/>
                    </a:lnTo>
                    <a:lnTo>
                      <a:pt x="111" y="43"/>
                    </a:lnTo>
                    <a:lnTo>
                      <a:pt x="114" y="43"/>
                    </a:lnTo>
                    <a:lnTo>
                      <a:pt x="114" y="45"/>
                    </a:lnTo>
                    <a:lnTo>
                      <a:pt x="116" y="48"/>
                    </a:lnTo>
                    <a:lnTo>
                      <a:pt x="116" y="51"/>
                    </a:lnTo>
                    <a:lnTo>
                      <a:pt x="116" y="53"/>
                    </a:lnTo>
                    <a:lnTo>
                      <a:pt x="118" y="54"/>
                    </a:lnTo>
                    <a:lnTo>
                      <a:pt x="118" y="54"/>
                    </a:lnTo>
                    <a:lnTo>
                      <a:pt x="119" y="56"/>
                    </a:lnTo>
                    <a:lnTo>
                      <a:pt x="119" y="56"/>
                    </a:lnTo>
                    <a:lnTo>
                      <a:pt x="121" y="57"/>
                    </a:lnTo>
                    <a:lnTo>
                      <a:pt x="122" y="57"/>
                    </a:lnTo>
                    <a:lnTo>
                      <a:pt x="122" y="57"/>
                    </a:lnTo>
                    <a:lnTo>
                      <a:pt x="124" y="57"/>
                    </a:lnTo>
                    <a:lnTo>
                      <a:pt x="125" y="57"/>
                    </a:lnTo>
                    <a:lnTo>
                      <a:pt x="127" y="59"/>
                    </a:lnTo>
                    <a:lnTo>
                      <a:pt x="128" y="61"/>
                    </a:lnTo>
                    <a:lnTo>
                      <a:pt x="130" y="61"/>
                    </a:lnTo>
                    <a:lnTo>
                      <a:pt x="130" y="61"/>
                    </a:lnTo>
                    <a:lnTo>
                      <a:pt x="133" y="61"/>
                    </a:lnTo>
                    <a:lnTo>
                      <a:pt x="135" y="61"/>
                    </a:lnTo>
                    <a:lnTo>
                      <a:pt x="135" y="61"/>
                    </a:lnTo>
                    <a:lnTo>
                      <a:pt x="136" y="61"/>
                    </a:lnTo>
                    <a:lnTo>
                      <a:pt x="138" y="61"/>
                    </a:lnTo>
                    <a:lnTo>
                      <a:pt x="139" y="61"/>
                    </a:lnTo>
                    <a:lnTo>
                      <a:pt x="141" y="59"/>
                    </a:lnTo>
                    <a:lnTo>
                      <a:pt x="143" y="59"/>
                    </a:lnTo>
                    <a:lnTo>
                      <a:pt x="143" y="59"/>
                    </a:lnTo>
                    <a:lnTo>
                      <a:pt x="144" y="61"/>
                    </a:lnTo>
                    <a:lnTo>
                      <a:pt x="144" y="59"/>
                    </a:lnTo>
                    <a:lnTo>
                      <a:pt x="146" y="59"/>
                    </a:lnTo>
                    <a:lnTo>
                      <a:pt x="146" y="59"/>
                    </a:lnTo>
                    <a:lnTo>
                      <a:pt x="147" y="59"/>
                    </a:lnTo>
                    <a:lnTo>
                      <a:pt x="149" y="61"/>
                    </a:lnTo>
                    <a:lnTo>
                      <a:pt x="150" y="62"/>
                    </a:lnTo>
                    <a:lnTo>
                      <a:pt x="152" y="62"/>
                    </a:lnTo>
                    <a:lnTo>
                      <a:pt x="153" y="61"/>
                    </a:lnTo>
                    <a:lnTo>
                      <a:pt x="153" y="61"/>
                    </a:lnTo>
                    <a:lnTo>
                      <a:pt x="155" y="62"/>
                    </a:lnTo>
                    <a:lnTo>
                      <a:pt x="155" y="62"/>
                    </a:lnTo>
                    <a:lnTo>
                      <a:pt x="157" y="62"/>
                    </a:lnTo>
                    <a:lnTo>
                      <a:pt x="157" y="61"/>
                    </a:lnTo>
                    <a:lnTo>
                      <a:pt x="163" y="62"/>
                    </a:lnTo>
                    <a:lnTo>
                      <a:pt x="163" y="64"/>
                    </a:lnTo>
                    <a:lnTo>
                      <a:pt x="164" y="64"/>
                    </a:lnTo>
                    <a:lnTo>
                      <a:pt x="164" y="65"/>
                    </a:lnTo>
                    <a:lnTo>
                      <a:pt x="166" y="67"/>
                    </a:lnTo>
                    <a:lnTo>
                      <a:pt x="169" y="65"/>
                    </a:lnTo>
                    <a:lnTo>
                      <a:pt x="169" y="65"/>
                    </a:lnTo>
                    <a:lnTo>
                      <a:pt x="172" y="64"/>
                    </a:lnTo>
                    <a:lnTo>
                      <a:pt x="172" y="61"/>
                    </a:lnTo>
                    <a:lnTo>
                      <a:pt x="174" y="61"/>
                    </a:lnTo>
                    <a:lnTo>
                      <a:pt x="175" y="61"/>
                    </a:lnTo>
                    <a:lnTo>
                      <a:pt x="177" y="61"/>
                    </a:lnTo>
                    <a:lnTo>
                      <a:pt x="177" y="61"/>
                    </a:lnTo>
                    <a:lnTo>
                      <a:pt x="178" y="59"/>
                    </a:lnTo>
                    <a:lnTo>
                      <a:pt x="180" y="59"/>
                    </a:lnTo>
                    <a:lnTo>
                      <a:pt x="182" y="57"/>
                    </a:lnTo>
                    <a:lnTo>
                      <a:pt x="182" y="56"/>
                    </a:lnTo>
                    <a:lnTo>
                      <a:pt x="183" y="54"/>
                    </a:lnTo>
                    <a:lnTo>
                      <a:pt x="183" y="53"/>
                    </a:lnTo>
                    <a:lnTo>
                      <a:pt x="185" y="51"/>
                    </a:lnTo>
                    <a:lnTo>
                      <a:pt x="185" y="48"/>
                    </a:lnTo>
                    <a:lnTo>
                      <a:pt x="185" y="45"/>
                    </a:lnTo>
                    <a:lnTo>
                      <a:pt x="185" y="45"/>
                    </a:lnTo>
                    <a:lnTo>
                      <a:pt x="183" y="43"/>
                    </a:lnTo>
                    <a:lnTo>
                      <a:pt x="183" y="43"/>
                    </a:lnTo>
                    <a:lnTo>
                      <a:pt x="182" y="42"/>
                    </a:lnTo>
                    <a:lnTo>
                      <a:pt x="180" y="42"/>
                    </a:lnTo>
                    <a:lnTo>
                      <a:pt x="180" y="40"/>
                    </a:lnTo>
                    <a:lnTo>
                      <a:pt x="180" y="37"/>
                    </a:lnTo>
                    <a:lnTo>
                      <a:pt x="180" y="37"/>
                    </a:lnTo>
                    <a:lnTo>
                      <a:pt x="178" y="36"/>
                    </a:lnTo>
                    <a:lnTo>
                      <a:pt x="178" y="34"/>
                    </a:lnTo>
                    <a:lnTo>
                      <a:pt x="177" y="32"/>
                    </a:lnTo>
                    <a:lnTo>
                      <a:pt x="177" y="32"/>
                    </a:lnTo>
                    <a:lnTo>
                      <a:pt x="177" y="29"/>
                    </a:lnTo>
                    <a:lnTo>
                      <a:pt x="178" y="26"/>
                    </a:lnTo>
                    <a:lnTo>
                      <a:pt x="178" y="25"/>
                    </a:lnTo>
                    <a:lnTo>
                      <a:pt x="178" y="25"/>
                    </a:lnTo>
                    <a:lnTo>
                      <a:pt x="178" y="23"/>
                    </a:lnTo>
                    <a:lnTo>
                      <a:pt x="178" y="21"/>
                    </a:lnTo>
                    <a:lnTo>
                      <a:pt x="180" y="21"/>
                    </a:lnTo>
                    <a:lnTo>
                      <a:pt x="180" y="18"/>
                    </a:lnTo>
                    <a:lnTo>
                      <a:pt x="182" y="18"/>
                    </a:lnTo>
                    <a:lnTo>
                      <a:pt x="183" y="18"/>
                    </a:lnTo>
                    <a:lnTo>
                      <a:pt x="183" y="17"/>
                    </a:lnTo>
                    <a:lnTo>
                      <a:pt x="185" y="15"/>
                    </a:lnTo>
                    <a:lnTo>
                      <a:pt x="185" y="14"/>
                    </a:lnTo>
                    <a:lnTo>
                      <a:pt x="185" y="12"/>
                    </a:lnTo>
                    <a:lnTo>
                      <a:pt x="186" y="10"/>
                    </a:lnTo>
                    <a:lnTo>
                      <a:pt x="191" y="9"/>
                    </a:lnTo>
                    <a:lnTo>
                      <a:pt x="193" y="6"/>
                    </a:lnTo>
                    <a:lnTo>
                      <a:pt x="194" y="4"/>
                    </a:lnTo>
                    <a:lnTo>
                      <a:pt x="194" y="1"/>
                    </a:lnTo>
                    <a:lnTo>
                      <a:pt x="196" y="0"/>
                    </a:lnTo>
                    <a:lnTo>
                      <a:pt x="197" y="0"/>
                    </a:lnTo>
                    <a:lnTo>
                      <a:pt x="199" y="3"/>
                    </a:lnTo>
                    <a:lnTo>
                      <a:pt x="199" y="3"/>
                    </a:lnTo>
                    <a:lnTo>
                      <a:pt x="200" y="3"/>
                    </a:lnTo>
                    <a:lnTo>
                      <a:pt x="205" y="6"/>
                    </a:lnTo>
                    <a:lnTo>
                      <a:pt x="207" y="6"/>
                    </a:lnTo>
                    <a:lnTo>
                      <a:pt x="208" y="6"/>
                    </a:lnTo>
                    <a:lnTo>
                      <a:pt x="210" y="7"/>
                    </a:lnTo>
                    <a:lnTo>
                      <a:pt x="211" y="7"/>
                    </a:lnTo>
                    <a:lnTo>
                      <a:pt x="214" y="10"/>
                    </a:lnTo>
                    <a:lnTo>
                      <a:pt x="216" y="10"/>
                    </a:lnTo>
                    <a:lnTo>
                      <a:pt x="219" y="10"/>
                    </a:lnTo>
                    <a:lnTo>
                      <a:pt x="224" y="10"/>
                    </a:lnTo>
                    <a:lnTo>
                      <a:pt x="224" y="12"/>
                    </a:lnTo>
                    <a:lnTo>
                      <a:pt x="227" y="12"/>
                    </a:lnTo>
                    <a:lnTo>
                      <a:pt x="232" y="14"/>
                    </a:lnTo>
                    <a:lnTo>
                      <a:pt x="235" y="15"/>
                    </a:lnTo>
                    <a:lnTo>
                      <a:pt x="236" y="17"/>
                    </a:lnTo>
                    <a:lnTo>
                      <a:pt x="238" y="18"/>
                    </a:lnTo>
                    <a:lnTo>
                      <a:pt x="239" y="18"/>
                    </a:lnTo>
                    <a:lnTo>
                      <a:pt x="241" y="18"/>
                    </a:lnTo>
                    <a:lnTo>
                      <a:pt x="243" y="18"/>
                    </a:lnTo>
                    <a:lnTo>
                      <a:pt x="247" y="20"/>
                    </a:lnTo>
                    <a:lnTo>
                      <a:pt x="250" y="20"/>
                    </a:lnTo>
                    <a:lnTo>
                      <a:pt x="252" y="21"/>
                    </a:lnTo>
                    <a:lnTo>
                      <a:pt x="254" y="23"/>
                    </a:lnTo>
                    <a:lnTo>
                      <a:pt x="254" y="25"/>
                    </a:lnTo>
                    <a:lnTo>
                      <a:pt x="252" y="25"/>
                    </a:lnTo>
                    <a:lnTo>
                      <a:pt x="254" y="28"/>
                    </a:lnTo>
                    <a:lnTo>
                      <a:pt x="254" y="29"/>
                    </a:lnTo>
                    <a:lnTo>
                      <a:pt x="254" y="32"/>
                    </a:lnTo>
                    <a:lnTo>
                      <a:pt x="254" y="34"/>
                    </a:lnTo>
                    <a:lnTo>
                      <a:pt x="254" y="36"/>
                    </a:lnTo>
                    <a:lnTo>
                      <a:pt x="254" y="37"/>
                    </a:lnTo>
                    <a:lnTo>
                      <a:pt x="255" y="37"/>
                    </a:lnTo>
                    <a:lnTo>
                      <a:pt x="255" y="39"/>
                    </a:lnTo>
                    <a:lnTo>
                      <a:pt x="255" y="40"/>
                    </a:lnTo>
                    <a:lnTo>
                      <a:pt x="255" y="42"/>
                    </a:lnTo>
                    <a:lnTo>
                      <a:pt x="255" y="43"/>
                    </a:lnTo>
                    <a:lnTo>
                      <a:pt x="257" y="43"/>
                    </a:lnTo>
                    <a:lnTo>
                      <a:pt x="257" y="45"/>
                    </a:lnTo>
                    <a:lnTo>
                      <a:pt x="258" y="45"/>
                    </a:lnTo>
                    <a:lnTo>
                      <a:pt x="260" y="46"/>
                    </a:lnTo>
                    <a:lnTo>
                      <a:pt x="263" y="48"/>
                    </a:lnTo>
                    <a:lnTo>
                      <a:pt x="263" y="50"/>
                    </a:lnTo>
                    <a:lnTo>
                      <a:pt x="264" y="50"/>
                    </a:lnTo>
                    <a:lnTo>
                      <a:pt x="269" y="51"/>
                    </a:lnTo>
                    <a:lnTo>
                      <a:pt x="271" y="51"/>
                    </a:lnTo>
                    <a:lnTo>
                      <a:pt x="272" y="51"/>
                    </a:lnTo>
                    <a:lnTo>
                      <a:pt x="272" y="53"/>
                    </a:lnTo>
                    <a:lnTo>
                      <a:pt x="275" y="54"/>
                    </a:lnTo>
                    <a:lnTo>
                      <a:pt x="277" y="54"/>
                    </a:lnTo>
                    <a:lnTo>
                      <a:pt x="279" y="54"/>
                    </a:lnTo>
                    <a:lnTo>
                      <a:pt x="280" y="54"/>
                    </a:lnTo>
                    <a:lnTo>
                      <a:pt x="282" y="54"/>
                    </a:lnTo>
                    <a:lnTo>
                      <a:pt x="283" y="54"/>
                    </a:lnTo>
                    <a:lnTo>
                      <a:pt x="285" y="54"/>
                    </a:lnTo>
                    <a:lnTo>
                      <a:pt x="286" y="54"/>
                    </a:lnTo>
                    <a:lnTo>
                      <a:pt x="288" y="54"/>
                    </a:lnTo>
                    <a:lnTo>
                      <a:pt x="290" y="53"/>
                    </a:lnTo>
                    <a:lnTo>
                      <a:pt x="291" y="51"/>
                    </a:lnTo>
                    <a:lnTo>
                      <a:pt x="294" y="51"/>
                    </a:lnTo>
                    <a:lnTo>
                      <a:pt x="296" y="50"/>
                    </a:lnTo>
                    <a:lnTo>
                      <a:pt x="297" y="50"/>
                    </a:lnTo>
                    <a:lnTo>
                      <a:pt x="302" y="48"/>
                    </a:lnTo>
                    <a:lnTo>
                      <a:pt x="305" y="48"/>
                    </a:lnTo>
                    <a:lnTo>
                      <a:pt x="307" y="46"/>
                    </a:lnTo>
                    <a:lnTo>
                      <a:pt x="308" y="46"/>
                    </a:lnTo>
                    <a:lnTo>
                      <a:pt x="310" y="46"/>
                    </a:lnTo>
                    <a:lnTo>
                      <a:pt x="313" y="46"/>
                    </a:lnTo>
                    <a:lnTo>
                      <a:pt x="315" y="48"/>
                    </a:lnTo>
                    <a:lnTo>
                      <a:pt x="318" y="48"/>
                    </a:lnTo>
                    <a:lnTo>
                      <a:pt x="321" y="48"/>
                    </a:lnTo>
                    <a:lnTo>
                      <a:pt x="322" y="50"/>
                    </a:lnTo>
                    <a:lnTo>
                      <a:pt x="324" y="51"/>
                    </a:lnTo>
                    <a:lnTo>
                      <a:pt x="327" y="50"/>
                    </a:lnTo>
                    <a:lnTo>
                      <a:pt x="330" y="50"/>
                    </a:lnTo>
                    <a:lnTo>
                      <a:pt x="333" y="50"/>
                    </a:lnTo>
                    <a:lnTo>
                      <a:pt x="335" y="53"/>
                    </a:lnTo>
                    <a:lnTo>
                      <a:pt x="336" y="53"/>
                    </a:lnTo>
                    <a:lnTo>
                      <a:pt x="338" y="56"/>
                    </a:lnTo>
                    <a:lnTo>
                      <a:pt x="341" y="57"/>
                    </a:lnTo>
                    <a:lnTo>
                      <a:pt x="343" y="59"/>
                    </a:lnTo>
                    <a:lnTo>
                      <a:pt x="344" y="59"/>
                    </a:lnTo>
                    <a:lnTo>
                      <a:pt x="349" y="59"/>
                    </a:lnTo>
                    <a:lnTo>
                      <a:pt x="352" y="61"/>
                    </a:lnTo>
                    <a:lnTo>
                      <a:pt x="354" y="61"/>
                    </a:lnTo>
                    <a:lnTo>
                      <a:pt x="355" y="61"/>
                    </a:lnTo>
                    <a:lnTo>
                      <a:pt x="354" y="64"/>
                    </a:lnTo>
                    <a:lnTo>
                      <a:pt x="355" y="65"/>
                    </a:lnTo>
                    <a:lnTo>
                      <a:pt x="354" y="67"/>
                    </a:lnTo>
                    <a:lnTo>
                      <a:pt x="355" y="68"/>
                    </a:lnTo>
                    <a:lnTo>
                      <a:pt x="355" y="68"/>
                    </a:lnTo>
                    <a:lnTo>
                      <a:pt x="357" y="70"/>
                    </a:lnTo>
                    <a:lnTo>
                      <a:pt x="357" y="70"/>
                    </a:lnTo>
                    <a:lnTo>
                      <a:pt x="360" y="72"/>
                    </a:lnTo>
                    <a:lnTo>
                      <a:pt x="363" y="75"/>
                    </a:lnTo>
                    <a:lnTo>
                      <a:pt x="365" y="76"/>
                    </a:lnTo>
                    <a:lnTo>
                      <a:pt x="366" y="78"/>
                    </a:lnTo>
                    <a:lnTo>
                      <a:pt x="368" y="76"/>
                    </a:lnTo>
                    <a:lnTo>
                      <a:pt x="372" y="76"/>
                    </a:lnTo>
                    <a:lnTo>
                      <a:pt x="377" y="76"/>
                    </a:lnTo>
                    <a:lnTo>
                      <a:pt x="382" y="78"/>
                    </a:lnTo>
                    <a:lnTo>
                      <a:pt x="382" y="79"/>
                    </a:lnTo>
                    <a:lnTo>
                      <a:pt x="386" y="79"/>
                    </a:lnTo>
                    <a:lnTo>
                      <a:pt x="391" y="81"/>
                    </a:lnTo>
                    <a:lnTo>
                      <a:pt x="394" y="81"/>
                    </a:lnTo>
                    <a:lnTo>
                      <a:pt x="396" y="79"/>
                    </a:lnTo>
                    <a:lnTo>
                      <a:pt x="397" y="79"/>
                    </a:lnTo>
                    <a:lnTo>
                      <a:pt x="401" y="81"/>
                    </a:lnTo>
                    <a:lnTo>
                      <a:pt x="402" y="82"/>
                    </a:lnTo>
                    <a:lnTo>
                      <a:pt x="404" y="82"/>
                    </a:lnTo>
                    <a:lnTo>
                      <a:pt x="405" y="81"/>
                    </a:lnTo>
                    <a:lnTo>
                      <a:pt x="411" y="78"/>
                    </a:lnTo>
                    <a:lnTo>
                      <a:pt x="415" y="76"/>
                    </a:lnTo>
                    <a:lnTo>
                      <a:pt x="416" y="76"/>
                    </a:lnTo>
                    <a:lnTo>
                      <a:pt x="418" y="76"/>
                    </a:lnTo>
                    <a:lnTo>
                      <a:pt x="418" y="76"/>
                    </a:lnTo>
                    <a:lnTo>
                      <a:pt x="421" y="75"/>
                    </a:lnTo>
                    <a:lnTo>
                      <a:pt x="422" y="75"/>
                    </a:lnTo>
                    <a:lnTo>
                      <a:pt x="424" y="75"/>
                    </a:lnTo>
                    <a:lnTo>
                      <a:pt x="427" y="75"/>
                    </a:lnTo>
                    <a:lnTo>
                      <a:pt x="432" y="72"/>
                    </a:lnTo>
                    <a:lnTo>
                      <a:pt x="435" y="72"/>
                    </a:lnTo>
                    <a:lnTo>
                      <a:pt x="438" y="72"/>
                    </a:lnTo>
                    <a:lnTo>
                      <a:pt x="440" y="72"/>
                    </a:lnTo>
                    <a:lnTo>
                      <a:pt x="441" y="70"/>
                    </a:lnTo>
                    <a:lnTo>
                      <a:pt x="444" y="70"/>
                    </a:lnTo>
                    <a:lnTo>
                      <a:pt x="444" y="67"/>
                    </a:lnTo>
                    <a:lnTo>
                      <a:pt x="446" y="64"/>
                    </a:lnTo>
                    <a:lnTo>
                      <a:pt x="449" y="62"/>
                    </a:lnTo>
                    <a:lnTo>
                      <a:pt x="451" y="61"/>
                    </a:lnTo>
                    <a:lnTo>
                      <a:pt x="454" y="59"/>
                    </a:lnTo>
                    <a:lnTo>
                      <a:pt x="457" y="57"/>
                    </a:lnTo>
                    <a:lnTo>
                      <a:pt x="458" y="56"/>
                    </a:lnTo>
                    <a:lnTo>
                      <a:pt x="461" y="53"/>
                    </a:lnTo>
                    <a:lnTo>
                      <a:pt x="465" y="51"/>
                    </a:lnTo>
                    <a:lnTo>
                      <a:pt x="466" y="51"/>
                    </a:lnTo>
                    <a:lnTo>
                      <a:pt x="468" y="51"/>
                    </a:lnTo>
                    <a:lnTo>
                      <a:pt x="471" y="53"/>
                    </a:lnTo>
                    <a:lnTo>
                      <a:pt x="472" y="53"/>
                    </a:lnTo>
                    <a:lnTo>
                      <a:pt x="474" y="53"/>
                    </a:lnTo>
                    <a:lnTo>
                      <a:pt x="476" y="54"/>
                    </a:lnTo>
                    <a:lnTo>
                      <a:pt x="479" y="54"/>
                    </a:lnTo>
                    <a:lnTo>
                      <a:pt x="480" y="57"/>
                    </a:lnTo>
                    <a:lnTo>
                      <a:pt x="483" y="61"/>
                    </a:lnTo>
                    <a:lnTo>
                      <a:pt x="485" y="61"/>
                    </a:lnTo>
                    <a:lnTo>
                      <a:pt x="487" y="62"/>
                    </a:lnTo>
                    <a:lnTo>
                      <a:pt x="488" y="62"/>
                    </a:lnTo>
                    <a:lnTo>
                      <a:pt x="491" y="62"/>
                    </a:lnTo>
                    <a:lnTo>
                      <a:pt x="493" y="62"/>
                    </a:lnTo>
                    <a:lnTo>
                      <a:pt x="494" y="61"/>
                    </a:lnTo>
                    <a:lnTo>
                      <a:pt x="499" y="59"/>
                    </a:lnTo>
                    <a:lnTo>
                      <a:pt x="499" y="59"/>
                    </a:lnTo>
                    <a:lnTo>
                      <a:pt x="502" y="59"/>
                    </a:lnTo>
                    <a:lnTo>
                      <a:pt x="505" y="61"/>
                    </a:lnTo>
                    <a:lnTo>
                      <a:pt x="507" y="62"/>
                    </a:lnTo>
                    <a:lnTo>
                      <a:pt x="508" y="6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3" name="Freeform 140">
                <a:extLst>
                  <a:ext uri="{FF2B5EF4-FFF2-40B4-BE49-F238E27FC236}">
                    <a16:creationId xmlns:a16="http://schemas.microsoft.com/office/drawing/2014/main" id="{979CF46A-5ED0-D489-36FA-6D92A7C2CE14}"/>
                  </a:ext>
                </a:extLst>
              </p:cNvPr>
              <p:cNvSpPr>
                <a:spLocks/>
              </p:cNvSpPr>
              <p:nvPr/>
            </p:nvSpPr>
            <p:spPr bwMode="gray">
              <a:xfrm>
                <a:off x="4667" y="1178"/>
                <a:ext cx="0" cy="2"/>
              </a:xfrm>
              <a:custGeom>
                <a:avLst/>
                <a:gdLst>
                  <a:gd name="T0" fmla="*/ 2 h 2"/>
                  <a:gd name="T1" fmla="*/ 0 h 2"/>
                  <a:gd name="T2" fmla="*/ 0 h 2"/>
                  <a:gd name="T3" fmla="*/ 0 h 2"/>
                  <a:gd name="T4" fmla="*/ 0 h 2"/>
                  <a:gd name="T5" fmla="*/ 0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2"/>
                    </a:moveTo>
                    <a:lnTo>
                      <a:pt x="0" y="0"/>
                    </a:lnTo>
                    <a:lnTo>
                      <a:pt x="0" y="0"/>
                    </a:lnTo>
                    <a:lnTo>
                      <a:pt x="0" y="0"/>
                    </a:lnTo>
                    <a:lnTo>
                      <a:pt x="0" y="0"/>
                    </a:lnTo>
                    <a:lnTo>
                      <a:pt x="0" y="0"/>
                    </a:lnTo>
                    <a:lnTo>
                      <a:pt x="0" y="2"/>
                    </a:lnTo>
                    <a:lnTo>
                      <a:pt x="0" y="2"/>
                    </a:lnTo>
                    <a:lnTo>
                      <a:pt x="0"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4" name="Freeform 141">
                <a:extLst>
                  <a:ext uri="{FF2B5EF4-FFF2-40B4-BE49-F238E27FC236}">
                    <a16:creationId xmlns:a16="http://schemas.microsoft.com/office/drawing/2014/main" id="{1CF9BFCD-D184-3D7B-542F-E14BD0805B92}"/>
                  </a:ext>
                </a:extLst>
              </p:cNvPr>
              <p:cNvSpPr>
                <a:spLocks/>
              </p:cNvSpPr>
              <p:nvPr/>
            </p:nvSpPr>
            <p:spPr bwMode="gray">
              <a:xfrm>
                <a:off x="1601" y="1315"/>
                <a:ext cx="6" cy="7"/>
              </a:xfrm>
              <a:custGeom>
                <a:avLst/>
                <a:gdLst>
                  <a:gd name="T0" fmla="*/ 6 w 6"/>
                  <a:gd name="T1" fmla="*/ 6 h 7"/>
                  <a:gd name="T2" fmla="*/ 6 w 6"/>
                  <a:gd name="T3" fmla="*/ 7 h 7"/>
                  <a:gd name="T4" fmla="*/ 6 w 6"/>
                  <a:gd name="T5" fmla="*/ 7 h 7"/>
                  <a:gd name="T6" fmla="*/ 5 w 6"/>
                  <a:gd name="T7" fmla="*/ 7 h 7"/>
                  <a:gd name="T8" fmla="*/ 2 w 6"/>
                  <a:gd name="T9" fmla="*/ 7 h 7"/>
                  <a:gd name="T10" fmla="*/ 2 w 6"/>
                  <a:gd name="T11" fmla="*/ 6 h 7"/>
                  <a:gd name="T12" fmla="*/ 2 w 6"/>
                  <a:gd name="T13" fmla="*/ 6 h 7"/>
                  <a:gd name="T14" fmla="*/ 3 w 6"/>
                  <a:gd name="T15" fmla="*/ 4 h 7"/>
                  <a:gd name="T16" fmla="*/ 2 w 6"/>
                  <a:gd name="T17" fmla="*/ 4 h 7"/>
                  <a:gd name="T18" fmla="*/ 0 w 6"/>
                  <a:gd name="T19" fmla="*/ 3 h 7"/>
                  <a:gd name="T20" fmla="*/ 0 w 6"/>
                  <a:gd name="T21" fmla="*/ 1 h 7"/>
                  <a:gd name="T22" fmla="*/ 0 w 6"/>
                  <a:gd name="T23" fmla="*/ 0 h 7"/>
                  <a:gd name="T24" fmla="*/ 0 w 6"/>
                  <a:gd name="T25" fmla="*/ 0 h 7"/>
                  <a:gd name="T26" fmla="*/ 2 w 6"/>
                  <a:gd name="T27" fmla="*/ 0 h 7"/>
                  <a:gd name="T28" fmla="*/ 3 w 6"/>
                  <a:gd name="T29" fmla="*/ 0 h 7"/>
                  <a:gd name="T30" fmla="*/ 5 w 6"/>
                  <a:gd name="T31" fmla="*/ 1 h 7"/>
                  <a:gd name="T32" fmla="*/ 5 w 6"/>
                  <a:gd name="T33" fmla="*/ 1 h 7"/>
                  <a:gd name="T34" fmla="*/ 5 w 6"/>
                  <a:gd name="T35" fmla="*/ 3 h 7"/>
                  <a:gd name="T36" fmla="*/ 5 w 6"/>
                  <a:gd name="T37" fmla="*/ 3 h 7"/>
                  <a:gd name="T38" fmla="*/ 5 w 6"/>
                  <a:gd name="T39" fmla="*/ 4 h 7"/>
                  <a:gd name="T40" fmla="*/ 5 w 6"/>
                  <a:gd name="T41" fmla="*/ 4 h 7"/>
                  <a:gd name="T42" fmla="*/ 6 w 6"/>
                  <a:gd name="T4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7">
                    <a:moveTo>
                      <a:pt x="6" y="6"/>
                    </a:moveTo>
                    <a:lnTo>
                      <a:pt x="6" y="7"/>
                    </a:lnTo>
                    <a:lnTo>
                      <a:pt x="6" y="7"/>
                    </a:lnTo>
                    <a:lnTo>
                      <a:pt x="5" y="7"/>
                    </a:lnTo>
                    <a:lnTo>
                      <a:pt x="2" y="7"/>
                    </a:lnTo>
                    <a:lnTo>
                      <a:pt x="2" y="6"/>
                    </a:lnTo>
                    <a:lnTo>
                      <a:pt x="2" y="6"/>
                    </a:lnTo>
                    <a:lnTo>
                      <a:pt x="3" y="4"/>
                    </a:lnTo>
                    <a:lnTo>
                      <a:pt x="2" y="4"/>
                    </a:lnTo>
                    <a:lnTo>
                      <a:pt x="0" y="3"/>
                    </a:lnTo>
                    <a:lnTo>
                      <a:pt x="0" y="1"/>
                    </a:lnTo>
                    <a:lnTo>
                      <a:pt x="0" y="0"/>
                    </a:lnTo>
                    <a:lnTo>
                      <a:pt x="0" y="0"/>
                    </a:lnTo>
                    <a:lnTo>
                      <a:pt x="2" y="0"/>
                    </a:lnTo>
                    <a:lnTo>
                      <a:pt x="3" y="0"/>
                    </a:lnTo>
                    <a:lnTo>
                      <a:pt x="5" y="1"/>
                    </a:lnTo>
                    <a:lnTo>
                      <a:pt x="5" y="1"/>
                    </a:lnTo>
                    <a:lnTo>
                      <a:pt x="5" y="3"/>
                    </a:lnTo>
                    <a:lnTo>
                      <a:pt x="5" y="3"/>
                    </a:lnTo>
                    <a:lnTo>
                      <a:pt x="5" y="4"/>
                    </a:lnTo>
                    <a:lnTo>
                      <a:pt x="5" y="4"/>
                    </a:lnTo>
                    <a:lnTo>
                      <a:pt x="6"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5" name="Freeform 142">
                <a:extLst>
                  <a:ext uri="{FF2B5EF4-FFF2-40B4-BE49-F238E27FC236}">
                    <a16:creationId xmlns:a16="http://schemas.microsoft.com/office/drawing/2014/main" id="{201CA955-FF64-9859-1FBF-3565646E5140}"/>
                  </a:ext>
                </a:extLst>
              </p:cNvPr>
              <p:cNvSpPr>
                <a:spLocks noEditPoints="1"/>
              </p:cNvSpPr>
              <p:nvPr/>
            </p:nvSpPr>
            <p:spPr bwMode="gray">
              <a:xfrm>
                <a:off x="2375" y="1081"/>
                <a:ext cx="216" cy="235"/>
              </a:xfrm>
              <a:custGeom>
                <a:avLst/>
                <a:gdLst>
                  <a:gd name="T0" fmla="*/ 11 w 216"/>
                  <a:gd name="T1" fmla="*/ 147 h 235"/>
                  <a:gd name="T2" fmla="*/ 200 w 216"/>
                  <a:gd name="T3" fmla="*/ 198 h 235"/>
                  <a:gd name="T4" fmla="*/ 199 w 216"/>
                  <a:gd name="T5" fmla="*/ 176 h 235"/>
                  <a:gd name="T6" fmla="*/ 195 w 216"/>
                  <a:gd name="T7" fmla="*/ 152 h 235"/>
                  <a:gd name="T8" fmla="*/ 192 w 216"/>
                  <a:gd name="T9" fmla="*/ 126 h 235"/>
                  <a:gd name="T10" fmla="*/ 191 w 216"/>
                  <a:gd name="T11" fmla="*/ 102 h 235"/>
                  <a:gd name="T12" fmla="*/ 186 w 216"/>
                  <a:gd name="T13" fmla="*/ 69 h 235"/>
                  <a:gd name="T14" fmla="*/ 208 w 216"/>
                  <a:gd name="T15" fmla="*/ 40 h 235"/>
                  <a:gd name="T16" fmla="*/ 194 w 216"/>
                  <a:gd name="T17" fmla="*/ 30 h 235"/>
                  <a:gd name="T18" fmla="*/ 180 w 216"/>
                  <a:gd name="T19" fmla="*/ 22 h 235"/>
                  <a:gd name="T20" fmla="*/ 169 w 216"/>
                  <a:gd name="T21" fmla="*/ 14 h 235"/>
                  <a:gd name="T22" fmla="*/ 158 w 216"/>
                  <a:gd name="T23" fmla="*/ 7 h 235"/>
                  <a:gd name="T24" fmla="*/ 147 w 216"/>
                  <a:gd name="T25" fmla="*/ 25 h 235"/>
                  <a:gd name="T26" fmla="*/ 88 w 216"/>
                  <a:gd name="T27" fmla="*/ 76 h 235"/>
                  <a:gd name="T28" fmla="*/ 77 w 216"/>
                  <a:gd name="T29" fmla="*/ 80 h 235"/>
                  <a:gd name="T30" fmla="*/ 69 w 216"/>
                  <a:gd name="T31" fmla="*/ 86 h 235"/>
                  <a:gd name="T32" fmla="*/ 70 w 216"/>
                  <a:gd name="T33" fmla="*/ 94 h 235"/>
                  <a:gd name="T34" fmla="*/ 70 w 216"/>
                  <a:gd name="T35" fmla="*/ 107 h 235"/>
                  <a:gd name="T36" fmla="*/ 25 w 216"/>
                  <a:gd name="T37" fmla="*/ 115 h 235"/>
                  <a:gd name="T38" fmla="*/ 0 w 216"/>
                  <a:gd name="T39" fmla="*/ 124 h 235"/>
                  <a:gd name="T40" fmla="*/ 6 w 216"/>
                  <a:gd name="T41" fmla="*/ 124 h 235"/>
                  <a:gd name="T42" fmla="*/ 11 w 216"/>
                  <a:gd name="T43" fmla="*/ 127 h 235"/>
                  <a:gd name="T44" fmla="*/ 16 w 216"/>
                  <a:gd name="T45" fmla="*/ 140 h 235"/>
                  <a:gd name="T46" fmla="*/ 11 w 216"/>
                  <a:gd name="T47" fmla="*/ 151 h 235"/>
                  <a:gd name="T48" fmla="*/ 17 w 216"/>
                  <a:gd name="T49" fmla="*/ 163 h 235"/>
                  <a:gd name="T50" fmla="*/ 16 w 216"/>
                  <a:gd name="T51" fmla="*/ 191 h 235"/>
                  <a:gd name="T52" fmla="*/ 9 w 216"/>
                  <a:gd name="T53" fmla="*/ 216 h 235"/>
                  <a:gd name="T54" fmla="*/ 12 w 216"/>
                  <a:gd name="T55" fmla="*/ 207 h 235"/>
                  <a:gd name="T56" fmla="*/ 17 w 216"/>
                  <a:gd name="T57" fmla="*/ 204 h 235"/>
                  <a:gd name="T58" fmla="*/ 28 w 216"/>
                  <a:gd name="T59" fmla="*/ 202 h 235"/>
                  <a:gd name="T60" fmla="*/ 34 w 216"/>
                  <a:gd name="T61" fmla="*/ 201 h 235"/>
                  <a:gd name="T62" fmla="*/ 38 w 216"/>
                  <a:gd name="T63" fmla="*/ 201 h 235"/>
                  <a:gd name="T64" fmla="*/ 53 w 216"/>
                  <a:gd name="T65" fmla="*/ 205 h 235"/>
                  <a:gd name="T66" fmla="*/ 56 w 216"/>
                  <a:gd name="T67" fmla="*/ 210 h 235"/>
                  <a:gd name="T68" fmla="*/ 59 w 216"/>
                  <a:gd name="T69" fmla="*/ 210 h 235"/>
                  <a:gd name="T70" fmla="*/ 63 w 216"/>
                  <a:gd name="T71" fmla="*/ 212 h 235"/>
                  <a:gd name="T72" fmla="*/ 64 w 216"/>
                  <a:gd name="T73" fmla="*/ 212 h 235"/>
                  <a:gd name="T74" fmla="*/ 69 w 216"/>
                  <a:gd name="T75" fmla="*/ 219 h 235"/>
                  <a:gd name="T76" fmla="*/ 70 w 216"/>
                  <a:gd name="T77" fmla="*/ 223 h 235"/>
                  <a:gd name="T78" fmla="*/ 73 w 216"/>
                  <a:gd name="T79" fmla="*/ 226 h 235"/>
                  <a:gd name="T80" fmla="*/ 78 w 216"/>
                  <a:gd name="T81" fmla="*/ 229 h 235"/>
                  <a:gd name="T82" fmla="*/ 84 w 216"/>
                  <a:gd name="T83" fmla="*/ 235 h 235"/>
                  <a:gd name="T84" fmla="*/ 91 w 216"/>
                  <a:gd name="T85" fmla="*/ 234 h 235"/>
                  <a:gd name="T86" fmla="*/ 94 w 216"/>
                  <a:gd name="T87" fmla="*/ 224 h 235"/>
                  <a:gd name="T88" fmla="*/ 98 w 216"/>
                  <a:gd name="T89" fmla="*/ 219 h 235"/>
                  <a:gd name="T90" fmla="*/ 109 w 216"/>
                  <a:gd name="T91" fmla="*/ 229 h 235"/>
                  <a:gd name="T92" fmla="*/ 116 w 216"/>
                  <a:gd name="T93" fmla="*/ 223 h 235"/>
                  <a:gd name="T94" fmla="*/ 125 w 216"/>
                  <a:gd name="T95" fmla="*/ 224 h 235"/>
                  <a:gd name="T96" fmla="*/ 134 w 216"/>
                  <a:gd name="T97" fmla="*/ 221 h 235"/>
                  <a:gd name="T98" fmla="*/ 136 w 216"/>
                  <a:gd name="T99" fmla="*/ 223 h 235"/>
                  <a:gd name="T100" fmla="*/ 206 w 216"/>
                  <a:gd name="T101" fmla="*/ 20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 h="235">
                    <a:moveTo>
                      <a:pt x="12" y="143"/>
                    </a:moveTo>
                    <a:lnTo>
                      <a:pt x="11" y="143"/>
                    </a:lnTo>
                    <a:lnTo>
                      <a:pt x="11" y="144"/>
                    </a:lnTo>
                    <a:lnTo>
                      <a:pt x="11" y="146"/>
                    </a:lnTo>
                    <a:lnTo>
                      <a:pt x="11" y="147"/>
                    </a:lnTo>
                    <a:lnTo>
                      <a:pt x="12" y="144"/>
                    </a:lnTo>
                    <a:lnTo>
                      <a:pt x="12" y="143"/>
                    </a:lnTo>
                    <a:lnTo>
                      <a:pt x="12" y="143"/>
                    </a:lnTo>
                    <a:close/>
                    <a:moveTo>
                      <a:pt x="202" y="202"/>
                    </a:moveTo>
                    <a:lnTo>
                      <a:pt x="200" y="198"/>
                    </a:lnTo>
                    <a:lnTo>
                      <a:pt x="200" y="194"/>
                    </a:lnTo>
                    <a:lnTo>
                      <a:pt x="200" y="190"/>
                    </a:lnTo>
                    <a:lnTo>
                      <a:pt x="199" y="185"/>
                    </a:lnTo>
                    <a:lnTo>
                      <a:pt x="199" y="180"/>
                    </a:lnTo>
                    <a:lnTo>
                      <a:pt x="199" y="176"/>
                    </a:lnTo>
                    <a:lnTo>
                      <a:pt x="197" y="171"/>
                    </a:lnTo>
                    <a:lnTo>
                      <a:pt x="197" y="166"/>
                    </a:lnTo>
                    <a:lnTo>
                      <a:pt x="197" y="162"/>
                    </a:lnTo>
                    <a:lnTo>
                      <a:pt x="195" y="157"/>
                    </a:lnTo>
                    <a:lnTo>
                      <a:pt x="195" y="152"/>
                    </a:lnTo>
                    <a:lnTo>
                      <a:pt x="195" y="147"/>
                    </a:lnTo>
                    <a:lnTo>
                      <a:pt x="194" y="143"/>
                    </a:lnTo>
                    <a:lnTo>
                      <a:pt x="194" y="138"/>
                    </a:lnTo>
                    <a:lnTo>
                      <a:pt x="194" y="133"/>
                    </a:lnTo>
                    <a:lnTo>
                      <a:pt x="192" y="126"/>
                    </a:lnTo>
                    <a:lnTo>
                      <a:pt x="192" y="121"/>
                    </a:lnTo>
                    <a:lnTo>
                      <a:pt x="192" y="116"/>
                    </a:lnTo>
                    <a:lnTo>
                      <a:pt x="191" y="111"/>
                    </a:lnTo>
                    <a:lnTo>
                      <a:pt x="191" y="107"/>
                    </a:lnTo>
                    <a:lnTo>
                      <a:pt x="191" y="102"/>
                    </a:lnTo>
                    <a:lnTo>
                      <a:pt x="189" y="88"/>
                    </a:lnTo>
                    <a:lnTo>
                      <a:pt x="188" y="83"/>
                    </a:lnTo>
                    <a:lnTo>
                      <a:pt x="188" y="79"/>
                    </a:lnTo>
                    <a:lnTo>
                      <a:pt x="188" y="74"/>
                    </a:lnTo>
                    <a:lnTo>
                      <a:pt x="186" y="69"/>
                    </a:lnTo>
                    <a:lnTo>
                      <a:pt x="184" y="54"/>
                    </a:lnTo>
                    <a:lnTo>
                      <a:pt x="184" y="49"/>
                    </a:lnTo>
                    <a:lnTo>
                      <a:pt x="184" y="46"/>
                    </a:lnTo>
                    <a:lnTo>
                      <a:pt x="216" y="46"/>
                    </a:lnTo>
                    <a:lnTo>
                      <a:pt x="208" y="40"/>
                    </a:lnTo>
                    <a:lnTo>
                      <a:pt x="203" y="36"/>
                    </a:lnTo>
                    <a:lnTo>
                      <a:pt x="203" y="36"/>
                    </a:lnTo>
                    <a:lnTo>
                      <a:pt x="200" y="35"/>
                    </a:lnTo>
                    <a:lnTo>
                      <a:pt x="197" y="33"/>
                    </a:lnTo>
                    <a:lnTo>
                      <a:pt x="194" y="30"/>
                    </a:lnTo>
                    <a:lnTo>
                      <a:pt x="191" y="29"/>
                    </a:lnTo>
                    <a:lnTo>
                      <a:pt x="189" y="29"/>
                    </a:lnTo>
                    <a:lnTo>
                      <a:pt x="188" y="27"/>
                    </a:lnTo>
                    <a:lnTo>
                      <a:pt x="184" y="24"/>
                    </a:lnTo>
                    <a:lnTo>
                      <a:pt x="180" y="22"/>
                    </a:lnTo>
                    <a:lnTo>
                      <a:pt x="177" y="21"/>
                    </a:lnTo>
                    <a:lnTo>
                      <a:pt x="174" y="18"/>
                    </a:lnTo>
                    <a:lnTo>
                      <a:pt x="174" y="18"/>
                    </a:lnTo>
                    <a:lnTo>
                      <a:pt x="170" y="16"/>
                    </a:lnTo>
                    <a:lnTo>
                      <a:pt x="169" y="14"/>
                    </a:lnTo>
                    <a:lnTo>
                      <a:pt x="167" y="14"/>
                    </a:lnTo>
                    <a:lnTo>
                      <a:pt x="167" y="13"/>
                    </a:lnTo>
                    <a:lnTo>
                      <a:pt x="164" y="11"/>
                    </a:lnTo>
                    <a:lnTo>
                      <a:pt x="161" y="10"/>
                    </a:lnTo>
                    <a:lnTo>
                      <a:pt x="158" y="7"/>
                    </a:lnTo>
                    <a:lnTo>
                      <a:pt x="155" y="5"/>
                    </a:lnTo>
                    <a:lnTo>
                      <a:pt x="150" y="2"/>
                    </a:lnTo>
                    <a:lnTo>
                      <a:pt x="150" y="2"/>
                    </a:lnTo>
                    <a:lnTo>
                      <a:pt x="147" y="0"/>
                    </a:lnTo>
                    <a:lnTo>
                      <a:pt x="147" y="25"/>
                    </a:lnTo>
                    <a:lnTo>
                      <a:pt x="89" y="25"/>
                    </a:lnTo>
                    <a:lnTo>
                      <a:pt x="89" y="72"/>
                    </a:lnTo>
                    <a:lnTo>
                      <a:pt x="89" y="74"/>
                    </a:lnTo>
                    <a:lnTo>
                      <a:pt x="89" y="74"/>
                    </a:lnTo>
                    <a:lnTo>
                      <a:pt x="88" y="76"/>
                    </a:lnTo>
                    <a:lnTo>
                      <a:pt x="86" y="76"/>
                    </a:lnTo>
                    <a:lnTo>
                      <a:pt x="83" y="77"/>
                    </a:lnTo>
                    <a:lnTo>
                      <a:pt x="80" y="77"/>
                    </a:lnTo>
                    <a:lnTo>
                      <a:pt x="78" y="79"/>
                    </a:lnTo>
                    <a:lnTo>
                      <a:pt x="77" y="80"/>
                    </a:lnTo>
                    <a:lnTo>
                      <a:pt x="77" y="80"/>
                    </a:lnTo>
                    <a:lnTo>
                      <a:pt x="73" y="82"/>
                    </a:lnTo>
                    <a:lnTo>
                      <a:pt x="72" y="83"/>
                    </a:lnTo>
                    <a:lnTo>
                      <a:pt x="70" y="85"/>
                    </a:lnTo>
                    <a:lnTo>
                      <a:pt x="69" y="86"/>
                    </a:lnTo>
                    <a:lnTo>
                      <a:pt x="69" y="88"/>
                    </a:lnTo>
                    <a:lnTo>
                      <a:pt x="69" y="90"/>
                    </a:lnTo>
                    <a:lnTo>
                      <a:pt x="70" y="91"/>
                    </a:lnTo>
                    <a:lnTo>
                      <a:pt x="70" y="93"/>
                    </a:lnTo>
                    <a:lnTo>
                      <a:pt x="70" y="94"/>
                    </a:lnTo>
                    <a:lnTo>
                      <a:pt x="70" y="97"/>
                    </a:lnTo>
                    <a:lnTo>
                      <a:pt x="70" y="99"/>
                    </a:lnTo>
                    <a:lnTo>
                      <a:pt x="70" y="102"/>
                    </a:lnTo>
                    <a:lnTo>
                      <a:pt x="70" y="105"/>
                    </a:lnTo>
                    <a:lnTo>
                      <a:pt x="70" y="107"/>
                    </a:lnTo>
                    <a:lnTo>
                      <a:pt x="72" y="110"/>
                    </a:lnTo>
                    <a:lnTo>
                      <a:pt x="72" y="111"/>
                    </a:lnTo>
                    <a:lnTo>
                      <a:pt x="72" y="115"/>
                    </a:lnTo>
                    <a:lnTo>
                      <a:pt x="28" y="115"/>
                    </a:lnTo>
                    <a:lnTo>
                      <a:pt x="25" y="115"/>
                    </a:lnTo>
                    <a:lnTo>
                      <a:pt x="2" y="115"/>
                    </a:lnTo>
                    <a:lnTo>
                      <a:pt x="2" y="118"/>
                    </a:lnTo>
                    <a:lnTo>
                      <a:pt x="2" y="121"/>
                    </a:lnTo>
                    <a:lnTo>
                      <a:pt x="0" y="122"/>
                    </a:lnTo>
                    <a:lnTo>
                      <a:pt x="0" y="124"/>
                    </a:lnTo>
                    <a:lnTo>
                      <a:pt x="2" y="121"/>
                    </a:lnTo>
                    <a:lnTo>
                      <a:pt x="2" y="119"/>
                    </a:lnTo>
                    <a:lnTo>
                      <a:pt x="3" y="119"/>
                    </a:lnTo>
                    <a:lnTo>
                      <a:pt x="3" y="119"/>
                    </a:lnTo>
                    <a:lnTo>
                      <a:pt x="6" y="124"/>
                    </a:lnTo>
                    <a:lnTo>
                      <a:pt x="8" y="127"/>
                    </a:lnTo>
                    <a:lnTo>
                      <a:pt x="9" y="129"/>
                    </a:lnTo>
                    <a:lnTo>
                      <a:pt x="9" y="127"/>
                    </a:lnTo>
                    <a:lnTo>
                      <a:pt x="9" y="126"/>
                    </a:lnTo>
                    <a:lnTo>
                      <a:pt x="11" y="127"/>
                    </a:lnTo>
                    <a:lnTo>
                      <a:pt x="11" y="127"/>
                    </a:lnTo>
                    <a:lnTo>
                      <a:pt x="12" y="132"/>
                    </a:lnTo>
                    <a:lnTo>
                      <a:pt x="16" y="135"/>
                    </a:lnTo>
                    <a:lnTo>
                      <a:pt x="16" y="137"/>
                    </a:lnTo>
                    <a:lnTo>
                      <a:pt x="16" y="140"/>
                    </a:lnTo>
                    <a:lnTo>
                      <a:pt x="14" y="143"/>
                    </a:lnTo>
                    <a:lnTo>
                      <a:pt x="11" y="149"/>
                    </a:lnTo>
                    <a:lnTo>
                      <a:pt x="14" y="149"/>
                    </a:lnTo>
                    <a:lnTo>
                      <a:pt x="12" y="151"/>
                    </a:lnTo>
                    <a:lnTo>
                      <a:pt x="11" y="151"/>
                    </a:lnTo>
                    <a:lnTo>
                      <a:pt x="9" y="151"/>
                    </a:lnTo>
                    <a:lnTo>
                      <a:pt x="11" y="152"/>
                    </a:lnTo>
                    <a:lnTo>
                      <a:pt x="14" y="155"/>
                    </a:lnTo>
                    <a:lnTo>
                      <a:pt x="16" y="158"/>
                    </a:lnTo>
                    <a:lnTo>
                      <a:pt x="17" y="163"/>
                    </a:lnTo>
                    <a:lnTo>
                      <a:pt x="17" y="166"/>
                    </a:lnTo>
                    <a:lnTo>
                      <a:pt x="19" y="173"/>
                    </a:lnTo>
                    <a:lnTo>
                      <a:pt x="19" y="179"/>
                    </a:lnTo>
                    <a:lnTo>
                      <a:pt x="17" y="185"/>
                    </a:lnTo>
                    <a:lnTo>
                      <a:pt x="16" y="191"/>
                    </a:lnTo>
                    <a:lnTo>
                      <a:pt x="12" y="196"/>
                    </a:lnTo>
                    <a:lnTo>
                      <a:pt x="11" y="202"/>
                    </a:lnTo>
                    <a:lnTo>
                      <a:pt x="11" y="205"/>
                    </a:lnTo>
                    <a:lnTo>
                      <a:pt x="9" y="209"/>
                    </a:lnTo>
                    <a:lnTo>
                      <a:pt x="9" y="216"/>
                    </a:lnTo>
                    <a:lnTo>
                      <a:pt x="11" y="215"/>
                    </a:lnTo>
                    <a:lnTo>
                      <a:pt x="11" y="212"/>
                    </a:lnTo>
                    <a:lnTo>
                      <a:pt x="11" y="210"/>
                    </a:lnTo>
                    <a:lnTo>
                      <a:pt x="12" y="209"/>
                    </a:lnTo>
                    <a:lnTo>
                      <a:pt x="12" y="207"/>
                    </a:lnTo>
                    <a:lnTo>
                      <a:pt x="14" y="205"/>
                    </a:lnTo>
                    <a:lnTo>
                      <a:pt x="16" y="204"/>
                    </a:lnTo>
                    <a:lnTo>
                      <a:pt x="16" y="204"/>
                    </a:lnTo>
                    <a:lnTo>
                      <a:pt x="17" y="204"/>
                    </a:lnTo>
                    <a:lnTo>
                      <a:pt x="17" y="204"/>
                    </a:lnTo>
                    <a:lnTo>
                      <a:pt x="20" y="204"/>
                    </a:lnTo>
                    <a:lnTo>
                      <a:pt x="23" y="204"/>
                    </a:lnTo>
                    <a:lnTo>
                      <a:pt x="25" y="204"/>
                    </a:lnTo>
                    <a:lnTo>
                      <a:pt x="28" y="202"/>
                    </a:lnTo>
                    <a:lnTo>
                      <a:pt x="28" y="202"/>
                    </a:lnTo>
                    <a:lnTo>
                      <a:pt x="30" y="202"/>
                    </a:lnTo>
                    <a:lnTo>
                      <a:pt x="33" y="202"/>
                    </a:lnTo>
                    <a:lnTo>
                      <a:pt x="34" y="202"/>
                    </a:lnTo>
                    <a:lnTo>
                      <a:pt x="34" y="202"/>
                    </a:lnTo>
                    <a:lnTo>
                      <a:pt x="34" y="201"/>
                    </a:lnTo>
                    <a:lnTo>
                      <a:pt x="34" y="201"/>
                    </a:lnTo>
                    <a:lnTo>
                      <a:pt x="36" y="201"/>
                    </a:lnTo>
                    <a:lnTo>
                      <a:pt x="36" y="201"/>
                    </a:lnTo>
                    <a:lnTo>
                      <a:pt x="38" y="201"/>
                    </a:lnTo>
                    <a:lnTo>
                      <a:pt x="38" y="201"/>
                    </a:lnTo>
                    <a:lnTo>
                      <a:pt x="38" y="201"/>
                    </a:lnTo>
                    <a:lnTo>
                      <a:pt x="41" y="201"/>
                    </a:lnTo>
                    <a:lnTo>
                      <a:pt x="45" y="201"/>
                    </a:lnTo>
                    <a:lnTo>
                      <a:pt x="48" y="202"/>
                    </a:lnTo>
                    <a:lnTo>
                      <a:pt x="53" y="205"/>
                    </a:lnTo>
                    <a:lnTo>
                      <a:pt x="55" y="207"/>
                    </a:lnTo>
                    <a:lnTo>
                      <a:pt x="55" y="207"/>
                    </a:lnTo>
                    <a:lnTo>
                      <a:pt x="55" y="209"/>
                    </a:lnTo>
                    <a:lnTo>
                      <a:pt x="55" y="210"/>
                    </a:lnTo>
                    <a:lnTo>
                      <a:pt x="56" y="210"/>
                    </a:lnTo>
                    <a:lnTo>
                      <a:pt x="58" y="210"/>
                    </a:lnTo>
                    <a:lnTo>
                      <a:pt x="58" y="210"/>
                    </a:lnTo>
                    <a:lnTo>
                      <a:pt x="58" y="210"/>
                    </a:lnTo>
                    <a:lnTo>
                      <a:pt x="59" y="210"/>
                    </a:lnTo>
                    <a:lnTo>
                      <a:pt x="59" y="210"/>
                    </a:lnTo>
                    <a:lnTo>
                      <a:pt x="59" y="210"/>
                    </a:lnTo>
                    <a:lnTo>
                      <a:pt x="61" y="210"/>
                    </a:lnTo>
                    <a:lnTo>
                      <a:pt x="63" y="210"/>
                    </a:lnTo>
                    <a:lnTo>
                      <a:pt x="63" y="210"/>
                    </a:lnTo>
                    <a:lnTo>
                      <a:pt x="63" y="212"/>
                    </a:lnTo>
                    <a:lnTo>
                      <a:pt x="63" y="212"/>
                    </a:lnTo>
                    <a:lnTo>
                      <a:pt x="64" y="212"/>
                    </a:lnTo>
                    <a:lnTo>
                      <a:pt x="64" y="212"/>
                    </a:lnTo>
                    <a:lnTo>
                      <a:pt x="64" y="212"/>
                    </a:lnTo>
                    <a:lnTo>
                      <a:pt x="64" y="212"/>
                    </a:lnTo>
                    <a:lnTo>
                      <a:pt x="66" y="213"/>
                    </a:lnTo>
                    <a:lnTo>
                      <a:pt x="67" y="216"/>
                    </a:lnTo>
                    <a:lnTo>
                      <a:pt x="67" y="218"/>
                    </a:lnTo>
                    <a:lnTo>
                      <a:pt x="69" y="219"/>
                    </a:lnTo>
                    <a:lnTo>
                      <a:pt x="69" y="219"/>
                    </a:lnTo>
                    <a:lnTo>
                      <a:pt x="70" y="221"/>
                    </a:lnTo>
                    <a:lnTo>
                      <a:pt x="70" y="221"/>
                    </a:lnTo>
                    <a:lnTo>
                      <a:pt x="70" y="221"/>
                    </a:lnTo>
                    <a:lnTo>
                      <a:pt x="70" y="223"/>
                    </a:lnTo>
                    <a:lnTo>
                      <a:pt x="70" y="223"/>
                    </a:lnTo>
                    <a:lnTo>
                      <a:pt x="72" y="223"/>
                    </a:lnTo>
                    <a:lnTo>
                      <a:pt x="73" y="223"/>
                    </a:lnTo>
                    <a:lnTo>
                      <a:pt x="73" y="226"/>
                    </a:lnTo>
                    <a:lnTo>
                      <a:pt x="75" y="226"/>
                    </a:lnTo>
                    <a:lnTo>
                      <a:pt x="73" y="226"/>
                    </a:lnTo>
                    <a:lnTo>
                      <a:pt x="73" y="227"/>
                    </a:lnTo>
                    <a:lnTo>
                      <a:pt x="75" y="227"/>
                    </a:lnTo>
                    <a:lnTo>
                      <a:pt x="75" y="227"/>
                    </a:lnTo>
                    <a:lnTo>
                      <a:pt x="77" y="229"/>
                    </a:lnTo>
                    <a:lnTo>
                      <a:pt x="78" y="229"/>
                    </a:lnTo>
                    <a:lnTo>
                      <a:pt x="80" y="230"/>
                    </a:lnTo>
                    <a:lnTo>
                      <a:pt x="81" y="232"/>
                    </a:lnTo>
                    <a:lnTo>
                      <a:pt x="83" y="234"/>
                    </a:lnTo>
                    <a:lnTo>
                      <a:pt x="84" y="235"/>
                    </a:lnTo>
                    <a:lnTo>
                      <a:pt x="84" y="235"/>
                    </a:lnTo>
                    <a:lnTo>
                      <a:pt x="84" y="235"/>
                    </a:lnTo>
                    <a:lnTo>
                      <a:pt x="88" y="235"/>
                    </a:lnTo>
                    <a:lnTo>
                      <a:pt x="88" y="235"/>
                    </a:lnTo>
                    <a:lnTo>
                      <a:pt x="89" y="235"/>
                    </a:lnTo>
                    <a:lnTo>
                      <a:pt x="91" y="234"/>
                    </a:lnTo>
                    <a:lnTo>
                      <a:pt x="92" y="232"/>
                    </a:lnTo>
                    <a:lnTo>
                      <a:pt x="92" y="229"/>
                    </a:lnTo>
                    <a:lnTo>
                      <a:pt x="92" y="227"/>
                    </a:lnTo>
                    <a:lnTo>
                      <a:pt x="92" y="224"/>
                    </a:lnTo>
                    <a:lnTo>
                      <a:pt x="94" y="224"/>
                    </a:lnTo>
                    <a:lnTo>
                      <a:pt x="95" y="223"/>
                    </a:lnTo>
                    <a:lnTo>
                      <a:pt x="97" y="221"/>
                    </a:lnTo>
                    <a:lnTo>
                      <a:pt x="98" y="219"/>
                    </a:lnTo>
                    <a:lnTo>
                      <a:pt x="98" y="219"/>
                    </a:lnTo>
                    <a:lnTo>
                      <a:pt x="98" y="219"/>
                    </a:lnTo>
                    <a:lnTo>
                      <a:pt x="100" y="221"/>
                    </a:lnTo>
                    <a:lnTo>
                      <a:pt x="103" y="224"/>
                    </a:lnTo>
                    <a:lnTo>
                      <a:pt x="106" y="227"/>
                    </a:lnTo>
                    <a:lnTo>
                      <a:pt x="108" y="229"/>
                    </a:lnTo>
                    <a:lnTo>
                      <a:pt x="109" y="229"/>
                    </a:lnTo>
                    <a:lnTo>
                      <a:pt x="109" y="226"/>
                    </a:lnTo>
                    <a:lnTo>
                      <a:pt x="111" y="224"/>
                    </a:lnTo>
                    <a:lnTo>
                      <a:pt x="113" y="224"/>
                    </a:lnTo>
                    <a:lnTo>
                      <a:pt x="114" y="223"/>
                    </a:lnTo>
                    <a:lnTo>
                      <a:pt x="116" y="223"/>
                    </a:lnTo>
                    <a:lnTo>
                      <a:pt x="117" y="223"/>
                    </a:lnTo>
                    <a:lnTo>
                      <a:pt x="120" y="224"/>
                    </a:lnTo>
                    <a:lnTo>
                      <a:pt x="120" y="224"/>
                    </a:lnTo>
                    <a:lnTo>
                      <a:pt x="122" y="224"/>
                    </a:lnTo>
                    <a:lnTo>
                      <a:pt x="125" y="224"/>
                    </a:lnTo>
                    <a:lnTo>
                      <a:pt x="128" y="224"/>
                    </a:lnTo>
                    <a:lnTo>
                      <a:pt x="131" y="223"/>
                    </a:lnTo>
                    <a:lnTo>
                      <a:pt x="134" y="223"/>
                    </a:lnTo>
                    <a:lnTo>
                      <a:pt x="134" y="223"/>
                    </a:lnTo>
                    <a:lnTo>
                      <a:pt x="134" y="221"/>
                    </a:lnTo>
                    <a:lnTo>
                      <a:pt x="134" y="219"/>
                    </a:lnTo>
                    <a:lnTo>
                      <a:pt x="134" y="219"/>
                    </a:lnTo>
                    <a:lnTo>
                      <a:pt x="136" y="219"/>
                    </a:lnTo>
                    <a:lnTo>
                      <a:pt x="136" y="221"/>
                    </a:lnTo>
                    <a:lnTo>
                      <a:pt x="136" y="223"/>
                    </a:lnTo>
                    <a:lnTo>
                      <a:pt x="139" y="223"/>
                    </a:lnTo>
                    <a:lnTo>
                      <a:pt x="203" y="223"/>
                    </a:lnTo>
                    <a:lnTo>
                      <a:pt x="205" y="216"/>
                    </a:lnTo>
                    <a:lnTo>
                      <a:pt x="205" y="212"/>
                    </a:lnTo>
                    <a:lnTo>
                      <a:pt x="206" y="209"/>
                    </a:lnTo>
                    <a:lnTo>
                      <a:pt x="203" y="205"/>
                    </a:lnTo>
                    <a:lnTo>
                      <a:pt x="202" y="20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6" name="Freeform 143">
                <a:extLst>
                  <a:ext uri="{FF2B5EF4-FFF2-40B4-BE49-F238E27FC236}">
                    <a16:creationId xmlns:a16="http://schemas.microsoft.com/office/drawing/2014/main" id="{A01B5F2E-B692-8400-6A46-5C272803DB7B}"/>
                  </a:ext>
                </a:extLst>
              </p:cNvPr>
              <p:cNvSpPr>
                <a:spLocks/>
              </p:cNvSpPr>
              <p:nvPr/>
            </p:nvSpPr>
            <p:spPr bwMode="gray">
              <a:xfrm>
                <a:off x="1582" y="1279"/>
                <a:ext cx="2" cy="3"/>
              </a:xfrm>
              <a:custGeom>
                <a:avLst/>
                <a:gdLst>
                  <a:gd name="T0" fmla="*/ 2 w 2"/>
                  <a:gd name="T1" fmla="*/ 1 h 3"/>
                  <a:gd name="T2" fmla="*/ 2 w 2"/>
                  <a:gd name="T3" fmla="*/ 3 h 3"/>
                  <a:gd name="T4" fmla="*/ 0 w 2"/>
                  <a:gd name="T5" fmla="*/ 3 h 3"/>
                  <a:gd name="T6" fmla="*/ 0 w 2"/>
                  <a:gd name="T7" fmla="*/ 1 h 3"/>
                  <a:gd name="T8" fmla="*/ 2 w 2"/>
                  <a:gd name="T9" fmla="*/ 1 h 3"/>
                  <a:gd name="T10" fmla="*/ 2 w 2"/>
                  <a:gd name="T11" fmla="*/ 0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lnTo>
                      <a:pt x="2" y="3"/>
                    </a:lnTo>
                    <a:lnTo>
                      <a:pt x="0" y="3"/>
                    </a:lnTo>
                    <a:lnTo>
                      <a:pt x="0" y="1"/>
                    </a:lnTo>
                    <a:lnTo>
                      <a:pt x="2" y="1"/>
                    </a:lnTo>
                    <a:lnTo>
                      <a:pt x="2" y="0"/>
                    </a:lnTo>
                    <a:lnTo>
                      <a:pt x="2"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7" name="Freeform 144">
                <a:extLst>
                  <a:ext uri="{FF2B5EF4-FFF2-40B4-BE49-F238E27FC236}">
                    <a16:creationId xmlns:a16="http://schemas.microsoft.com/office/drawing/2014/main" id="{13A919A5-518B-D83E-405B-94C4B315DF10}"/>
                  </a:ext>
                </a:extLst>
              </p:cNvPr>
              <p:cNvSpPr>
                <a:spLocks noEditPoints="1"/>
              </p:cNvSpPr>
              <p:nvPr/>
            </p:nvSpPr>
            <p:spPr bwMode="gray">
              <a:xfrm>
                <a:off x="2924" y="900"/>
                <a:ext cx="6" cy="6"/>
              </a:xfrm>
              <a:custGeom>
                <a:avLst/>
                <a:gdLst>
                  <a:gd name="T0" fmla="*/ 6 w 6"/>
                  <a:gd name="T1" fmla="*/ 5 h 6"/>
                  <a:gd name="T2" fmla="*/ 4 w 6"/>
                  <a:gd name="T3" fmla="*/ 3 h 6"/>
                  <a:gd name="T4" fmla="*/ 3 w 6"/>
                  <a:gd name="T5" fmla="*/ 3 h 6"/>
                  <a:gd name="T6" fmla="*/ 3 w 6"/>
                  <a:gd name="T7" fmla="*/ 5 h 6"/>
                  <a:gd name="T8" fmla="*/ 4 w 6"/>
                  <a:gd name="T9" fmla="*/ 6 h 6"/>
                  <a:gd name="T10" fmla="*/ 6 w 6"/>
                  <a:gd name="T11" fmla="*/ 6 h 6"/>
                  <a:gd name="T12" fmla="*/ 6 w 6"/>
                  <a:gd name="T13" fmla="*/ 6 h 6"/>
                  <a:gd name="T14" fmla="*/ 6 w 6"/>
                  <a:gd name="T15" fmla="*/ 5 h 6"/>
                  <a:gd name="T16" fmla="*/ 1 w 6"/>
                  <a:gd name="T17" fmla="*/ 1 h 6"/>
                  <a:gd name="T18" fmla="*/ 1 w 6"/>
                  <a:gd name="T19" fmla="*/ 0 h 6"/>
                  <a:gd name="T20" fmla="*/ 0 w 6"/>
                  <a:gd name="T21" fmla="*/ 1 h 6"/>
                  <a:gd name="T22" fmla="*/ 0 w 6"/>
                  <a:gd name="T23" fmla="*/ 1 h 6"/>
                  <a:gd name="T24" fmla="*/ 1 w 6"/>
                  <a:gd name="T25" fmla="*/ 1 h 6"/>
                  <a:gd name="T26" fmla="*/ 1 w 6"/>
                  <a:gd name="T27" fmla="*/ 1 h 6"/>
                  <a:gd name="T28" fmla="*/ 3 w 6"/>
                  <a:gd name="T29" fmla="*/ 1 h 6"/>
                  <a:gd name="T30" fmla="*/ 1 w 6"/>
                  <a:gd name="T3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6">
                    <a:moveTo>
                      <a:pt x="6" y="5"/>
                    </a:moveTo>
                    <a:lnTo>
                      <a:pt x="4" y="3"/>
                    </a:lnTo>
                    <a:lnTo>
                      <a:pt x="3" y="3"/>
                    </a:lnTo>
                    <a:lnTo>
                      <a:pt x="3" y="5"/>
                    </a:lnTo>
                    <a:lnTo>
                      <a:pt x="4" y="6"/>
                    </a:lnTo>
                    <a:lnTo>
                      <a:pt x="6" y="6"/>
                    </a:lnTo>
                    <a:lnTo>
                      <a:pt x="6" y="6"/>
                    </a:lnTo>
                    <a:lnTo>
                      <a:pt x="6" y="5"/>
                    </a:lnTo>
                    <a:close/>
                    <a:moveTo>
                      <a:pt x="1" y="1"/>
                    </a:moveTo>
                    <a:lnTo>
                      <a:pt x="1" y="0"/>
                    </a:lnTo>
                    <a:lnTo>
                      <a:pt x="0" y="1"/>
                    </a:lnTo>
                    <a:lnTo>
                      <a:pt x="0" y="1"/>
                    </a:lnTo>
                    <a:lnTo>
                      <a:pt x="1" y="1"/>
                    </a:lnTo>
                    <a:lnTo>
                      <a:pt x="1" y="1"/>
                    </a:lnTo>
                    <a:lnTo>
                      <a:pt x="3" y="1"/>
                    </a:lnTo>
                    <a:lnTo>
                      <a:pt x="1"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8" name="Freeform 145">
                <a:extLst>
                  <a:ext uri="{FF2B5EF4-FFF2-40B4-BE49-F238E27FC236}">
                    <a16:creationId xmlns:a16="http://schemas.microsoft.com/office/drawing/2014/main" id="{90965226-8862-44A1-C8EC-E43D5AE8AC70}"/>
                  </a:ext>
                </a:extLst>
              </p:cNvPr>
              <p:cNvSpPr>
                <a:spLocks noEditPoints="1"/>
              </p:cNvSpPr>
              <p:nvPr/>
            </p:nvSpPr>
            <p:spPr bwMode="gray">
              <a:xfrm>
                <a:off x="3249" y="1742"/>
                <a:ext cx="56" cy="139"/>
              </a:xfrm>
              <a:custGeom>
                <a:avLst/>
                <a:gdLst>
                  <a:gd name="T0" fmla="*/ 34 w 56"/>
                  <a:gd name="T1" fmla="*/ 48 h 139"/>
                  <a:gd name="T2" fmla="*/ 36 w 56"/>
                  <a:gd name="T3" fmla="*/ 47 h 139"/>
                  <a:gd name="T4" fmla="*/ 33 w 56"/>
                  <a:gd name="T5" fmla="*/ 45 h 139"/>
                  <a:gd name="T6" fmla="*/ 33 w 56"/>
                  <a:gd name="T7" fmla="*/ 45 h 139"/>
                  <a:gd name="T8" fmla="*/ 48 w 56"/>
                  <a:gd name="T9" fmla="*/ 86 h 139"/>
                  <a:gd name="T10" fmla="*/ 38 w 56"/>
                  <a:gd name="T11" fmla="*/ 73 h 139"/>
                  <a:gd name="T12" fmla="*/ 33 w 56"/>
                  <a:gd name="T13" fmla="*/ 65 h 139"/>
                  <a:gd name="T14" fmla="*/ 30 w 56"/>
                  <a:gd name="T15" fmla="*/ 50 h 139"/>
                  <a:gd name="T16" fmla="*/ 33 w 56"/>
                  <a:gd name="T17" fmla="*/ 44 h 139"/>
                  <a:gd name="T18" fmla="*/ 39 w 56"/>
                  <a:gd name="T19" fmla="*/ 39 h 139"/>
                  <a:gd name="T20" fmla="*/ 38 w 56"/>
                  <a:gd name="T21" fmla="*/ 34 h 139"/>
                  <a:gd name="T22" fmla="*/ 36 w 56"/>
                  <a:gd name="T23" fmla="*/ 33 h 139"/>
                  <a:gd name="T24" fmla="*/ 33 w 56"/>
                  <a:gd name="T25" fmla="*/ 29 h 139"/>
                  <a:gd name="T26" fmla="*/ 34 w 56"/>
                  <a:gd name="T27" fmla="*/ 22 h 139"/>
                  <a:gd name="T28" fmla="*/ 33 w 56"/>
                  <a:gd name="T29" fmla="*/ 15 h 139"/>
                  <a:gd name="T30" fmla="*/ 31 w 56"/>
                  <a:gd name="T31" fmla="*/ 9 h 139"/>
                  <a:gd name="T32" fmla="*/ 22 w 56"/>
                  <a:gd name="T33" fmla="*/ 1 h 139"/>
                  <a:gd name="T34" fmla="*/ 22 w 56"/>
                  <a:gd name="T35" fmla="*/ 4 h 139"/>
                  <a:gd name="T36" fmla="*/ 19 w 56"/>
                  <a:gd name="T37" fmla="*/ 3 h 139"/>
                  <a:gd name="T38" fmla="*/ 13 w 56"/>
                  <a:gd name="T39" fmla="*/ 3 h 139"/>
                  <a:gd name="T40" fmla="*/ 9 w 56"/>
                  <a:gd name="T41" fmla="*/ 1 h 139"/>
                  <a:gd name="T42" fmla="*/ 3 w 56"/>
                  <a:gd name="T43" fmla="*/ 0 h 139"/>
                  <a:gd name="T44" fmla="*/ 5 w 56"/>
                  <a:gd name="T45" fmla="*/ 3 h 139"/>
                  <a:gd name="T46" fmla="*/ 8 w 56"/>
                  <a:gd name="T47" fmla="*/ 4 h 139"/>
                  <a:gd name="T48" fmla="*/ 11 w 56"/>
                  <a:gd name="T49" fmla="*/ 8 h 139"/>
                  <a:gd name="T50" fmla="*/ 14 w 56"/>
                  <a:gd name="T51" fmla="*/ 14 h 139"/>
                  <a:gd name="T52" fmla="*/ 17 w 56"/>
                  <a:gd name="T53" fmla="*/ 20 h 139"/>
                  <a:gd name="T54" fmla="*/ 11 w 56"/>
                  <a:gd name="T55" fmla="*/ 25 h 139"/>
                  <a:gd name="T56" fmla="*/ 9 w 56"/>
                  <a:gd name="T57" fmla="*/ 26 h 139"/>
                  <a:gd name="T58" fmla="*/ 9 w 56"/>
                  <a:gd name="T59" fmla="*/ 36 h 139"/>
                  <a:gd name="T60" fmla="*/ 9 w 56"/>
                  <a:gd name="T61" fmla="*/ 39 h 139"/>
                  <a:gd name="T62" fmla="*/ 11 w 56"/>
                  <a:gd name="T63" fmla="*/ 42 h 139"/>
                  <a:gd name="T64" fmla="*/ 14 w 56"/>
                  <a:gd name="T65" fmla="*/ 51 h 139"/>
                  <a:gd name="T66" fmla="*/ 9 w 56"/>
                  <a:gd name="T67" fmla="*/ 56 h 139"/>
                  <a:gd name="T68" fmla="*/ 5 w 56"/>
                  <a:gd name="T69" fmla="*/ 62 h 139"/>
                  <a:gd name="T70" fmla="*/ 5 w 56"/>
                  <a:gd name="T71" fmla="*/ 69 h 139"/>
                  <a:gd name="T72" fmla="*/ 0 w 56"/>
                  <a:gd name="T73" fmla="*/ 75 h 139"/>
                  <a:gd name="T74" fmla="*/ 2 w 56"/>
                  <a:gd name="T75" fmla="*/ 76 h 139"/>
                  <a:gd name="T76" fmla="*/ 5 w 56"/>
                  <a:gd name="T77" fmla="*/ 81 h 139"/>
                  <a:gd name="T78" fmla="*/ 6 w 56"/>
                  <a:gd name="T79" fmla="*/ 81 h 139"/>
                  <a:gd name="T80" fmla="*/ 14 w 56"/>
                  <a:gd name="T81" fmla="*/ 89 h 139"/>
                  <a:gd name="T82" fmla="*/ 22 w 56"/>
                  <a:gd name="T83" fmla="*/ 91 h 139"/>
                  <a:gd name="T84" fmla="*/ 30 w 56"/>
                  <a:gd name="T85" fmla="*/ 89 h 139"/>
                  <a:gd name="T86" fmla="*/ 33 w 56"/>
                  <a:gd name="T87" fmla="*/ 103 h 139"/>
                  <a:gd name="T88" fmla="*/ 28 w 56"/>
                  <a:gd name="T89" fmla="*/ 114 h 139"/>
                  <a:gd name="T90" fmla="*/ 30 w 56"/>
                  <a:gd name="T91" fmla="*/ 119 h 139"/>
                  <a:gd name="T92" fmla="*/ 30 w 56"/>
                  <a:gd name="T93" fmla="*/ 123 h 139"/>
                  <a:gd name="T94" fmla="*/ 41 w 56"/>
                  <a:gd name="T95" fmla="*/ 133 h 139"/>
                  <a:gd name="T96" fmla="*/ 41 w 56"/>
                  <a:gd name="T97" fmla="*/ 137 h 139"/>
                  <a:gd name="T98" fmla="*/ 45 w 56"/>
                  <a:gd name="T99" fmla="*/ 137 h 139"/>
                  <a:gd name="T100" fmla="*/ 44 w 56"/>
                  <a:gd name="T101" fmla="*/ 127 h 139"/>
                  <a:gd name="T102" fmla="*/ 47 w 56"/>
                  <a:gd name="T103" fmla="*/ 120 h 139"/>
                  <a:gd name="T104" fmla="*/ 55 w 56"/>
                  <a:gd name="T105"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 h="139">
                    <a:moveTo>
                      <a:pt x="36" y="47"/>
                    </a:moveTo>
                    <a:lnTo>
                      <a:pt x="36" y="47"/>
                    </a:lnTo>
                    <a:lnTo>
                      <a:pt x="34" y="47"/>
                    </a:lnTo>
                    <a:lnTo>
                      <a:pt x="34" y="47"/>
                    </a:lnTo>
                    <a:lnTo>
                      <a:pt x="34" y="48"/>
                    </a:lnTo>
                    <a:lnTo>
                      <a:pt x="34" y="48"/>
                    </a:lnTo>
                    <a:lnTo>
                      <a:pt x="36" y="48"/>
                    </a:lnTo>
                    <a:lnTo>
                      <a:pt x="36" y="48"/>
                    </a:lnTo>
                    <a:lnTo>
                      <a:pt x="36" y="47"/>
                    </a:lnTo>
                    <a:lnTo>
                      <a:pt x="36" y="47"/>
                    </a:lnTo>
                    <a:lnTo>
                      <a:pt x="36" y="47"/>
                    </a:lnTo>
                    <a:close/>
                    <a:moveTo>
                      <a:pt x="33" y="45"/>
                    </a:moveTo>
                    <a:lnTo>
                      <a:pt x="33" y="45"/>
                    </a:lnTo>
                    <a:lnTo>
                      <a:pt x="33" y="45"/>
                    </a:lnTo>
                    <a:lnTo>
                      <a:pt x="33" y="45"/>
                    </a:lnTo>
                    <a:lnTo>
                      <a:pt x="33" y="47"/>
                    </a:lnTo>
                    <a:lnTo>
                      <a:pt x="33" y="47"/>
                    </a:lnTo>
                    <a:lnTo>
                      <a:pt x="33" y="47"/>
                    </a:lnTo>
                    <a:lnTo>
                      <a:pt x="34" y="47"/>
                    </a:lnTo>
                    <a:lnTo>
                      <a:pt x="33" y="45"/>
                    </a:lnTo>
                    <a:close/>
                    <a:moveTo>
                      <a:pt x="56" y="98"/>
                    </a:moveTo>
                    <a:lnTo>
                      <a:pt x="55" y="97"/>
                    </a:lnTo>
                    <a:lnTo>
                      <a:pt x="55" y="94"/>
                    </a:lnTo>
                    <a:lnTo>
                      <a:pt x="52" y="91"/>
                    </a:lnTo>
                    <a:lnTo>
                      <a:pt x="48" y="86"/>
                    </a:lnTo>
                    <a:lnTo>
                      <a:pt x="47" y="83"/>
                    </a:lnTo>
                    <a:lnTo>
                      <a:pt x="44" y="80"/>
                    </a:lnTo>
                    <a:lnTo>
                      <a:pt x="41" y="75"/>
                    </a:lnTo>
                    <a:lnTo>
                      <a:pt x="39" y="73"/>
                    </a:lnTo>
                    <a:lnTo>
                      <a:pt x="38" y="73"/>
                    </a:lnTo>
                    <a:lnTo>
                      <a:pt x="34" y="72"/>
                    </a:lnTo>
                    <a:lnTo>
                      <a:pt x="33" y="72"/>
                    </a:lnTo>
                    <a:lnTo>
                      <a:pt x="33" y="70"/>
                    </a:lnTo>
                    <a:lnTo>
                      <a:pt x="33" y="67"/>
                    </a:lnTo>
                    <a:lnTo>
                      <a:pt x="33" y="65"/>
                    </a:lnTo>
                    <a:lnTo>
                      <a:pt x="31" y="62"/>
                    </a:lnTo>
                    <a:lnTo>
                      <a:pt x="31" y="58"/>
                    </a:lnTo>
                    <a:lnTo>
                      <a:pt x="31" y="56"/>
                    </a:lnTo>
                    <a:lnTo>
                      <a:pt x="30" y="53"/>
                    </a:lnTo>
                    <a:lnTo>
                      <a:pt x="30" y="50"/>
                    </a:lnTo>
                    <a:lnTo>
                      <a:pt x="28" y="48"/>
                    </a:lnTo>
                    <a:lnTo>
                      <a:pt x="30" y="48"/>
                    </a:lnTo>
                    <a:lnTo>
                      <a:pt x="31" y="45"/>
                    </a:lnTo>
                    <a:lnTo>
                      <a:pt x="31" y="44"/>
                    </a:lnTo>
                    <a:lnTo>
                      <a:pt x="33" y="44"/>
                    </a:lnTo>
                    <a:lnTo>
                      <a:pt x="33" y="40"/>
                    </a:lnTo>
                    <a:lnTo>
                      <a:pt x="33" y="39"/>
                    </a:lnTo>
                    <a:lnTo>
                      <a:pt x="34" y="39"/>
                    </a:lnTo>
                    <a:lnTo>
                      <a:pt x="38" y="39"/>
                    </a:lnTo>
                    <a:lnTo>
                      <a:pt x="39" y="39"/>
                    </a:lnTo>
                    <a:lnTo>
                      <a:pt x="39" y="37"/>
                    </a:lnTo>
                    <a:lnTo>
                      <a:pt x="39" y="37"/>
                    </a:lnTo>
                    <a:lnTo>
                      <a:pt x="39" y="36"/>
                    </a:lnTo>
                    <a:lnTo>
                      <a:pt x="38" y="36"/>
                    </a:lnTo>
                    <a:lnTo>
                      <a:pt x="38" y="34"/>
                    </a:lnTo>
                    <a:lnTo>
                      <a:pt x="38" y="34"/>
                    </a:lnTo>
                    <a:lnTo>
                      <a:pt x="36" y="34"/>
                    </a:lnTo>
                    <a:lnTo>
                      <a:pt x="36" y="34"/>
                    </a:lnTo>
                    <a:lnTo>
                      <a:pt x="36" y="34"/>
                    </a:lnTo>
                    <a:lnTo>
                      <a:pt x="36" y="33"/>
                    </a:lnTo>
                    <a:lnTo>
                      <a:pt x="34" y="31"/>
                    </a:lnTo>
                    <a:lnTo>
                      <a:pt x="34" y="31"/>
                    </a:lnTo>
                    <a:lnTo>
                      <a:pt x="33" y="29"/>
                    </a:lnTo>
                    <a:lnTo>
                      <a:pt x="33" y="29"/>
                    </a:lnTo>
                    <a:lnTo>
                      <a:pt x="33" y="29"/>
                    </a:lnTo>
                    <a:lnTo>
                      <a:pt x="33" y="28"/>
                    </a:lnTo>
                    <a:lnTo>
                      <a:pt x="34" y="26"/>
                    </a:lnTo>
                    <a:lnTo>
                      <a:pt x="34" y="25"/>
                    </a:lnTo>
                    <a:lnTo>
                      <a:pt x="34" y="23"/>
                    </a:lnTo>
                    <a:lnTo>
                      <a:pt x="34" y="22"/>
                    </a:lnTo>
                    <a:lnTo>
                      <a:pt x="33" y="20"/>
                    </a:lnTo>
                    <a:lnTo>
                      <a:pt x="33" y="19"/>
                    </a:lnTo>
                    <a:lnTo>
                      <a:pt x="33" y="19"/>
                    </a:lnTo>
                    <a:lnTo>
                      <a:pt x="33" y="17"/>
                    </a:lnTo>
                    <a:lnTo>
                      <a:pt x="33" y="15"/>
                    </a:lnTo>
                    <a:lnTo>
                      <a:pt x="33" y="15"/>
                    </a:lnTo>
                    <a:lnTo>
                      <a:pt x="33" y="15"/>
                    </a:lnTo>
                    <a:lnTo>
                      <a:pt x="31" y="12"/>
                    </a:lnTo>
                    <a:lnTo>
                      <a:pt x="31" y="11"/>
                    </a:lnTo>
                    <a:lnTo>
                      <a:pt x="31" y="9"/>
                    </a:lnTo>
                    <a:lnTo>
                      <a:pt x="28" y="6"/>
                    </a:lnTo>
                    <a:lnTo>
                      <a:pt x="28" y="6"/>
                    </a:lnTo>
                    <a:lnTo>
                      <a:pt x="23" y="3"/>
                    </a:lnTo>
                    <a:lnTo>
                      <a:pt x="22" y="1"/>
                    </a:lnTo>
                    <a:lnTo>
                      <a:pt x="22" y="1"/>
                    </a:lnTo>
                    <a:lnTo>
                      <a:pt x="22" y="1"/>
                    </a:lnTo>
                    <a:lnTo>
                      <a:pt x="22" y="3"/>
                    </a:lnTo>
                    <a:lnTo>
                      <a:pt x="22" y="4"/>
                    </a:lnTo>
                    <a:lnTo>
                      <a:pt x="22" y="4"/>
                    </a:lnTo>
                    <a:lnTo>
                      <a:pt x="22" y="4"/>
                    </a:lnTo>
                    <a:lnTo>
                      <a:pt x="22" y="4"/>
                    </a:lnTo>
                    <a:lnTo>
                      <a:pt x="20" y="4"/>
                    </a:lnTo>
                    <a:lnTo>
                      <a:pt x="20" y="4"/>
                    </a:lnTo>
                    <a:lnTo>
                      <a:pt x="19" y="3"/>
                    </a:lnTo>
                    <a:lnTo>
                      <a:pt x="19" y="3"/>
                    </a:lnTo>
                    <a:lnTo>
                      <a:pt x="17" y="3"/>
                    </a:lnTo>
                    <a:lnTo>
                      <a:pt x="14" y="3"/>
                    </a:lnTo>
                    <a:lnTo>
                      <a:pt x="14" y="3"/>
                    </a:lnTo>
                    <a:lnTo>
                      <a:pt x="13" y="3"/>
                    </a:lnTo>
                    <a:lnTo>
                      <a:pt x="13" y="3"/>
                    </a:lnTo>
                    <a:lnTo>
                      <a:pt x="13" y="3"/>
                    </a:lnTo>
                    <a:lnTo>
                      <a:pt x="13" y="3"/>
                    </a:lnTo>
                    <a:lnTo>
                      <a:pt x="11" y="1"/>
                    </a:lnTo>
                    <a:lnTo>
                      <a:pt x="9" y="1"/>
                    </a:lnTo>
                    <a:lnTo>
                      <a:pt x="9" y="1"/>
                    </a:lnTo>
                    <a:lnTo>
                      <a:pt x="8" y="1"/>
                    </a:lnTo>
                    <a:lnTo>
                      <a:pt x="5" y="0"/>
                    </a:lnTo>
                    <a:lnTo>
                      <a:pt x="5" y="0"/>
                    </a:lnTo>
                    <a:lnTo>
                      <a:pt x="3" y="0"/>
                    </a:lnTo>
                    <a:lnTo>
                      <a:pt x="3" y="0"/>
                    </a:lnTo>
                    <a:lnTo>
                      <a:pt x="3" y="0"/>
                    </a:lnTo>
                    <a:lnTo>
                      <a:pt x="5" y="1"/>
                    </a:lnTo>
                    <a:lnTo>
                      <a:pt x="5" y="1"/>
                    </a:lnTo>
                    <a:lnTo>
                      <a:pt x="5" y="3"/>
                    </a:lnTo>
                    <a:lnTo>
                      <a:pt x="5" y="3"/>
                    </a:lnTo>
                    <a:lnTo>
                      <a:pt x="6" y="4"/>
                    </a:lnTo>
                    <a:lnTo>
                      <a:pt x="6" y="4"/>
                    </a:lnTo>
                    <a:lnTo>
                      <a:pt x="6" y="3"/>
                    </a:lnTo>
                    <a:lnTo>
                      <a:pt x="8" y="3"/>
                    </a:lnTo>
                    <a:lnTo>
                      <a:pt x="8" y="4"/>
                    </a:lnTo>
                    <a:lnTo>
                      <a:pt x="9" y="4"/>
                    </a:lnTo>
                    <a:lnTo>
                      <a:pt x="9" y="4"/>
                    </a:lnTo>
                    <a:lnTo>
                      <a:pt x="9" y="6"/>
                    </a:lnTo>
                    <a:lnTo>
                      <a:pt x="9" y="6"/>
                    </a:lnTo>
                    <a:lnTo>
                      <a:pt x="11" y="8"/>
                    </a:lnTo>
                    <a:lnTo>
                      <a:pt x="11" y="8"/>
                    </a:lnTo>
                    <a:lnTo>
                      <a:pt x="11" y="9"/>
                    </a:lnTo>
                    <a:lnTo>
                      <a:pt x="11" y="11"/>
                    </a:lnTo>
                    <a:lnTo>
                      <a:pt x="13" y="12"/>
                    </a:lnTo>
                    <a:lnTo>
                      <a:pt x="14" y="14"/>
                    </a:lnTo>
                    <a:lnTo>
                      <a:pt x="14" y="14"/>
                    </a:lnTo>
                    <a:lnTo>
                      <a:pt x="14" y="17"/>
                    </a:lnTo>
                    <a:lnTo>
                      <a:pt x="14" y="17"/>
                    </a:lnTo>
                    <a:lnTo>
                      <a:pt x="16" y="19"/>
                    </a:lnTo>
                    <a:lnTo>
                      <a:pt x="17" y="20"/>
                    </a:lnTo>
                    <a:lnTo>
                      <a:pt x="17" y="20"/>
                    </a:lnTo>
                    <a:lnTo>
                      <a:pt x="13" y="25"/>
                    </a:lnTo>
                    <a:lnTo>
                      <a:pt x="13" y="25"/>
                    </a:lnTo>
                    <a:lnTo>
                      <a:pt x="13" y="25"/>
                    </a:lnTo>
                    <a:lnTo>
                      <a:pt x="11" y="25"/>
                    </a:lnTo>
                    <a:lnTo>
                      <a:pt x="11" y="25"/>
                    </a:lnTo>
                    <a:lnTo>
                      <a:pt x="11" y="25"/>
                    </a:lnTo>
                    <a:lnTo>
                      <a:pt x="9" y="26"/>
                    </a:lnTo>
                    <a:lnTo>
                      <a:pt x="9" y="26"/>
                    </a:lnTo>
                    <a:lnTo>
                      <a:pt x="9" y="26"/>
                    </a:lnTo>
                    <a:lnTo>
                      <a:pt x="11" y="28"/>
                    </a:lnTo>
                    <a:lnTo>
                      <a:pt x="11" y="29"/>
                    </a:lnTo>
                    <a:lnTo>
                      <a:pt x="13" y="31"/>
                    </a:lnTo>
                    <a:lnTo>
                      <a:pt x="11" y="33"/>
                    </a:lnTo>
                    <a:lnTo>
                      <a:pt x="9" y="36"/>
                    </a:lnTo>
                    <a:lnTo>
                      <a:pt x="9" y="36"/>
                    </a:lnTo>
                    <a:lnTo>
                      <a:pt x="9" y="37"/>
                    </a:lnTo>
                    <a:lnTo>
                      <a:pt x="9" y="39"/>
                    </a:lnTo>
                    <a:lnTo>
                      <a:pt x="9" y="39"/>
                    </a:lnTo>
                    <a:lnTo>
                      <a:pt x="9" y="39"/>
                    </a:lnTo>
                    <a:lnTo>
                      <a:pt x="9" y="39"/>
                    </a:lnTo>
                    <a:lnTo>
                      <a:pt x="9" y="39"/>
                    </a:lnTo>
                    <a:lnTo>
                      <a:pt x="11" y="39"/>
                    </a:lnTo>
                    <a:lnTo>
                      <a:pt x="11" y="40"/>
                    </a:lnTo>
                    <a:lnTo>
                      <a:pt x="11" y="42"/>
                    </a:lnTo>
                    <a:lnTo>
                      <a:pt x="11" y="44"/>
                    </a:lnTo>
                    <a:lnTo>
                      <a:pt x="9" y="48"/>
                    </a:lnTo>
                    <a:lnTo>
                      <a:pt x="11" y="51"/>
                    </a:lnTo>
                    <a:lnTo>
                      <a:pt x="11" y="51"/>
                    </a:lnTo>
                    <a:lnTo>
                      <a:pt x="14" y="51"/>
                    </a:lnTo>
                    <a:lnTo>
                      <a:pt x="14" y="51"/>
                    </a:lnTo>
                    <a:lnTo>
                      <a:pt x="14" y="53"/>
                    </a:lnTo>
                    <a:lnTo>
                      <a:pt x="13" y="55"/>
                    </a:lnTo>
                    <a:lnTo>
                      <a:pt x="13" y="55"/>
                    </a:lnTo>
                    <a:lnTo>
                      <a:pt x="9" y="56"/>
                    </a:lnTo>
                    <a:lnTo>
                      <a:pt x="5" y="58"/>
                    </a:lnTo>
                    <a:lnTo>
                      <a:pt x="5" y="59"/>
                    </a:lnTo>
                    <a:lnTo>
                      <a:pt x="5" y="61"/>
                    </a:lnTo>
                    <a:lnTo>
                      <a:pt x="5" y="61"/>
                    </a:lnTo>
                    <a:lnTo>
                      <a:pt x="5" y="62"/>
                    </a:lnTo>
                    <a:lnTo>
                      <a:pt x="5" y="64"/>
                    </a:lnTo>
                    <a:lnTo>
                      <a:pt x="5" y="65"/>
                    </a:lnTo>
                    <a:lnTo>
                      <a:pt x="5" y="67"/>
                    </a:lnTo>
                    <a:lnTo>
                      <a:pt x="5" y="67"/>
                    </a:lnTo>
                    <a:lnTo>
                      <a:pt x="5" y="69"/>
                    </a:lnTo>
                    <a:lnTo>
                      <a:pt x="3" y="70"/>
                    </a:lnTo>
                    <a:lnTo>
                      <a:pt x="3" y="72"/>
                    </a:lnTo>
                    <a:lnTo>
                      <a:pt x="2" y="73"/>
                    </a:lnTo>
                    <a:lnTo>
                      <a:pt x="2" y="73"/>
                    </a:lnTo>
                    <a:lnTo>
                      <a:pt x="0" y="75"/>
                    </a:lnTo>
                    <a:lnTo>
                      <a:pt x="0" y="75"/>
                    </a:lnTo>
                    <a:lnTo>
                      <a:pt x="2" y="75"/>
                    </a:lnTo>
                    <a:lnTo>
                      <a:pt x="2" y="76"/>
                    </a:lnTo>
                    <a:lnTo>
                      <a:pt x="2" y="76"/>
                    </a:lnTo>
                    <a:lnTo>
                      <a:pt x="2" y="76"/>
                    </a:lnTo>
                    <a:lnTo>
                      <a:pt x="2" y="78"/>
                    </a:lnTo>
                    <a:lnTo>
                      <a:pt x="2" y="78"/>
                    </a:lnTo>
                    <a:lnTo>
                      <a:pt x="3" y="78"/>
                    </a:lnTo>
                    <a:lnTo>
                      <a:pt x="3" y="80"/>
                    </a:lnTo>
                    <a:lnTo>
                      <a:pt x="5" y="81"/>
                    </a:lnTo>
                    <a:lnTo>
                      <a:pt x="5" y="81"/>
                    </a:lnTo>
                    <a:lnTo>
                      <a:pt x="5" y="83"/>
                    </a:lnTo>
                    <a:lnTo>
                      <a:pt x="5" y="83"/>
                    </a:lnTo>
                    <a:lnTo>
                      <a:pt x="6" y="83"/>
                    </a:lnTo>
                    <a:lnTo>
                      <a:pt x="6" y="81"/>
                    </a:lnTo>
                    <a:lnTo>
                      <a:pt x="8" y="81"/>
                    </a:lnTo>
                    <a:lnTo>
                      <a:pt x="9" y="83"/>
                    </a:lnTo>
                    <a:lnTo>
                      <a:pt x="9" y="83"/>
                    </a:lnTo>
                    <a:lnTo>
                      <a:pt x="13" y="87"/>
                    </a:lnTo>
                    <a:lnTo>
                      <a:pt x="14" y="89"/>
                    </a:lnTo>
                    <a:lnTo>
                      <a:pt x="16" y="92"/>
                    </a:lnTo>
                    <a:lnTo>
                      <a:pt x="17" y="92"/>
                    </a:lnTo>
                    <a:lnTo>
                      <a:pt x="17" y="91"/>
                    </a:lnTo>
                    <a:lnTo>
                      <a:pt x="19" y="91"/>
                    </a:lnTo>
                    <a:lnTo>
                      <a:pt x="22" y="91"/>
                    </a:lnTo>
                    <a:lnTo>
                      <a:pt x="23" y="91"/>
                    </a:lnTo>
                    <a:lnTo>
                      <a:pt x="25" y="91"/>
                    </a:lnTo>
                    <a:lnTo>
                      <a:pt x="27" y="89"/>
                    </a:lnTo>
                    <a:lnTo>
                      <a:pt x="28" y="89"/>
                    </a:lnTo>
                    <a:lnTo>
                      <a:pt x="30" y="89"/>
                    </a:lnTo>
                    <a:lnTo>
                      <a:pt x="31" y="92"/>
                    </a:lnTo>
                    <a:lnTo>
                      <a:pt x="31" y="95"/>
                    </a:lnTo>
                    <a:lnTo>
                      <a:pt x="33" y="98"/>
                    </a:lnTo>
                    <a:lnTo>
                      <a:pt x="33" y="100"/>
                    </a:lnTo>
                    <a:lnTo>
                      <a:pt x="33" y="103"/>
                    </a:lnTo>
                    <a:lnTo>
                      <a:pt x="33" y="105"/>
                    </a:lnTo>
                    <a:lnTo>
                      <a:pt x="30" y="108"/>
                    </a:lnTo>
                    <a:lnTo>
                      <a:pt x="30" y="109"/>
                    </a:lnTo>
                    <a:lnTo>
                      <a:pt x="28" y="112"/>
                    </a:lnTo>
                    <a:lnTo>
                      <a:pt x="28" y="114"/>
                    </a:lnTo>
                    <a:lnTo>
                      <a:pt x="28" y="114"/>
                    </a:lnTo>
                    <a:lnTo>
                      <a:pt x="27" y="116"/>
                    </a:lnTo>
                    <a:lnTo>
                      <a:pt x="27" y="116"/>
                    </a:lnTo>
                    <a:lnTo>
                      <a:pt x="28" y="117"/>
                    </a:lnTo>
                    <a:lnTo>
                      <a:pt x="30" y="119"/>
                    </a:lnTo>
                    <a:lnTo>
                      <a:pt x="30" y="119"/>
                    </a:lnTo>
                    <a:lnTo>
                      <a:pt x="30" y="120"/>
                    </a:lnTo>
                    <a:lnTo>
                      <a:pt x="30" y="122"/>
                    </a:lnTo>
                    <a:lnTo>
                      <a:pt x="30" y="122"/>
                    </a:lnTo>
                    <a:lnTo>
                      <a:pt x="30" y="123"/>
                    </a:lnTo>
                    <a:lnTo>
                      <a:pt x="31" y="123"/>
                    </a:lnTo>
                    <a:lnTo>
                      <a:pt x="33" y="127"/>
                    </a:lnTo>
                    <a:lnTo>
                      <a:pt x="36" y="128"/>
                    </a:lnTo>
                    <a:lnTo>
                      <a:pt x="39" y="131"/>
                    </a:lnTo>
                    <a:lnTo>
                      <a:pt x="41" y="133"/>
                    </a:lnTo>
                    <a:lnTo>
                      <a:pt x="42" y="133"/>
                    </a:lnTo>
                    <a:lnTo>
                      <a:pt x="42" y="134"/>
                    </a:lnTo>
                    <a:lnTo>
                      <a:pt x="42" y="136"/>
                    </a:lnTo>
                    <a:lnTo>
                      <a:pt x="41" y="136"/>
                    </a:lnTo>
                    <a:lnTo>
                      <a:pt x="41" y="137"/>
                    </a:lnTo>
                    <a:lnTo>
                      <a:pt x="42" y="137"/>
                    </a:lnTo>
                    <a:lnTo>
                      <a:pt x="42" y="139"/>
                    </a:lnTo>
                    <a:lnTo>
                      <a:pt x="44" y="139"/>
                    </a:lnTo>
                    <a:lnTo>
                      <a:pt x="45" y="139"/>
                    </a:lnTo>
                    <a:lnTo>
                      <a:pt x="45" y="137"/>
                    </a:lnTo>
                    <a:lnTo>
                      <a:pt x="45" y="133"/>
                    </a:lnTo>
                    <a:lnTo>
                      <a:pt x="44" y="130"/>
                    </a:lnTo>
                    <a:lnTo>
                      <a:pt x="44" y="128"/>
                    </a:lnTo>
                    <a:lnTo>
                      <a:pt x="44" y="128"/>
                    </a:lnTo>
                    <a:lnTo>
                      <a:pt x="44" y="127"/>
                    </a:lnTo>
                    <a:lnTo>
                      <a:pt x="44" y="125"/>
                    </a:lnTo>
                    <a:lnTo>
                      <a:pt x="45" y="122"/>
                    </a:lnTo>
                    <a:lnTo>
                      <a:pt x="45" y="122"/>
                    </a:lnTo>
                    <a:lnTo>
                      <a:pt x="45" y="122"/>
                    </a:lnTo>
                    <a:lnTo>
                      <a:pt x="47" y="120"/>
                    </a:lnTo>
                    <a:lnTo>
                      <a:pt x="50" y="120"/>
                    </a:lnTo>
                    <a:lnTo>
                      <a:pt x="53" y="120"/>
                    </a:lnTo>
                    <a:lnTo>
                      <a:pt x="53" y="119"/>
                    </a:lnTo>
                    <a:lnTo>
                      <a:pt x="55" y="117"/>
                    </a:lnTo>
                    <a:lnTo>
                      <a:pt x="55" y="112"/>
                    </a:lnTo>
                    <a:lnTo>
                      <a:pt x="55" y="108"/>
                    </a:lnTo>
                    <a:lnTo>
                      <a:pt x="55" y="105"/>
                    </a:lnTo>
                    <a:lnTo>
                      <a:pt x="55" y="100"/>
                    </a:lnTo>
                    <a:lnTo>
                      <a:pt x="56" y="9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19" name="Freeform 146">
                <a:extLst>
                  <a:ext uri="{FF2B5EF4-FFF2-40B4-BE49-F238E27FC236}">
                    <a16:creationId xmlns:a16="http://schemas.microsoft.com/office/drawing/2014/main" id="{3B8198F7-D708-E7CD-B0FF-949992229FEC}"/>
                  </a:ext>
                </a:extLst>
              </p:cNvPr>
              <p:cNvSpPr>
                <a:spLocks noEditPoints="1"/>
              </p:cNvSpPr>
              <p:nvPr/>
            </p:nvSpPr>
            <p:spPr bwMode="gray">
              <a:xfrm>
                <a:off x="619" y="972"/>
                <a:ext cx="535" cy="349"/>
              </a:xfrm>
              <a:custGeom>
                <a:avLst/>
                <a:gdLst>
                  <a:gd name="T0" fmla="*/ 532 w 535"/>
                  <a:gd name="T1" fmla="*/ 239 h 349"/>
                  <a:gd name="T2" fmla="*/ 185 w 535"/>
                  <a:gd name="T3" fmla="*/ 219 h 349"/>
                  <a:gd name="T4" fmla="*/ 96 w 535"/>
                  <a:gd name="T5" fmla="*/ 166 h 349"/>
                  <a:gd name="T6" fmla="*/ 86 w 535"/>
                  <a:gd name="T7" fmla="*/ 156 h 349"/>
                  <a:gd name="T8" fmla="*/ 103 w 535"/>
                  <a:gd name="T9" fmla="*/ 138 h 349"/>
                  <a:gd name="T10" fmla="*/ 85 w 535"/>
                  <a:gd name="T11" fmla="*/ 70 h 349"/>
                  <a:gd name="T12" fmla="*/ 63 w 535"/>
                  <a:gd name="T13" fmla="*/ 66 h 349"/>
                  <a:gd name="T14" fmla="*/ 532 w 535"/>
                  <a:gd name="T15" fmla="*/ 225 h 349"/>
                  <a:gd name="T16" fmla="*/ 524 w 535"/>
                  <a:gd name="T17" fmla="*/ 222 h 349"/>
                  <a:gd name="T18" fmla="*/ 472 w 535"/>
                  <a:gd name="T19" fmla="*/ 228 h 349"/>
                  <a:gd name="T20" fmla="*/ 450 w 535"/>
                  <a:gd name="T21" fmla="*/ 269 h 349"/>
                  <a:gd name="T22" fmla="*/ 443 w 535"/>
                  <a:gd name="T23" fmla="*/ 275 h 349"/>
                  <a:gd name="T24" fmla="*/ 408 w 535"/>
                  <a:gd name="T25" fmla="*/ 280 h 349"/>
                  <a:gd name="T26" fmla="*/ 372 w 535"/>
                  <a:gd name="T27" fmla="*/ 271 h 349"/>
                  <a:gd name="T28" fmla="*/ 347 w 535"/>
                  <a:gd name="T29" fmla="*/ 228 h 349"/>
                  <a:gd name="T30" fmla="*/ 347 w 535"/>
                  <a:gd name="T31" fmla="*/ 222 h 349"/>
                  <a:gd name="T32" fmla="*/ 341 w 535"/>
                  <a:gd name="T33" fmla="*/ 177 h 349"/>
                  <a:gd name="T34" fmla="*/ 339 w 535"/>
                  <a:gd name="T35" fmla="*/ 134 h 349"/>
                  <a:gd name="T36" fmla="*/ 313 w 535"/>
                  <a:gd name="T37" fmla="*/ 117 h 349"/>
                  <a:gd name="T38" fmla="*/ 299 w 535"/>
                  <a:gd name="T39" fmla="*/ 92 h 349"/>
                  <a:gd name="T40" fmla="*/ 278 w 535"/>
                  <a:gd name="T41" fmla="*/ 62 h 349"/>
                  <a:gd name="T42" fmla="*/ 261 w 535"/>
                  <a:gd name="T43" fmla="*/ 58 h 349"/>
                  <a:gd name="T44" fmla="*/ 246 w 535"/>
                  <a:gd name="T45" fmla="*/ 75 h 349"/>
                  <a:gd name="T46" fmla="*/ 219 w 535"/>
                  <a:gd name="T47" fmla="*/ 53 h 349"/>
                  <a:gd name="T48" fmla="*/ 188 w 535"/>
                  <a:gd name="T49" fmla="*/ 19 h 349"/>
                  <a:gd name="T50" fmla="*/ 74 w 535"/>
                  <a:gd name="T51" fmla="*/ 17 h 349"/>
                  <a:gd name="T52" fmla="*/ 3 w 535"/>
                  <a:gd name="T53" fmla="*/ 11 h 349"/>
                  <a:gd name="T54" fmla="*/ 19 w 535"/>
                  <a:gd name="T55" fmla="*/ 41 h 349"/>
                  <a:gd name="T56" fmla="*/ 50 w 535"/>
                  <a:gd name="T57" fmla="*/ 81 h 349"/>
                  <a:gd name="T58" fmla="*/ 50 w 535"/>
                  <a:gd name="T59" fmla="*/ 98 h 349"/>
                  <a:gd name="T60" fmla="*/ 53 w 535"/>
                  <a:gd name="T61" fmla="*/ 113 h 349"/>
                  <a:gd name="T62" fmla="*/ 83 w 535"/>
                  <a:gd name="T63" fmla="*/ 130 h 349"/>
                  <a:gd name="T64" fmla="*/ 96 w 535"/>
                  <a:gd name="T65" fmla="*/ 163 h 349"/>
                  <a:gd name="T66" fmla="*/ 131 w 535"/>
                  <a:gd name="T67" fmla="*/ 191 h 349"/>
                  <a:gd name="T68" fmla="*/ 119 w 535"/>
                  <a:gd name="T69" fmla="*/ 169 h 349"/>
                  <a:gd name="T70" fmla="*/ 106 w 535"/>
                  <a:gd name="T71" fmla="*/ 144 h 349"/>
                  <a:gd name="T72" fmla="*/ 96 w 535"/>
                  <a:gd name="T73" fmla="*/ 123 h 349"/>
                  <a:gd name="T74" fmla="*/ 77 w 535"/>
                  <a:gd name="T75" fmla="*/ 91 h 349"/>
                  <a:gd name="T76" fmla="*/ 60 w 535"/>
                  <a:gd name="T77" fmla="*/ 69 h 349"/>
                  <a:gd name="T78" fmla="*/ 41 w 535"/>
                  <a:gd name="T79" fmla="*/ 22 h 349"/>
                  <a:gd name="T80" fmla="*/ 61 w 535"/>
                  <a:gd name="T81" fmla="*/ 25 h 349"/>
                  <a:gd name="T82" fmla="*/ 75 w 535"/>
                  <a:gd name="T83" fmla="*/ 50 h 349"/>
                  <a:gd name="T84" fmla="*/ 91 w 535"/>
                  <a:gd name="T85" fmla="*/ 80 h 349"/>
                  <a:gd name="T86" fmla="*/ 116 w 535"/>
                  <a:gd name="T87" fmla="*/ 106 h 349"/>
                  <a:gd name="T88" fmla="*/ 139 w 535"/>
                  <a:gd name="T89" fmla="*/ 128 h 349"/>
                  <a:gd name="T90" fmla="*/ 144 w 535"/>
                  <a:gd name="T91" fmla="*/ 141 h 349"/>
                  <a:gd name="T92" fmla="*/ 158 w 535"/>
                  <a:gd name="T93" fmla="*/ 153 h 349"/>
                  <a:gd name="T94" fmla="*/ 169 w 535"/>
                  <a:gd name="T95" fmla="*/ 166 h 349"/>
                  <a:gd name="T96" fmla="*/ 205 w 535"/>
                  <a:gd name="T97" fmla="*/ 219 h 349"/>
                  <a:gd name="T98" fmla="*/ 203 w 535"/>
                  <a:gd name="T99" fmla="*/ 239 h 349"/>
                  <a:gd name="T100" fmla="*/ 236 w 535"/>
                  <a:gd name="T101" fmla="*/ 274 h 349"/>
                  <a:gd name="T102" fmla="*/ 286 w 535"/>
                  <a:gd name="T103" fmla="*/ 300 h 349"/>
                  <a:gd name="T104" fmla="*/ 368 w 535"/>
                  <a:gd name="T105" fmla="*/ 327 h 349"/>
                  <a:gd name="T106" fmla="*/ 393 w 535"/>
                  <a:gd name="T107" fmla="*/ 318 h 349"/>
                  <a:gd name="T108" fmla="*/ 400 w 535"/>
                  <a:gd name="T109" fmla="*/ 318 h 349"/>
                  <a:gd name="T110" fmla="*/ 438 w 535"/>
                  <a:gd name="T111" fmla="*/ 344 h 349"/>
                  <a:gd name="T112" fmla="*/ 468 w 535"/>
                  <a:gd name="T113" fmla="*/ 321 h 349"/>
                  <a:gd name="T114" fmla="*/ 452 w 535"/>
                  <a:gd name="T115" fmla="*/ 299 h 349"/>
                  <a:gd name="T116" fmla="*/ 497 w 535"/>
                  <a:gd name="T117" fmla="*/ 286 h 349"/>
                  <a:gd name="T118" fmla="*/ 511 w 535"/>
                  <a:gd name="T119" fmla="*/ 271 h 349"/>
                  <a:gd name="T120" fmla="*/ 518 w 535"/>
                  <a:gd name="T121" fmla="*/ 263 h 349"/>
                  <a:gd name="T122" fmla="*/ 521 w 535"/>
                  <a:gd name="T123" fmla="*/ 25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5" h="349">
                    <a:moveTo>
                      <a:pt x="449" y="271"/>
                    </a:moveTo>
                    <a:lnTo>
                      <a:pt x="449" y="271"/>
                    </a:lnTo>
                    <a:lnTo>
                      <a:pt x="444" y="274"/>
                    </a:lnTo>
                    <a:lnTo>
                      <a:pt x="444" y="274"/>
                    </a:lnTo>
                    <a:lnTo>
                      <a:pt x="447" y="274"/>
                    </a:lnTo>
                    <a:lnTo>
                      <a:pt x="447" y="272"/>
                    </a:lnTo>
                    <a:lnTo>
                      <a:pt x="449" y="272"/>
                    </a:lnTo>
                    <a:lnTo>
                      <a:pt x="449" y="271"/>
                    </a:lnTo>
                    <a:close/>
                    <a:moveTo>
                      <a:pt x="533" y="238"/>
                    </a:moveTo>
                    <a:lnTo>
                      <a:pt x="532" y="238"/>
                    </a:lnTo>
                    <a:lnTo>
                      <a:pt x="530" y="238"/>
                    </a:lnTo>
                    <a:lnTo>
                      <a:pt x="529" y="239"/>
                    </a:lnTo>
                    <a:lnTo>
                      <a:pt x="529" y="241"/>
                    </a:lnTo>
                    <a:lnTo>
                      <a:pt x="529" y="244"/>
                    </a:lnTo>
                    <a:lnTo>
                      <a:pt x="530" y="242"/>
                    </a:lnTo>
                    <a:lnTo>
                      <a:pt x="532" y="239"/>
                    </a:lnTo>
                    <a:lnTo>
                      <a:pt x="533" y="238"/>
                    </a:lnTo>
                    <a:lnTo>
                      <a:pt x="533" y="238"/>
                    </a:lnTo>
                    <a:close/>
                    <a:moveTo>
                      <a:pt x="533" y="225"/>
                    </a:moveTo>
                    <a:lnTo>
                      <a:pt x="533" y="225"/>
                    </a:lnTo>
                    <a:lnTo>
                      <a:pt x="533" y="225"/>
                    </a:lnTo>
                    <a:lnTo>
                      <a:pt x="533" y="225"/>
                    </a:lnTo>
                    <a:lnTo>
                      <a:pt x="533" y="225"/>
                    </a:lnTo>
                    <a:lnTo>
                      <a:pt x="533" y="227"/>
                    </a:lnTo>
                    <a:lnTo>
                      <a:pt x="535" y="227"/>
                    </a:lnTo>
                    <a:lnTo>
                      <a:pt x="533" y="225"/>
                    </a:lnTo>
                    <a:close/>
                    <a:moveTo>
                      <a:pt x="186" y="217"/>
                    </a:moveTo>
                    <a:lnTo>
                      <a:pt x="186" y="217"/>
                    </a:lnTo>
                    <a:lnTo>
                      <a:pt x="185" y="216"/>
                    </a:lnTo>
                    <a:lnTo>
                      <a:pt x="185" y="217"/>
                    </a:lnTo>
                    <a:lnTo>
                      <a:pt x="185" y="219"/>
                    </a:lnTo>
                    <a:lnTo>
                      <a:pt x="185" y="219"/>
                    </a:lnTo>
                    <a:lnTo>
                      <a:pt x="186" y="220"/>
                    </a:lnTo>
                    <a:lnTo>
                      <a:pt x="186" y="219"/>
                    </a:lnTo>
                    <a:lnTo>
                      <a:pt x="186" y="217"/>
                    </a:lnTo>
                    <a:close/>
                    <a:moveTo>
                      <a:pt x="127" y="167"/>
                    </a:moveTo>
                    <a:lnTo>
                      <a:pt x="127" y="167"/>
                    </a:lnTo>
                    <a:lnTo>
                      <a:pt x="127" y="169"/>
                    </a:lnTo>
                    <a:lnTo>
                      <a:pt x="128" y="170"/>
                    </a:lnTo>
                    <a:lnTo>
                      <a:pt x="128" y="170"/>
                    </a:lnTo>
                    <a:lnTo>
                      <a:pt x="128" y="170"/>
                    </a:lnTo>
                    <a:lnTo>
                      <a:pt x="128" y="170"/>
                    </a:lnTo>
                    <a:lnTo>
                      <a:pt x="127" y="167"/>
                    </a:lnTo>
                    <a:close/>
                    <a:moveTo>
                      <a:pt x="92" y="163"/>
                    </a:moveTo>
                    <a:lnTo>
                      <a:pt x="91" y="163"/>
                    </a:lnTo>
                    <a:lnTo>
                      <a:pt x="89" y="163"/>
                    </a:lnTo>
                    <a:lnTo>
                      <a:pt x="96" y="167"/>
                    </a:lnTo>
                    <a:lnTo>
                      <a:pt x="96" y="166"/>
                    </a:lnTo>
                    <a:lnTo>
                      <a:pt x="92" y="163"/>
                    </a:lnTo>
                    <a:close/>
                    <a:moveTo>
                      <a:pt x="116" y="153"/>
                    </a:moveTo>
                    <a:lnTo>
                      <a:pt x="114" y="153"/>
                    </a:lnTo>
                    <a:lnTo>
                      <a:pt x="113" y="152"/>
                    </a:lnTo>
                    <a:lnTo>
                      <a:pt x="113" y="152"/>
                    </a:lnTo>
                    <a:lnTo>
                      <a:pt x="113" y="153"/>
                    </a:lnTo>
                    <a:lnTo>
                      <a:pt x="114" y="155"/>
                    </a:lnTo>
                    <a:lnTo>
                      <a:pt x="114" y="156"/>
                    </a:lnTo>
                    <a:lnTo>
                      <a:pt x="116" y="156"/>
                    </a:lnTo>
                    <a:lnTo>
                      <a:pt x="116" y="153"/>
                    </a:lnTo>
                    <a:close/>
                    <a:moveTo>
                      <a:pt x="89" y="163"/>
                    </a:moveTo>
                    <a:lnTo>
                      <a:pt x="88" y="161"/>
                    </a:lnTo>
                    <a:lnTo>
                      <a:pt x="88" y="159"/>
                    </a:lnTo>
                    <a:lnTo>
                      <a:pt x="88" y="158"/>
                    </a:lnTo>
                    <a:lnTo>
                      <a:pt x="86" y="156"/>
                    </a:lnTo>
                    <a:lnTo>
                      <a:pt x="86" y="156"/>
                    </a:lnTo>
                    <a:lnTo>
                      <a:pt x="88" y="150"/>
                    </a:lnTo>
                    <a:lnTo>
                      <a:pt x="88" y="149"/>
                    </a:lnTo>
                    <a:lnTo>
                      <a:pt x="86" y="155"/>
                    </a:lnTo>
                    <a:lnTo>
                      <a:pt x="85" y="158"/>
                    </a:lnTo>
                    <a:lnTo>
                      <a:pt x="86" y="158"/>
                    </a:lnTo>
                    <a:lnTo>
                      <a:pt x="88" y="159"/>
                    </a:lnTo>
                    <a:lnTo>
                      <a:pt x="88" y="161"/>
                    </a:lnTo>
                    <a:lnTo>
                      <a:pt x="89" y="163"/>
                    </a:lnTo>
                    <a:lnTo>
                      <a:pt x="89" y="163"/>
                    </a:lnTo>
                    <a:lnTo>
                      <a:pt x="89" y="163"/>
                    </a:lnTo>
                    <a:close/>
                    <a:moveTo>
                      <a:pt x="106" y="134"/>
                    </a:moveTo>
                    <a:lnTo>
                      <a:pt x="106" y="133"/>
                    </a:lnTo>
                    <a:lnTo>
                      <a:pt x="105" y="133"/>
                    </a:lnTo>
                    <a:lnTo>
                      <a:pt x="105" y="134"/>
                    </a:lnTo>
                    <a:lnTo>
                      <a:pt x="103" y="138"/>
                    </a:lnTo>
                    <a:lnTo>
                      <a:pt x="103" y="138"/>
                    </a:lnTo>
                    <a:lnTo>
                      <a:pt x="105" y="134"/>
                    </a:lnTo>
                    <a:lnTo>
                      <a:pt x="106" y="134"/>
                    </a:lnTo>
                    <a:lnTo>
                      <a:pt x="106" y="134"/>
                    </a:lnTo>
                    <a:lnTo>
                      <a:pt x="106" y="134"/>
                    </a:lnTo>
                    <a:close/>
                    <a:moveTo>
                      <a:pt x="35" y="89"/>
                    </a:moveTo>
                    <a:lnTo>
                      <a:pt x="33" y="87"/>
                    </a:lnTo>
                    <a:lnTo>
                      <a:pt x="33" y="89"/>
                    </a:lnTo>
                    <a:lnTo>
                      <a:pt x="33" y="91"/>
                    </a:lnTo>
                    <a:lnTo>
                      <a:pt x="31" y="94"/>
                    </a:lnTo>
                    <a:lnTo>
                      <a:pt x="35" y="95"/>
                    </a:lnTo>
                    <a:lnTo>
                      <a:pt x="35" y="94"/>
                    </a:lnTo>
                    <a:lnTo>
                      <a:pt x="35" y="92"/>
                    </a:lnTo>
                    <a:lnTo>
                      <a:pt x="35" y="89"/>
                    </a:lnTo>
                    <a:close/>
                    <a:moveTo>
                      <a:pt x="86" y="73"/>
                    </a:moveTo>
                    <a:lnTo>
                      <a:pt x="86" y="72"/>
                    </a:lnTo>
                    <a:lnTo>
                      <a:pt x="85" y="70"/>
                    </a:lnTo>
                    <a:lnTo>
                      <a:pt x="83" y="72"/>
                    </a:lnTo>
                    <a:lnTo>
                      <a:pt x="81" y="72"/>
                    </a:lnTo>
                    <a:lnTo>
                      <a:pt x="81" y="78"/>
                    </a:lnTo>
                    <a:lnTo>
                      <a:pt x="81" y="78"/>
                    </a:lnTo>
                    <a:lnTo>
                      <a:pt x="85" y="80"/>
                    </a:lnTo>
                    <a:lnTo>
                      <a:pt x="85" y="80"/>
                    </a:lnTo>
                    <a:lnTo>
                      <a:pt x="86" y="75"/>
                    </a:lnTo>
                    <a:lnTo>
                      <a:pt x="86" y="73"/>
                    </a:lnTo>
                    <a:close/>
                    <a:moveTo>
                      <a:pt x="69" y="73"/>
                    </a:moveTo>
                    <a:lnTo>
                      <a:pt x="69" y="69"/>
                    </a:lnTo>
                    <a:lnTo>
                      <a:pt x="66" y="69"/>
                    </a:lnTo>
                    <a:lnTo>
                      <a:pt x="66" y="67"/>
                    </a:lnTo>
                    <a:lnTo>
                      <a:pt x="66" y="66"/>
                    </a:lnTo>
                    <a:lnTo>
                      <a:pt x="64" y="64"/>
                    </a:lnTo>
                    <a:lnTo>
                      <a:pt x="63" y="64"/>
                    </a:lnTo>
                    <a:lnTo>
                      <a:pt x="63" y="66"/>
                    </a:lnTo>
                    <a:lnTo>
                      <a:pt x="63" y="67"/>
                    </a:lnTo>
                    <a:lnTo>
                      <a:pt x="64" y="69"/>
                    </a:lnTo>
                    <a:lnTo>
                      <a:pt x="67" y="73"/>
                    </a:lnTo>
                    <a:lnTo>
                      <a:pt x="69" y="75"/>
                    </a:lnTo>
                    <a:lnTo>
                      <a:pt x="71" y="75"/>
                    </a:lnTo>
                    <a:lnTo>
                      <a:pt x="69" y="73"/>
                    </a:lnTo>
                    <a:close/>
                    <a:moveTo>
                      <a:pt x="42" y="20"/>
                    </a:moveTo>
                    <a:lnTo>
                      <a:pt x="41" y="19"/>
                    </a:lnTo>
                    <a:lnTo>
                      <a:pt x="41" y="19"/>
                    </a:lnTo>
                    <a:lnTo>
                      <a:pt x="41" y="20"/>
                    </a:lnTo>
                    <a:lnTo>
                      <a:pt x="42" y="20"/>
                    </a:lnTo>
                    <a:lnTo>
                      <a:pt x="42" y="20"/>
                    </a:lnTo>
                    <a:lnTo>
                      <a:pt x="42" y="20"/>
                    </a:lnTo>
                    <a:lnTo>
                      <a:pt x="42" y="20"/>
                    </a:lnTo>
                    <a:close/>
                    <a:moveTo>
                      <a:pt x="532" y="227"/>
                    </a:moveTo>
                    <a:lnTo>
                      <a:pt x="532" y="225"/>
                    </a:lnTo>
                    <a:lnTo>
                      <a:pt x="532" y="222"/>
                    </a:lnTo>
                    <a:lnTo>
                      <a:pt x="530" y="220"/>
                    </a:lnTo>
                    <a:lnTo>
                      <a:pt x="529" y="219"/>
                    </a:lnTo>
                    <a:lnTo>
                      <a:pt x="527" y="219"/>
                    </a:lnTo>
                    <a:lnTo>
                      <a:pt x="526" y="219"/>
                    </a:lnTo>
                    <a:lnTo>
                      <a:pt x="524" y="219"/>
                    </a:lnTo>
                    <a:lnTo>
                      <a:pt x="522" y="219"/>
                    </a:lnTo>
                    <a:lnTo>
                      <a:pt x="522" y="219"/>
                    </a:lnTo>
                    <a:lnTo>
                      <a:pt x="524" y="220"/>
                    </a:lnTo>
                    <a:lnTo>
                      <a:pt x="524" y="220"/>
                    </a:lnTo>
                    <a:lnTo>
                      <a:pt x="526" y="219"/>
                    </a:lnTo>
                    <a:lnTo>
                      <a:pt x="526" y="219"/>
                    </a:lnTo>
                    <a:lnTo>
                      <a:pt x="526" y="220"/>
                    </a:lnTo>
                    <a:lnTo>
                      <a:pt x="526" y="220"/>
                    </a:lnTo>
                    <a:lnTo>
                      <a:pt x="526" y="222"/>
                    </a:lnTo>
                    <a:lnTo>
                      <a:pt x="524" y="222"/>
                    </a:lnTo>
                    <a:lnTo>
                      <a:pt x="521" y="220"/>
                    </a:lnTo>
                    <a:lnTo>
                      <a:pt x="516" y="220"/>
                    </a:lnTo>
                    <a:lnTo>
                      <a:pt x="515" y="219"/>
                    </a:lnTo>
                    <a:lnTo>
                      <a:pt x="511" y="219"/>
                    </a:lnTo>
                    <a:lnTo>
                      <a:pt x="508" y="219"/>
                    </a:lnTo>
                    <a:lnTo>
                      <a:pt x="508" y="219"/>
                    </a:lnTo>
                    <a:lnTo>
                      <a:pt x="508" y="219"/>
                    </a:lnTo>
                    <a:lnTo>
                      <a:pt x="508" y="219"/>
                    </a:lnTo>
                    <a:lnTo>
                      <a:pt x="507" y="219"/>
                    </a:lnTo>
                    <a:lnTo>
                      <a:pt x="504" y="219"/>
                    </a:lnTo>
                    <a:lnTo>
                      <a:pt x="500" y="220"/>
                    </a:lnTo>
                    <a:lnTo>
                      <a:pt x="499" y="222"/>
                    </a:lnTo>
                    <a:lnTo>
                      <a:pt x="496" y="222"/>
                    </a:lnTo>
                    <a:lnTo>
                      <a:pt x="479" y="225"/>
                    </a:lnTo>
                    <a:lnTo>
                      <a:pt x="479" y="225"/>
                    </a:lnTo>
                    <a:lnTo>
                      <a:pt x="472" y="228"/>
                    </a:lnTo>
                    <a:lnTo>
                      <a:pt x="469" y="230"/>
                    </a:lnTo>
                    <a:lnTo>
                      <a:pt x="469" y="235"/>
                    </a:lnTo>
                    <a:lnTo>
                      <a:pt x="468" y="235"/>
                    </a:lnTo>
                    <a:lnTo>
                      <a:pt x="468" y="238"/>
                    </a:lnTo>
                    <a:lnTo>
                      <a:pt x="468" y="241"/>
                    </a:lnTo>
                    <a:lnTo>
                      <a:pt x="468" y="244"/>
                    </a:lnTo>
                    <a:lnTo>
                      <a:pt x="468" y="249"/>
                    </a:lnTo>
                    <a:lnTo>
                      <a:pt x="468" y="250"/>
                    </a:lnTo>
                    <a:lnTo>
                      <a:pt x="468" y="250"/>
                    </a:lnTo>
                    <a:lnTo>
                      <a:pt x="465" y="252"/>
                    </a:lnTo>
                    <a:lnTo>
                      <a:pt x="465" y="253"/>
                    </a:lnTo>
                    <a:lnTo>
                      <a:pt x="463" y="261"/>
                    </a:lnTo>
                    <a:lnTo>
                      <a:pt x="460" y="264"/>
                    </a:lnTo>
                    <a:lnTo>
                      <a:pt x="458" y="266"/>
                    </a:lnTo>
                    <a:lnTo>
                      <a:pt x="457" y="266"/>
                    </a:lnTo>
                    <a:lnTo>
                      <a:pt x="450" y="269"/>
                    </a:lnTo>
                    <a:lnTo>
                      <a:pt x="450" y="269"/>
                    </a:lnTo>
                    <a:lnTo>
                      <a:pt x="450" y="271"/>
                    </a:lnTo>
                    <a:lnTo>
                      <a:pt x="450" y="271"/>
                    </a:lnTo>
                    <a:lnTo>
                      <a:pt x="452" y="269"/>
                    </a:lnTo>
                    <a:lnTo>
                      <a:pt x="452" y="269"/>
                    </a:lnTo>
                    <a:lnTo>
                      <a:pt x="452" y="271"/>
                    </a:lnTo>
                    <a:lnTo>
                      <a:pt x="452" y="271"/>
                    </a:lnTo>
                    <a:lnTo>
                      <a:pt x="454" y="271"/>
                    </a:lnTo>
                    <a:lnTo>
                      <a:pt x="454" y="272"/>
                    </a:lnTo>
                    <a:lnTo>
                      <a:pt x="454" y="274"/>
                    </a:lnTo>
                    <a:lnTo>
                      <a:pt x="450" y="275"/>
                    </a:lnTo>
                    <a:lnTo>
                      <a:pt x="449" y="277"/>
                    </a:lnTo>
                    <a:lnTo>
                      <a:pt x="447" y="277"/>
                    </a:lnTo>
                    <a:lnTo>
                      <a:pt x="444" y="277"/>
                    </a:lnTo>
                    <a:lnTo>
                      <a:pt x="443" y="275"/>
                    </a:lnTo>
                    <a:lnTo>
                      <a:pt x="443" y="275"/>
                    </a:lnTo>
                    <a:lnTo>
                      <a:pt x="443" y="274"/>
                    </a:lnTo>
                    <a:lnTo>
                      <a:pt x="443" y="274"/>
                    </a:lnTo>
                    <a:lnTo>
                      <a:pt x="441" y="272"/>
                    </a:lnTo>
                    <a:lnTo>
                      <a:pt x="440" y="272"/>
                    </a:lnTo>
                    <a:lnTo>
                      <a:pt x="438" y="272"/>
                    </a:lnTo>
                    <a:lnTo>
                      <a:pt x="433" y="274"/>
                    </a:lnTo>
                    <a:lnTo>
                      <a:pt x="433" y="274"/>
                    </a:lnTo>
                    <a:lnTo>
                      <a:pt x="429" y="274"/>
                    </a:lnTo>
                    <a:lnTo>
                      <a:pt x="429" y="275"/>
                    </a:lnTo>
                    <a:lnTo>
                      <a:pt x="427" y="275"/>
                    </a:lnTo>
                    <a:lnTo>
                      <a:pt x="425" y="277"/>
                    </a:lnTo>
                    <a:lnTo>
                      <a:pt x="421" y="278"/>
                    </a:lnTo>
                    <a:lnTo>
                      <a:pt x="419" y="277"/>
                    </a:lnTo>
                    <a:lnTo>
                      <a:pt x="414" y="277"/>
                    </a:lnTo>
                    <a:lnTo>
                      <a:pt x="410" y="278"/>
                    </a:lnTo>
                    <a:lnTo>
                      <a:pt x="408" y="280"/>
                    </a:lnTo>
                    <a:lnTo>
                      <a:pt x="402" y="282"/>
                    </a:lnTo>
                    <a:lnTo>
                      <a:pt x="399" y="283"/>
                    </a:lnTo>
                    <a:lnTo>
                      <a:pt x="397" y="283"/>
                    </a:lnTo>
                    <a:lnTo>
                      <a:pt x="396" y="282"/>
                    </a:lnTo>
                    <a:lnTo>
                      <a:pt x="394" y="278"/>
                    </a:lnTo>
                    <a:lnTo>
                      <a:pt x="393" y="275"/>
                    </a:lnTo>
                    <a:lnTo>
                      <a:pt x="388" y="275"/>
                    </a:lnTo>
                    <a:lnTo>
                      <a:pt x="385" y="272"/>
                    </a:lnTo>
                    <a:lnTo>
                      <a:pt x="379" y="272"/>
                    </a:lnTo>
                    <a:lnTo>
                      <a:pt x="375" y="271"/>
                    </a:lnTo>
                    <a:lnTo>
                      <a:pt x="375" y="271"/>
                    </a:lnTo>
                    <a:lnTo>
                      <a:pt x="377" y="272"/>
                    </a:lnTo>
                    <a:lnTo>
                      <a:pt x="379" y="272"/>
                    </a:lnTo>
                    <a:lnTo>
                      <a:pt x="377" y="272"/>
                    </a:lnTo>
                    <a:lnTo>
                      <a:pt x="374" y="272"/>
                    </a:lnTo>
                    <a:lnTo>
                      <a:pt x="372" y="271"/>
                    </a:lnTo>
                    <a:lnTo>
                      <a:pt x="372" y="271"/>
                    </a:lnTo>
                    <a:lnTo>
                      <a:pt x="374" y="271"/>
                    </a:lnTo>
                    <a:lnTo>
                      <a:pt x="375" y="271"/>
                    </a:lnTo>
                    <a:lnTo>
                      <a:pt x="372" y="269"/>
                    </a:lnTo>
                    <a:lnTo>
                      <a:pt x="371" y="266"/>
                    </a:lnTo>
                    <a:lnTo>
                      <a:pt x="369" y="266"/>
                    </a:lnTo>
                    <a:lnTo>
                      <a:pt x="369" y="263"/>
                    </a:lnTo>
                    <a:lnTo>
                      <a:pt x="366" y="261"/>
                    </a:lnTo>
                    <a:lnTo>
                      <a:pt x="366" y="258"/>
                    </a:lnTo>
                    <a:lnTo>
                      <a:pt x="364" y="256"/>
                    </a:lnTo>
                    <a:lnTo>
                      <a:pt x="363" y="250"/>
                    </a:lnTo>
                    <a:lnTo>
                      <a:pt x="358" y="246"/>
                    </a:lnTo>
                    <a:lnTo>
                      <a:pt x="352" y="238"/>
                    </a:lnTo>
                    <a:lnTo>
                      <a:pt x="350" y="235"/>
                    </a:lnTo>
                    <a:lnTo>
                      <a:pt x="350" y="233"/>
                    </a:lnTo>
                    <a:lnTo>
                      <a:pt x="347" y="228"/>
                    </a:lnTo>
                    <a:lnTo>
                      <a:pt x="344" y="222"/>
                    </a:lnTo>
                    <a:lnTo>
                      <a:pt x="344" y="222"/>
                    </a:lnTo>
                    <a:lnTo>
                      <a:pt x="344" y="220"/>
                    </a:lnTo>
                    <a:lnTo>
                      <a:pt x="344" y="220"/>
                    </a:lnTo>
                    <a:lnTo>
                      <a:pt x="343" y="220"/>
                    </a:lnTo>
                    <a:lnTo>
                      <a:pt x="343" y="219"/>
                    </a:lnTo>
                    <a:lnTo>
                      <a:pt x="339" y="211"/>
                    </a:lnTo>
                    <a:lnTo>
                      <a:pt x="343" y="216"/>
                    </a:lnTo>
                    <a:lnTo>
                      <a:pt x="346" y="219"/>
                    </a:lnTo>
                    <a:lnTo>
                      <a:pt x="347" y="219"/>
                    </a:lnTo>
                    <a:lnTo>
                      <a:pt x="347" y="220"/>
                    </a:lnTo>
                    <a:lnTo>
                      <a:pt x="346" y="220"/>
                    </a:lnTo>
                    <a:lnTo>
                      <a:pt x="346" y="224"/>
                    </a:lnTo>
                    <a:lnTo>
                      <a:pt x="346" y="225"/>
                    </a:lnTo>
                    <a:lnTo>
                      <a:pt x="347" y="224"/>
                    </a:lnTo>
                    <a:lnTo>
                      <a:pt x="347" y="222"/>
                    </a:lnTo>
                    <a:lnTo>
                      <a:pt x="347" y="219"/>
                    </a:lnTo>
                    <a:lnTo>
                      <a:pt x="347" y="219"/>
                    </a:lnTo>
                    <a:lnTo>
                      <a:pt x="344" y="217"/>
                    </a:lnTo>
                    <a:lnTo>
                      <a:pt x="343" y="214"/>
                    </a:lnTo>
                    <a:lnTo>
                      <a:pt x="339" y="210"/>
                    </a:lnTo>
                    <a:lnTo>
                      <a:pt x="339" y="206"/>
                    </a:lnTo>
                    <a:lnTo>
                      <a:pt x="338" y="202"/>
                    </a:lnTo>
                    <a:lnTo>
                      <a:pt x="338" y="200"/>
                    </a:lnTo>
                    <a:lnTo>
                      <a:pt x="338" y="199"/>
                    </a:lnTo>
                    <a:lnTo>
                      <a:pt x="339" y="197"/>
                    </a:lnTo>
                    <a:lnTo>
                      <a:pt x="339" y="194"/>
                    </a:lnTo>
                    <a:lnTo>
                      <a:pt x="341" y="194"/>
                    </a:lnTo>
                    <a:lnTo>
                      <a:pt x="339" y="186"/>
                    </a:lnTo>
                    <a:lnTo>
                      <a:pt x="341" y="178"/>
                    </a:lnTo>
                    <a:lnTo>
                      <a:pt x="341" y="178"/>
                    </a:lnTo>
                    <a:lnTo>
                      <a:pt x="341" y="177"/>
                    </a:lnTo>
                    <a:lnTo>
                      <a:pt x="341" y="174"/>
                    </a:lnTo>
                    <a:lnTo>
                      <a:pt x="341" y="166"/>
                    </a:lnTo>
                    <a:lnTo>
                      <a:pt x="344" y="153"/>
                    </a:lnTo>
                    <a:lnTo>
                      <a:pt x="346" y="150"/>
                    </a:lnTo>
                    <a:lnTo>
                      <a:pt x="349" y="142"/>
                    </a:lnTo>
                    <a:lnTo>
                      <a:pt x="350" y="139"/>
                    </a:lnTo>
                    <a:lnTo>
                      <a:pt x="350" y="136"/>
                    </a:lnTo>
                    <a:lnTo>
                      <a:pt x="349" y="136"/>
                    </a:lnTo>
                    <a:lnTo>
                      <a:pt x="347" y="136"/>
                    </a:lnTo>
                    <a:lnTo>
                      <a:pt x="347" y="136"/>
                    </a:lnTo>
                    <a:lnTo>
                      <a:pt x="347" y="138"/>
                    </a:lnTo>
                    <a:lnTo>
                      <a:pt x="347" y="138"/>
                    </a:lnTo>
                    <a:lnTo>
                      <a:pt x="347" y="138"/>
                    </a:lnTo>
                    <a:lnTo>
                      <a:pt x="346" y="136"/>
                    </a:lnTo>
                    <a:lnTo>
                      <a:pt x="343" y="134"/>
                    </a:lnTo>
                    <a:lnTo>
                      <a:pt x="339" y="134"/>
                    </a:lnTo>
                    <a:lnTo>
                      <a:pt x="335" y="133"/>
                    </a:lnTo>
                    <a:lnTo>
                      <a:pt x="335" y="133"/>
                    </a:lnTo>
                    <a:lnTo>
                      <a:pt x="332" y="133"/>
                    </a:lnTo>
                    <a:lnTo>
                      <a:pt x="328" y="131"/>
                    </a:lnTo>
                    <a:lnTo>
                      <a:pt x="327" y="130"/>
                    </a:lnTo>
                    <a:lnTo>
                      <a:pt x="325" y="130"/>
                    </a:lnTo>
                    <a:lnTo>
                      <a:pt x="324" y="130"/>
                    </a:lnTo>
                    <a:lnTo>
                      <a:pt x="322" y="128"/>
                    </a:lnTo>
                    <a:lnTo>
                      <a:pt x="322" y="128"/>
                    </a:lnTo>
                    <a:lnTo>
                      <a:pt x="321" y="127"/>
                    </a:lnTo>
                    <a:lnTo>
                      <a:pt x="318" y="127"/>
                    </a:lnTo>
                    <a:lnTo>
                      <a:pt x="316" y="127"/>
                    </a:lnTo>
                    <a:lnTo>
                      <a:pt x="316" y="127"/>
                    </a:lnTo>
                    <a:lnTo>
                      <a:pt x="314" y="123"/>
                    </a:lnTo>
                    <a:lnTo>
                      <a:pt x="314" y="120"/>
                    </a:lnTo>
                    <a:lnTo>
                      <a:pt x="313" y="117"/>
                    </a:lnTo>
                    <a:lnTo>
                      <a:pt x="310" y="114"/>
                    </a:lnTo>
                    <a:lnTo>
                      <a:pt x="310" y="114"/>
                    </a:lnTo>
                    <a:lnTo>
                      <a:pt x="310" y="114"/>
                    </a:lnTo>
                    <a:lnTo>
                      <a:pt x="310" y="113"/>
                    </a:lnTo>
                    <a:lnTo>
                      <a:pt x="310" y="111"/>
                    </a:lnTo>
                    <a:lnTo>
                      <a:pt x="310" y="109"/>
                    </a:lnTo>
                    <a:lnTo>
                      <a:pt x="310" y="108"/>
                    </a:lnTo>
                    <a:lnTo>
                      <a:pt x="310" y="108"/>
                    </a:lnTo>
                    <a:lnTo>
                      <a:pt x="310" y="106"/>
                    </a:lnTo>
                    <a:lnTo>
                      <a:pt x="310" y="105"/>
                    </a:lnTo>
                    <a:lnTo>
                      <a:pt x="308" y="103"/>
                    </a:lnTo>
                    <a:lnTo>
                      <a:pt x="305" y="100"/>
                    </a:lnTo>
                    <a:lnTo>
                      <a:pt x="305" y="100"/>
                    </a:lnTo>
                    <a:lnTo>
                      <a:pt x="302" y="98"/>
                    </a:lnTo>
                    <a:lnTo>
                      <a:pt x="300" y="94"/>
                    </a:lnTo>
                    <a:lnTo>
                      <a:pt x="299" y="92"/>
                    </a:lnTo>
                    <a:lnTo>
                      <a:pt x="297" y="91"/>
                    </a:lnTo>
                    <a:lnTo>
                      <a:pt x="297" y="91"/>
                    </a:lnTo>
                    <a:lnTo>
                      <a:pt x="296" y="89"/>
                    </a:lnTo>
                    <a:lnTo>
                      <a:pt x="294" y="87"/>
                    </a:lnTo>
                    <a:lnTo>
                      <a:pt x="294" y="86"/>
                    </a:lnTo>
                    <a:lnTo>
                      <a:pt x="294" y="86"/>
                    </a:lnTo>
                    <a:lnTo>
                      <a:pt x="294" y="83"/>
                    </a:lnTo>
                    <a:lnTo>
                      <a:pt x="291" y="80"/>
                    </a:lnTo>
                    <a:lnTo>
                      <a:pt x="289" y="77"/>
                    </a:lnTo>
                    <a:lnTo>
                      <a:pt x="289" y="73"/>
                    </a:lnTo>
                    <a:lnTo>
                      <a:pt x="288" y="72"/>
                    </a:lnTo>
                    <a:lnTo>
                      <a:pt x="285" y="69"/>
                    </a:lnTo>
                    <a:lnTo>
                      <a:pt x="285" y="69"/>
                    </a:lnTo>
                    <a:lnTo>
                      <a:pt x="283" y="67"/>
                    </a:lnTo>
                    <a:lnTo>
                      <a:pt x="283" y="66"/>
                    </a:lnTo>
                    <a:lnTo>
                      <a:pt x="278" y="62"/>
                    </a:lnTo>
                    <a:lnTo>
                      <a:pt x="278" y="62"/>
                    </a:lnTo>
                    <a:lnTo>
                      <a:pt x="277" y="61"/>
                    </a:lnTo>
                    <a:lnTo>
                      <a:pt x="275" y="59"/>
                    </a:lnTo>
                    <a:lnTo>
                      <a:pt x="274" y="59"/>
                    </a:lnTo>
                    <a:lnTo>
                      <a:pt x="274" y="59"/>
                    </a:lnTo>
                    <a:lnTo>
                      <a:pt x="274" y="59"/>
                    </a:lnTo>
                    <a:lnTo>
                      <a:pt x="274" y="59"/>
                    </a:lnTo>
                    <a:lnTo>
                      <a:pt x="274" y="59"/>
                    </a:lnTo>
                    <a:lnTo>
                      <a:pt x="272" y="59"/>
                    </a:lnTo>
                    <a:lnTo>
                      <a:pt x="272" y="59"/>
                    </a:lnTo>
                    <a:lnTo>
                      <a:pt x="271" y="59"/>
                    </a:lnTo>
                    <a:lnTo>
                      <a:pt x="271" y="59"/>
                    </a:lnTo>
                    <a:lnTo>
                      <a:pt x="266" y="59"/>
                    </a:lnTo>
                    <a:lnTo>
                      <a:pt x="263" y="59"/>
                    </a:lnTo>
                    <a:lnTo>
                      <a:pt x="263" y="59"/>
                    </a:lnTo>
                    <a:lnTo>
                      <a:pt x="261" y="58"/>
                    </a:lnTo>
                    <a:lnTo>
                      <a:pt x="260" y="58"/>
                    </a:lnTo>
                    <a:lnTo>
                      <a:pt x="258" y="59"/>
                    </a:lnTo>
                    <a:lnTo>
                      <a:pt x="257" y="59"/>
                    </a:lnTo>
                    <a:lnTo>
                      <a:pt x="255" y="61"/>
                    </a:lnTo>
                    <a:lnTo>
                      <a:pt x="255" y="61"/>
                    </a:lnTo>
                    <a:lnTo>
                      <a:pt x="252" y="62"/>
                    </a:lnTo>
                    <a:lnTo>
                      <a:pt x="250" y="67"/>
                    </a:lnTo>
                    <a:lnTo>
                      <a:pt x="250" y="69"/>
                    </a:lnTo>
                    <a:lnTo>
                      <a:pt x="250" y="70"/>
                    </a:lnTo>
                    <a:lnTo>
                      <a:pt x="250" y="72"/>
                    </a:lnTo>
                    <a:lnTo>
                      <a:pt x="249" y="72"/>
                    </a:lnTo>
                    <a:lnTo>
                      <a:pt x="249" y="72"/>
                    </a:lnTo>
                    <a:lnTo>
                      <a:pt x="247" y="73"/>
                    </a:lnTo>
                    <a:lnTo>
                      <a:pt x="247" y="73"/>
                    </a:lnTo>
                    <a:lnTo>
                      <a:pt x="247" y="75"/>
                    </a:lnTo>
                    <a:lnTo>
                      <a:pt x="246" y="75"/>
                    </a:lnTo>
                    <a:lnTo>
                      <a:pt x="246" y="75"/>
                    </a:lnTo>
                    <a:lnTo>
                      <a:pt x="244" y="75"/>
                    </a:lnTo>
                    <a:lnTo>
                      <a:pt x="241" y="73"/>
                    </a:lnTo>
                    <a:lnTo>
                      <a:pt x="236" y="72"/>
                    </a:lnTo>
                    <a:lnTo>
                      <a:pt x="233" y="70"/>
                    </a:lnTo>
                    <a:lnTo>
                      <a:pt x="230" y="69"/>
                    </a:lnTo>
                    <a:lnTo>
                      <a:pt x="228" y="67"/>
                    </a:lnTo>
                    <a:lnTo>
                      <a:pt x="228" y="67"/>
                    </a:lnTo>
                    <a:lnTo>
                      <a:pt x="227" y="66"/>
                    </a:lnTo>
                    <a:lnTo>
                      <a:pt x="225" y="64"/>
                    </a:lnTo>
                    <a:lnTo>
                      <a:pt x="224" y="64"/>
                    </a:lnTo>
                    <a:lnTo>
                      <a:pt x="224" y="64"/>
                    </a:lnTo>
                    <a:lnTo>
                      <a:pt x="222" y="62"/>
                    </a:lnTo>
                    <a:lnTo>
                      <a:pt x="219" y="58"/>
                    </a:lnTo>
                    <a:lnTo>
                      <a:pt x="219" y="56"/>
                    </a:lnTo>
                    <a:lnTo>
                      <a:pt x="219" y="53"/>
                    </a:lnTo>
                    <a:lnTo>
                      <a:pt x="216" y="47"/>
                    </a:lnTo>
                    <a:lnTo>
                      <a:pt x="214" y="44"/>
                    </a:lnTo>
                    <a:lnTo>
                      <a:pt x="213" y="42"/>
                    </a:lnTo>
                    <a:lnTo>
                      <a:pt x="211" y="41"/>
                    </a:lnTo>
                    <a:lnTo>
                      <a:pt x="208" y="39"/>
                    </a:lnTo>
                    <a:lnTo>
                      <a:pt x="203" y="36"/>
                    </a:lnTo>
                    <a:lnTo>
                      <a:pt x="203" y="36"/>
                    </a:lnTo>
                    <a:lnTo>
                      <a:pt x="199" y="30"/>
                    </a:lnTo>
                    <a:lnTo>
                      <a:pt x="196" y="26"/>
                    </a:lnTo>
                    <a:lnTo>
                      <a:pt x="196" y="26"/>
                    </a:lnTo>
                    <a:lnTo>
                      <a:pt x="192" y="26"/>
                    </a:lnTo>
                    <a:lnTo>
                      <a:pt x="191" y="23"/>
                    </a:lnTo>
                    <a:lnTo>
                      <a:pt x="189" y="22"/>
                    </a:lnTo>
                    <a:lnTo>
                      <a:pt x="188" y="20"/>
                    </a:lnTo>
                    <a:lnTo>
                      <a:pt x="188" y="19"/>
                    </a:lnTo>
                    <a:lnTo>
                      <a:pt x="188" y="19"/>
                    </a:lnTo>
                    <a:lnTo>
                      <a:pt x="183" y="19"/>
                    </a:lnTo>
                    <a:lnTo>
                      <a:pt x="175" y="19"/>
                    </a:lnTo>
                    <a:lnTo>
                      <a:pt x="172" y="19"/>
                    </a:lnTo>
                    <a:lnTo>
                      <a:pt x="164" y="19"/>
                    </a:lnTo>
                    <a:lnTo>
                      <a:pt x="161" y="19"/>
                    </a:lnTo>
                    <a:lnTo>
                      <a:pt x="157" y="19"/>
                    </a:lnTo>
                    <a:lnTo>
                      <a:pt x="157" y="28"/>
                    </a:lnTo>
                    <a:lnTo>
                      <a:pt x="150" y="28"/>
                    </a:lnTo>
                    <a:lnTo>
                      <a:pt x="144" y="28"/>
                    </a:lnTo>
                    <a:lnTo>
                      <a:pt x="119" y="28"/>
                    </a:lnTo>
                    <a:lnTo>
                      <a:pt x="113" y="28"/>
                    </a:lnTo>
                    <a:lnTo>
                      <a:pt x="106" y="28"/>
                    </a:lnTo>
                    <a:lnTo>
                      <a:pt x="99" y="25"/>
                    </a:lnTo>
                    <a:lnTo>
                      <a:pt x="91" y="22"/>
                    </a:lnTo>
                    <a:lnTo>
                      <a:pt x="81" y="19"/>
                    </a:lnTo>
                    <a:lnTo>
                      <a:pt x="74" y="17"/>
                    </a:lnTo>
                    <a:lnTo>
                      <a:pt x="66" y="14"/>
                    </a:lnTo>
                    <a:lnTo>
                      <a:pt x="56" y="11"/>
                    </a:lnTo>
                    <a:lnTo>
                      <a:pt x="41" y="5"/>
                    </a:lnTo>
                    <a:lnTo>
                      <a:pt x="41" y="3"/>
                    </a:lnTo>
                    <a:lnTo>
                      <a:pt x="42" y="0"/>
                    </a:lnTo>
                    <a:lnTo>
                      <a:pt x="41" y="0"/>
                    </a:lnTo>
                    <a:lnTo>
                      <a:pt x="35" y="0"/>
                    </a:lnTo>
                    <a:lnTo>
                      <a:pt x="30" y="1"/>
                    </a:lnTo>
                    <a:lnTo>
                      <a:pt x="25" y="1"/>
                    </a:lnTo>
                    <a:lnTo>
                      <a:pt x="20" y="1"/>
                    </a:lnTo>
                    <a:lnTo>
                      <a:pt x="10" y="3"/>
                    </a:lnTo>
                    <a:lnTo>
                      <a:pt x="5" y="3"/>
                    </a:lnTo>
                    <a:lnTo>
                      <a:pt x="0" y="3"/>
                    </a:lnTo>
                    <a:lnTo>
                      <a:pt x="2" y="8"/>
                    </a:lnTo>
                    <a:lnTo>
                      <a:pt x="2" y="8"/>
                    </a:lnTo>
                    <a:lnTo>
                      <a:pt x="3" y="11"/>
                    </a:lnTo>
                    <a:lnTo>
                      <a:pt x="5" y="14"/>
                    </a:lnTo>
                    <a:lnTo>
                      <a:pt x="10" y="17"/>
                    </a:lnTo>
                    <a:lnTo>
                      <a:pt x="10" y="20"/>
                    </a:lnTo>
                    <a:lnTo>
                      <a:pt x="8" y="20"/>
                    </a:lnTo>
                    <a:lnTo>
                      <a:pt x="8" y="20"/>
                    </a:lnTo>
                    <a:lnTo>
                      <a:pt x="6" y="20"/>
                    </a:lnTo>
                    <a:lnTo>
                      <a:pt x="8" y="20"/>
                    </a:lnTo>
                    <a:lnTo>
                      <a:pt x="8" y="23"/>
                    </a:lnTo>
                    <a:lnTo>
                      <a:pt x="10" y="25"/>
                    </a:lnTo>
                    <a:lnTo>
                      <a:pt x="11" y="28"/>
                    </a:lnTo>
                    <a:lnTo>
                      <a:pt x="14" y="31"/>
                    </a:lnTo>
                    <a:lnTo>
                      <a:pt x="14" y="33"/>
                    </a:lnTo>
                    <a:lnTo>
                      <a:pt x="14" y="34"/>
                    </a:lnTo>
                    <a:lnTo>
                      <a:pt x="14" y="36"/>
                    </a:lnTo>
                    <a:lnTo>
                      <a:pt x="19" y="39"/>
                    </a:lnTo>
                    <a:lnTo>
                      <a:pt x="19" y="41"/>
                    </a:lnTo>
                    <a:lnTo>
                      <a:pt x="19" y="44"/>
                    </a:lnTo>
                    <a:lnTo>
                      <a:pt x="20" y="47"/>
                    </a:lnTo>
                    <a:lnTo>
                      <a:pt x="22" y="48"/>
                    </a:lnTo>
                    <a:lnTo>
                      <a:pt x="24" y="50"/>
                    </a:lnTo>
                    <a:lnTo>
                      <a:pt x="24" y="53"/>
                    </a:lnTo>
                    <a:lnTo>
                      <a:pt x="24" y="56"/>
                    </a:lnTo>
                    <a:lnTo>
                      <a:pt x="24" y="56"/>
                    </a:lnTo>
                    <a:lnTo>
                      <a:pt x="25" y="61"/>
                    </a:lnTo>
                    <a:lnTo>
                      <a:pt x="27" y="62"/>
                    </a:lnTo>
                    <a:lnTo>
                      <a:pt x="31" y="66"/>
                    </a:lnTo>
                    <a:lnTo>
                      <a:pt x="35" y="67"/>
                    </a:lnTo>
                    <a:lnTo>
                      <a:pt x="38" y="67"/>
                    </a:lnTo>
                    <a:lnTo>
                      <a:pt x="39" y="69"/>
                    </a:lnTo>
                    <a:lnTo>
                      <a:pt x="39" y="70"/>
                    </a:lnTo>
                    <a:lnTo>
                      <a:pt x="44" y="73"/>
                    </a:lnTo>
                    <a:lnTo>
                      <a:pt x="50" y="81"/>
                    </a:lnTo>
                    <a:lnTo>
                      <a:pt x="52" y="83"/>
                    </a:lnTo>
                    <a:lnTo>
                      <a:pt x="53" y="87"/>
                    </a:lnTo>
                    <a:lnTo>
                      <a:pt x="53" y="91"/>
                    </a:lnTo>
                    <a:lnTo>
                      <a:pt x="52" y="95"/>
                    </a:lnTo>
                    <a:lnTo>
                      <a:pt x="50" y="97"/>
                    </a:lnTo>
                    <a:lnTo>
                      <a:pt x="50" y="97"/>
                    </a:lnTo>
                    <a:lnTo>
                      <a:pt x="52" y="97"/>
                    </a:lnTo>
                    <a:lnTo>
                      <a:pt x="52" y="98"/>
                    </a:lnTo>
                    <a:lnTo>
                      <a:pt x="52" y="98"/>
                    </a:lnTo>
                    <a:lnTo>
                      <a:pt x="53" y="102"/>
                    </a:lnTo>
                    <a:lnTo>
                      <a:pt x="53" y="102"/>
                    </a:lnTo>
                    <a:lnTo>
                      <a:pt x="52" y="102"/>
                    </a:lnTo>
                    <a:lnTo>
                      <a:pt x="50" y="102"/>
                    </a:lnTo>
                    <a:lnTo>
                      <a:pt x="50" y="100"/>
                    </a:lnTo>
                    <a:lnTo>
                      <a:pt x="50" y="98"/>
                    </a:lnTo>
                    <a:lnTo>
                      <a:pt x="50" y="98"/>
                    </a:lnTo>
                    <a:lnTo>
                      <a:pt x="49" y="98"/>
                    </a:lnTo>
                    <a:lnTo>
                      <a:pt x="47" y="100"/>
                    </a:lnTo>
                    <a:lnTo>
                      <a:pt x="46" y="100"/>
                    </a:lnTo>
                    <a:lnTo>
                      <a:pt x="41" y="98"/>
                    </a:lnTo>
                    <a:lnTo>
                      <a:pt x="36" y="98"/>
                    </a:lnTo>
                    <a:lnTo>
                      <a:pt x="36" y="100"/>
                    </a:lnTo>
                    <a:lnTo>
                      <a:pt x="38" y="100"/>
                    </a:lnTo>
                    <a:lnTo>
                      <a:pt x="39" y="102"/>
                    </a:lnTo>
                    <a:lnTo>
                      <a:pt x="42" y="105"/>
                    </a:lnTo>
                    <a:lnTo>
                      <a:pt x="46" y="106"/>
                    </a:lnTo>
                    <a:lnTo>
                      <a:pt x="46" y="108"/>
                    </a:lnTo>
                    <a:lnTo>
                      <a:pt x="47" y="109"/>
                    </a:lnTo>
                    <a:lnTo>
                      <a:pt x="47" y="111"/>
                    </a:lnTo>
                    <a:lnTo>
                      <a:pt x="49" y="113"/>
                    </a:lnTo>
                    <a:lnTo>
                      <a:pt x="52" y="113"/>
                    </a:lnTo>
                    <a:lnTo>
                      <a:pt x="53" y="113"/>
                    </a:lnTo>
                    <a:lnTo>
                      <a:pt x="55" y="116"/>
                    </a:lnTo>
                    <a:lnTo>
                      <a:pt x="56" y="116"/>
                    </a:lnTo>
                    <a:lnTo>
                      <a:pt x="58" y="116"/>
                    </a:lnTo>
                    <a:lnTo>
                      <a:pt x="60" y="117"/>
                    </a:lnTo>
                    <a:lnTo>
                      <a:pt x="60" y="119"/>
                    </a:lnTo>
                    <a:lnTo>
                      <a:pt x="63" y="120"/>
                    </a:lnTo>
                    <a:lnTo>
                      <a:pt x="64" y="119"/>
                    </a:lnTo>
                    <a:lnTo>
                      <a:pt x="67" y="119"/>
                    </a:lnTo>
                    <a:lnTo>
                      <a:pt x="69" y="117"/>
                    </a:lnTo>
                    <a:lnTo>
                      <a:pt x="71" y="116"/>
                    </a:lnTo>
                    <a:lnTo>
                      <a:pt x="71" y="119"/>
                    </a:lnTo>
                    <a:lnTo>
                      <a:pt x="71" y="120"/>
                    </a:lnTo>
                    <a:lnTo>
                      <a:pt x="72" y="123"/>
                    </a:lnTo>
                    <a:lnTo>
                      <a:pt x="78" y="128"/>
                    </a:lnTo>
                    <a:lnTo>
                      <a:pt x="81" y="130"/>
                    </a:lnTo>
                    <a:lnTo>
                      <a:pt x="83" y="130"/>
                    </a:lnTo>
                    <a:lnTo>
                      <a:pt x="88" y="136"/>
                    </a:lnTo>
                    <a:lnTo>
                      <a:pt x="88" y="139"/>
                    </a:lnTo>
                    <a:lnTo>
                      <a:pt x="88" y="142"/>
                    </a:lnTo>
                    <a:lnTo>
                      <a:pt x="88" y="142"/>
                    </a:lnTo>
                    <a:lnTo>
                      <a:pt x="89" y="142"/>
                    </a:lnTo>
                    <a:lnTo>
                      <a:pt x="89" y="144"/>
                    </a:lnTo>
                    <a:lnTo>
                      <a:pt x="89" y="149"/>
                    </a:lnTo>
                    <a:lnTo>
                      <a:pt x="88" y="153"/>
                    </a:lnTo>
                    <a:lnTo>
                      <a:pt x="88" y="155"/>
                    </a:lnTo>
                    <a:lnTo>
                      <a:pt x="89" y="156"/>
                    </a:lnTo>
                    <a:lnTo>
                      <a:pt x="92" y="161"/>
                    </a:lnTo>
                    <a:lnTo>
                      <a:pt x="92" y="161"/>
                    </a:lnTo>
                    <a:lnTo>
                      <a:pt x="92" y="163"/>
                    </a:lnTo>
                    <a:lnTo>
                      <a:pt x="94" y="163"/>
                    </a:lnTo>
                    <a:lnTo>
                      <a:pt x="94" y="163"/>
                    </a:lnTo>
                    <a:lnTo>
                      <a:pt x="96" y="163"/>
                    </a:lnTo>
                    <a:lnTo>
                      <a:pt x="97" y="164"/>
                    </a:lnTo>
                    <a:lnTo>
                      <a:pt x="100" y="167"/>
                    </a:lnTo>
                    <a:lnTo>
                      <a:pt x="106" y="170"/>
                    </a:lnTo>
                    <a:lnTo>
                      <a:pt x="110" y="174"/>
                    </a:lnTo>
                    <a:lnTo>
                      <a:pt x="111" y="175"/>
                    </a:lnTo>
                    <a:lnTo>
                      <a:pt x="114" y="178"/>
                    </a:lnTo>
                    <a:lnTo>
                      <a:pt x="119" y="181"/>
                    </a:lnTo>
                    <a:lnTo>
                      <a:pt x="121" y="183"/>
                    </a:lnTo>
                    <a:lnTo>
                      <a:pt x="121" y="185"/>
                    </a:lnTo>
                    <a:lnTo>
                      <a:pt x="122" y="186"/>
                    </a:lnTo>
                    <a:lnTo>
                      <a:pt x="124" y="192"/>
                    </a:lnTo>
                    <a:lnTo>
                      <a:pt x="125" y="194"/>
                    </a:lnTo>
                    <a:lnTo>
                      <a:pt x="127" y="194"/>
                    </a:lnTo>
                    <a:lnTo>
                      <a:pt x="128" y="194"/>
                    </a:lnTo>
                    <a:lnTo>
                      <a:pt x="130" y="192"/>
                    </a:lnTo>
                    <a:lnTo>
                      <a:pt x="131" y="191"/>
                    </a:lnTo>
                    <a:lnTo>
                      <a:pt x="135" y="189"/>
                    </a:lnTo>
                    <a:lnTo>
                      <a:pt x="135" y="188"/>
                    </a:lnTo>
                    <a:lnTo>
                      <a:pt x="135" y="185"/>
                    </a:lnTo>
                    <a:lnTo>
                      <a:pt x="135" y="183"/>
                    </a:lnTo>
                    <a:lnTo>
                      <a:pt x="133" y="181"/>
                    </a:lnTo>
                    <a:lnTo>
                      <a:pt x="131" y="180"/>
                    </a:lnTo>
                    <a:lnTo>
                      <a:pt x="130" y="177"/>
                    </a:lnTo>
                    <a:lnTo>
                      <a:pt x="128" y="175"/>
                    </a:lnTo>
                    <a:lnTo>
                      <a:pt x="128" y="175"/>
                    </a:lnTo>
                    <a:lnTo>
                      <a:pt x="127" y="172"/>
                    </a:lnTo>
                    <a:lnTo>
                      <a:pt x="125" y="170"/>
                    </a:lnTo>
                    <a:lnTo>
                      <a:pt x="125" y="170"/>
                    </a:lnTo>
                    <a:lnTo>
                      <a:pt x="121" y="167"/>
                    </a:lnTo>
                    <a:lnTo>
                      <a:pt x="121" y="167"/>
                    </a:lnTo>
                    <a:lnTo>
                      <a:pt x="119" y="167"/>
                    </a:lnTo>
                    <a:lnTo>
                      <a:pt x="119" y="169"/>
                    </a:lnTo>
                    <a:lnTo>
                      <a:pt x="121" y="169"/>
                    </a:lnTo>
                    <a:lnTo>
                      <a:pt x="119" y="170"/>
                    </a:lnTo>
                    <a:lnTo>
                      <a:pt x="119" y="172"/>
                    </a:lnTo>
                    <a:lnTo>
                      <a:pt x="117" y="170"/>
                    </a:lnTo>
                    <a:lnTo>
                      <a:pt x="117" y="170"/>
                    </a:lnTo>
                    <a:lnTo>
                      <a:pt x="117" y="170"/>
                    </a:lnTo>
                    <a:lnTo>
                      <a:pt x="116" y="169"/>
                    </a:lnTo>
                    <a:lnTo>
                      <a:pt x="114" y="167"/>
                    </a:lnTo>
                    <a:lnTo>
                      <a:pt x="113" y="163"/>
                    </a:lnTo>
                    <a:lnTo>
                      <a:pt x="113" y="161"/>
                    </a:lnTo>
                    <a:lnTo>
                      <a:pt x="113" y="158"/>
                    </a:lnTo>
                    <a:lnTo>
                      <a:pt x="113" y="156"/>
                    </a:lnTo>
                    <a:lnTo>
                      <a:pt x="111" y="155"/>
                    </a:lnTo>
                    <a:lnTo>
                      <a:pt x="110" y="152"/>
                    </a:lnTo>
                    <a:lnTo>
                      <a:pt x="108" y="145"/>
                    </a:lnTo>
                    <a:lnTo>
                      <a:pt x="106" y="144"/>
                    </a:lnTo>
                    <a:lnTo>
                      <a:pt x="105" y="142"/>
                    </a:lnTo>
                    <a:lnTo>
                      <a:pt x="102" y="139"/>
                    </a:lnTo>
                    <a:lnTo>
                      <a:pt x="102" y="136"/>
                    </a:lnTo>
                    <a:lnTo>
                      <a:pt x="102" y="133"/>
                    </a:lnTo>
                    <a:lnTo>
                      <a:pt x="100" y="130"/>
                    </a:lnTo>
                    <a:lnTo>
                      <a:pt x="100" y="128"/>
                    </a:lnTo>
                    <a:lnTo>
                      <a:pt x="99" y="127"/>
                    </a:lnTo>
                    <a:lnTo>
                      <a:pt x="99" y="125"/>
                    </a:lnTo>
                    <a:lnTo>
                      <a:pt x="99" y="123"/>
                    </a:lnTo>
                    <a:lnTo>
                      <a:pt x="97" y="120"/>
                    </a:lnTo>
                    <a:lnTo>
                      <a:pt x="94" y="117"/>
                    </a:lnTo>
                    <a:lnTo>
                      <a:pt x="92" y="117"/>
                    </a:lnTo>
                    <a:lnTo>
                      <a:pt x="94" y="120"/>
                    </a:lnTo>
                    <a:lnTo>
                      <a:pt x="94" y="122"/>
                    </a:lnTo>
                    <a:lnTo>
                      <a:pt x="96" y="123"/>
                    </a:lnTo>
                    <a:lnTo>
                      <a:pt x="96" y="123"/>
                    </a:lnTo>
                    <a:lnTo>
                      <a:pt x="94" y="123"/>
                    </a:lnTo>
                    <a:lnTo>
                      <a:pt x="92" y="122"/>
                    </a:lnTo>
                    <a:lnTo>
                      <a:pt x="92" y="119"/>
                    </a:lnTo>
                    <a:lnTo>
                      <a:pt x="89" y="116"/>
                    </a:lnTo>
                    <a:lnTo>
                      <a:pt x="89" y="116"/>
                    </a:lnTo>
                    <a:lnTo>
                      <a:pt x="89" y="114"/>
                    </a:lnTo>
                    <a:lnTo>
                      <a:pt x="88" y="113"/>
                    </a:lnTo>
                    <a:lnTo>
                      <a:pt x="86" y="111"/>
                    </a:lnTo>
                    <a:lnTo>
                      <a:pt x="85" y="108"/>
                    </a:lnTo>
                    <a:lnTo>
                      <a:pt x="85" y="105"/>
                    </a:lnTo>
                    <a:lnTo>
                      <a:pt x="80" y="102"/>
                    </a:lnTo>
                    <a:lnTo>
                      <a:pt x="77" y="98"/>
                    </a:lnTo>
                    <a:lnTo>
                      <a:pt x="77" y="97"/>
                    </a:lnTo>
                    <a:lnTo>
                      <a:pt x="77" y="95"/>
                    </a:lnTo>
                    <a:lnTo>
                      <a:pt x="75" y="94"/>
                    </a:lnTo>
                    <a:lnTo>
                      <a:pt x="77" y="91"/>
                    </a:lnTo>
                    <a:lnTo>
                      <a:pt x="75" y="89"/>
                    </a:lnTo>
                    <a:lnTo>
                      <a:pt x="75" y="89"/>
                    </a:lnTo>
                    <a:lnTo>
                      <a:pt x="75" y="87"/>
                    </a:lnTo>
                    <a:lnTo>
                      <a:pt x="74" y="86"/>
                    </a:lnTo>
                    <a:lnTo>
                      <a:pt x="72" y="86"/>
                    </a:lnTo>
                    <a:lnTo>
                      <a:pt x="71" y="86"/>
                    </a:lnTo>
                    <a:lnTo>
                      <a:pt x="69" y="80"/>
                    </a:lnTo>
                    <a:lnTo>
                      <a:pt x="67" y="80"/>
                    </a:lnTo>
                    <a:lnTo>
                      <a:pt x="67" y="80"/>
                    </a:lnTo>
                    <a:lnTo>
                      <a:pt x="66" y="78"/>
                    </a:lnTo>
                    <a:lnTo>
                      <a:pt x="67" y="78"/>
                    </a:lnTo>
                    <a:lnTo>
                      <a:pt x="66" y="77"/>
                    </a:lnTo>
                    <a:lnTo>
                      <a:pt x="64" y="77"/>
                    </a:lnTo>
                    <a:lnTo>
                      <a:pt x="63" y="75"/>
                    </a:lnTo>
                    <a:lnTo>
                      <a:pt x="63" y="73"/>
                    </a:lnTo>
                    <a:lnTo>
                      <a:pt x="60" y="69"/>
                    </a:lnTo>
                    <a:lnTo>
                      <a:pt x="58" y="67"/>
                    </a:lnTo>
                    <a:lnTo>
                      <a:pt x="53" y="64"/>
                    </a:lnTo>
                    <a:lnTo>
                      <a:pt x="52" y="61"/>
                    </a:lnTo>
                    <a:lnTo>
                      <a:pt x="49" y="59"/>
                    </a:lnTo>
                    <a:lnTo>
                      <a:pt x="49" y="58"/>
                    </a:lnTo>
                    <a:lnTo>
                      <a:pt x="46" y="55"/>
                    </a:lnTo>
                    <a:lnTo>
                      <a:pt x="44" y="53"/>
                    </a:lnTo>
                    <a:lnTo>
                      <a:pt x="44" y="50"/>
                    </a:lnTo>
                    <a:lnTo>
                      <a:pt x="44" y="45"/>
                    </a:lnTo>
                    <a:lnTo>
                      <a:pt x="42" y="42"/>
                    </a:lnTo>
                    <a:lnTo>
                      <a:pt x="42" y="41"/>
                    </a:lnTo>
                    <a:lnTo>
                      <a:pt x="41" y="36"/>
                    </a:lnTo>
                    <a:lnTo>
                      <a:pt x="41" y="34"/>
                    </a:lnTo>
                    <a:lnTo>
                      <a:pt x="39" y="33"/>
                    </a:lnTo>
                    <a:lnTo>
                      <a:pt x="41" y="25"/>
                    </a:lnTo>
                    <a:lnTo>
                      <a:pt x="41" y="22"/>
                    </a:lnTo>
                    <a:lnTo>
                      <a:pt x="41" y="19"/>
                    </a:lnTo>
                    <a:lnTo>
                      <a:pt x="39" y="17"/>
                    </a:lnTo>
                    <a:lnTo>
                      <a:pt x="39" y="17"/>
                    </a:lnTo>
                    <a:lnTo>
                      <a:pt x="42" y="19"/>
                    </a:lnTo>
                    <a:lnTo>
                      <a:pt x="42" y="19"/>
                    </a:lnTo>
                    <a:lnTo>
                      <a:pt x="44" y="20"/>
                    </a:lnTo>
                    <a:lnTo>
                      <a:pt x="46" y="20"/>
                    </a:lnTo>
                    <a:lnTo>
                      <a:pt x="50" y="23"/>
                    </a:lnTo>
                    <a:lnTo>
                      <a:pt x="52" y="25"/>
                    </a:lnTo>
                    <a:lnTo>
                      <a:pt x="53" y="25"/>
                    </a:lnTo>
                    <a:lnTo>
                      <a:pt x="55" y="25"/>
                    </a:lnTo>
                    <a:lnTo>
                      <a:pt x="55" y="23"/>
                    </a:lnTo>
                    <a:lnTo>
                      <a:pt x="56" y="22"/>
                    </a:lnTo>
                    <a:lnTo>
                      <a:pt x="60" y="23"/>
                    </a:lnTo>
                    <a:lnTo>
                      <a:pt x="60" y="25"/>
                    </a:lnTo>
                    <a:lnTo>
                      <a:pt x="61" y="25"/>
                    </a:lnTo>
                    <a:lnTo>
                      <a:pt x="61" y="28"/>
                    </a:lnTo>
                    <a:lnTo>
                      <a:pt x="64" y="30"/>
                    </a:lnTo>
                    <a:lnTo>
                      <a:pt x="69" y="30"/>
                    </a:lnTo>
                    <a:lnTo>
                      <a:pt x="69" y="30"/>
                    </a:lnTo>
                    <a:lnTo>
                      <a:pt x="71" y="31"/>
                    </a:lnTo>
                    <a:lnTo>
                      <a:pt x="72" y="31"/>
                    </a:lnTo>
                    <a:lnTo>
                      <a:pt x="72" y="33"/>
                    </a:lnTo>
                    <a:lnTo>
                      <a:pt x="71" y="34"/>
                    </a:lnTo>
                    <a:lnTo>
                      <a:pt x="71" y="34"/>
                    </a:lnTo>
                    <a:lnTo>
                      <a:pt x="71" y="34"/>
                    </a:lnTo>
                    <a:lnTo>
                      <a:pt x="71" y="34"/>
                    </a:lnTo>
                    <a:lnTo>
                      <a:pt x="71" y="36"/>
                    </a:lnTo>
                    <a:lnTo>
                      <a:pt x="71" y="39"/>
                    </a:lnTo>
                    <a:lnTo>
                      <a:pt x="72" y="42"/>
                    </a:lnTo>
                    <a:lnTo>
                      <a:pt x="74" y="45"/>
                    </a:lnTo>
                    <a:lnTo>
                      <a:pt x="75" y="50"/>
                    </a:lnTo>
                    <a:lnTo>
                      <a:pt x="77" y="53"/>
                    </a:lnTo>
                    <a:lnTo>
                      <a:pt x="77" y="56"/>
                    </a:lnTo>
                    <a:lnTo>
                      <a:pt x="78" y="58"/>
                    </a:lnTo>
                    <a:lnTo>
                      <a:pt x="78" y="58"/>
                    </a:lnTo>
                    <a:lnTo>
                      <a:pt x="80" y="61"/>
                    </a:lnTo>
                    <a:lnTo>
                      <a:pt x="83" y="64"/>
                    </a:lnTo>
                    <a:lnTo>
                      <a:pt x="83" y="66"/>
                    </a:lnTo>
                    <a:lnTo>
                      <a:pt x="83" y="67"/>
                    </a:lnTo>
                    <a:lnTo>
                      <a:pt x="83" y="69"/>
                    </a:lnTo>
                    <a:lnTo>
                      <a:pt x="85" y="69"/>
                    </a:lnTo>
                    <a:lnTo>
                      <a:pt x="86" y="70"/>
                    </a:lnTo>
                    <a:lnTo>
                      <a:pt x="86" y="73"/>
                    </a:lnTo>
                    <a:lnTo>
                      <a:pt x="88" y="75"/>
                    </a:lnTo>
                    <a:lnTo>
                      <a:pt x="89" y="78"/>
                    </a:lnTo>
                    <a:lnTo>
                      <a:pt x="91" y="80"/>
                    </a:lnTo>
                    <a:lnTo>
                      <a:pt x="91" y="80"/>
                    </a:lnTo>
                    <a:lnTo>
                      <a:pt x="92" y="81"/>
                    </a:lnTo>
                    <a:lnTo>
                      <a:pt x="92" y="83"/>
                    </a:lnTo>
                    <a:lnTo>
                      <a:pt x="94" y="84"/>
                    </a:lnTo>
                    <a:lnTo>
                      <a:pt x="96" y="86"/>
                    </a:lnTo>
                    <a:lnTo>
                      <a:pt x="99" y="87"/>
                    </a:lnTo>
                    <a:lnTo>
                      <a:pt x="103" y="94"/>
                    </a:lnTo>
                    <a:lnTo>
                      <a:pt x="105" y="95"/>
                    </a:lnTo>
                    <a:lnTo>
                      <a:pt x="108" y="97"/>
                    </a:lnTo>
                    <a:lnTo>
                      <a:pt x="110" y="97"/>
                    </a:lnTo>
                    <a:lnTo>
                      <a:pt x="110" y="97"/>
                    </a:lnTo>
                    <a:lnTo>
                      <a:pt x="111" y="97"/>
                    </a:lnTo>
                    <a:lnTo>
                      <a:pt x="116" y="98"/>
                    </a:lnTo>
                    <a:lnTo>
                      <a:pt x="114" y="100"/>
                    </a:lnTo>
                    <a:lnTo>
                      <a:pt x="114" y="102"/>
                    </a:lnTo>
                    <a:lnTo>
                      <a:pt x="114" y="105"/>
                    </a:lnTo>
                    <a:lnTo>
                      <a:pt x="116" y="106"/>
                    </a:lnTo>
                    <a:lnTo>
                      <a:pt x="116" y="108"/>
                    </a:lnTo>
                    <a:lnTo>
                      <a:pt x="117" y="109"/>
                    </a:lnTo>
                    <a:lnTo>
                      <a:pt x="119" y="111"/>
                    </a:lnTo>
                    <a:lnTo>
                      <a:pt x="121" y="113"/>
                    </a:lnTo>
                    <a:lnTo>
                      <a:pt x="127" y="114"/>
                    </a:lnTo>
                    <a:lnTo>
                      <a:pt x="127" y="114"/>
                    </a:lnTo>
                    <a:lnTo>
                      <a:pt x="127" y="116"/>
                    </a:lnTo>
                    <a:lnTo>
                      <a:pt x="127" y="117"/>
                    </a:lnTo>
                    <a:lnTo>
                      <a:pt x="128" y="120"/>
                    </a:lnTo>
                    <a:lnTo>
                      <a:pt x="130" y="120"/>
                    </a:lnTo>
                    <a:lnTo>
                      <a:pt x="131" y="120"/>
                    </a:lnTo>
                    <a:lnTo>
                      <a:pt x="135" y="120"/>
                    </a:lnTo>
                    <a:lnTo>
                      <a:pt x="138" y="123"/>
                    </a:lnTo>
                    <a:lnTo>
                      <a:pt x="138" y="127"/>
                    </a:lnTo>
                    <a:lnTo>
                      <a:pt x="138" y="127"/>
                    </a:lnTo>
                    <a:lnTo>
                      <a:pt x="139" y="128"/>
                    </a:lnTo>
                    <a:lnTo>
                      <a:pt x="141" y="128"/>
                    </a:lnTo>
                    <a:lnTo>
                      <a:pt x="141" y="130"/>
                    </a:lnTo>
                    <a:lnTo>
                      <a:pt x="139" y="130"/>
                    </a:lnTo>
                    <a:lnTo>
                      <a:pt x="139" y="128"/>
                    </a:lnTo>
                    <a:lnTo>
                      <a:pt x="138" y="130"/>
                    </a:lnTo>
                    <a:lnTo>
                      <a:pt x="136" y="131"/>
                    </a:lnTo>
                    <a:lnTo>
                      <a:pt x="135" y="134"/>
                    </a:lnTo>
                    <a:lnTo>
                      <a:pt x="136" y="141"/>
                    </a:lnTo>
                    <a:lnTo>
                      <a:pt x="138" y="142"/>
                    </a:lnTo>
                    <a:lnTo>
                      <a:pt x="138" y="142"/>
                    </a:lnTo>
                    <a:lnTo>
                      <a:pt x="139" y="142"/>
                    </a:lnTo>
                    <a:lnTo>
                      <a:pt x="141" y="142"/>
                    </a:lnTo>
                    <a:lnTo>
                      <a:pt x="142" y="142"/>
                    </a:lnTo>
                    <a:lnTo>
                      <a:pt x="144" y="141"/>
                    </a:lnTo>
                    <a:lnTo>
                      <a:pt x="144" y="139"/>
                    </a:lnTo>
                    <a:lnTo>
                      <a:pt x="144" y="141"/>
                    </a:lnTo>
                    <a:lnTo>
                      <a:pt x="142" y="142"/>
                    </a:lnTo>
                    <a:lnTo>
                      <a:pt x="141" y="144"/>
                    </a:lnTo>
                    <a:lnTo>
                      <a:pt x="141" y="144"/>
                    </a:lnTo>
                    <a:lnTo>
                      <a:pt x="142" y="145"/>
                    </a:lnTo>
                    <a:lnTo>
                      <a:pt x="144" y="144"/>
                    </a:lnTo>
                    <a:lnTo>
                      <a:pt x="146" y="144"/>
                    </a:lnTo>
                    <a:lnTo>
                      <a:pt x="147" y="144"/>
                    </a:lnTo>
                    <a:lnTo>
                      <a:pt x="147" y="145"/>
                    </a:lnTo>
                    <a:lnTo>
                      <a:pt x="149" y="147"/>
                    </a:lnTo>
                    <a:lnTo>
                      <a:pt x="152" y="149"/>
                    </a:lnTo>
                    <a:lnTo>
                      <a:pt x="153" y="150"/>
                    </a:lnTo>
                    <a:lnTo>
                      <a:pt x="158" y="152"/>
                    </a:lnTo>
                    <a:lnTo>
                      <a:pt x="160" y="153"/>
                    </a:lnTo>
                    <a:lnTo>
                      <a:pt x="160" y="153"/>
                    </a:lnTo>
                    <a:lnTo>
                      <a:pt x="158" y="153"/>
                    </a:lnTo>
                    <a:lnTo>
                      <a:pt x="158" y="153"/>
                    </a:lnTo>
                    <a:lnTo>
                      <a:pt x="157" y="153"/>
                    </a:lnTo>
                    <a:lnTo>
                      <a:pt x="157" y="153"/>
                    </a:lnTo>
                    <a:lnTo>
                      <a:pt x="155" y="152"/>
                    </a:lnTo>
                    <a:lnTo>
                      <a:pt x="157" y="155"/>
                    </a:lnTo>
                    <a:lnTo>
                      <a:pt x="160" y="158"/>
                    </a:lnTo>
                    <a:lnTo>
                      <a:pt x="160" y="159"/>
                    </a:lnTo>
                    <a:lnTo>
                      <a:pt x="161" y="161"/>
                    </a:lnTo>
                    <a:lnTo>
                      <a:pt x="163" y="163"/>
                    </a:lnTo>
                    <a:lnTo>
                      <a:pt x="166" y="163"/>
                    </a:lnTo>
                    <a:lnTo>
                      <a:pt x="166" y="164"/>
                    </a:lnTo>
                    <a:lnTo>
                      <a:pt x="167" y="164"/>
                    </a:lnTo>
                    <a:lnTo>
                      <a:pt x="167" y="164"/>
                    </a:lnTo>
                    <a:lnTo>
                      <a:pt x="169" y="164"/>
                    </a:lnTo>
                    <a:lnTo>
                      <a:pt x="169" y="166"/>
                    </a:lnTo>
                    <a:lnTo>
                      <a:pt x="169" y="166"/>
                    </a:lnTo>
                    <a:lnTo>
                      <a:pt x="169" y="166"/>
                    </a:lnTo>
                    <a:lnTo>
                      <a:pt x="164" y="164"/>
                    </a:lnTo>
                    <a:lnTo>
                      <a:pt x="164" y="164"/>
                    </a:lnTo>
                    <a:lnTo>
                      <a:pt x="177" y="174"/>
                    </a:lnTo>
                    <a:lnTo>
                      <a:pt x="178" y="175"/>
                    </a:lnTo>
                    <a:lnTo>
                      <a:pt x="183" y="181"/>
                    </a:lnTo>
                    <a:lnTo>
                      <a:pt x="185" y="183"/>
                    </a:lnTo>
                    <a:lnTo>
                      <a:pt x="188" y="189"/>
                    </a:lnTo>
                    <a:lnTo>
                      <a:pt x="191" y="191"/>
                    </a:lnTo>
                    <a:lnTo>
                      <a:pt x="196" y="195"/>
                    </a:lnTo>
                    <a:lnTo>
                      <a:pt x="196" y="197"/>
                    </a:lnTo>
                    <a:lnTo>
                      <a:pt x="199" y="199"/>
                    </a:lnTo>
                    <a:lnTo>
                      <a:pt x="202" y="205"/>
                    </a:lnTo>
                    <a:lnTo>
                      <a:pt x="202" y="211"/>
                    </a:lnTo>
                    <a:lnTo>
                      <a:pt x="203" y="214"/>
                    </a:lnTo>
                    <a:lnTo>
                      <a:pt x="205" y="217"/>
                    </a:lnTo>
                    <a:lnTo>
                      <a:pt x="205" y="219"/>
                    </a:lnTo>
                    <a:lnTo>
                      <a:pt x="210" y="220"/>
                    </a:lnTo>
                    <a:lnTo>
                      <a:pt x="208" y="222"/>
                    </a:lnTo>
                    <a:lnTo>
                      <a:pt x="210" y="225"/>
                    </a:lnTo>
                    <a:lnTo>
                      <a:pt x="208" y="228"/>
                    </a:lnTo>
                    <a:lnTo>
                      <a:pt x="208" y="230"/>
                    </a:lnTo>
                    <a:lnTo>
                      <a:pt x="207" y="231"/>
                    </a:lnTo>
                    <a:lnTo>
                      <a:pt x="205" y="233"/>
                    </a:lnTo>
                    <a:lnTo>
                      <a:pt x="203" y="233"/>
                    </a:lnTo>
                    <a:lnTo>
                      <a:pt x="205" y="235"/>
                    </a:lnTo>
                    <a:lnTo>
                      <a:pt x="205" y="235"/>
                    </a:lnTo>
                    <a:lnTo>
                      <a:pt x="207" y="235"/>
                    </a:lnTo>
                    <a:lnTo>
                      <a:pt x="208" y="236"/>
                    </a:lnTo>
                    <a:lnTo>
                      <a:pt x="208" y="236"/>
                    </a:lnTo>
                    <a:lnTo>
                      <a:pt x="208" y="238"/>
                    </a:lnTo>
                    <a:lnTo>
                      <a:pt x="207" y="239"/>
                    </a:lnTo>
                    <a:lnTo>
                      <a:pt x="203" y="239"/>
                    </a:lnTo>
                    <a:lnTo>
                      <a:pt x="202" y="241"/>
                    </a:lnTo>
                    <a:lnTo>
                      <a:pt x="202" y="241"/>
                    </a:lnTo>
                    <a:lnTo>
                      <a:pt x="202" y="242"/>
                    </a:lnTo>
                    <a:lnTo>
                      <a:pt x="203" y="244"/>
                    </a:lnTo>
                    <a:lnTo>
                      <a:pt x="203" y="247"/>
                    </a:lnTo>
                    <a:lnTo>
                      <a:pt x="205" y="249"/>
                    </a:lnTo>
                    <a:lnTo>
                      <a:pt x="208" y="253"/>
                    </a:lnTo>
                    <a:lnTo>
                      <a:pt x="211" y="256"/>
                    </a:lnTo>
                    <a:lnTo>
                      <a:pt x="213" y="260"/>
                    </a:lnTo>
                    <a:lnTo>
                      <a:pt x="214" y="261"/>
                    </a:lnTo>
                    <a:lnTo>
                      <a:pt x="221" y="264"/>
                    </a:lnTo>
                    <a:lnTo>
                      <a:pt x="224" y="266"/>
                    </a:lnTo>
                    <a:lnTo>
                      <a:pt x="225" y="267"/>
                    </a:lnTo>
                    <a:lnTo>
                      <a:pt x="230" y="269"/>
                    </a:lnTo>
                    <a:lnTo>
                      <a:pt x="232" y="271"/>
                    </a:lnTo>
                    <a:lnTo>
                      <a:pt x="236" y="274"/>
                    </a:lnTo>
                    <a:lnTo>
                      <a:pt x="238" y="277"/>
                    </a:lnTo>
                    <a:lnTo>
                      <a:pt x="241" y="280"/>
                    </a:lnTo>
                    <a:lnTo>
                      <a:pt x="247" y="282"/>
                    </a:lnTo>
                    <a:lnTo>
                      <a:pt x="253" y="285"/>
                    </a:lnTo>
                    <a:lnTo>
                      <a:pt x="257" y="285"/>
                    </a:lnTo>
                    <a:lnTo>
                      <a:pt x="261" y="286"/>
                    </a:lnTo>
                    <a:lnTo>
                      <a:pt x="266" y="286"/>
                    </a:lnTo>
                    <a:lnTo>
                      <a:pt x="268" y="286"/>
                    </a:lnTo>
                    <a:lnTo>
                      <a:pt x="268" y="286"/>
                    </a:lnTo>
                    <a:lnTo>
                      <a:pt x="269" y="288"/>
                    </a:lnTo>
                    <a:lnTo>
                      <a:pt x="272" y="292"/>
                    </a:lnTo>
                    <a:lnTo>
                      <a:pt x="275" y="292"/>
                    </a:lnTo>
                    <a:lnTo>
                      <a:pt x="277" y="294"/>
                    </a:lnTo>
                    <a:lnTo>
                      <a:pt x="280" y="297"/>
                    </a:lnTo>
                    <a:lnTo>
                      <a:pt x="283" y="299"/>
                    </a:lnTo>
                    <a:lnTo>
                      <a:pt x="286" y="300"/>
                    </a:lnTo>
                    <a:lnTo>
                      <a:pt x="293" y="303"/>
                    </a:lnTo>
                    <a:lnTo>
                      <a:pt x="296" y="303"/>
                    </a:lnTo>
                    <a:lnTo>
                      <a:pt x="300" y="305"/>
                    </a:lnTo>
                    <a:lnTo>
                      <a:pt x="307" y="310"/>
                    </a:lnTo>
                    <a:lnTo>
                      <a:pt x="313" y="310"/>
                    </a:lnTo>
                    <a:lnTo>
                      <a:pt x="318" y="311"/>
                    </a:lnTo>
                    <a:lnTo>
                      <a:pt x="319" y="313"/>
                    </a:lnTo>
                    <a:lnTo>
                      <a:pt x="322" y="313"/>
                    </a:lnTo>
                    <a:lnTo>
                      <a:pt x="327" y="316"/>
                    </a:lnTo>
                    <a:lnTo>
                      <a:pt x="333" y="318"/>
                    </a:lnTo>
                    <a:lnTo>
                      <a:pt x="339" y="322"/>
                    </a:lnTo>
                    <a:lnTo>
                      <a:pt x="350" y="324"/>
                    </a:lnTo>
                    <a:lnTo>
                      <a:pt x="357" y="327"/>
                    </a:lnTo>
                    <a:lnTo>
                      <a:pt x="361" y="328"/>
                    </a:lnTo>
                    <a:lnTo>
                      <a:pt x="364" y="328"/>
                    </a:lnTo>
                    <a:lnTo>
                      <a:pt x="368" y="327"/>
                    </a:lnTo>
                    <a:lnTo>
                      <a:pt x="375" y="324"/>
                    </a:lnTo>
                    <a:lnTo>
                      <a:pt x="380" y="322"/>
                    </a:lnTo>
                    <a:lnTo>
                      <a:pt x="386" y="319"/>
                    </a:lnTo>
                    <a:lnTo>
                      <a:pt x="389" y="318"/>
                    </a:lnTo>
                    <a:lnTo>
                      <a:pt x="393" y="318"/>
                    </a:lnTo>
                    <a:lnTo>
                      <a:pt x="393" y="318"/>
                    </a:lnTo>
                    <a:lnTo>
                      <a:pt x="391" y="318"/>
                    </a:lnTo>
                    <a:lnTo>
                      <a:pt x="388" y="318"/>
                    </a:lnTo>
                    <a:lnTo>
                      <a:pt x="388" y="316"/>
                    </a:lnTo>
                    <a:lnTo>
                      <a:pt x="389" y="314"/>
                    </a:lnTo>
                    <a:lnTo>
                      <a:pt x="389" y="314"/>
                    </a:lnTo>
                    <a:lnTo>
                      <a:pt x="391" y="314"/>
                    </a:lnTo>
                    <a:lnTo>
                      <a:pt x="393" y="316"/>
                    </a:lnTo>
                    <a:lnTo>
                      <a:pt x="393" y="316"/>
                    </a:lnTo>
                    <a:lnTo>
                      <a:pt x="393" y="318"/>
                    </a:lnTo>
                    <a:lnTo>
                      <a:pt x="393" y="318"/>
                    </a:lnTo>
                    <a:lnTo>
                      <a:pt x="394" y="316"/>
                    </a:lnTo>
                    <a:lnTo>
                      <a:pt x="396" y="316"/>
                    </a:lnTo>
                    <a:lnTo>
                      <a:pt x="396" y="316"/>
                    </a:lnTo>
                    <a:lnTo>
                      <a:pt x="394" y="318"/>
                    </a:lnTo>
                    <a:lnTo>
                      <a:pt x="394" y="319"/>
                    </a:lnTo>
                    <a:lnTo>
                      <a:pt x="397" y="319"/>
                    </a:lnTo>
                    <a:lnTo>
                      <a:pt x="407" y="322"/>
                    </a:lnTo>
                    <a:lnTo>
                      <a:pt x="405" y="321"/>
                    </a:lnTo>
                    <a:lnTo>
                      <a:pt x="402" y="319"/>
                    </a:lnTo>
                    <a:lnTo>
                      <a:pt x="402" y="319"/>
                    </a:lnTo>
                    <a:lnTo>
                      <a:pt x="400" y="319"/>
                    </a:lnTo>
                    <a:lnTo>
                      <a:pt x="399" y="319"/>
                    </a:lnTo>
                    <a:lnTo>
                      <a:pt x="399" y="318"/>
                    </a:lnTo>
                    <a:lnTo>
                      <a:pt x="399" y="318"/>
                    </a:lnTo>
                    <a:lnTo>
                      <a:pt x="399" y="318"/>
                    </a:lnTo>
                    <a:lnTo>
                      <a:pt x="400" y="318"/>
                    </a:lnTo>
                    <a:lnTo>
                      <a:pt x="402" y="319"/>
                    </a:lnTo>
                    <a:lnTo>
                      <a:pt x="405" y="319"/>
                    </a:lnTo>
                    <a:lnTo>
                      <a:pt x="407" y="321"/>
                    </a:lnTo>
                    <a:lnTo>
                      <a:pt x="411" y="324"/>
                    </a:lnTo>
                    <a:lnTo>
                      <a:pt x="414" y="327"/>
                    </a:lnTo>
                    <a:lnTo>
                      <a:pt x="421" y="332"/>
                    </a:lnTo>
                    <a:lnTo>
                      <a:pt x="424" y="335"/>
                    </a:lnTo>
                    <a:lnTo>
                      <a:pt x="425" y="336"/>
                    </a:lnTo>
                    <a:lnTo>
                      <a:pt x="427" y="338"/>
                    </a:lnTo>
                    <a:lnTo>
                      <a:pt x="432" y="343"/>
                    </a:lnTo>
                    <a:lnTo>
                      <a:pt x="436" y="347"/>
                    </a:lnTo>
                    <a:lnTo>
                      <a:pt x="436" y="349"/>
                    </a:lnTo>
                    <a:lnTo>
                      <a:pt x="436" y="349"/>
                    </a:lnTo>
                    <a:lnTo>
                      <a:pt x="438" y="347"/>
                    </a:lnTo>
                    <a:lnTo>
                      <a:pt x="438" y="346"/>
                    </a:lnTo>
                    <a:lnTo>
                      <a:pt x="438" y="344"/>
                    </a:lnTo>
                    <a:lnTo>
                      <a:pt x="438" y="344"/>
                    </a:lnTo>
                    <a:lnTo>
                      <a:pt x="438" y="343"/>
                    </a:lnTo>
                    <a:lnTo>
                      <a:pt x="438" y="341"/>
                    </a:lnTo>
                    <a:lnTo>
                      <a:pt x="438" y="339"/>
                    </a:lnTo>
                    <a:lnTo>
                      <a:pt x="440" y="339"/>
                    </a:lnTo>
                    <a:lnTo>
                      <a:pt x="440" y="339"/>
                    </a:lnTo>
                    <a:lnTo>
                      <a:pt x="438" y="336"/>
                    </a:lnTo>
                    <a:lnTo>
                      <a:pt x="438" y="335"/>
                    </a:lnTo>
                    <a:lnTo>
                      <a:pt x="438" y="335"/>
                    </a:lnTo>
                    <a:lnTo>
                      <a:pt x="440" y="332"/>
                    </a:lnTo>
                    <a:lnTo>
                      <a:pt x="441" y="327"/>
                    </a:lnTo>
                    <a:lnTo>
                      <a:pt x="444" y="324"/>
                    </a:lnTo>
                    <a:lnTo>
                      <a:pt x="446" y="321"/>
                    </a:lnTo>
                    <a:lnTo>
                      <a:pt x="458" y="321"/>
                    </a:lnTo>
                    <a:lnTo>
                      <a:pt x="465" y="321"/>
                    </a:lnTo>
                    <a:lnTo>
                      <a:pt x="468" y="321"/>
                    </a:lnTo>
                    <a:lnTo>
                      <a:pt x="468" y="319"/>
                    </a:lnTo>
                    <a:lnTo>
                      <a:pt x="468" y="318"/>
                    </a:lnTo>
                    <a:lnTo>
                      <a:pt x="469" y="316"/>
                    </a:lnTo>
                    <a:lnTo>
                      <a:pt x="469" y="314"/>
                    </a:lnTo>
                    <a:lnTo>
                      <a:pt x="468" y="314"/>
                    </a:lnTo>
                    <a:lnTo>
                      <a:pt x="466" y="313"/>
                    </a:lnTo>
                    <a:lnTo>
                      <a:pt x="465" y="313"/>
                    </a:lnTo>
                    <a:lnTo>
                      <a:pt x="465" y="311"/>
                    </a:lnTo>
                    <a:lnTo>
                      <a:pt x="465" y="311"/>
                    </a:lnTo>
                    <a:lnTo>
                      <a:pt x="463" y="310"/>
                    </a:lnTo>
                    <a:lnTo>
                      <a:pt x="461" y="308"/>
                    </a:lnTo>
                    <a:lnTo>
                      <a:pt x="458" y="307"/>
                    </a:lnTo>
                    <a:lnTo>
                      <a:pt x="457" y="305"/>
                    </a:lnTo>
                    <a:lnTo>
                      <a:pt x="455" y="302"/>
                    </a:lnTo>
                    <a:lnTo>
                      <a:pt x="454" y="300"/>
                    </a:lnTo>
                    <a:lnTo>
                      <a:pt x="452" y="299"/>
                    </a:lnTo>
                    <a:lnTo>
                      <a:pt x="452" y="299"/>
                    </a:lnTo>
                    <a:lnTo>
                      <a:pt x="452" y="299"/>
                    </a:lnTo>
                    <a:lnTo>
                      <a:pt x="455" y="299"/>
                    </a:lnTo>
                    <a:lnTo>
                      <a:pt x="458" y="299"/>
                    </a:lnTo>
                    <a:lnTo>
                      <a:pt x="458" y="299"/>
                    </a:lnTo>
                    <a:lnTo>
                      <a:pt x="458" y="296"/>
                    </a:lnTo>
                    <a:lnTo>
                      <a:pt x="458" y="289"/>
                    </a:lnTo>
                    <a:lnTo>
                      <a:pt x="491" y="289"/>
                    </a:lnTo>
                    <a:lnTo>
                      <a:pt x="491" y="288"/>
                    </a:lnTo>
                    <a:lnTo>
                      <a:pt x="491" y="286"/>
                    </a:lnTo>
                    <a:lnTo>
                      <a:pt x="493" y="286"/>
                    </a:lnTo>
                    <a:lnTo>
                      <a:pt x="493" y="286"/>
                    </a:lnTo>
                    <a:lnTo>
                      <a:pt x="494" y="286"/>
                    </a:lnTo>
                    <a:lnTo>
                      <a:pt x="496" y="288"/>
                    </a:lnTo>
                    <a:lnTo>
                      <a:pt x="496" y="286"/>
                    </a:lnTo>
                    <a:lnTo>
                      <a:pt x="497" y="286"/>
                    </a:lnTo>
                    <a:lnTo>
                      <a:pt x="499" y="285"/>
                    </a:lnTo>
                    <a:lnTo>
                      <a:pt x="500" y="282"/>
                    </a:lnTo>
                    <a:lnTo>
                      <a:pt x="500" y="280"/>
                    </a:lnTo>
                    <a:lnTo>
                      <a:pt x="502" y="280"/>
                    </a:lnTo>
                    <a:lnTo>
                      <a:pt x="502" y="277"/>
                    </a:lnTo>
                    <a:lnTo>
                      <a:pt x="502" y="277"/>
                    </a:lnTo>
                    <a:lnTo>
                      <a:pt x="502" y="277"/>
                    </a:lnTo>
                    <a:lnTo>
                      <a:pt x="504" y="277"/>
                    </a:lnTo>
                    <a:lnTo>
                      <a:pt x="505" y="277"/>
                    </a:lnTo>
                    <a:lnTo>
                      <a:pt x="507" y="277"/>
                    </a:lnTo>
                    <a:lnTo>
                      <a:pt x="507" y="277"/>
                    </a:lnTo>
                    <a:lnTo>
                      <a:pt x="508" y="274"/>
                    </a:lnTo>
                    <a:lnTo>
                      <a:pt x="508" y="272"/>
                    </a:lnTo>
                    <a:lnTo>
                      <a:pt x="508" y="271"/>
                    </a:lnTo>
                    <a:lnTo>
                      <a:pt x="510" y="271"/>
                    </a:lnTo>
                    <a:lnTo>
                      <a:pt x="511" y="271"/>
                    </a:lnTo>
                    <a:lnTo>
                      <a:pt x="511" y="272"/>
                    </a:lnTo>
                    <a:lnTo>
                      <a:pt x="510" y="275"/>
                    </a:lnTo>
                    <a:lnTo>
                      <a:pt x="510" y="277"/>
                    </a:lnTo>
                    <a:lnTo>
                      <a:pt x="511" y="277"/>
                    </a:lnTo>
                    <a:lnTo>
                      <a:pt x="513" y="280"/>
                    </a:lnTo>
                    <a:lnTo>
                      <a:pt x="515" y="280"/>
                    </a:lnTo>
                    <a:lnTo>
                      <a:pt x="515" y="278"/>
                    </a:lnTo>
                    <a:lnTo>
                      <a:pt x="516" y="277"/>
                    </a:lnTo>
                    <a:lnTo>
                      <a:pt x="516" y="274"/>
                    </a:lnTo>
                    <a:lnTo>
                      <a:pt x="518" y="271"/>
                    </a:lnTo>
                    <a:lnTo>
                      <a:pt x="518" y="266"/>
                    </a:lnTo>
                    <a:lnTo>
                      <a:pt x="519" y="261"/>
                    </a:lnTo>
                    <a:lnTo>
                      <a:pt x="519" y="261"/>
                    </a:lnTo>
                    <a:lnTo>
                      <a:pt x="519" y="261"/>
                    </a:lnTo>
                    <a:lnTo>
                      <a:pt x="518" y="263"/>
                    </a:lnTo>
                    <a:lnTo>
                      <a:pt x="518" y="263"/>
                    </a:lnTo>
                    <a:lnTo>
                      <a:pt x="518" y="261"/>
                    </a:lnTo>
                    <a:lnTo>
                      <a:pt x="518" y="260"/>
                    </a:lnTo>
                    <a:lnTo>
                      <a:pt x="519" y="260"/>
                    </a:lnTo>
                    <a:lnTo>
                      <a:pt x="519" y="260"/>
                    </a:lnTo>
                    <a:lnTo>
                      <a:pt x="521" y="260"/>
                    </a:lnTo>
                    <a:lnTo>
                      <a:pt x="521" y="258"/>
                    </a:lnTo>
                    <a:lnTo>
                      <a:pt x="521" y="256"/>
                    </a:lnTo>
                    <a:lnTo>
                      <a:pt x="521" y="256"/>
                    </a:lnTo>
                    <a:lnTo>
                      <a:pt x="519" y="256"/>
                    </a:lnTo>
                    <a:lnTo>
                      <a:pt x="519" y="256"/>
                    </a:lnTo>
                    <a:lnTo>
                      <a:pt x="518" y="256"/>
                    </a:lnTo>
                    <a:lnTo>
                      <a:pt x="516" y="256"/>
                    </a:lnTo>
                    <a:lnTo>
                      <a:pt x="516" y="255"/>
                    </a:lnTo>
                    <a:lnTo>
                      <a:pt x="519" y="253"/>
                    </a:lnTo>
                    <a:lnTo>
                      <a:pt x="519" y="252"/>
                    </a:lnTo>
                    <a:lnTo>
                      <a:pt x="521" y="252"/>
                    </a:lnTo>
                    <a:lnTo>
                      <a:pt x="521" y="252"/>
                    </a:lnTo>
                    <a:lnTo>
                      <a:pt x="521" y="250"/>
                    </a:lnTo>
                    <a:lnTo>
                      <a:pt x="521" y="249"/>
                    </a:lnTo>
                    <a:lnTo>
                      <a:pt x="521" y="247"/>
                    </a:lnTo>
                    <a:lnTo>
                      <a:pt x="521" y="244"/>
                    </a:lnTo>
                    <a:lnTo>
                      <a:pt x="526" y="239"/>
                    </a:lnTo>
                    <a:lnTo>
                      <a:pt x="527" y="236"/>
                    </a:lnTo>
                    <a:lnTo>
                      <a:pt x="530" y="235"/>
                    </a:lnTo>
                    <a:lnTo>
                      <a:pt x="532" y="231"/>
                    </a:lnTo>
                    <a:lnTo>
                      <a:pt x="532" y="230"/>
                    </a:lnTo>
                    <a:lnTo>
                      <a:pt x="533" y="227"/>
                    </a:lnTo>
                    <a:lnTo>
                      <a:pt x="532" y="22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0" name="Freeform 147">
                <a:extLst>
                  <a:ext uri="{FF2B5EF4-FFF2-40B4-BE49-F238E27FC236}">
                    <a16:creationId xmlns:a16="http://schemas.microsoft.com/office/drawing/2014/main" id="{0D6CCCA5-459F-3104-7FFD-7798D022307D}"/>
                  </a:ext>
                </a:extLst>
              </p:cNvPr>
              <p:cNvSpPr>
                <a:spLocks noEditPoints="1"/>
              </p:cNvSpPr>
              <p:nvPr/>
            </p:nvSpPr>
            <p:spPr bwMode="gray">
              <a:xfrm>
                <a:off x="4423" y="1448"/>
                <a:ext cx="346" cy="114"/>
              </a:xfrm>
              <a:custGeom>
                <a:avLst/>
                <a:gdLst>
                  <a:gd name="T0" fmla="*/ 207 w 346"/>
                  <a:gd name="T1" fmla="*/ 87 h 114"/>
                  <a:gd name="T2" fmla="*/ 80 w 346"/>
                  <a:gd name="T3" fmla="*/ 79 h 114"/>
                  <a:gd name="T4" fmla="*/ 318 w 346"/>
                  <a:gd name="T5" fmla="*/ 54 h 114"/>
                  <a:gd name="T6" fmla="*/ 11 w 346"/>
                  <a:gd name="T7" fmla="*/ 34 h 114"/>
                  <a:gd name="T8" fmla="*/ 2 w 346"/>
                  <a:gd name="T9" fmla="*/ 17 h 114"/>
                  <a:gd name="T10" fmla="*/ 5 w 346"/>
                  <a:gd name="T11" fmla="*/ 18 h 114"/>
                  <a:gd name="T12" fmla="*/ 67 w 346"/>
                  <a:gd name="T13" fmla="*/ 72 h 114"/>
                  <a:gd name="T14" fmla="*/ 63 w 346"/>
                  <a:gd name="T15" fmla="*/ 37 h 114"/>
                  <a:gd name="T16" fmla="*/ 44 w 346"/>
                  <a:gd name="T17" fmla="*/ 20 h 114"/>
                  <a:gd name="T18" fmla="*/ 38 w 346"/>
                  <a:gd name="T19" fmla="*/ 28 h 114"/>
                  <a:gd name="T20" fmla="*/ 30 w 346"/>
                  <a:gd name="T21" fmla="*/ 28 h 114"/>
                  <a:gd name="T22" fmla="*/ 25 w 346"/>
                  <a:gd name="T23" fmla="*/ 29 h 114"/>
                  <a:gd name="T24" fmla="*/ 24 w 346"/>
                  <a:gd name="T25" fmla="*/ 20 h 114"/>
                  <a:gd name="T26" fmla="*/ 17 w 346"/>
                  <a:gd name="T27" fmla="*/ 15 h 114"/>
                  <a:gd name="T28" fmla="*/ 10 w 346"/>
                  <a:gd name="T29" fmla="*/ 15 h 114"/>
                  <a:gd name="T30" fmla="*/ 16 w 346"/>
                  <a:gd name="T31" fmla="*/ 40 h 114"/>
                  <a:gd name="T32" fmla="*/ 22 w 346"/>
                  <a:gd name="T33" fmla="*/ 64 h 114"/>
                  <a:gd name="T34" fmla="*/ 33 w 346"/>
                  <a:gd name="T35" fmla="*/ 82 h 114"/>
                  <a:gd name="T36" fmla="*/ 67 w 346"/>
                  <a:gd name="T37" fmla="*/ 104 h 114"/>
                  <a:gd name="T38" fmla="*/ 77 w 346"/>
                  <a:gd name="T39" fmla="*/ 101 h 114"/>
                  <a:gd name="T40" fmla="*/ 82 w 346"/>
                  <a:gd name="T41" fmla="*/ 98 h 114"/>
                  <a:gd name="T42" fmla="*/ 333 w 346"/>
                  <a:gd name="T43" fmla="*/ 29 h 114"/>
                  <a:gd name="T44" fmla="*/ 322 w 346"/>
                  <a:gd name="T45" fmla="*/ 28 h 114"/>
                  <a:gd name="T46" fmla="*/ 316 w 346"/>
                  <a:gd name="T47" fmla="*/ 25 h 114"/>
                  <a:gd name="T48" fmla="*/ 314 w 346"/>
                  <a:gd name="T49" fmla="*/ 14 h 114"/>
                  <a:gd name="T50" fmla="*/ 305 w 346"/>
                  <a:gd name="T51" fmla="*/ 11 h 114"/>
                  <a:gd name="T52" fmla="*/ 300 w 346"/>
                  <a:gd name="T53" fmla="*/ 7 h 114"/>
                  <a:gd name="T54" fmla="*/ 283 w 346"/>
                  <a:gd name="T55" fmla="*/ 32 h 114"/>
                  <a:gd name="T56" fmla="*/ 280 w 346"/>
                  <a:gd name="T57" fmla="*/ 40 h 114"/>
                  <a:gd name="T58" fmla="*/ 275 w 346"/>
                  <a:gd name="T59" fmla="*/ 51 h 114"/>
                  <a:gd name="T60" fmla="*/ 271 w 346"/>
                  <a:gd name="T61" fmla="*/ 43 h 114"/>
                  <a:gd name="T62" fmla="*/ 268 w 346"/>
                  <a:gd name="T63" fmla="*/ 53 h 114"/>
                  <a:gd name="T64" fmla="*/ 263 w 346"/>
                  <a:gd name="T65" fmla="*/ 59 h 114"/>
                  <a:gd name="T66" fmla="*/ 257 w 346"/>
                  <a:gd name="T67" fmla="*/ 51 h 114"/>
                  <a:gd name="T68" fmla="*/ 252 w 346"/>
                  <a:gd name="T69" fmla="*/ 51 h 114"/>
                  <a:gd name="T70" fmla="*/ 235 w 346"/>
                  <a:gd name="T71" fmla="*/ 73 h 114"/>
                  <a:gd name="T72" fmla="*/ 208 w 346"/>
                  <a:gd name="T73" fmla="*/ 87 h 114"/>
                  <a:gd name="T74" fmla="*/ 205 w 346"/>
                  <a:gd name="T75" fmla="*/ 92 h 114"/>
                  <a:gd name="T76" fmla="*/ 202 w 346"/>
                  <a:gd name="T77" fmla="*/ 104 h 114"/>
                  <a:gd name="T78" fmla="*/ 189 w 346"/>
                  <a:gd name="T79" fmla="*/ 100 h 114"/>
                  <a:gd name="T80" fmla="*/ 174 w 346"/>
                  <a:gd name="T81" fmla="*/ 97 h 114"/>
                  <a:gd name="T82" fmla="*/ 182 w 346"/>
                  <a:gd name="T83" fmla="*/ 106 h 114"/>
                  <a:gd name="T84" fmla="*/ 194 w 346"/>
                  <a:gd name="T85" fmla="*/ 114 h 114"/>
                  <a:gd name="T86" fmla="*/ 214 w 346"/>
                  <a:gd name="T87" fmla="*/ 112 h 114"/>
                  <a:gd name="T88" fmla="*/ 222 w 346"/>
                  <a:gd name="T89" fmla="*/ 103 h 114"/>
                  <a:gd name="T90" fmla="*/ 236 w 346"/>
                  <a:gd name="T91" fmla="*/ 104 h 114"/>
                  <a:gd name="T92" fmla="*/ 250 w 346"/>
                  <a:gd name="T93" fmla="*/ 104 h 114"/>
                  <a:gd name="T94" fmla="*/ 263 w 346"/>
                  <a:gd name="T95" fmla="*/ 103 h 114"/>
                  <a:gd name="T96" fmla="*/ 266 w 346"/>
                  <a:gd name="T97" fmla="*/ 97 h 114"/>
                  <a:gd name="T98" fmla="*/ 268 w 346"/>
                  <a:gd name="T99" fmla="*/ 89 h 114"/>
                  <a:gd name="T100" fmla="*/ 272 w 346"/>
                  <a:gd name="T101" fmla="*/ 82 h 114"/>
                  <a:gd name="T102" fmla="*/ 277 w 346"/>
                  <a:gd name="T103" fmla="*/ 76 h 114"/>
                  <a:gd name="T104" fmla="*/ 280 w 346"/>
                  <a:gd name="T105" fmla="*/ 68 h 114"/>
                  <a:gd name="T106" fmla="*/ 282 w 346"/>
                  <a:gd name="T107" fmla="*/ 56 h 114"/>
                  <a:gd name="T108" fmla="*/ 291 w 346"/>
                  <a:gd name="T109" fmla="*/ 53 h 114"/>
                  <a:gd name="T110" fmla="*/ 300 w 346"/>
                  <a:gd name="T111" fmla="*/ 53 h 114"/>
                  <a:gd name="T112" fmla="*/ 318 w 346"/>
                  <a:gd name="T113" fmla="*/ 53 h 114"/>
                  <a:gd name="T114" fmla="*/ 333 w 346"/>
                  <a:gd name="T115" fmla="*/ 53 h 114"/>
                  <a:gd name="T116" fmla="*/ 335 w 346"/>
                  <a:gd name="T117" fmla="*/ 42 h 114"/>
                  <a:gd name="T118" fmla="*/ 308 w 346"/>
                  <a:gd name="T119"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114">
                    <a:moveTo>
                      <a:pt x="207" y="86"/>
                    </a:moveTo>
                    <a:lnTo>
                      <a:pt x="207" y="84"/>
                    </a:lnTo>
                    <a:lnTo>
                      <a:pt x="207" y="81"/>
                    </a:lnTo>
                    <a:lnTo>
                      <a:pt x="207" y="81"/>
                    </a:lnTo>
                    <a:lnTo>
                      <a:pt x="207" y="81"/>
                    </a:lnTo>
                    <a:lnTo>
                      <a:pt x="205" y="81"/>
                    </a:lnTo>
                    <a:lnTo>
                      <a:pt x="205" y="86"/>
                    </a:lnTo>
                    <a:lnTo>
                      <a:pt x="207" y="87"/>
                    </a:lnTo>
                    <a:lnTo>
                      <a:pt x="207" y="87"/>
                    </a:lnTo>
                    <a:lnTo>
                      <a:pt x="207" y="86"/>
                    </a:lnTo>
                    <a:close/>
                    <a:moveTo>
                      <a:pt x="80" y="79"/>
                    </a:moveTo>
                    <a:lnTo>
                      <a:pt x="80" y="79"/>
                    </a:lnTo>
                    <a:lnTo>
                      <a:pt x="80" y="81"/>
                    </a:lnTo>
                    <a:lnTo>
                      <a:pt x="80" y="81"/>
                    </a:lnTo>
                    <a:lnTo>
                      <a:pt x="80" y="81"/>
                    </a:lnTo>
                    <a:lnTo>
                      <a:pt x="82" y="81"/>
                    </a:lnTo>
                    <a:lnTo>
                      <a:pt x="82" y="81"/>
                    </a:lnTo>
                    <a:lnTo>
                      <a:pt x="80" y="79"/>
                    </a:lnTo>
                    <a:close/>
                    <a:moveTo>
                      <a:pt x="30" y="75"/>
                    </a:moveTo>
                    <a:lnTo>
                      <a:pt x="30" y="76"/>
                    </a:lnTo>
                    <a:lnTo>
                      <a:pt x="30" y="76"/>
                    </a:lnTo>
                    <a:lnTo>
                      <a:pt x="30" y="78"/>
                    </a:lnTo>
                    <a:lnTo>
                      <a:pt x="30" y="76"/>
                    </a:lnTo>
                    <a:lnTo>
                      <a:pt x="30" y="76"/>
                    </a:lnTo>
                    <a:lnTo>
                      <a:pt x="30" y="75"/>
                    </a:lnTo>
                    <a:close/>
                    <a:moveTo>
                      <a:pt x="319" y="54"/>
                    </a:moveTo>
                    <a:lnTo>
                      <a:pt x="318" y="54"/>
                    </a:lnTo>
                    <a:lnTo>
                      <a:pt x="318" y="54"/>
                    </a:lnTo>
                    <a:lnTo>
                      <a:pt x="318" y="56"/>
                    </a:lnTo>
                    <a:lnTo>
                      <a:pt x="318" y="56"/>
                    </a:lnTo>
                    <a:lnTo>
                      <a:pt x="319" y="56"/>
                    </a:lnTo>
                    <a:lnTo>
                      <a:pt x="321" y="56"/>
                    </a:lnTo>
                    <a:lnTo>
                      <a:pt x="319" y="54"/>
                    </a:lnTo>
                    <a:close/>
                    <a:moveTo>
                      <a:pt x="13" y="34"/>
                    </a:moveTo>
                    <a:lnTo>
                      <a:pt x="11" y="34"/>
                    </a:lnTo>
                    <a:lnTo>
                      <a:pt x="11" y="34"/>
                    </a:lnTo>
                    <a:lnTo>
                      <a:pt x="11" y="37"/>
                    </a:lnTo>
                    <a:lnTo>
                      <a:pt x="11" y="37"/>
                    </a:lnTo>
                    <a:lnTo>
                      <a:pt x="13" y="37"/>
                    </a:lnTo>
                    <a:lnTo>
                      <a:pt x="13" y="34"/>
                    </a:lnTo>
                    <a:lnTo>
                      <a:pt x="13" y="34"/>
                    </a:lnTo>
                    <a:close/>
                    <a:moveTo>
                      <a:pt x="5" y="15"/>
                    </a:moveTo>
                    <a:lnTo>
                      <a:pt x="3" y="17"/>
                    </a:lnTo>
                    <a:lnTo>
                      <a:pt x="3" y="17"/>
                    </a:lnTo>
                    <a:lnTo>
                      <a:pt x="2" y="17"/>
                    </a:lnTo>
                    <a:lnTo>
                      <a:pt x="0" y="17"/>
                    </a:lnTo>
                    <a:lnTo>
                      <a:pt x="2" y="18"/>
                    </a:lnTo>
                    <a:lnTo>
                      <a:pt x="2" y="18"/>
                    </a:lnTo>
                    <a:lnTo>
                      <a:pt x="3" y="20"/>
                    </a:lnTo>
                    <a:lnTo>
                      <a:pt x="3" y="20"/>
                    </a:lnTo>
                    <a:lnTo>
                      <a:pt x="3" y="18"/>
                    </a:lnTo>
                    <a:lnTo>
                      <a:pt x="5" y="18"/>
                    </a:lnTo>
                    <a:lnTo>
                      <a:pt x="5" y="18"/>
                    </a:lnTo>
                    <a:lnTo>
                      <a:pt x="5" y="18"/>
                    </a:lnTo>
                    <a:lnTo>
                      <a:pt x="5" y="15"/>
                    </a:lnTo>
                    <a:close/>
                    <a:moveTo>
                      <a:pt x="82" y="98"/>
                    </a:moveTo>
                    <a:lnTo>
                      <a:pt x="77" y="89"/>
                    </a:lnTo>
                    <a:lnTo>
                      <a:pt x="74" y="86"/>
                    </a:lnTo>
                    <a:lnTo>
                      <a:pt x="74" y="84"/>
                    </a:lnTo>
                    <a:lnTo>
                      <a:pt x="69" y="81"/>
                    </a:lnTo>
                    <a:lnTo>
                      <a:pt x="69" y="79"/>
                    </a:lnTo>
                    <a:lnTo>
                      <a:pt x="67" y="78"/>
                    </a:lnTo>
                    <a:lnTo>
                      <a:pt x="67" y="72"/>
                    </a:lnTo>
                    <a:lnTo>
                      <a:pt x="67" y="70"/>
                    </a:lnTo>
                    <a:lnTo>
                      <a:pt x="67" y="67"/>
                    </a:lnTo>
                    <a:lnTo>
                      <a:pt x="66" y="65"/>
                    </a:lnTo>
                    <a:lnTo>
                      <a:pt x="66" y="64"/>
                    </a:lnTo>
                    <a:lnTo>
                      <a:pt x="67" y="59"/>
                    </a:lnTo>
                    <a:lnTo>
                      <a:pt x="67" y="53"/>
                    </a:lnTo>
                    <a:lnTo>
                      <a:pt x="67" y="48"/>
                    </a:lnTo>
                    <a:lnTo>
                      <a:pt x="67" y="45"/>
                    </a:lnTo>
                    <a:lnTo>
                      <a:pt x="63" y="37"/>
                    </a:lnTo>
                    <a:lnTo>
                      <a:pt x="61" y="34"/>
                    </a:lnTo>
                    <a:lnTo>
                      <a:pt x="60" y="32"/>
                    </a:lnTo>
                    <a:lnTo>
                      <a:pt x="58" y="32"/>
                    </a:lnTo>
                    <a:lnTo>
                      <a:pt x="56" y="31"/>
                    </a:lnTo>
                    <a:lnTo>
                      <a:pt x="52" y="26"/>
                    </a:lnTo>
                    <a:lnTo>
                      <a:pt x="49" y="21"/>
                    </a:lnTo>
                    <a:lnTo>
                      <a:pt x="47" y="20"/>
                    </a:lnTo>
                    <a:lnTo>
                      <a:pt x="44" y="20"/>
                    </a:lnTo>
                    <a:lnTo>
                      <a:pt x="44" y="20"/>
                    </a:lnTo>
                    <a:lnTo>
                      <a:pt x="44" y="21"/>
                    </a:lnTo>
                    <a:lnTo>
                      <a:pt x="44" y="21"/>
                    </a:lnTo>
                    <a:lnTo>
                      <a:pt x="42" y="23"/>
                    </a:lnTo>
                    <a:lnTo>
                      <a:pt x="41" y="25"/>
                    </a:lnTo>
                    <a:lnTo>
                      <a:pt x="41" y="25"/>
                    </a:lnTo>
                    <a:lnTo>
                      <a:pt x="41" y="26"/>
                    </a:lnTo>
                    <a:lnTo>
                      <a:pt x="39" y="28"/>
                    </a:lnTo>
                    <a:lnTo>
                      <a:pt x="39" y="28"/>
                    </a:lnTo>
                    <a:lnTo>
                      <a:pt x="38" y="28"/>
                    </a:lnTo>
                    <a:lnTo>
                      <a:pt x="38" y="28"/>
                    </a:lnTo>
                    <a:lnTo>
                      <a:pt x="36" y="28"/>
                    </a:lnTo>
                    <a:lnTo>
                      <a:pt x="36" y="28"/>
                    </a:lnTo>
                    <a:lnTo>
                      <a:pt x="36" y="28"/>
                    </a:lnTo>
                    <a:lnTo>
                      <a:pt x="35" y="26"/>
                    </a:lnTo>
                    <a:lnTo>
                      <a:pt x="35" y="26"/>
                    </a:lnTo>
                    <a:lnTo>
                      <a:pt x="35" y="26"/>
                    </a:lnTo>
                    <a:lnTo>
                      <a:pt x="31" y="26"/>
                    </a:lnTo>
                    <a:lnTo>
                      <a:pt x="30" y="28"/>
                    </a:lnTo>
                    <a:lnTo>
                      <a:pt x="28" y="28"/>
                    </a:lnTo>
                    <a:lnTo>
                      <a:pt x="28" y="28"/>
                    </a:lnTo>
                    <a:lnTo>
                      <a:pt x="28" y="29"/>
                    </a:lnTo>
                    <a:lnTo>
                      <a:pt x="28" y="29"/>
                    </a:lnTo>
                    <a:lnTo>
                      <a:pt x="28" y="29"/>
                    </a:lnTo>
                    <a:lnTo>
                      <a:pt x="27" y="31"/>
                    </a:lnTo>
                    <a:lnTo>
                      <a:pt x="27" y="31"/>
                    </a:lnTo>
                    <a:lnTo>
                      <a:pt x="27" y="29"/>
                    </a:lnTo>
                    <a:lnTo>
                      <a:pt x="25" y="29"/>
                    </a:lnTo>
                    <a:lnTo>
                      <a:pt x="24" y="28"/>
                    </a:lnTo>
                    <a:lnTo>
                      <a:pt x="25" y="26"/>
                    </a:lnTo>
                    <a:lnTo>
                      <a:pt x="25" y="26"/>
                    </a:lnTo>
                    <a:lnTo>
                      <a:pt x="25" y="25"/>
                    </a:lnTo>
                    <a:lnTo>
                      <a:pt x="27" y="23"/>
                    </a:lnTo>
                    <a:lnTo>
                      <a:pt x="25" y="21"/>
                    </a:lnTo>
                    <a:lnTo>
                      <a:pt x="25" y="20"/>
                    </a:lnTo>
                    <a:lnTo>
                      <a:pt x="25" y="20"/>
                    </a:lnTo>
                    <a:lnTo>
                      <a:pt x="24" y="20"/>
                    </a:lnTo>
                    <a:lnTo>
                      <a:pt x="22" y="20"/>
                    </a:lnTo>
                    <a:lnTo>
                      <a:pt x="22" y="20"/>
                    </a:lnTo>
                    <a:lnTo>
                      <a:pt x="22" y="18"/>
                    </a:lnTo>
                    <a:lnTo>
                      <a:pt x="21" y="17"/>
                    </a:lnTo>
                    <a:lnTo>
                      <a:pt x="21" y="17"/>
                    </a:lnTo>
                    <a:lnTo>
                      <a:pt x="19" y="15"/>
                    </a:lnTo>
                    <a:lnTo>
                      <a:pt x="17" y="17"/>
                    </a:lnTo>
                    <a:lnTo>
                      <a:pt x="17" y="17"/>
                    </a:lnTo>
                    <a:lnTo>
                      <a:pt x="17" y="15"/>
                    </a:lnTo>
                    <a:lnTo>
                      <a:pt x="17" y="15"/>
                    </a:lnTo>
                    <a:lnTo>
                      <a:pt x="13" y="14"/>
                    </a:lnTo>
                    <a:lnTo>
                      <a:pt x="13" y="14"/>
                    </a:lnTo>
                    <a:lnTo>
                      <a:pt x="11" y="12"/>
                    </a:lnTo>
                    <a:lnTo>
                      <a:pt x="11" y="12"/>
                    </a:lnTo>
                    <a:lnTo>
                      <a:pt x="10" y="12"/>
                    </a:lnTo>
                    <a:lnTo>
                      <a:pt x="10" y="12"/>
                    </a:lnTo>
                    <a:lnTo>
                      <a:pt x="10" y="12"/>
                    </a:lnTo>
                    <a:lnTo>
                      <a:pt x="10" y="15"/>
                    </a:lnTo>
                    <a:lnTo>
                      <a:pt x="10" y="17"/>
                    </a:lnTo>
                    <a:lnTo>
                      <a:pt x="10" y="17"/>
                    </a:lnTo>
                    <a:lnTo>
                      <a:pt x="10" y="17"/>
                    </a:lnTo>
                    <a:lnTo>
                      <a:pt x="10" y="18"/>
                    </a:lnTo>
                    <a:lnTo>
                      <a:pt x="11" y="21"/>
                    </a:lnTo>
                    <a:lnTo>
                      <a:pt x="13" y="25"/>
                    </a:lnTo>
                    <a:lnTo>
                      <a:pt x="14" y="28"/>
                    </a:lnTo>
                    <a:lnTo>
                      <a:pt x="13" y="31"/>
                    </a:lnTo>
                    <a:lnTo>
                      <a:pt x="16" y="40"/>
                    </a:lnTo>
                    <a:lnTo>
                      <a:pt x="17" y="48"/>
                    </a:lnTo>
                    <a:lnTo>
                      <a:pt x="17" y="53"/>
                    </a:lnTo>
                    <a:lnTo>
                      <a:pt x="19" y="56"/>
                    </a:lnTo>
                    <a:lnTo>
                      <a:pt x="21" y="57"/>
                    </a:lnTo>
                    <a:lnTo>
                      <a:pt x="21" y="59"/>
                    </a:lnTo>
                    <a:lnTo>
                      <a:pt x="21" y="59"/>
                    </a:lnTo>
                    <a:lnTo>
                      <a:pt x="19" y="59"/>
                    </a:lnTo>
                    <a:lnTo>
                      <a:pt x="21" y="62"/>
                    </a:lnTo>
                    <a:lnTo>
                      <a:pt x="22" y="64"/>
                    </a:lnTo>
                    <a:lnTo>
                      <a:pt x="25" y="65"/>
                    </a:lnTo>
                    <a:lnTo>
                      <a:pt x="27" y="68"/>
                    </a:lnTo>
                    <a:lnTo>
                      <a:pt x="30" y="72"/>
                    </a:lnTo>
                    <a:lnTo>
                      <a:pt x="30" y="75"/>
                    </a:lnTo>
                    <a:lnTo>
                      <a:pt x="31" y="76"/>
                    </a:lnTo>
                    <a:lnTo>
                      <a:pt x="30" y="79"/>
                    </a:lnTo>
                    <a:lnTo>
                      <a:pt x="31" y="79"/>
                    </a:lnTo>
                    <a:lnTo>
                      <a:pt x="31" y="79"/>
                    </a:lnTo>
                    <a:lnTo>
                      <a:pt x="33" y="82"/>
                    </a:lnTo>
                    <a:lnTo>
                      <a:pt x="38" y="84"/>
                    </a:lnTo>
                    <a:lnTo>
                      <a:pt x="41" y="86"/>
                    </a:lnTo>
                    <a:lnTo>
                      <a:pt x="44" y="90"/>
                    </a:lnTo>
                    <a:lnTo>
                      <a:pt x="52" y="93"/>
                    </a:lnTo>
                    <a:lnTo>
                      <a:pt x="55" y="97"/>
                    </a:lnTo>
                    <a:lnTo>
                      <a:pt x="58" y="98"/>
                    </a:lnTo>
                    <a:lnTo>
                      <a:pt x="66" y="101"/>
                    </a:lnTo>
                    <a:lnTo>
                      <a:pt x="67" y="103"/>
                    </a:lnTo>
                    <a:lnTo>
                      <a:pt x="67" y="104"/>
                    </a:lnTo>
                    <a:lnTo>
                      <a:pt x="67" y="106"/>
                    </a:lnTo>
                    <a:lnTo>
                      <a:pt x="69" y="106"/>
                    </a:lnTo>
                    <a:lnTo>
                      <a:pt x="72" y="104"/>
                    </a:lnTo>
                    <a:lnTo>
                      <a:pt x="74" y="103"/>
                    </a:lnTo>
                    <a:lnTo>
                      <a:pt x="75" y="104"/>
                    </a:lnTo>
                    <a:lnTo>
                      <a:pt x="77" y="103"/>
                    </a:lnTo>
                    <a:lnTo>
                      <a:pt x="77" y="101"/>
                    </a:lnTo>
                    <a:lnTo>
                      <a:pt x="77" y="101"/>
                    </a:lnTo>
                    <a:lnTo>
                      <a:pt x="77" y="101"/>
                    </a:lnTo>
                    <a:lnTo>
                      <a:pt x="78" y="103"/>
                    </a:lnTo>
                    <a:lnTo>
                      <a:pt x="78" y="103"/>
                    </a:lnTo>
                    <a:lnTo>
                      <a:pt x="78" y="104"/>
                    </a:lnTo>
                    <a:lnTo>
                      <a:pt x="80" y="104"/>
                    </a:lnTo>
                    <a:lnTo>
                      <a:pt x="80" y="104"/>
                    </a:lnTo>
                    <a:lnTo>
                      <a:pt x="82" y="104"/>
                    </a:lnTo>
                    <a:lnTo>
                      <a:pt x="82" y="104"/>
                    </a:lnTo>
                    <a:lnTo>
                      <a:pt x="83" y="103"/>
                    </a:lnTo>
                    <a:lnTo>
                      <a:pt x="82" y="98"/>
                    </a:lnTo>
                    <a:close/>
                    <a:moveTo>
                      <a:pt x="346" y="36"/>
                    </a:moveTo>
                    <a:lnTo>
                      <a:pt x="344" y="34"/>
                    </a:lnTo>
                    <a:lnTo>
                      <a:pt x="344" y="34"/>
                    </a:lnTo>
                    <a:lnTo>
                      <a:pt x="341" y="34"/>
                    </a:lnTo>
                    <a:lnTo>
                      <a:pt x="341" y="34"/>
                    </a:lnTo>
                    <a:lnTo>
                      <a:pt x="339" y="34"/>
                    </a:lnTo>
                    <a:lnTo>
                      <a:pt x="335" y="32"/>
                    </a:lnTo>
                    <a:lnTo>
                      <a:pt x="333" y="31"/>
                    </a:lnTo>
                    <a:lnTo>
                      <a:pt x="333" y="29"/>
                    </a:lnTo>
                    <a:lnTo>
                      <a:pt x="332" y="29"/>
                    </a:lnTo>
                    <a:lnTo>
                      <a:pt x="332" y="28"/>
                    </a:lnTo>
                    <a:lnTo>
                      <a:pt x="329" y="28"/>
                    </a:lnTo>
                    <a:lnTo>
                      <a:pt x="329" y="28"/>
                    </a:lnTo>
                    <a:lnTo>
                      <a:pt x="327" y="28"/>
                    </a:lnTo>
                    <a:lnTo>
                      <a:pt x="325" y="28"/>
                    </a:lnTo>
                    <a:lnTo>
                      <a:pt x="324" y="29"/>
                    </a:lnTo>
                    <a:lnTo>
                      <a:pt x="322" y="29"/>
                    </a:lnTo>
                    <a:lnTo>
                      <a:pt x="322" y="28"/>
                    </a:lnTo>
                    <a:lnTo>
                      <a:pt x="322" y="28"/>
                    </a:lnTo>
                    <a:lnTo>
                      <a:pt x="324" y="28"/>
                    </a:lnTo>
                    <a:lnTo>
                      <a:pt x="325" y="26"/>
                    </a:lnTo>
                    <a:lnTo>
                      <a:pt x="324" y="25"/>
                    </a:lnTo>
                    <a:lnTo>
                      <a:pt x="322" y="23"/>
                    </a:lnTo>
                    <a:lnTo>
                      <a:pt x="321" y="25"/>
                    </a:lnTo>
                    <a:lnTo>
                      <a:pt x="319" y="25"/>
                    </a:lnTo>
                    <a:lnTo>
                      <a:pt x="314" y="26"/>
                    </a:lnTo>
                    <a:lnTo>
                      <a:pt x="316" y="25"/>
                    </a:lnTo>
                    <a:lnTo>
                      <a:pt x="316" y="25"/>
                    </a:lnTo>
                    <a:lnTo>
                      <a:pt x="318" y="23"/>
                    </a:lnTo>
                    <a:lnTo>
                      <a:pt x="316" y="20"/>
                    </a:lnTo>
                    <a:lnTo>
                      <a:pt x="318" y="20"/>
                    </a:lnTo>
                    <a:lnTo>
                      <a:pt x="318" y="18"/>
                    </a:lnTo>
                    <a:lnTo>
                      <a:pt x="318" y="17"/>
                    </a:lnTo>
                    <a:lnTo>
                      <a:pt x="316" y="15"/>
                    </a:lnTo>
                    <a:lnTo>
                      <a:pt x="316" y="15"/>
                    </a:lnTo>
                    <a:lnTo>
                      <a:pt x="314" y="14"/>
                    </a:lnTo>
                    <a:lnTo>
                      <a:pt x="311" y="14"/>
                    </a:lnTo>
                    <a:lnTo>
                      <a:pt x="311" y="12"/>
                    </a:lnTo>
                    <a:lnTo>
                      <a:pt x="310" y="11"/>
                    </a:lnTo>
                    <a:lnTo>
                      <a:pt x="310" y="9"/>
                    </a:lnTo>
                    <a:lnTo>
                      <a:pt x="310" y="7"/>
                    </a:lnTo>
                    <a:lnTo>
                      <a:pt x="310" y="7"/>
                    </a:lnTo>
                    <a:lnTo>
                      <a:pt x="308" y="7"/>
                    </a:lnTo>
                    <a:lnTo>
                      <a:pt x="307" y="7"/>
                    </a:lnTo>
                    <a:lnTo>
                      <a:pt x="305" y="11"/>
                    </a:lnTo>
                    <a:lnTo>
                      <a:pt x="304" y="12"/>
                    </a:lnTo>
                    <a:lnTo>
                      <a:pt x="302" y="14"/>
                    </a:lnTo>
                    <a:lnTo>
                      <a:pt x="302" y="14"/>
                    </a:lnTo>
                    <a:lnTo>
                      <a:pt x="302" y="12"/>
                    </a:lnTo>
                    <a:lnTo>
                      <a:pt x="302" y="11"/>
                    </a:lnTo>
                    <a:lnTo>
                      <a:pt x="304" y="9"/>
                    </a:lnTo>
                    <a:lnTo>
                      <a:pt x="302" y="7"/>
                    </a:lnTo>
                    <a:lnTo>
                      <a:pt x="302" y="7"/>
                    </a:lnTo>
                    <a:lnTo>
                      <a:pt x="300" y="7"/>
                    </a:lnTo>
                    <a:lnTo>
                      <a:pt x="297" y="14"/>
                    </a:lnTo>
                    <a:lnTo>
                      <a:pt x="297" y="15"/>
                    </a:lnTo>
                    <a:lnTo>
                      <a:pt x="291" y="21"/>
                    </a:lnTo>
                    <a:lnTo>
                      <a:pt x="289" y="25"/>
                    </a:lnTo>
                    <a:lnTo>
                      <a:pt x="289" y="26"/>
                    </a:lnTo>
                    <a:lnTo>
                      <a:pt x="286" y="29"/>
                    </a:lnTo>
                    <a:lnTo>
                      <a:pt x="286" y="31"/>
                    </a:lnTo>
                    <a:lnTo>
                      <a:pt x="285" y="32"/>
                    </a:lnTo>
                    <a:lnTo>
                      <a:pt x="283" y="32"/>
                    </a:lnTo>
                    <a:lnTo>
                      <a:pt x="282" y="32"/>
                    </a:lnTo>
                    <a:lnTo>
                      <a:pt x="282" y="32"/>
                    </a:lnTo>
                    <a:lnTo>
                      <a:pt x="282" y="31"/>
                    </a:lnTo>
                    <a:lnTo>
                      <a:pt x="280" y="32"/>
                    </a:lnTo>
                    <a:lnTo>
                      <a:pt x="277" y="34"/>
                    </a:lnTo>
                    <a:lnTo>
                      <a:pt x="279" y="36"/>
                    </a:lnTo>
                    <a:lnTo>
                      <a:pt x="279" y="37"/>
                    </a:lnTo>
                    <a:lnTo>
                      <a:pt x="280" y="39"/>
                    </a:lnTo>
                    <a:lnTo>
                      <a:pt x="280" y="40"/>
                    </a:lnTo>
                    <a:lnTo>
                      <a:pt x="280" y="40"/>
                    </a:lnTo>
                    <a:lnTo>
                      <a:pt x="279" y="42"/>
                    </a:lnTo>
                    <a:lnTo>
                      <a:pt x="277" y="43"/>
                    </a:lnTo>
                    <a:lnTo>
                      <a:pt x="272" y="43"/>
                    </a:lnTo>
                    <a:lnTo>
                      <a:pt x="272" y="43"/>
                    </a:lnTo>
                    <a:lnTo>
                      <a:pt x="274" y="43"/>
                    </a:lnTo>
                    <a:lnTo>
                      <a:pt x="274" y="47"/>
                    </a:lnTo>
                    <a:lnTo>
                      <a:pt x="275" y="48"/>
                    </a:lnTo>
                    <a:lnTo>
                      <a:pt x="275" y="51"/>
                    </a:lnTo>
                    <a:lnTo>
                      <a:pt x="275" y="53"/>
                    </a:lnTo>
                    <a:lnTo>
                      <a:pt x="275" y="53"/>
                    </a:lnTo>
                    <a:lnTo>
                      <a:pt x="275" y="53"/>
                    </a:lnTo>
                    <a:lnTo>
                      <a:pt x="275" y="53"/>
                    </a:lnTo>
                    <a:lnTo>
                      <a:pt x="274" y="53"/>
                    </a:lnTo>
                    <a:lnTo>
                      <a:pt x="272" y="53"/>
                    </a:lnTo>
                    <a:lnTo>
                      <a:pt x="271" y="50"/>
                    </a:lnTo>
                    <a:lnTo>
                      <a:pt x="271" y="47"/>
                    </a:lnTo>
                    <a:lnTo>
                      <a:pt x="271" y="43"/>
                    </a:lnTo>
                    <a:lnTo>
                      <a:pt x="269" y="43"/>
                    </a:lnTo>
                    <a:lnTo>
                      <a:pt x="268" y="45"/>
                    </a:lnTo>
                    <a:lnTo>
                      <a:pt x="266" y="47"/>
                    </a:lnTo>
                    <a:lnTo>
                      <a:pt x="266" y="47"/>
                    </a:lnTo>
                    <a:lnTo>
                      <a:pt x="266" y="48"/>
                    </a:lnTo>
                    <a:lnTo>
                      <a:pt x="266" y="50"/>
                    </a:lnTo>
                    <a:lnTo>
                      <a:pt x="266" y="51"/>
                    </a:lnTo>
                    <a:lnTo>
                      <a:pt x="268" y="51"/>
                    </a:lnTo>
                    <a:lnTo>
                      <a:pt x="268" y="53"/>
                    </a:lnTo>
                    <a:lnTo>
                      <a:pt x="268" y="53"/>
                    </a:lnTo>
                    <a:lnTo>
                      <a:pt x="266" y="54"/>
                    </a:lnTo>
                    <a:lnTo>
                      <a:pt x="268" y="54"/>
                    </a:lnTo>
                    <a:lnTo>
                      <a:pt x="266" y="56"/>
                    </a:lnTo>
                    <a:lnTo>
                      <a:pt x="266" y="57"/>
                    </a:lnTo>
                    <a:lnTo>
                      <a:pt x="264" y="59"/>
                    </a:lnTo>
                    <a:lnTo>
                      <a:pt x="264" y="59"/>
                    </a:lnTo>
                    <a:lnTo>
                      <a:pt x="263" y="59"/>
                    </a:lnTo>
                    <a:lnTo>
                      <a:pt x="263" y="59"/>
                    </a:lnTo>
                    <a:lnTo>
                      <a:pt x="263" y="57"/>
                    </a:lnTo>
                    <a:lnTo>
                      <a:pt x="261" y="57"/>
                    </a:lnTo>
                    <a:lnTo>
                      <a:pt x="261" y="56"/>
                    </a:lnTo>
                    <a:lnTo>
                      <a:pt x="261" y="56"/>
                    </a:lnTo>
                    <a:lnTo>
                      <a:pt x="260" y="54"/>
                    </a:lnTo>
                    <a:lnTo>
                      <a:pt x="258" y="54"/>
                    </a:lnTo>
                    <a:lnTo>
                      <a:pt x="258" y="54"/>
                    </a:lnTo>
                    <a:lnTo>
                      <a:pt x="258" y="53"/>
                    </a:lnTo>
                    <a:lnTo>
                      <a:pt x="257" y="51"/>
                    </a:lnTo>
                    <a:lnTo>
                      <a:pt x="257" y="51"/>
                    </a:lnTo>
                    <a:lnTo>
                      <a:pt x="257" y="51"/>
                    </a:lnTo>
                    <a:lnTo>
                      <a:pt x="255" y="50"/>
                    </a:lnTo>
                    <a:lnTo>
                      <a:pt x="255" y="50"/>
                    </a:lnTo>
                    <a:lnTo>
                      <a:pt x="253" y="48"/>
                    </a:lnTo>
                    <a:lnTo>
                      <a:pt x="253" y="48"/>
                    </a:lnTo>
                    <a:lnTo>
                      <a:pt x="253" y="50"/>
                    </a:lnTo>
                    <a:lnTo>
                      <a:pt x="252" y="50"/>
                    </a:lnTo>
                    <a:lnTo>
                      <a:pt x="252" y="51"/>
                    </a:lnTo>
                    <a:lnTo>
                      <a:pt x="252" y="51"/>
                    </a:lnTo>
                    <a:lnTo>
                      <a:pt x="252" y="54"/>
                    </a:lnTo>
                    <a:lnTo>
                      <a:pt x="252" y="54"/>
                    </a:lnTo>
                    <a:lnTo>
                      <a:pt x="247" y="59"/>
                    </a:lnTo>
                    <a:lnTo>
                      <a:pt x="243" y="64"/>
                    </a:lnTo>
                    <a:lnTo>
                      <a:pt x="241" y="67"/>
                    </a:lnTo>
                    <a:lnTo>
                      <a:pt x="238" y="70"/>
                    </a:lnTo>
                    <a:lnTo>
                      <a:pt x="236" y="73"/>
                    </a:lnTo>
                    <a:lnTo>
                      <a:pt x="235" y="73"/>
                    </a:lnTo>
                    <a:lnTo>
                      <a:pt x="233" y="75"/>
                    </a:lnTo>
                    <a:lnTo>
                      <a:pt x="230" y="75"/>
                    </a:lnTo>
                    <a:lnTo>
                      <a:pt x="219" y="78"/>
                    </a:lnTo>
                    <a:lnTo>
                      <a:pt x="213" y="79"/>
                    </a:lnTo>
                    <a:lnTo>
                      <a:pt x="211" y="79"/>
                    </a:lnTo>
                    <a:lnTo>
                      <a:pt x="210" y="81"/>
                    </a:lnTo>
                    <a:lnTo>
                      <a:pt x="208" y="82"/>
                    </a:lnTo>
                    <a:lnTo>
                      <a:pt x="208" y="86"/>
                    </a:lnTo>
                    <a:lnTo>
                      <a:pt x="208" y="87"/>
                    </a:lnTo>
                    <a:lnTo>
                      <a:pt x="208" y="87"/>
                    </a:lnTo>
                    <a:lnTo>
                      <a:pt x="207" y="87"/>
                    </a:lnTo>
                    <a:lnTo>
                      <a:pt x="207" y="87"/>
                    </a:lnTo>
                    <a:lnTo>
                      <a:pt x="205" y="87"/>
                    </a:lnTo>
                    <a:lnTo>
                      <a:pt x="205" y="87"/>
                    </a:lnTo>
                    <a:lnTo>
                      <a:pt x="203" y="87"/>
                    </a:lnTo>
                    <a:lnTo>
                      <a:pt x="203" y="89"/>
                    </a:lnTo>
                    <a:lnTo>
                      <a:pt x="203" y="90"/>
                    </a:lnTo>
                    <a:lnTo>
                      <a:pt x="205" y="92"/>
                    </a:lnTo>
                    <a:lnTo>
                      <a:pt x="205" y="93"/>
                    </a:lnTo>
                    <a:lnTo>
                      <a:pt x="203" y="95"/>
                    </a:lnTo>
                    <a:lnTo>
                      <a:pt x="203" y="95"/>
                    </a:lnTo>
                    <a:lnTo>
                      <a:pt x="203" y="98"/>
                    </a:lnTo>
                    <a:lnTo>
                      <a:pt x="202" y="100"/>
                    </a:lnTo>
                    <a:lnTo>
                      <a:pt x="200" y="100"/>
                    </a:lnTo>
                    <a:lnTo>
                      <a:pt x="200" y="101"/>
                    </a:lnTo>
                    <a:lnTo>
                      <a:pt x="202" y="103"/>
                    </a:lnTo>
                    <a:lnTo>
                      <a:pt x="202" y="104"/>
                    </a:lnTo>
                    <a:lnTo>
                      <a:pt x="203" y="104"/>
                    </a:lnTo>
                    <a:lnTo>
                      <a:pt x="202" y="104"/>
                    </a:lnTo>
                    <a:lnTo>
                      <a:pt x="202" y="104"/>
                    </a:lnTo>
                    <a:lnTo>
                      <a:pt x="199" y="103"/>
                    </a:lnTo>
                    <a:lnTo>
                      <a:pt x="199" y="103"/>
                    </a:lnTo>
                    <a:lnTo>
                      <a:pt x="196" y="103"/>
                    </a:lnTo>
                    <a:lnTo>
                      <a:pt x="194" y="101"/>
                    </a:lnTo>
                    <a:lnTo>
                      <a:pt x="189" y="100"/>
                    </a:lnTo>
                    <a:lnTo>
                      <a:pt x="189" y="100"/>
                    </a:lnTo>
                    <a:lnTo>
                      <a:pt x="188" y="100"/>
                    </a:lnTo>
                    <a:lnTo>
                      <a:pt x="186" y="100"/>
                    </a:lnTo>
                    <a:lnTo>
                      <a:pt x="185" y="100"/>
                    </a:lnTo>
                    <a:lnTo>
                      <a:pt x="182" y="100"/>
                    </a:lnTo>
                    <a:lnTo>
                      <a:pt x="180" y="98"/>
                    </a:lnTo>
                    <a:lnTo>
                      <a:pt x="177" y="97"/>
                    </a:lnTo>
                    <a:lnTo>
                      <a:pt x="177" y="97"/>
                    </a:lnTo>
                    <a:lnTo>
                      <a:pt x="175" y="93"/>
                    </a:lnTo>
                    <a:lnTo>
                      <a:pt x="174" y="97"/>
                    </a:lnTo>
                    <a:lnTo>
                      <a:pt x="175" y="97"/>
                    </a:lnTo>
                    <a:lnTo>
                      <a:pt x="175" y="98"/>
                    </a:lnTo>
                    <a:lnTo>
                      <a:pt x="175" y="98"/>
                    </a:lnTo>
                    <a:lnTo>
                      <a:pt x="177" y="98"/>
                    </a:lnTo>
                    <a:lnTo>
                      <a:pt x="177" y="101"/>
                    </a:lnTo>
                    <a:lnTo>
                      <a:pt x="178" y="103"/>
                    </a:lnTo>
                    <a:lnTo>
                      <a:pt x="180" y="104"/>
                    </a:lnTo>
                    <a:lnTo>
                      <a:pt x="180" y="104"/>
                    </a:lnTo>
                    <a:lnTo>
                      <a:pt x="182" y="106"/>
                    </a:lnTo>
                    <a:lnTo>
                      <a:pt x="183" y="106"/>
                    </a:lnTo>
                    <a:lnTo>
                      <a:pt x="183" y="106"/>
                    </a:lnTo>
                    <a:lnTo>
                      <a:pt x="183" y="108"/>
                    </a:lnTo>
                    <a:lnTo>
                      <a:pt x="185" y="108"/>
                    </a:lnTo>
                    <a:lnTo>
                      <a:pt x="188" y="112"/>
                    </a:lnTo>
                    <a:lnTo>
                      <a:pt x="189" y="112"/>
                    </a:lnTo>
                    <a:lnTo>
                      <a:pt x="191" y="114"/>
                    </a:lnTo>
                    <a:lnTo>
                      <a:pt x="191" y="114"/>
                    </a:lnTo>
                    <a:lnTo>
                      <a:pt x="194" y="114"/>
                    </a:lnTo>
                    <a:lnTo>
                      <a:pt x="199" y="111"/>
                    </a:lnTo>
                    <a:lnTo>
                      <a:pt x="200" y="111"/>
                    </a:lnTo>
                    <a:lnTo>
                      <a:pt x="202" y="111"/>
                    </a:lnTo>
                    <a:lnTo>
                      <a:pt x="205" y="111"/>
                    </a:lnTo>
                    <a:lnTo>
                      <a:pt x="208" y="112"/>
                    </a:lnTo>
                    <a:lnTo>
                      <a:pt x="210" y="112"/>
                    </a:lnTo>
                    <a:lnTo>
                      <a:pt x="211" y="111"/>
                    </a:lnTo>
                    <a:lnTo>
                      <a:pt x="213" y="111"/>
                    </a:lnTo>
                    <a:lnTo>
                      <a:pt x="214" y="112"/>
                    </a:lnTo>
                    <a:lnTo>
                      <a:pt x="214" y="111"/>
                    </a:lnTo>
                    <a:lnTo>
                      <a:pt x="216" y="109"/>
                    </a:lnTo>
                    <a:lnTo>
                      <a:pt x="219" y="109"/>
                    </a:lnTo>
                    <a:lnTo>
                      <a:pt x="219" y="109"/>
                    </a:lnTo>
                    <a:lnTo>
                      <a:pt x="221" y="108"/>
                    </a:lnTo>
                    <a:lnTo>
                      <a:pt x="221" y="106"/>
                    </a:lnTo>
                    <a:lnTo>
                      <a:pt x="221" y="104"/>
                    </a:lnTo>
                    <a:lnTo>
                      <a:pt x="221" y="104"/>
                    </a:lnTo>
                    <a:lnTo>
                      <a:pt x="222" y="103"/>
                    </a:lnTo>
                    <a:lnTo>
                      <a:pt x="224" y="103"/>
                    </a:lnTo>
                    <a:lnTo>
                      <a:pt x="225" y="101"/>
                    </a:lnTo>
                    <a:lnTo>
                      <a:pt x="235" y="101"/>
                    </a:lnTo>
                    <a:lnTo>
                      <a:pt x="235" y="101"/>
                    </a:lnTo>
                    <a:lnTo>
                      <a:pt x="235" y="103"/>
                    </a:lnTo>
                    <a:lnTo>
                      <a:pt x="235" y="103"/>
                    </a:lnTo>
                    <a:lnTo>
                      <a:pt x="235" y="104"/>
                    </a:lnTo>
                    <a:lnTo>
                      <a:pt x="235" y="104"/>
                    </a:lnTo>
                    <a:lnTo>
                      <a:pt x="236" y="104"/>
                    </a:lnTo>
                    <a:lnTo>
                      <a:pt x="238" y="104"/>
                    </a:lnTo>
                    <a:lnTo>
                      <a:pt x="241" y="106"/>
                    </a:lnTo>
                    <a:lnTo>
                      <a:pt x="243" y="106"/>
                    </a:lnTo>
                    <a:lnTo>
                      <a:pt x="244" y="106"/>
                    </a:lnTo>
                    <a:lnTo>
                      <a:pt x="246" y="108"/>
                    </a:lnTo>
                    <a:lnTo>
                      <a:pt x="247" y="108"/>
                    </a:lnTo>
                    <a:lnTo>
                      <a:pt x="249" y="106"/>
                    </a:lnTo>
                    <a:lnTo>
                      <a:pt x="250" y="104"/>
                    </a:lnTo>
                    <a:lnTo>
                      <a:pt x="250" y="104"/>
                    </a:lnTo>
                    <a:lnTo>
                      <a:pt x="250" y="104"/>
                    </a:lnTo>
                    <a:lnTo>
                      <a:pt x="252" y="104"/>
                    </a:lnTo>
                    <a:lnTo>
                      <a:pt x="253" y="103"/>
                    </a:lnTo>
                    <a:lnTo>
                      <a:pt x="255" y="103"/>
                    </a:lnTo>
                    <a:lnTo>
                      <a:pt x="258" y="103"/>
                    </a:lnTo>
                    <a:lnTo>
                      <a:pt x="260" y="103"/>
                    </a:lnTo>
                    <a:lnTo>
                      <a:pt x="261" y="103"/>
                    </a:lnTo>
                    <a:lnTo>
                      <a:pt x="263" y="103"/>
                    </a:lnTo>
                    <a:lnTo>
                      <a:pt x="263" y="103"/>
                    </a:lnTo>
                    <a:lnTo>
                      <a:pt x="263" y="103"/>
                    </a:lnTo>
                    <a:lnTo>
                      <a:pt x="263" y="101"/>
                    </a:lnTo>
                    <a:lnTo>
                      <a:pt x="264" y="101"/>
                    </a:lnTo>
                    <a:lnTo>
                      <a:pt x="264" y="100"/>
                    </a:lnTo>
                    <a:lnTo>
                      <a:pt x="264" y="97"/>
                    </a:lnTo>
                    <a:lnTo>
                      <a:pt x="264" y="97"/>
                    </a:lnTo>
                    <a:lnTo>
                      <a:pt x="264" y="97"/>
                    </a:lnTo>
                    <a:lnTo>
                      <a:pt x="264" y="97"/>
                    </a:lnTo>
                    <a:lnTo>
                      <a:pt x="266" y="97"/>
                    </a:lnTo>
                    <a:lnTo>
                      <a:pt x="268" y="97"/>
                    </a:lnTo>
                    <a:lnTo>
                      <a:pt x="268" y="95"/>
                    </a:lnTo>
                    <a:lnTo>
                      <a:pt x="268" y="95"/>
                    </a:lnTo>
                    <a:lnTo>
                      <a:pt x="268" y="93"/>
                    </a:lnTo>
                    <a:lnTo>
                      <a:pt x="266" y="93"/>
                    </a:lnTo>
                    <a:lnTo>
                      <a:pt x="266" y="92"/>
                    </a:lnTo>
                    <a:lnTo>
                      <a:pt x="266" y="90"/>
                    </a:lnTo>
                    <a:lnTo>
                      <a:pt x="266" y="90"/>
                    </a:lnTo>
                    <a:lnTo>
                      <a:pt x="268" y="89"/>
                    </a:lnTo>
                    <a:lnTo>
                      <a:pt x="269" y="87"/>
                    </a:lnTo>
                    <a:lnTo>
                      <a:pt x="272" y="86"/>
                    </a:lnTo>
                    <a:lnTo>
                      <a:pt x="272" y="86"/>
                    </a:lnTo>
                    <a:lnTo>
                      <a:pt x="274" y="86"/>
                    </a:lnTo>
                    <a:lnTo>
                      <a:pt x="274" y="84"/>
                    </a:lnTo>
                    <a:lnTo>
                      <a:pt x="272" y="84"/>
                    </a:lnTo>
                    <a:lnTo>
                      <a:pt x="272" y="82"/>
                    </a:lnTo>
                    <a:lnTo>
                      <a:pt x="272" y="82"/>
                    </a:lnTo>
                    <a:lnTo>
                      <a:pt x="272" y="82"/>
                    </a:lnTo>
                    <a:lnTo>
                      <a:pt x="272" y="81"/>
                    </a:lnTo>
                    <a:lnTo>
                      <a:pt x="272" y="81"/>
                    </a:lnTo>
                    <a:lnTo>
                      <a:pt x="272" y="81"/>
                    </a:lnTo>
                    <a:lnTo>
                      <a:pt x="272" y="79"/>
                    </a:lnTo>
                    <a:lnTo>
                      <a:pt x="272" y="78"/>
                    </a:lnTo>
                    <a:lnTo>
                      <a:pt x="274" y="78"/>
                    </a:lnTo>
                    <a:lnTo>
                      <a:pt x="275" y="76"/>
                    </a:lnTo>
                    <a:lnTo>
                      <a:pt x="275" y="76"/>
                    </a:lnTo>
                    <a:lnTo>
                      <a:pt x="277" y="76"/>
                    </a:lnTo>
                    <a:lnTo>
                      <a:pt x="277" y="76"/>
                    </a:lnTo>
                    <a:lnTo>
                      <a:pt x="279" y="76"/>
                    </a:lnTo>
                    <a:lnTo>
                      <a:pt x="279" y="76"/>
                    </a:lnTo>
                    <a:lnTo>
                      <a:pt x="279" y="75"/>
                    </a:lnTo>
                    <a:lnTo>
                      <a:pt x="279" y="73"/>
                    </a:lnTo>
                    <a:lnTo>
                      <a:pt x="279" y="73"/>
                    </a:lnTo>
                    <a:lnTo>
                      <a:pt x="280" y="70"/>
                    </a:lnTo>
                    <a:lnTo>
                      <a:pt x="280" y="70"/>
                    </a:lnTo>
                    <a:lnTo>
                      <a:pt x="280" y="68"/>
                    </a:lnTo>
                    <a:lnTo>
                      <a:pt x="280" y="68"/>
                    </a:lnTo>
                    <a:lnTo>
                      <a:pt x="280" y="68"/>
                    </a:lnTo>
                    <a:lnTo>
                      <a:pt x="280" y="65"/>
                    </a:lnTo>
                    <a:lnTo>
                      <a:pt x="280" y="64"/>
                    </a:lnTo>
                    <a:lnTo>
                      <a:pt x="280" y="64"/>
                    </a:lnTo>
                    <a:lnTo>
                      <a:pt x="280" y="61"/>
                    </a:lnTo>
                    <a:lnTo>
                      <a:pt x="280" y="59"/>
                    </a:lnTo>
                    <a:lnTo>
                      <a:pt x="282" y="57"/>
                    </a:lnTo>
                    <a:lnTo>
                      <a:pt x="282" y="56"/>
                    </a:lnTo>
                    <a:lnTo>
                      <a:pt x="285" y="54"/>
                    </a:lnTo>
                    <a:lnTo>
                      <a:pt x="285" y="54"/>
                    </a:lnTo>
                    <a:lnTo>
                      <a:pt x="285" y="53"/>
                    </a:lnTo>
                    <a:lnTo>
                      <a:pt x="285" y="53"/>
                    </a:lnTo>
                    <a:lnTo>
                      <a:pt x="285" y="53"/>
                    </a:lnTo>
                    <a:lnTo>
                      <a:pt x="286" y="53"/>
                    </a:lnTo>
                    <a:lnTo>
                      <a:pt x="288" y="54"/>
                    </a:lnTo>
                    <a:lnTo>
                      <a:pt x="288" y="54"/>
                    </a:lnTo>
                    <a:lnTo>
                      <a:pt x="291" y="53"/>
                    </a:lnTo>
                    <a:lnTo>
                      <a:pt x="293" y="53"/>
                    </a:lnTo>
                    <a:lnTo>
                      <a:pt x="294" y="53"/>
                    </a:lnTo>
                    <a:lnTo>
                      <a:pt x="294" y="53"/>
                    </a:lnTo>
                    <a:lnTo>
                      <a:pt x="296" y="54"/>
                    </a:lnTo>
                    <a:lnTo>
                      <a:pt x="297" y="53"/>
                    </a:lnTo>
                    <a:lnTo>
                      <a:pt x="297" y="53"/>
                    </a:lnTo>
                    <a:lnTo>
                      <a:pt x="299" y="53"/>
                    </a:lnTo>
                    <a:lnTo>
                      <a:pt x="299" y="53"/>
                    </a:lnTo>
                    <a:lnTo>
                      <a:pt x="300" y="53"/>
                    </a:lnTo>
                    <a:lnTo>
                      <a:pt x="302" y="53"/>
                    </a:lnTo>
                    <a:lnTo>
                      <a:pt x="307" y="53"/>
                    </a:lnTo>
                    <a:lnTo>
                      <a:pt x="310" y="54"/>
                    </a:lnTo>
                    <a:lnTo>
                      <a:pt x="313" y="56"/>
                    </a:lnTo>
                    <a:lnTo>
                      <a:pt x="314" y="56"/>
                    </a:lnTo>
                    <a:lnTo>
                      <a:pt x="316" y="56"/>
                    </a:lnTo>
                    <a:lnTo>
                      <a:pt x="316" y="56"/>
                    </a:lnTo>
                    <a:lnTo>
                      <a:pt x="318" y="54"/>
                    </a:lnTo>
                    <a:lnTo>
                      <a:pt x="318" y="53"/>
                    </a:lnTo>
                    <a:lnTo>
                      <a:pt x="319" y="53"/>
                    </a:lnTo>
                    <a:lnTo>
                      <a:pt x="321" y="54"/>
                    </a:lnTo>
                    <a:lnTo>
                      <a:pt x="324" y="54"/>
                    </a:lnTo>
                    <a:lnTo>
                      <a:pt x="325" y="54"/>
                    </a:lnTo>
                    <a:lnTo>
                      <a:pt x="327" y="54"/>
                    </a:lnTo>
                    <a:lnTo>
                      <a:pt x="330" y="53"/>
                    </a:lnTo>
                    <a:lnTo>
                      <a:pt x="332" y="53"/>
                    </a:lnTo>
                    <a:lnTo>
                      <a:pt x="333" y="53"/>
                    </a:lnTo>
                    <a:lnTo>
                      <a:pt x="333" y="53"/>
                    </a:lnTo>
                    <a:lnTo>
                      <a:pt x="333" y="51"/>
                    </a:lnTo>
                    <a:lnTo>
                      <a:pt x="333" y="50"/>
                    </a:lnTo>
                    <a:lnTo>
                      <a:pt x="329" y="48"/>
                    </a:lnTo>
                    <a:lnTo>
                      <a:pt x="327" y="45"/>
                    </a:lnTo>
                    <a:lnTo>
                      <a:pt x="327" y="42"/>
                    </a:lnTo>
                    <a:lnTo>
                      <a:pt x="329" y="42"/>
                    </a:lnTo>
                    <a:lnTo>
                      <a:pt x="330" y="42"/>
                    </a:lnTo>
                    <a:lnTo>
                      <a:pt x="333" y="42"/>
                    </a:lnTo>
                    <a:lnTo>
                      <a:pt x="335" y="42"/>
                    </a:lnTo>
                    <a:lnTo>
                      <a:pt x="339" y="42"/>
                    </a:lnTo>
                    <a:lnTo>
                      <a:pt x="343" y="40"/>
                    </a:lnTo>
                    <a:lnTo>
                      <a:pt x="344" y="39"/>
                    </a:lnTo>
                    <a:lnTo>
                      <a:pt x="344" y="39"/>
                    </a:lnTo>
                    <a:lnTo>
                      <a:pt x="346" y="37"/>
                    </a:lnTo>
                    <a:lnTo>
                      <a:pt x="346" y="36"/>
                    </a:lnTo>
                    <a:lnTo>
                      <a:pt x="346" y="36"/>
                    </a:lnTo>
                    <a:close/>
                    <a:moveTo>
                      <a:pt x="310" y="0"/>
                    </a:moveTo>
                    <a:lnTo>
                      <a:pt x="308" y="1"/>
                    </a:lnTo>
                    <a:lnTo>
                      <a:pt x="307" y="1"/>
                    </a:lnTo>
                    <a:lnTo>
                      <a:pt x="307" y="3"/>
                    </a:lnTo>
                    <a:lnTo>
                      <a:pt x="307" y="4"/>
                    </a:lnTo>
                    <a:lnTo>
                      <a:pt x="308" y="4"/>
                    </a:lnTo>
                    <a:lnTo>
                      <a:pt x="310" y="3"/>
                    </a:lnTo>
                    <a:lnTo>
                      <a:pt x="310" y="3"/>
                    </a:lnTo>
                    <a:lnTo>
                      <a:pt x="310" y="1"/>
                    </a:lnTo>
                    <a:lnTo>
                      <a:pt x="31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1" name="Freeform 148">
                <a:extLst>
                  <a:ext uri="{FF2B5EF4-FFF2-40B4-BE49-F238E27FC236}">
                    <a16:creationId xmlns:a16="http://schemas.microsoft.com/office/drawing/2014/main" id="{A205F0B2-F3D0-66B0-CCA9-E40FD356B00B}"/>
                  </a:ext>
                </a:extLst>
              </p:cNvPr>
              <p:cNvSpPr>
                <a:spLocks noEditPoints="1"/>
              </p:cNvSpPr>
              <p:nvPr/>
            </p:nvSpPr>
            <p:spPr bwMode="gray">
              <a:xfrm>
                <a:off x="3205" y="1761"/>
                <a:ext cx="186" cy="303"/>
              </a:xfrm>
              <a:custGeom>
                <a:avLst/>
                <a:gdLst>
                  <a:gd name="T0" fmla="*/ 183 w 186"/>
                  <a:gd name="T1" fmla="*/ 72 h 303"/>
                  <a:gd name="T2" fmla="*/ 182 w 186"/>
                  <a:gd name="T3" fmla="*/ 56 h 303"/>
                  <a:gd name="T4" fmla="*/ 182 w 186"/>
                  <a:gd name="T5" fmla="*/ 45 h 303"/>
                  <a:gd name="T6" fmla="*/ 180 w 186"/>
                  <a:gd name="T7" fmla="*/ 36 h 303"/>
                  <a:gd name="T8" fmla="*/ 180 w 186"/>
                  <a:gd name="T9" fmla="*/ 17 h 303"/>
                  <a:gd name="T10" fmla="*/ 183 w 186"/>
                  <a:gd name="T11" fmla="*/ 6 h 303"/>
                  <a:gd name="T12" fmla="*/ 172 w 186"/>
                  <a:gd name="T13" fmla="*/ 6 h 303"/>
                  <a:gd name="T14" fmla="*/ 158 w 186"/>
                  <a:gd name="T15" fmla="*/ 12 h 303"/>
                  <a:gd name="T16" fmla="*/ 138 w 186"/>
                  <a:gd name="T17" fmla="*/ 14 h 303"/>
                  <a:gd name="T18" fmla="*/ 132 w 186"/>
                  <a:gd name="T19" fmla="*/ 20 h 303"/>
                  <a:gd name="T20" fmla="*/ 117 w 186"/>
                  <a:gd name="T21" fmla="*/ 20 h 303"/>
                  <a:gd name="T22" fmla="*/ 105 w 186"/>
                  <a:gd name="T23" fmla="*/ 20 h 303"/>
                  <a:gd name="T24" fmla="*/ 94 w 186"/>
                  <a:gd name="T25" fmla="*/ 20 h 303"/>
                  <a:gd name="T26" fmla="*/ 83 w 186"/>
                  <a:gd name="T27" fmla="*/ 20 h 303"/>
                  <a:gd name="T28" fmla="*/ 74 w 186"/>
                  <a:gd name="T29" fmla="*/ 29 h 303"/>
                  <a:gd name="T30" fmla="*/ 77 w 186"/>
                  <a:gd name="T31" fmla="*/ 48 h 303"/>
                  <a:gd name="T32" fmla="*/ 91 w 186"/>
                  <a:gd name="T33" fmla="*/ 64 h 303"/>
                  <a:gd name="T34" fmla="*/ 99 w 186"/>
                  <a:gd name="T35" fmla="*/ 89 h 303"/>
                  <a:gd name="T36" fmla="*/ 89 w 186"/>
                  <a:gd name="T37" fmla="*/ 103 h 303"/>
                  <a:gd name="T38" fmla="*/ 89 w 186"/>
                  <a:gd name="T39" fmla="*/ 120 h 303"/>
                  <a:gd name="T40" fmla="*/ 86 w 186"/>
                  <a:gd name="T41" fmla="*/ 117 h 303"/>
                  <a:gd name="T42" fmla="*/ 75 w 186"/>
                  <a:gd name="T43" fmla="*/ 104 h 303"/>
                  <a:gd name="T44" fmla="*/ 74 w 186"/>
                  <a:gd name="T45" fmla="*/ 100 h 303"/>
                  <a:gd name="T46" fmla="*/ 74 w 186"/>
                  <a:gd name="T47" fmla="*/ 89 h 303"/>
                  <a:gd name="T48" fmla="*/ 74 w 186"/>
                  <a:gd name="T49" fmla="*/ 70 h 303"/>
                  <a:gd name="T50" fmla="*/ 61 w 186"/>
                  <a:gd name="T51" fmla="*/ 73 h 303"/>
                  <a:gd name="T52" fmla="*/ 41 w 186"/>
                  <a:gd name="T53" fmla="*/ 67 h 303"/>
                  <a:gd name="T54" fmla="*/ 19 w 186"/>
                  <a:gd name="T55" fmla="*/ 75 h 303"/>
                  <a:gd name="T56" fmla="*/ 0 w 186"/>
                  <a:gd name="T57" fmla="*/ 81 h 303"/>
                  <a:gd name="T58" fmla="*/ 3 w 186"/>
                  <a:gd name="T59" fmla="*/ 95 h 303"/>
                  <a:gd name="T60" fmla="*/ 22 w 186"/>
                  <a:gd name="T61" fmla="*/ 103 h 303"/>
                  <a:gd name="T62" fmla="*/ 47 w 186"/>
                  <a:gd name="T63" fmla="*/ 112 h 303"/>
                  <a:gd name="T64" fmla="*/ 49 w 186"/>
                  <a:gd name="T65" fmla="*/ 137 h 303"/>
                  <a:gd name="T66" fmla="*/ 47 w 186"/>
                  <a:gd name="T67" fmla="*/ 148 h 303"/>
                  <a:gd name="T68" fmla="*/ 47 w 186"/>
                  <a:gd name="T69" fmla="*/ 156 h 303"/>
                  <a:gd name="T70" fmla="*/ 49 w 186"/>
                  <a:gd name="T71" fmla="*/ 172 h 303"/>
                  <a:gd name="T72" fmla="*/ 39 w 186"/>
                  <a:gd name="T73" fmla="*/ 187 h 303"/>
                  <a:gd name="T74" fmla="*/ 30 w 186"/>
                  <a:gd name="T75" fmla="*/ 206 h 303"/>
                  <a:gd name="T76" fmla="*/ 21 w 186"/>
                  <a:gd name="T77" fmla="*/ 222 h 303"/>
                  <a:gd name="T78" fmla="*/ 27 w 186"/>
                  <a:gd name="T79" fmla="*/ 242 h 303"/>
                  <a:gd name="T80" fmla="*/ 31 w 186"/>
                  <a:gd name="T81" fmla="*/ 259 h 303"/>
                  <a:gd name="T82" fmla="*/ 30 w 186"/>
                  <a:gd name="T83" fmla="*/ 286 h 303"/>
                  <a:gd name="T84" fmla="*/ 33 w 186"/>
                  <a:gd name="T85" fmla="*/ 297 h 303"/>
                  <a:gd name="T86" fmla="*/ 47 w 186"/>
                  <a:gd name="T87" fmla="*/ 303 h 303"/>
                  <a:gd name="T88" fmla="*/ 46 w 186"/>
                  <a:gd name="T89" fmla="*/ 291 h 303"/>
                  <a:gd name="T90" fmla="*/ 55 w 186"/>
                  <a:gd name="T91" fmla="*/ 272 h 303"/>
                  <a:gd name="T92" fmla="*/ 92 w 186"/>
                  <a:gd name="T93" fmla="*/ 248 h 303"/>
                  <a:gd name="T94" fmla="*/ 92 w 186"/>
                  <a:gd name="T95" fmla="*/ 233 h 303"/>
                  <a:gd name="T96" fmla="*/ 92 w 186"/>
                  <a:gd name="T97" fmla="*/ 212 h 303"/>
                  <a:gd name="T98" fmla="*/ 89 w 186"/>
                  <a:gd name="T99" fmla="*/ 211 h 303"/>
                  <a:gd name="T100" fmla="*/ 78 w 186"/>
                  <a:gd name="T101" fmla="*/ 181 h 303"/>
                  <a:gd name="T102" fmla="*/ 82 w 186"/>
                  <a:gd name="T103" fmla="*/ 169 h 303"/>
                  <a:gd name="T104" fmla="*/ 105 w 186"/>
                  <a:gd name="T105" fmla="*/ 151 h 303"/>
                  <a:gd name="T106" fmla="*/ 114 w 186"/>
                  <a:gd name="T107" fmla="*/ 140 h 303"/>
                  <a:gd name="T108" fmla="*/ 135 w 186"/>
                  <a:gd name="T109" fmla="*/ 125 h 303"/>
                  <a:gd name="T110" fmla="*/ 150 w 186"/>
                  <a:gd name="T111" fmla="*/ 118 h 303"/>
                  <a:gd name="T112" fmla="*/ 169 w 186"/>
                  <a:gd name="T113" fmla="*/ 108 h 303"/>
                  <a:gd name="T114" fmla="*/ 177 w 186"/>
                  <a:gd name="T115" fmla="*/ 95 h 303"/>
                  <a:gd name="T116" fmla="*/ 185 w 186"/>
                  <a:gd name="T117" fmla="*/ 79 h 303"/>
                  <a:gd name="T118" fmla="*/ 77 w 186"/>
                  <a:gd name="T119" fmla="*/ 26 h 303"/>
                  <a:gd name="T120" fmla="*/ 78 w 186"/>
                  <a:gd name="T121" fmla="*/ 29 h 303"/>
                  <a:gd name="T122" fmla="*/ 80 w 186"/>
                  <a:gd name="T123" fmla="*/ 2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303">
                    <a:moveTo>
                      <a:pt x="186" y="75"/>
                    </a:moveTo>
                    <a:lnTo>
                      <a:pt x="186" y="73"/>
                    </a:lnTo>
                    <a:lnTo>
                      <a:pt x="186" y="73"/>
                    </a:lnTo>
                    <a:lnTo>
                      <a:pt x="186" y="72"/>
                    </a:lnTo>
                    <a:lnTo>
                      <a:pt x="186" y="70"/>
                    </a:lnTo>
                    <a:lnTo>
                      <a:pt x="185" y="70"/>
                    </a:lnTo>
                    <a:lnTo>
                      <a:pt x="183" y="73"/>
                    </a:lnTo>
                    <a:lnTo>
                      <a:pt x="183" y="72"/>
                    </a:lnTo>
                    <a:lnTo>
                      <a:pt x="183" y="70"/>
                    </a:lnTo>
                    <a:lnTo>
                      <a:pt x="185" y="68"/>
                    </a:lnTo>
                    <a:lnTo>
                      <a:pt x="185" y="67"/>
                    </a:lnTo>
                    <a:lnTo>
                      <a:pt x="183" y="67"/>
                    </a:lnTo>
                    <a:lnTo>
                      <a:pt x="183" y="65"/>
                    </a:lnTo>
                    <a:lnTo>
                      <a:pt x="183" y="65"/>
                    </a:lnTo>
                    <a:lnTo>
                      <a:pt x="182" y="61"/>
                    </a:lnTo>
                    <a:lnTo>
                      <a:pt x="182" y="56"/>
                    </a:lnTo>
                    <a:lnTo>
                      <a:pt x="182" y="54"/>
                    </a:lnTo>
                    <a:lnTo>
                      <a:pt x="182" y="53"/>
                    </a:lnTo>
                    <a:lnTo>
                      <a:pt x="182" y="51"/>
                    </a:lnTo>
                    <a:lnTo>
                      <a:pt x="182" y="50"/>
                    </a:lnTo>
                    <a:lnTo>
                      <a:pt x="182" y="48"/>
                    </a:lnTo>
                    <a:lnTo>
                      <a:pt x="182" y="46"/>
                    </a:lnTo>
                    <a:lnTo>
                      <a:pt x="182" y="46"/>
                    </a:lnTo>
                    <a:lnTo>
                      <a:pt x="182" y="45"/>
                    </a:lnTo>
                    <a:lnTo>
                      <a:pt x="180" y="45"/>
                    </a:lnTo>
                    <a:lnTo>
                      <a:pt x="180" y="43"/>
                    </a:lnTo>
                    <a:lnTo>
                      <a:pt x="180" y="43"/>
                    </a:lnTo>
                    <a:lnTo>
                      <a:pt x="182" y="42"/>
                    </a:lnTo>
                    <a:lnTo>
                      <a:pt x="182" y="40"/>
                    </a:lnTo>
                    <a:lnTo>
                      <a:pt x="182" y="39"/>
                    </a:lnTo>
                    <a:lnTo>
                      <a:pt x="182" y="36"/>
                    </a:lnTo>
                    <a:lnTo>
                      <a:pt x="180" y="36"/>
                    </a:lnTo>
                    <a:lnTo>
                      <a:pt x="182" y="34"/>
                    </a:lnTo>
                    <a:lnTo>
                      <a:pt x="182" y="32"/>
                    </a:lnTo>
                    <a:lnTo>
                      <a:pt x="180" y="29"/>
                    </a:lnTo>
                    <a:lnTo>
                      <a:pt x="182" y="28"/>
                    </a:lnTo>
                    <a:lnTo>
                      <a:pt x="182" y="26"/>
                    </a:lnTo>
                    <a:lnTo>
                      <a:pt x="180" y="25"/>
                    </a:lnTo>
                    <a:lnTo>
                      <a:pt x="180" y="21"/>
                    </a:lnTo>
                    <a:lnTo>
                      <a:pt x="180" y="17"/>
                    </a:lnTo>
                    <a:lnTo>
                      <a:pt x="178" y="15"/>
                    </a:lnTo>
                    <a:lnTo>
                      <a:pt x="180" y="14"/>
                    </a:lnTo>
                    <a:lnTo>
                      <a:pt x="180" y="12"/>
                    </a:lnTo>
                    <a:lnTo>
                      <a:pt x="182" y="10"/>
                    </a:lnTo>
                    <a:lnTo>
                      <a:pt x="182" y="9"/>
                    </a:lnTo>
                    <a:lnTo>
                      <a:pt x="182" y="9"/>
                    </a:lnTo>
                    <a:lnTo>
                      <a:pt x="182" y="7"/>
                    </a:lnTo>
                    <a:lnTo>
                      <a:pt x="183" y="6"/>
                    </a:lnTo>
                    <a:lnTo>
                      <a:pt x="180" y="4"/>
                    </a:lnTo>
                    <a:lnTo>
                      <a:pt x="182" y="4"/>
                    </a:lnTo>
                    <a:lnTo>
                      <a:pt x="183" y="3"/>
                    </a:lnTo>
                    <a:lnTo>
                      <a:pt x="182" y="1"/>
                    </a:lnTo>
                    <a:lnTo>
                      <a:pt x="180" y="0"/>
                    </a:lnTo>
                    <a:lnTo>
                      <a:pt x="180" y="0"/>
                    </a:lnTo>
                    <a:lnTo>
                      <a:pt x="178" y="1"/>
                    </a:lnTo>
                    <a:lnTo>
                      <a:pt x="172" y="6"/>
                    </a:lnTo>
                    <a:lnTo>
                      <a:pt x="169" y="7"/>
                    </a:lnTo>
                    <a:lnTo>
                      <a:pt x="166" y="9"/>
                    </a:lnTo>
                    <a:lnTo>
                      <a:pt x="166" y="9"/>
                    </a:lnTo>
                    <a:lnTo>
                      <a:pt x="164" y="9"/>
                    </a:lnTo>
                    <a:lnTo>
                      <a:pt x="164" y="9"/>
                    </a:lnTo>
                    <a:lnTo>
                      <a:pt x="163" y="9"/>
                    </a:lnTo>
                    <a:lnTo>
                      <a:pt x="160" y="10"/>
                    </a:lnTo>
                    <a:lnTo>
                      <a:pt x="158" y="12"/>
                    </a:lnTo>
                    <a:lnTo>
                      <a:pt x="158" y="12"/>
                    </a:lnTo>
                    <a:lnTo>
                      <a:pt x="153" y="12"/>
                    </a:lnTo>
                    <a:lnTo>
                      <a:pt x="150" y="14"/>
                    </a:lnTo>
                    <a:lnTo>
                      <a:pt x="147" y="15"/>
                    </a:lnTo>
                    <a:lnTo>
                      <a:pt x="146" y="17"/>
                    </a:lnTo>
                    <a:lnTo>
                      <a:pt x="142" y="15"/>
                    </a:lnTo>
                    <a:lnTo>
                      <a:pt x="139" y="14"/>
                    </a:lnTo>
                    <a:lnTo>
                      <a:pt x="138" y="14"/>
                    </a:lnTo>
                    <a:lnTo>
                      <a:pt x="136" y="14"/>
                    </a:lnTo>
                    <a:lnTo>
                      <a:pt x="136" y="14"/>
                    </a:lnTo>
                    <a:lnTo>
                      <a:pt x="135" y="14"/>
                    </a:lnTo>
                    <a:lnTo>
                      <a:pt x="135" y="15"/>
                    </a:lnTo>
                    <a:lnTo>
                      <a:pt x="135" y="15"/>
                    </a:lnTo>
                    <a:lnTo>
                      <a:pt x="135" y="15"/>
                    </a:lnTo>
                    <a:lnTo>
                      <a:pt x="133" y="18"/>
                    </a:lnTo>
                    <a:lnTo>
                      <a:pt x="132" y="20"/>
                    </a:lnTo>
                    <a:lnTo>
                      <a:pt x="128" y="21"/>
                    </a:lnTo>
                    <a:lnTo>
                      <a:pt x="125" y="21"/>
                    </a:lnTo>
                    <a:lnTo>
                      <a:pt x="124" y="21"/>
                    </a:lnTo>
                    <a:lnTo>
                      <a:pt x="121" y="20"/>
                    </a:lnTo>
                    <a:lnTo>
                      <a:pt x="121" y="20"/>
                    </a:lnTo>
                    <a:lnTo>
                      <a:pt x="119" y="20"/>
                    </a:lnTo>
                    <a:lnTo>
                      <a:pt x="119" y="20"/>
                    </a:lnTo>
                    <a:lnTo>
                      <a:pt x="117" y="20"/>
                    </a:lnTo>
                    <a:lnTo>
                      <a:pt x="117" y="20"/>
                    </a:lnTo>
                    <a:lnTo>
                      <a:pt x="116" y="20"/>
                    </a:lnTo>
                    <a:lnTo>
                      <a:pt x="114" y="21"/>
                    </a:lnTo>
                    <a:lnTo>
                      <a:pt x="111" y="21"/>
                    </a:lnTo>
                    <a:lnTo>
                      <a:pt x="107" y="21"/>
                    </a:lnTo>
                    <a:lnTo>
                      <a:pt x="107" y="21"/>
                    </a:lnTo>
                    <a:lnTo>
                      <a:pt x="105" y="21"/>
                    </a:lnTo>
                    <a:lnTo>
                      <a:pt x="105" y="20"/>
                    </a:lnTo>
                    <a:lnTo>
                      <a:pt x="103" y="18"/>
                    </a:lnTo>
                    <a:lnTo>
                      <a:pt x="100" y="17"/>
                    </a:lnTo>
                    <a:lnTo>
                      <a:pt x="99" y="17"/>
                    </a:lnTo>
                    <a:lnTo>
                      <a:pt x="99" y="17"/>
                    </a:lnTo>
                    <a:lnTo>
                      <a:pt x="97" y="18"/>
                    </a:lnTo>
                    <a:lnTo>
                      <a:pt x="96" y="18"/>
                    </a:lnTo>
                    <a:lnTo>
                      <a:pt x="96" y="20"/>
                    </a:lnTo>
                    <a:lnTo>
                      <a:pt x="94" y="20"/>
                    </a:lnTo>
                    <a:lnTo>
                      <a:pt x="94" y="20"/>
                    </a:lnTo>
                    <a:lnTo>
                      <a:pt x="92" y="20"/>
                    </a:lnTo>
                    <a:lnTo>
                      <a:pt x="92" y="20"/>
                    </a:lnTo>
                    <a:lnTo>
                      <a:pt x="91" y="20"/>
                    </a:lnTo>
                    <a:lnTo>
                      <a:pt x="91" y="20"/>
                    </a:lnTo>
                    <a:lnTo>
                      <a:pt x="88" y="20"/>
                    </a:lnTo>
                    <a:lnTo>
                      <a:pt x="83" y="20"/>
                    </a:lnTo>
                    <a:lnTo>
                      <a:pt x="83" y="20"/>
                    </a:lnTo>
                    <a:lnTo>
                      <a:pt x="82" y="20"/>
                    </a:lnTo>
                    <a:lnTo>
                      <a:pt x="78" y="20"/>
                    </a:lnTo>
                    <a:lnTo>
                      <a:pt x="77" y="20"/>
                    </a:lnTo>
                    <a:lnTo>
                      <a:pt x="77" y="21"/>
                    </a:lnTo>
                    <a:lnTo>
                      <a:pt x="77" y="25"/>
                    </a:lnTo>
                    <a:lnTo>
                      <a:pt x="75" y="25"/>
                    </a:lnTo>
                    <a:lnTo>
                      <a:pt x="75" y="26"/>
                    </a:lnTo>
                    <a:lnTo>
                      <a:pt x="74" y="29"/>
                    </a:lnTo>
                    <a:lnTo>
                      <a:pt x="74" y="29"/>
                    </a:lnTo>
                    <a:lnTo>
                      <a:pt x="74" y="31"/>
                    </a:lnTo>
                    <a:lnTo>
                      <a:pt x="74" y="34"/>
                    </a:lnTo>
                    <a:lnTo>
                      <a:pt x="75" y="37"/>
                    </a:lnTo>
                    <a:lnTo>
                      <a:pt x="75" y="39"/>
                    </a:lnTo>
                    <a:lnTo>
                      <a:pt x="75" y="43"/>
                    </a:lnTo>
                    <a:lnTo>
                      <a:pt x="77" y="46"/>
                    </a:lnTo>
                    <a:lnTo>
                      <a:pt x="77" y="48"/>
                    </a:lnTo>
                    <a:lnTo>
                      <a:pt x="77" y="51"/>
                    </a:lnTo>
                    <a:lnTo>
                      <a:pt x="77" y="53"/>
                    </a:lnTo>
                    <a:lnTo>
                      <a:pt x="78" y="53"/>
                    </a:lnTo>
                    <a:lnTo>
                      <a:pt x="82" y="54"/>
                    </a:lnTo>
                    <a:lnTo>
                      <a:pt x="83" y="54"/>
                    </a:lnTo>
                    <a:lnTo>
                      <a:pt x="85" y="56"/>
                    </a:lnTo>
                    <a:lnTo>
                      <a:pt x="89" y="61"/>
                    </a:lnTo>
                    <a:lnTo>
                      <a:pt x="91" y="64"/>
                    </a:lnTo>
                    <a:lnTo>
                      <a:pt x="92" y="67"/>
                    </a:lnTo>
                    <a:lnTo>
                      <a:pt x="96" y="72"/>
                    </a:lnTo>
                    <a:lnTo>
                      <a:pt x="99" y="75"/>
                    </a:lnTo>
                    <a:lnTo>
                      <a:pt x="99" y="78"/>
                    </a:lnTo>
                    <a:lnTo>
                      <a:pt x="100" y="79"/>
                    </a:lnTo>
                    <a:lnTo>
                      <a:pt x="99" y="81"/>
                    </a:lnTo>
                    <a:lnTo>
                      <a:pt x="99" y="86"/>
                    </a:lnTo>
                    <a:lnTo>
                      <a:pt x="99" y="89"/>
                    </a:lnTo>
                    <a:lnTo>
                      <a:pt x="99" y="93"/>
                    </a:lnTo>
                    <a:lnTo>
                      <a:pt x="99" y="98"/>
                    </a:lnTo>
                    <a:lnTo>
                      <a:pt x="97" y="100"/>
                    </a:lnTo>
                    <a:lnTo>
                      <a:pt x="97" y="101"/>
                    </a:lnTo>
                    <a:lnTo>
                      <a:pt x="94" y="101"/>
                    </a:lnTo>
                    <a:lnTo>
                      <a:pt x="91" y="101"/>
                    </a:lnTo>
                    <a:lnTo>
                      <a:pt x="89" y="103"/>
                    </a:lnTo>
                    <a:lnTo>
                      <a:pt x="89" y="103"/>
                    </a:lnTo>
                    <a:lnTo>
                      <a:pt x="88" y="106"/>
                    </a:lnTo>
                    <a:lnTo>
                      <a:pt x="88" y="108"/>
                    </a:lnTo>
                    <a:lnTo>
                      <a:pt x="88" y="109"/>
                    </a:lnTo>
                    <a:lnTo>
                      <a:pt x="88" y="109"/>
                    </a:lnTo>
                    <a:lnTo>
                      <a:pt x="88" y="111"/>
                    </a:lnTo>
                    <a:lnTo>
                      <a:pt x="89" y="114"/>
                    </a:lnTo>
                    <a:lnTo>
                      <a:pt x="89" y="118"/>
                    </a:lnTo>
                    <a:lnTo>
                      <a:pt x="89" y="120"/>
                    </a:lnTo>
                    <a:lnTo>
                      <a:pt x="89" y="120"/>
                    </a:lnTo>
                    <a:lnTo>
                      <a:pt x="88" y="120"/>
                    </a:lnTo>
                    <a:lnTo>
                      <a:pt x="86" y="120"/>
                    </a:lnTo>
                    <a:lnTo>
                      <a:pt x="86" y="118"/>
                    </a:lnTo>
                    <a:lnTo>
                      <a:pt x="85" y="118"/>
                    </a:lnTo>
                    <a:lnTo>
                      <a:pt x="85" y="117"/>
                    </a:lnTo>
                    <a:lnTo>
                      <a:pt x="86" y="117"/>
                    </a:lnTo>
                    <a:lnTo>
                      <a:pt x="86" y="117"/>
                    </a:lnTo>
                    <a:lnTo>
                      <a:pt x="86" y="115"/>
                    </a:lnTo>
                    <a:lnTo>
                      <a:pt x="86" y="114"/>
                    </a:lnTo>
                    <a:lnTo>
                      <a:pt x="86" y="114"/>
                    </a:lnTo>
                    <a:lnTo>
                      <a:pt x="85" y="114"/>
                    </a:lnTo>
                    <a:lnTo>
                      <a:pt x="83" y="112"/>
                    </a:lnTo>
                    <a:lnTo>
                      <a:pt x="80" y="109"/>
                    </a:lnTo>
                    <a:lnTo>
                      <a:pt x="77" y="108"/>
                    </a:lnTo>
                    <a:lnTo>
                      <a:pt x="75" y="104"/>
                    </a:lnTo>
                    <a:lnTo>
                      <a:pt x="75" y="104"/>
                    </a:lnTo>
                    <a:lnTo>
                      <a:pt x="74" y="104"/>
                    </a:lnTo>
                    <a:lnTo>
                      <a:pt x="74" y="103"/>
                    </a:lnTo>
                    <a:lnTo>
                      <a:pt x="74" y="103"/>
                    </a:lnTo>
                    <a:lnTo>
                      <a:pt x="74" y="101"/>
                    </a:lnTo>
                    <a:lnTo>
                      <a:pt x="74" y="100"/>
                    </a:lnTo>
                    <a:lnTo>
                      <a:pt x="74" y="100"/>
                    </a:lnTo>
                    <a:lnTo>
                      <a:pt x="74" y="100"/>
                    </a:lnTo>
                    <a:lnTo>
                      <a:pt x="72" y="98"/>
                    </a:lnTo>
                    <a:lnTo>
                      <a:pt x="71" y="97"/>
                    </a:lnTo>
                    <a:lnTo>
                      <a:pt x="71" y="97"/>
                    </a:lnTo>
                    <a:lnTo>
                      <a:pt x="72" y="95"/>
                    </a:lnTo>
                    <a:lnTo>
                      <a:pt x="72" y="93"/>
                    </a:lnTo>
                    <a:lnTo>
                      <a:pt x="74" y="93"/>
                    </a:lnTo>
                    <a:lnTo>
                      <a:pt x="74" y="90"/>
                    </a:lnTo>
                    <a:lnTo>
                      <a:pt x="74" y="89"/>
                    </a:lnTo>
                    <a:lnTo>
                      <a:pt x="77" y="86"/>
                    </a:lnTo>
                    <a:lnTo>
                      <a:pt x="77" y="84"/>
                    </a:lnTo>
                    <a:lnTo>
                      <a:pt x="77" y="81"/>
                    </a:lnTo>
                    <a:lnTo>
                      <a:pt x="77" y="79"/>
                    </a:lnTo>
                    <a:lnTo>
                      <a:pt x="75" y="76"/>
                    </a:lnTo>
                    <a:lnTo>
                      <a:pt x="75" y="73"/>
                    </a:lnTo>
                    <a:lnTo>
                      <a:pt x="74" y="70"/>
                    </a:lnTo>
                    <a:lnTo>
                      <a:pt x="74" y="70"/>
                    </a:lnTo>
                    <a:lnTo>
                      <a:pt x="72" y="70"/>
                    </a:lnTo>
                    <a:lnTo>
                      <a:pt x="71" y="70"/>
                    </a:lnTo>
                    <a:lnTo>
                      <a:pt x="69" y="72"/>
                    </a:lnTo>
                    <a:lnTo>
                      <a:pt x="67" y="72"/>
                    </a:lnTo>
                    <a:lnTo>
                      <a:pt x="66" y="72"/>
                    </a:lnTo>
                    <a:lnTo>
                      <a:pt x="63" y="72"/>
                    </a:lnTo>
                    <a:lnTo>
                      <a:pt x="61" y="72"/>
                    </a:lnTo>
                    <a:lnTo>
                      <a:pt x="61" y="73"/>
                    </a:lnTo>
                    <a:lnTo>
                      <a:pt x="60" y="73"/>
                    </a:lnTo>
                    <a:lnTo>
                      <a:pt x="58" y="70"/>
                    </a:lnTo>
                    <a:lnTo>
                      <a:pt x="57" y="68"/>
                    </a:lnTo>
                    <a:lnTo>
                      <a:pt x="53" y="64"/>
                    </a:lnTo>
                    <a:lnTo>
                      <a:pt x="53" y="64"/>
                    </a:lnTo>
                    <a:lnTo>
                      <a:pt x="49" y="64"/>
                    </a:lnTo>
                    <a:lnTo>
                      <a:pt x="47" y="65"/>
                    </a:lnTo>
                    <a:lnTo>
                      <a:pt x="41" y="67"/>
                    </a:lnTo>
                    <a:lnTo>
                      <a:pt x="36" y="68"/>
                    </a:lnTo>
                    <a:lnTo>
                      <a:pt x="35" y="68"/>
                    </a:lnTo>
                    <a:lnTo>
                      <a:pt x="33" y="70"/>
                    </a:lnTo>
                    <a:lnTo>
                      <a:pt x="31" y="70"/>
                    </a:lnTo>
                    <a:lnTo>
                      <a:pt x="27" y="72"/>
                    </a:lnTo>
                    <a:lnTo>
                      <a:pt x="25" y="73"/>
                    </a:lnTo>
                    <a:lnTo>
                      <a:pt x="24" y="73"/>
                    </a:lnTo>
                    <a:lnTo>
                      <a:pt x="19" y="75"/>
                    </a:lnTo>
                    <a:lnTo>
                      <a:pt x="16" y="75"/>
                    </a:lnTo>
                    <a:lnTo>
                      <a:pt x="13" y="76"/>
                    </a:lnTo>
                    <a:lnTo>
                      <a:pt x="11" y="76"/>
                    </a:lnTo>
                    <a:lnTo>
                      <a:pt x="8" y="78"/>
                    </a:lnTo>
                    <a:lnTo>
                      <a:pt x="8" y="78"/>
                    </a:lnTo>
                    <a:lnTo>
                      <a:pt x="6" y="78"/>
                    </a:lnTo>
                    <a:lnTo>
                      <a:pt x="5" y="79"/>
                    </a:lnTo>
                    <a:lnTo>
                      <a:pt x="0" y="81"/>
                    </a:lnTo>
                    <a:lnTo>
                      <a:pt x="0" y="81"/>
                    </a:lnTo>
                    <a:lnTo>
                      <a:pt x="0" y="82"/>
                    </a:lnTo>
                    <a:lnTo>
                      <a:pt x="0" y="84"/>
                    </a:lnTo>
                    <a:lnTo>
                      <a:pt x="2" y="86"/>
                    </a:lnTo>
                    <a:lnTo>
                      <a:pt x="3" y="87"/>
                    </a:lnTo>
                    <a:lnTo>
                      <a:pt x="3" y="90"/>
                    </a:lnTo>
                    <a:lnTo>
                      <a:pt x="3" y="92"/>
                    </a:lnTo>
                    <a:lnTo>
                      <a:pt x="3" y="95"/>
                    </a:lnTo>
                    <a:lnTo>
                      <a:pt x="3" y="98"/>
                    </a:lnTo>
                    <a:lnTo>
                      <a:pt x="3" y="98"/>
                    </a:lnTo>
                    <a:lnTo>
                      <a:pt x="8" y="98"/>
                    </a:lnTo>
                    <a:lnTo>
                      <a:pt x="13" y="100"/>
                    </a:lnTo>
                    <a:lnTo>
                      <a:pt x="17" y="100"/>
                    </a:lnTo>
                    <a:lnTo>
                      <a:pt x="17" y="100"/>
                    </a:lnTo>
                    <a:lnTo>
                      <a:pt x="22" y="101"/>
                    </a:lnTo>
                    <a:lnTo>
                      <a:pt x="22" y="103"/>
                    </a:lnTo>
                    <a:lnTo>
                      <a:pt x="27" y="103"/>
                    </a:lnTo>
                    <a:lnTo>
                      <a:pt x="30" y="106"/>
                    </a:lnTo>
                    <a:lnTo>
                      <a:pt x="36" y="108"/>
                    </a:lnTo>
                    <a:lnTo>
                      <a:pt x="39" y="108"/>
                    </a:lnTo>
                    <a:lnTo>
                      <a:pt x="42" y="109"/>
                    </a:lnTo>
                    <a:lnTo>
                      <a:pt x="44" y="111"/>
                    </a:lnTo>
                    <a:lnTo>
                      <a:pt x="46" y="112"/>
                    </a:lnTo>
                    <a:lnTo>
                      <a:pt x="47" y="112"/>
                    </a:lnTo>
                    <a:lnTo>
                      <a:pt x="49" y="112"/>
                    </a:lnTo>
                    <a:lnTo>
                      <a:pt x="49" y="114"/>
                    </a:lnTo>
                    <a:lnTo>
                      <a:pt x="47" y="115"/>
                    </a:lnTo>
                    <a:lnTo>
                      <a:pt x="47" y="118"/>
                    </a:lnTo>
                    <a:lnTo>
                      <a:pt x="49" y="122"/>
                    </a:lnTo>
                    <a:lnTo>
                      <a:pt x="49" y="125"/>
                    </a:lnTo>
                    <a:lnTo>
                      <a:pt x="49" y="131"/>
                    </a:lnTo>
                    <a:lnTo>
                      <a:pt x="49" y="137"/>
                    </a:lnTo>
                    <a:lnTo>
                      <a:pt x="49" y="139"/>
                    </a:lnTo>
                    <a:lnTo>
                      <a:pt x="49" y="140"/>
                    </a:lnTo>
                    <a:lnTo>
                      <a:pt x="49" y="140"/>
                    </a:lnTo>
                    <a:lnTo>
                      <a:pt x="49" y="142"/>
                    </a:lnTo>
                    <a:lnTo>
                      <a:pt x="49" y="145"/>
                    </a:lnTo>
                    <a:lnTo>
                      <a:pt x="47" y="147"/>
                    </a:lnTo>
                    <a:lnTo>
                      <a:pt x="47" y="148"/>
                    </a:lnTo>
                    <a:lnTo>
                      <a:pt x="47" y="148"/>
                    </a:lnTo>
                    <a:lnTo>
                      <a:pt x="47" y="150"/>
                    </a:lnTo>
                    <a:lnTo>
                      <a:pt x="44" y="151"/>
                    </a:lnTo>
                    <a:lnTo>
                      <a:pt x="44" y="151"/>
                    </a:lnTo>
                    <a:lnTo>
                      <a:pt x="44" y="153"/>
                    </a:lnTo>
                    <a:lnTo>
                      <a:pt x="44" y="154"/>
                    </a:lnTo>
                    <a:lnTo>
                      <a:pt x="46" y="154"/>
                    </a:lnTo>
                    <a:lnTo>
                      <a:pt x="46" y="154"/>
                    </a:lnTo>
                    <a:lnTo>
                      <a:pt x="47" y="156"/>
                    </a:lnTo>
                    <a:lnTo>
                      <a:pt x="47" y="156"/>
                    </a:lnTo>
                    <a:lnTo>
                      <a:pt x="46" y="158"/>
                    </a:lnTo>
                    <a:lnTo>
                      <a:pt x="46" y="161"/>
                    </a:lnTo>
                    <a:lnTo>
                      <a:pt x="46" y="164"/>
                    </a:lnTo>
                    <a:lnTo>
                      <a:pt x="47" y="165"/>
                    </a:lnTo>
                    <a:lnTo>
                      <a:pt x="49" y="169"/>
                    </a:lnTo>
                    <a:lnTo>
                      <a:pt x="49" y="170"/>
                    </a:lnTo>
                    <a:lnTo>
                      <a:pt x="49" y="172"/>
                    </a:lnTo>
                    <a:lnTo>
                      <a:pt x="49" y="172"/>
                    </a:lnTo>
                    <a:lnTo>
                      <a:pt x="47" y="176"/>
                    </a:lnTo>
                    <a:lnTo>
                      <a:pt x="46" y="179"/>
                    </a:lnTo>
                    <a:lnTo>
                      <a:pt x="44" y="183"/>
                    </a:lnTo>
                    <a:lnTo>
                      <a:pt x="41" y="184"/>
                    </a:lnTo>
                    <a:lnTo>
                      <a:pt x="41" y="184"/>
                    </a:lnTo>
                    <a:lnTo>
                      <a:pt x="39" y="186"/>
                    </a:lnTo>
                    <a:lnTo>
                      <a:pt x="39" y="187"/>
                    </a:lnTo>
                    <a:lnTo>
                      <a:pt x="39" y="190"/>
                    </a:lnTo>
                    <a:lnTo>
                      <a:pt x="38" y="194"/>
                    </a:lnTo>
                    <a:lnTo>
                      <a:pt x="39" y="197"/>
                    </a:lnTo>
                    <a:lnTo>
                      <a:pt x="39" y="197"/>
                    </a:lnTo>
                    <a:lnTo>
                      <a:pt x="38" y="197"/>
                    </a:lnTo>
                    <a:lnTo>
                      <a:pt x="35" y="201"/>
                    </a:lnTo>
                    <a:lnTo>
                      <a:pt x="31" y="205"/>
                    </a:lnTo>
                    <a:lnTo>
                      <a:pt x="30" y="206"/>
                    </a:lnTo>
                    <a:lnTo>
                      <a:pt x="28" y="208"/>
                    </a:lnTo>
                    <a:lnTo>
                      <a:pt x="27" y="209"/>
                    </a:lnTo>
                    <a:lnTo>
                      <a:pt x="24" y="212"/>
                    </a:lnTo>
                    <a:lnTo>
                      <a:pt x="22" y="215"/>
                    </a:lnTo>
                    <a:lnTo>
                      <a:pt x="19" y="217"/>
                    </a:lnTo>
                    <a:lnTo>
                      <a:pt x="19" y="219"/>
                    </a:lnTo>
                    <a:lnTo>
                      <a:pt x="19" y="219"/>
                    </a:lnTo>
                    <a:lnTo>
                      <a:pt x="21" y="222"/>
                    </a:lnTo>
                    <a:lnTo>
                      <a:pt x="22" y="225"/>
                    </a:lnTo>
                    <a:lnTo>
                      <a:pt x="22" y="230"/>
                    </a:lnTo>
                    <a:lnTo>
                      <a:pt x="24" y="234"/>
                    </a:lnTo>
                    <a:lnTo>
                      <a:pt x="24" y="237"/>
                    </a:lnTo>
                    <a:lnTo>
                      <a:pt x="24" y="237"/>
                    </a:lnTo>
                    <a:lnTo>
                      <a:pt x="25" y="239"/>
                    </a:lnTo>
                    <a:lnTo>
                      <a:pt x="25" y="242"/>
                    </a:lnTo>
                    <a:lnTo>
                      <a:pt x="27" y="242"/>
                    </a:lnTo>
                    <a:lnTo>
                      <a:pt x="27" y="244"/>
                    </a:lnTo>
                    <a:lnTo>
                      <a:pt x="28" y="245"/>
                    </a:lnTo>
                    <a:lnTo>
                      <a:pt x="28" y="248"/>
                    </a:lnTo>
                    <a:lnTo>
                      <a:pt x="30" y="251"/>
                    </a:lnTo>
                    <a:lnTo>
                      <a:pt x="30" y="255"/>
                    </a:lnTo>
                    <a:lnTo>
                      <a:pt x="31" y="255"/>
                    </a:lnTo>
                    <a:lnTo>
                      <a:pt x="31" y="256"/>
                    </a:lnTo>
                    <a:lnTo>
                      <a:pt x="31" y="259"/>
                    </a:lnTo>
                    <a:lnTo>
                      <a:pt x="31" y="264"/>
                    </a:lnTo>
                    <a:lnTo>
                      <a:pt x="31" y="269"/>
                    </a:lnTo>
                    <a:lnTo>
                      <a:pt x="31" y="272"/>
                    </a:lnTo>
                    <a:lnTo>
                      <a:pt x="31" y="273"/>
                    </a:lnTo>
                    <a:lnTo>
                      <a:pt x="31" y="280"/>
                    </a:lnTo>
                    <a:lnTo>
                      <a:pt x="30" y="281"/>
                    </a:lnTo>
                    <a:lnTo>
                      <a:pt x="30" y="284"/>
                    </a:lnTo>
                    <a:lnTo>
                      <a:pt x="30" y="286"/>
                    </a:lnTo>
                    <a:lnTo>
                      <a:pt x="31" y="286"/>
                    </a:lnTo>
                    <a:lnTo>
                      <a:pt x="33" y="286"/>
                    </a:lnTo>
                    <a:lnTo>
                      <a:pt x="33" y="289"/>
                    </a:lnTo>
                    <a:lnTo>
                      <a:pt x="33" y="291"/>
                    </a:lnTo>
                    <a:lnTo>
                      <a:pt x="31" y="292"/>
                    </a:lnTo>
                    <a:lnTo>
                      <a:pt x="33" y="294"/>
                    </a:lnTo>
                    <a:lnTo>
                      <a:pt x="33" y="295"/>
                    </a:lnTo>
                    <a:lnTo>
                      <a:pt x="33" y="297"/>
                    </a:lnTo>
                    <a:lnTo>
                      <a:pt x="33" y="303"/>
                    </a:lnTo>
                    <a:lnTo>
                      <a:pt x="33" y="303"/>
                    </a:lnTo>
                    <a:lnTo>
                      <a:pt x="35" y="303"/>
                    </a:lnTo>
                    <a:lnTo>
                      <a:pt x="38" y="303"/>
                    </a:lnTo>
                    <a:lnTo>
                      <a:pt x="39" y="303"/>
                    </a:lnTo>
                    <a:lnTo>
                      <a:pt x="42" y="303"/>
                    </a:lnTo>
                    <a:lnTo>
                      <a:pt x="46" y="303"/>
                    </a:lnTo>
                    <a:lnTo>
                      <a:pt x="47" y="303"/>
                    </a:lnTo>
                    <a:lnTo>
                      <a:pt x="47" y="303"/>
                    </a:lnTo>
                    <a:lnTo>
                      <a:pt x="49" y="291"/>
                    </a:lnTo>
                    <a:lnTo>
                      <a:pt x="49" y="287"/>
                    </a:lnTo>
                    <a:lnTo>
                      <a:pt x="47" y="287"/>
                    </a:lnTo>
                    <a:lnTo>
                      <a:pt x="47" y="289"/>
                    </a:lnTo>
                    <a:lnTo>
                      <a:pt x="47" y="292"/>
                    </a:lnTo>
                    <a:lnTo>
                      <a:pt x="46" y="291"/>
                    </a:lnTo>
                    <a:lnTo>
                      <a:pt x="46" y="291"/>
                    </a:lnTo>
                    <a:lnTo>
                      <a:pt x="44" y="289"/>
                    </a:lnTo>
                    <a:lnTo>
                      <a:pt x="42" y="287"/>
                    </a:lnTo>
                    <a:lnTo>
                      <a:pt x="42" y="286"/>
                    </a:lnTo>
                    <a:lnTo>
                      <a:pt x="42" y="284"/>
                    </a:lnTo>
                    <a:lnTo>
                      <a:pt x="44" y="283"/>
                    </a:lnTo>
                    <a:lnTo>
                      <a:pt x="46" y="280"/>
                    </a:lnTo>
                    <a:lnTo>
                      <a:pt x="49" y="277"/>
                    </a:lnTo>
                    <a:lnTo>
                      <a:pt x="55" y="272"/>
                    </a:lnTo>
                    <a:lnTo>
                      <a:pt x="58" y="270"/>
                    </a:lnTo>
                    <a:lnTo>
                      <a:pt x="64" y="269"/>
                    </a:lnTo>
                    <a:lnTo>
                      <a:pt x="77" y="264"/>
                    </a:lnTo>
                    <a:lnTo>
                      <a:pt x="85" y="261"/>
                    </a:lnTo>
                    <a:lnTo>
                      <a:pt x="86" y="258"/>
                    </a:lnTo>
                    <a:lnTo>
                      <a:pt x="89" y="256"/>
                    </a:lnTo>
                    <a:lnTo>
                      <a:pt x="92" y="251"/>
                    </a:lnTo>
                    <a:lnTo>
                      <a:pt x="92" y="248"/>
                    </a:lnTo>
                    <a:lnTo>
                      <a:pt x="94" y="244"/>
                    </a:lnTo>
                    <a:lnTo>
                      <a:pt x="94" y="244"/>
                    </a:lnTo>
                    <a:lnTo>
                      <a:pt x="92" y="244"/>
                    </a:lnTo>
                    <a:lnTo>
                      <a:pt x="92" y="245"/>
                    </a:lnTo>
                    <a:lnTo>
                      <a:pt x="91" y="245"/>
                    </a:lnTo>
                    <a:lnTo>
                      <a:pt x="91" y="244"/>
                    </a:lnTo>
                    <a:lnTo>
                      <a:pt x="91" y="242"/>
                    </a:lnTo>
                    <a:lnTo>
                      <a:pt x="92" y="233"/>
                    </a:lnTo>
                    <a:lnTo>
                      <a:pt x="94" y="228"/>
                    </a:lnTo>
                    <a:lnTo>
                      <a:pt x="92" y="225"/>
                    </a:lnTo>
                    <a:lnTo>
                      <a:pt x="92" y="222"/>
                    </a:lnTo>
                    <a:lnTo>
                      <a:pt x="94" y="217"/>
                    </a:lnTo>
                    <a:lnTo>
                      <a:pt x="94" y="215"/>
                    </a:lnTo>
                    <a:lnTo>
                      <a:pt x="94" y="214"/>
                    </a:lnTo>
                    <a:lnTo>
                      <a:pt x="92" y="214"/>
                    </a:lnTo>
                    <a:lnTo>
                      <a:pt x="92" y="212"/>
                    </a:lnTo>
                    <a:lnTo>
                      <a:pt x="92" y="212"/>
                    </a:lnTo>
                    <a:lnTo>
                      <a:pt x="91" y="212"/>
                    </a:lnTo>
                    <a:lnTo>
                      <a:pt x="91" y="215"/>
                    </a:lnTo>
                    <a:lnTo>
                      <a:pt x="91" y="217"/>
                    </a:lnTo>
                    <a:lnTo>
                      <a:pt x="91" y="219"/>
                    </a:lnTo>
                    <a:lnTo>
                      <a:pt x="89" y="217"/>
                    </a:lnTo>
                    <a:lnTo>
                      <a:pt x="89" y="214"/>
                    </a:lnTo>
                    <a:lnTo>
                      <a:pt x="89" y="211"/>
                    </a:lnTo>
                    <a:lnTo>
                      <a:pt x="89" y="205"/>
                    </a:lnTo>
                    <a:lnTo>
                      <a:pt x="89" y="203"/>
                    </a:lnTo>
                    <a:lnTo>
                      <a:pt x="86" y="198"/>
                    </a:lnTo>
                    <a:lnTo>
                      <a:pt x="86" y="195"/>
                    </a:lnTo>
                    <a:lnTo>
                      <a:pt x="85" y="187"/>
                    </a:lnTo>
                    <a:lnTo>
                      <a:pt x="82" y="184"/>
                    </a:lnTo>
                    <a:lnTo>
                      <a:pt x="80" y="183"/>
                    </a:lnTo>
                    <a:lnTo>
                      <a:pt x="78" y="181"/>
                    </a:lnTo>
                    <a:lnTo>
                      <a:pt x="78" y="179"/>
                    </a:lnTo>
                    <a:lnTo>
                      <a:pt x="80" y="173"/>
                    </a:lnTo>
                    <a:lnTo>
                      <a:pt x="80" y="172"/>
                    </a:lnTo>
                    <a:lnTo>
                      <a:pt x="80" y="169"/>
                    </a:lnTo>
                    <a:lnTo>
                      <a:pt x="80" y="169"/>
                    </a:lnTo>
                    <a:lnTo>
                      <a:pt x="78" y="167"/>
                    </a:lnTo>
                    <a:lnTo>
                      <a:pt x="80" y="167"/>
                    </a:lnTo>
                    <a:lnTo>
                      <a:pt x="82" y="169"/>
                    </a:lnTo>
                    <a:lnTo>
                      <a:pt x="83" y="169"/>
                    </a:lnTo>
                    <a:lnTo>
                      <a:pt x="83" y="169"/>
                    </a:lnTo>
                    <a:lnTo>
                      <a:pt x="91" y="162"/>
                    </a:lnTo>
                    <a:lnTo>
                      <a:pt x="96" y="156"/>
                    </a:lnTo>
                    <a:lnTo>
                      <a:pt x="99" y="153"/>
                    </a:lnTo>
                    <a:lnTo>
                      <a:pt x="102" y="153"/>
                    </a:lnTo>
                    <a:lnTo>
                      <a:pt x="103" y="151"/>
                    </a:lnTo>
                    <a:lnTo>
                      <a:pt x="105" y="151"/>
                    </a:lnTo>
                    <a:lnTo>
                      <a:pt x="107" y="151"/>
                    </a:lnTo>
                    <a:lnTo>
                      <a:pt x="107" y="148"/>
                    </a:lnTo>
                    <a:lnTo>
                      <a:pt x="108" y="150"/>
                    </a:lnTo>
                    <a:lnTo>
                      <a:pt x="108" y="150"/>
                    </a:lnTo>
                    <a:lnTo>
                      <a:pt x="110" y="148"/>
                    </a:lnTo>
                    <a:lnTo>
                      <a:pt x="111" y="147"/>
                    </a:lnTo>
                    <a:lnTo>
                      <a:pt x="111" y="145"/>
                    </a:lnTo>
                    <a:lnTo>
                      <a:pt x="114" y="140"/>
                    </a:lnTo>
                    <a:lnTo>
                      <a:pt x="117" y="137"/>
                    </a:lnTo>
                    <a:lnTo>
                      <a:pt x="117" y="137"/>
                    </a:lnTo>
                    <a:lnTo>
                      <a:pt x="119" y="136"/>
                    </a:lnTo>
                    <a:lnTo>
                      <a:pt x="119" y="134"/>
                    </a:lnTo>
                    <a:lnTo>
                      <a:pt x="121" y="134"/>
                    </a:lnTo>
                    <a:lnTo>
                      <a:pt x="124" y="131"/>
                    </a:lnTo>
                    <a:lnTo>
                      <a:pt x="128" y="128"/>
                    </a:lnTo>
                    <a:lnTo>
                      <a:pt x="135" y="125"/>
                    </a:lnTo>
                    <a:lnTo>
                      <a:pt x="138" y="123"/>
                    </a:lnTo>
                    <a:lnTo>
                      <a:pt x="138" y="122"/>
                    </a:lnTo>
                    <a:lnTo>
                      <a:pt x="139" y="122"/>
                    </a:lnTo>
                    <a:lnTo>
                      <a:pt x="144" y="120"/>
                    </a:lnTo>
                    <a:lnTo>
                      <a:pt x="149" y="118"/>
                    </a:lnTo>
                    <a:lnTo>
                      <a:pt x="149" y="118"/>
                    </a:lnTo>
                    <a:lnTo>
                      <a:pt x="149" y="118"/>
                    </a:lnTo>
                    <a:lnTo>
                      <a:pt x="150" y="118"/>
                    </a:lnTo>
                    <a:lnTo>
                      <a:pt x="152" y="118"/>
                    </a:lnTo>
                    <a:lnTo>
                      <a:pt x="153" y="117"/>
                    </a:lnTo>
                    <a:lnTo>
                      <a:pt x="157" y="117"/>
                    </a:lnTo>
                    <a:lnTo>
                      <a:pt x="158" y="114"/>
                    </a:lnTo>
                    <a:lnTo>
                      <a:pt x="158" y="114"/>
                    </a:lnTo>
                    <a:lnTo>
                      <a:pt x="166" y="109"/>
                    </a:lnTo>
                    <a:lnTo>
                      <a:pt x="168" y="108"/>
                    </a:lnTo>
                    <a:lnTo>
                      <a:pt x="169" y="108"/>
                    </a:lnTo>
                    <a:lnTo>
                      <a:pt x="169" y="104"/>
                    </a:lnTo>
                    <a:lnTo>
                      <a:pt x="169" y="103"/>
                    </a:lnTo>
                    <a:lnTo>
                      <a:pt x="172" y="103"/>
                    </a:lnTo>
                    <a:lnTo>
                      <a:pt x="174" y="100"/>
                    </a:lnTo>
                    <a:lnTo>
                      <a:pt x="174" y="100"/>
                    </a:lnTo>
                    <a:lnTo>
                      <a:pt x="174" y="98"/>
                    </a:lnTo>
                    <a:lnTo>
                      <a:pt x="175" y="97"/>
                    </a:lnTo>
                    <a:lnTo>
                      <a:pt x="177" y="95"/>
                    </a:lnTo>
                    <a:lnTo>
                      <a:pt x="182" y="89"/>
                    </a:lnTo>
                    <a:lnTo>
                      <a:pt x="183" y="86"/>
                    </a:lnTo>
                    <a:lnTo>
                      <a:pt x="183" y="84"/>
                    </a:lnTo>
                    <a:lnTo>
                      <a:pt x="183" y="82"/>
                    </a:lnTo>
                    <a:lnTo>
                      <a:pt x="183" y="82"/>
                    </a:lnTo>
                    <a:lnTo>
                      <a:pt x="185" y="82"/>
                    </a:lnTo>
                    <a:lnTo>
                      <a:pt x="185" y="81"/>
                    </a:lnTo>
                    <a:lnTo>
                      <a:pt x="185" y="79"/>
                    </a:lnTo>
                    <a:lnTo>
                      <a:pt x="186" y="78"/>
                    </a:lnTo>
                    <a:lnTo>
                      <a:pt x="186" y="76"/>
                    </a:lnTo>
                    <a:lnTo>
                      <a:pt x="186" y="76"/>
                    </a:lnTo>
                    <a:lnTo>
                      <a:pt x="186" y="75"/>
                    </a:lnTo>
                    <a:close/>
                    <a:moveTo>
                      <a:pt x="77" y="28"/>
                    </a:moveTo>
                    <a:lnTo>
                      <a:pt x="77" y="28"/>
                    </a:lnTo>
                    <a:lnTo>
                      <a:pt x="77" y="28"/>
                    </a:lnTo>
                    <a:lnTo>
                      <a:pt x="77" y="26"/>
                    </a:lnTo>
                    <a:lnTo>
                      <a:pt x="77" y="26"/>
                    </a:lnTo>
                    <a:lnTo>
                      <a:pt x="77" y="26"/>
                    </a:lnTo>
                    <a:lnTo>
                      <a:pt x="78" y="28"/>
                    </a:lnTo>
                    <a:lnTo>
                      <a:pt x="77" y="28"/>
                    </a:lnTo>
                    <a:close/>
                    <a:moveTo>
                      <a:pt x="80" y="28"/>
                    </a:moveTo>
                    <a:lnTo>
                      <a:pt x="80" y="29"/>
                    </a:lnTo>
                    <a:lnTo>
                      <a:pt x="80" y="29"/>
                    </a:lnTo>
                    <a:lnTo>
                      <a:pt x="78" y="29"/>
                    </a:lnTo>
                    <a:lnTo>
                      <a:pt x="78" y="29"/>
                    </a:lnTo>
                    <a:lnTo>
                      <a:pt x="78" y="28"/>
                    </a:lnTo>
                    <a:lnTo>
                      <a:pt x="78" y="28"/>
                    </a:lnTo>
                    <a:lnTo>
                      <a:pt x="80" y="28"/>
                    </a:lnTo>
                    <a:lnTo>
                      <a:pt x="80" y="28"/>
                    </a:lnTo>
                    <a:lnTo>
                      <a:pt x="80" y="28"/>
                    </a:lnTo>
                    <a:lnTo>
                      <a:pt x="80" y="28"/>
                    </a:lnTo>
                    <a:lnTo>
                      <a:pt x="80" y="2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2" name="Freeform 149">
                <a:extLst>
                  <a:ext uri="{FF2B5EF4-FFF2-40B4-BE49-F238E27FC236}">
                    <a16:creationId xmlns:a16="http://schemas.microsoft.com/office/drawing/2014/main" id="{132C41B2-637E-2AA6-E3CA-E482DC7EC0C2}"/>
                  </a:ext>
                </a:extLst>
              </p:cNvPr>
              <p:cNvSpPr>
                <a:spLocks/>
              </p:cNvSpPr>
              <p:nvPr/>
            </p:nvSpPr>
            <p:spPr bwMode="gray">
              <a:xfrm>
                <a:off x="2880" y="1878"/>
                <a:ext cx="238" cy="227"/>
              </a:xfrm>
              <a:custGeom>
                <a:avLst/>
                <a:gdLst>
                  <a:gd name="T0" fmla="*/ 217 w 238"/>
                  <a:gd name="T1" fmla="*/ 9 h 227"/>
                  <a:gd name="T2" fmla="*/ 233 w 238"/>
                  <a:gd name="T3" fmla="*/ 9 h 227"/>
                  <a:gd name="T4" fmla="*/ 238 w 238"/>
                  <a:gd name="T5" fmla="*/ 14 h 227"/>
                  <a:gd name="T6" fmla="*/ 225 w 238"/>
                  <a:gd name="T7" fmla="*/ 19 h 227"/>
                  <a:gd name="T8" fmla="*/ 219 w 238"/>
                  <a:gd name="T9" fmla="*/ 20 h 227"/>
                  <a:gd name="T10" fmla="*/ 211 w 238"/>
                  <a:gd name="T11" fmla="*/ 26 h 227"/>
                  <a:gd name="T12" fmla="*/ 208 w 238"/>
                  <a:gd name="T13" fmla="*/ 25 h 227"/>
                  <a:gd name="T14" fmla="*/ 202 w 238"/>
                  <a:gd name="T15" fmla="*/ 19 h 227"/>
                  <a:gd name="T16" fmla="*/ 181 w 238"/>
                  <a:gd name="T17" fmla="*/ 22 h 227"/>
                  <a:gd name="T18" fmla="*/ 163 w 238"/>
                  <a:gd name="T19" fmla="*/ 28 h 227"/>
                  <a:gd name="T20" fmla="*/ 163 w 238"/>
                  <a:gd name="T21" fmla="*/ 58 h 227"/>
                  <a:gd name="T22" fmla="*/ 163 w 238"/>
                  <a:gd name="T23" fmla="*/ 89 h 227"/>
                  <a:gd name="T24" fmla="*/ 155 w 238"/>
                  <a:gd name="T25" fmla="*/ 92 h 227"/>
                  <a:gd name="T26" fmla="*/ 145 w 238"/>
                  <a:gd name="T27" fmla="*/ 103 h 227"/>
                  <a:gd name="T28" fmla="*/ 145 w 238"/>
                  <a:gd name="T29" fmla="*/ 125 h 227"/>
                  <a:gd name="T30" fmla="*/ 145 w 238"/>
                  <a:gd name="T31" fmla="*/ 145 h 227"/>
                  <a:gd name="T32" fmla="*/ 145 w 238"/>
                  <a:gd name="T33" fmla="*/ 170 h 227"/>
                  <a:gd name="T34" fmla="*/ 145 w 238"/>
                  <a:gd name="T35" fmla="*/ 206 h 227"/>
                  <a:gd name="T36" fmla="*/ 141 w 238"/>
                  <a:gd name="T37" fmla="*/ 219 h 227"/>
                  <a:gd name="T38" fmla="*/ 134 w 238"/>
                  <a:gd name="T39" fmla="*/ 224 h 227"/>
                  <a:gd name="T40" fmla="*/ 131 w 238"/>
                  <a:gd name="T41" fmla="*/ 227 h 227"/>
                  <a:gd name="T42" fmla="*/ 116 w 238"/>
                  <a:gd name="T43" fmla="*/ 227 h 227"/>
                  <a:gd name="T44" fmla="*/ 105 w 238"/>
                  <a:gd name="T45" fmla="*/ 224 h 227"/>
                  <a:gd name="T46" fmla="*/ 100 w 238"/>
                  <a:gd name="T47" fmla="*/ 219 h 227"/>
                  <a:gd name="T48" fmla="*/ 100 w 238"/>
                  <a:gd name="T49" fmla="*/ 216 h 227"/>
                  <a:gd name="T50" fmla="*/ 97 w 238"/>
                  <a:gd name="T51" fmla="*/ 213 h 227"/>
                  <a:gd name="T52" fmla="*/ 92 w 238"/>
                  <a:gd name="T53" fmla="*/ 210 h 227"/>
                  <a:gd name="T54" fmla="*/ 89 w 238"/>
                  <a:gd name="T55" fmla="*/ 216 h 227"/>
                  <a:gd name="T56" fmla="*/ 88 w 238"/>
                  <a:gd name="T57" fmla="*/ 217 h 227"/>
                  <a:gd name="T58" fmla="*/ 81 w 238"/>
                  <a:gd name="T59" fmla="*/ 219 h 227"/>
                  <a:gd name="T60" fmla="*/ 64 w 238"/>
                  <a:gd name="T61" fmla="*/ 197 h 227"/>
                  <a:gd name="T62" fmla="*/ 61 w 238"/>
                  <a:gd name="T63" fmla="*/ 183 h 227"/>
                  <a:gd name="T64" fmla="*/ 58 w 238"/>
                  <a:gd name="T65" fmla="*/ 175 h 227"/>
                  <a:gd name="T66" fmla="*/ 55 w 238"/>
                  <a:gd name="T67" fmla="*/ 156 h 227"/>
                  <a:gd name="T68" fmla="*/ 52 w 238"/>
                  <a:gd name="T69" fmla="*/ 141 h 227"/>
                  <a:gd name="T70" fmla="*/ 48 w 238"/>
                  <a:gd name="T71" fmla="*/ 120 h 227"/>
                  <a:gd name="T72" fmla="*/ 48 w 238"/>
                  <a:gd name="T73" fmla="*/ 109 h 227"/>
                  <a:gd name="T74" fmla="*/ 50 w 238"/>
                  <a:gd name="T75" fmla="*/ 106 h 227"/>
                  <a:gd name="T76" fmla="*/ 39 w 238"/>
                  <a:gd name="T77" fmla="*/ 86 h 227"/>
                  <a:gd name="T78" fmla="*/ 27 w 238"/>
                  <a:gd name="T79" fmla="*/ 59 h 227"/>
                  <a:gd name="T80" fmla="*/ 8 w 238"/>
                  <a:gd name="T81" fmla="*/ 28 h 227"/>
                  <a:gd name="T82" fmla="*/ 2 w 238"/>
                  <a:gd name="T83" fmla="*/ 14 h 227"/>
                  <a:gd name="T84" fmla="*/ 6 w 238"/>
                  <a:gd name="T85" fmla="*/ 3 h 227"/>
                  <a:gd name="T86" fmla="*/ 13 w 238"/>
                  <a:gd name="T87" fmla="*/ 5 h 227"/>
                  <a:gd name="T88" fmla="*/ 20 w 238"/>
                  <a:gd name="T89" fmla="*/ 1 h 227"/>
                  <a:gd name="T90" fmla="*/ 28 w 238"/>
                  <a:gd name="T91" fmla="*/ 0 h 227"/>
                  <a:gd name="T92" fmla="*/ 36 w 238"/>
                  <a:gd name="T93" fmla="*/ 5 h 227"/>
                  <a:gd name="T94" fmla="*/ 41 w 238"/>
                  <a:gd name="T95" fmla="*/ 8 h 227"/>
                  <a:gd name="T96" fmla="*/ 52 w 238"/>
                  <a:gd name="T97" fmla="*/ 8 h 227"/>
                  <a:gd name="T98" fmla="*/ 78 w 238"/>
                  <a:gd name="T99" fmla="*/ 8 h 227"/>
                  <a:gd name="T100" fmla="*/ 105 w 238"/>
                  <a:gd name="T101" fmla="*/ 8 h 227"/>
                  <a:gd name="T102" fmla="*/ 119 w 238"/>
                  <a:gd name="T103" fmla="*/ 8 h 227"/>
                  <a:gd name="T104" fmla="*/ 124 w 238"/>
                  <a:gd name="T105" fmla="*/ 12 h 227"/>
                  <a:gd name="T106" fmla="*/ 131 w 238"/>
                  <a:gd name="T107" fmla="*/ 16 h 227"/>
                  <a:gd name="T108" fmla="*/ 150 w 238"/>
                  <a:gd name="T109" fmla="*/ 16 h 227"/>
                  <a:gd name="T110" fmla="*/ 159 w 238"/>
                  <a:gd name="T111" fmla="*/ 19 h 227"/>
                  <a:gd name="T112" fmla="*/ 170 w 238"/>
                  <a:gd name="T113" fmla="*/ 19 h 227"/>
                  <a:gd name="T114" fmla="*/ 186 w 238"/>
                  <a:gd name="T115" fmla="*/ 1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7">
                    <a:moveTo>
                      <a:pt x="205" y="12"/>
                    </a:moveTo>
                    <a:lnTo>
                      <a:pt x="210" y="11"/>
                    </a:lnTo>
                    <a:lnTo>
                      <a:pt x="213" y="11"/>
                    </a:lnTo>
                    <a:lnTo>
                      <a:pt x="217" y="9"/>
                    </a:lnTo>
                    <a:lnTo>
                      <a:pt x="220" y="9"/>
                    </a:lnTo>
                    <a:lnTo>
                      <a:pt x="220" y="9"/>
                    </a:lnTo>
                    <a:lnTo>
                      <a:pt x="228" y="9"/>
                    </a:lnTo>
                    <a:lnTo>
                      <a:pt x="233" y="9"/>
                    </a:lnTo>
                    <a:lnTo>
                      <a:pt x="233" y="11"/>
                    </a:lnTo>
                    <a:lnTo>
                      <a:pt x="235" y="12"/>
                    </a:lnTo>
                    <a:lnTo>
                      <a:pt x="238" y="14"/>
                    </a:lnTo>
                    <a:lnTo>
                      <a:pt x="238" y="14"/>
                    </a:lnTo>
                    <a:lnTo>
                      <a:pt x="231" y="16"/>
                    </a:lnTo>
                    <a:lnTo>
                      <a:pt x="230" y="16"/>
                    </a:lnTo>
                    <a:lnTo>
                      <a:pt x="225" y="19"/>
                    </a:lnTo>
                    <a:lnTo>
                      <a:pt x="225" y="19"/>
                    </a:lnTo>
                    <a:lnTo>
                      <a:pt x="224" y="19"/>
                    </a:lnTo>
                    <a:lnTo>
                      <a:pt x="222" y="19"/>
                    </a:lnTo>
                    <a:lnTo>
                      <a:pt x="220" y="19"/>
                    </a:lnTo>
                    <a:lnTo>
                      <a:pt x="219" y="20"/>
                    </a:lnTo>
                    <a:lnTo>
                      <a:pt x="216" y="22"/>
                    </a:lnTo>
                    <a:lnTo>
                      <a:pt x="214" y="23"/>
                    </a:lnTo>
                    <a:lnTo>
                      <a:pt x="214" y="23"/>
                    </a:lnTo>
                    <a:lnTo>
                      <a:pt x="211" y="26"/>
                    </a:lnTo>
                    <a:lnTo>
                      <a:pt x="210" y="26"/>
                    </a:lnTo>
                    <a:lnTo>
                      <a:pt x="210" y="26"/>
                    </a:lnTo>
                    <a:lnTo>
                      <a:pt x="210" y="26"/>
                    </a:lnTo>
                    <a:lnTo>
                      <a:pt x="208" y="25"/>
                    </a:lnTo>
                    <a:lnTo>
                      <a:pt x="206" y="23"/>
                    </a:lnTo>
                    <a:lnTo>
                      <a:pt x="203" y="19"/>
                    </a:lnTo>
                    <a:lnTo>
                      <a:pt x="203" y="19"/>
                    </a:lnTo>
                    <a:lnTo>
                      <a:pt x="202" y="19"/>
                    </a:lnTo>
                    <a:lnTo>
                      <a:pt x="200" y="19"/>
                    </a:lnTo>
                    <a:lnTo>
                      <a:pt x="194" y="20"/>
                    </a:lnTo>
                    <a:lnTo>
                      <a:pt x="189" y="20"/>
                    </a:lnTo>
                    <a:lnTo>
                      <a:pt x="181" y="22"/>
                    </a:lnTo>
                    <a:lnTo>
                      <a:pt x="172" y="23"/>
                    </a:lnTo>
                    <a:lnTo>
                      <a:pt x="167" y="23"/>
                    </a:lnTo>
                    <a:lnTo>
                      <a:pt x="163" y="25"/>
                    </a:lnTo>
                    <a:lnTo>
                      <a:pt x="163" y="28"/>
                    </a:lnTo>
                    <a:lnTo>
                      <a:pt x="163" y="36"/>
                    </a:lnTo>
                    <a:lnTo>
                      <a:pt x="163" y="44"/>
                    </a:lnTo>
                    <a:lnTo>
                      <a:pt x="163" y="50"/>
                    </a:lnTo>
                    <a:lnTo>
                      <a:pt x="163" y="58"/>
                    </a:lnTo>
                    <a:lnTo>
                      <a:pt x="163" y="66"/>
                    </a:lnTo>
                    <a:lnTo>
                      <a:pt x="163" y="73"/>
                    </a:lnTo>
                    <a:lnTo>
                      <a:pt x="163" y="81"/>
                    </a:lnTo>
                    <a:lnTo>
                      <a:pt x="163" y="89"/>
                    </a:lnTo>
                    <a:lnTo>
                      <a:pt x="163" y="92"/>
                    </a:lnTo>
                    <a:lnTo>
                      <a:pt x="163" y="92"/>
                    </a:lnTo>
                    <a:lnTo>
                      <a:pt x="161" y="92"/>
                    </a:lnTo>
                    <a:lnTo>
                      <a:pt x="155" y="92"/>
                    </a:lnTo>
                    <a:lnTo>
                      <a:pt x="150" y="92"/>
                    </a:lnTo>
                    <a:lnTo>
                      <a:pt x="145" y="92"/>
                    </a:lnTo>
                    <a:lnTo>
                      <a:pt x="145" y="97"/>
                    </a:lnTo>
                    <a:lnTo>
                      <a:pt x="145" y="103"/>
                    </a:lnTo>
                    <a:lnTo>
                      <a:pt x="145" y="108"/>
                    </a:lnTo>
                    <a:lnTo>
                      <a:pt x="145" y="114"/>
                    </a:lnTo>
                    <a:lnTo>
                      <a:pt x="145" y="119"/>
                    </a:lnTo>
                    <a:lnTo>
                      <a:pt x="145" y="125"/>
                    </a:lnTo>
                    <a:lnTo>
                      <a:pt x="145" y="130"/>
                    </a:lnTo>
                    <a:lnTo>
                      <a:pt x="145" y="136"/>
                    </a:lnTo>
                    <a:lnTo>
                      <a:pt x="145" y="141"/>
                    </a:lnTo>
                    <a:lnTo>
                      <a:pt x="145" y="145"/>
                    </a:lnTo>
                    <a:lnTo>
                      <a:pt x="145" y="145"/>
                    </a:lnTo>
                    <a:lnTo>
                      <a:pt x="145" y="153"/>
                    </a:lnTo>
                    <a:lnTo>
                      <a:pt x="145" y="163"/>
                    </a:lnTo>
                    <a:lnTo>
                      <a:pt x="145" y="170"/>
                    </a:lnTo>
                    <a:lnTo>
                      <a:pt x="145" y="180"/>
                    </a:lnTo>
                    <a:lnTo>
                      <a:pt x="145" y="188"/>
                    </a:lnTo>
                    <a:lnTo>
                      <a:pt x="145" y="197"/>
                    </a:lnTo>
                    <a:lnTo>
                      <a:pt x="145" y="206"/>
                    </a:lnTo>
                    <a:lnTo>
                      <a:pt x="145" y="214"/>
                    </a:lnTo>
                    <a:lnTo>
                      <a:pt x="145" y="217"/>
                    </a:lnTo>
                    <a:lnTo>
                      <a:pt x="144" y="217"/>
                    </a:lnTo>
                    <a:lnTo>
                      <a:pt x="141" y="219"/>
                    </a:lnTo>
                    <a:lnTo>
                      <a:pt x="138" y="221"/>
                    </a:lnTo>
                    <a:lnTo>
                      <a:pt x="138" y="222"/>
                    </a:lnTo>
                    <a:lnTo>
                      <a:pt x="136" y="222"/>
                    </a:lnTo>
                    <a:lnTo>
                      <a:pt x="134" y="224"/>
                    </a:lnTo>
                    <a:lnTo>
                      <a:pt x="133" y="224"/>
                    </a:lnTo>
                    <a:lnTo>
                      <a:pt x="133" y="225"/>
                    </a:lnTo>
                    <a:lnTo>
                      <a:pt x="133" y="227"/>
                    </a:lnTo>
                    <a:lnTo>
                      <a:pt x="131" y="227"/>
                    </a:lnTo>
                    <a:lnTo>
                      <a:pt x="128" y="227"/>
                    </a:lnTo>
                    <a:lnTo>
                      <a:pt x="125" y="225"/>
                    </a:lnTo>
                    <a:lnTo>
                      <a:pt x="122" y="225"/>
                    </a:lnTo>
                    <a:lnTo>
                      <a:pt x="116" y="227"/>
                    </a:lnTo>
                    <a:lnTo>
                      <a:pt x="113" y="225"/>
                    </a:lnTo>
                    <a:lnTo>
                      <a:pt x="111" y="225"/>
                    </a:lnTo>
                    <a:lnTo>
                      <a:pt x="108" y="224"/>
                    </a:lnTo>
                    <a:lnTo>
                      <a:pt x="105" y="224"/>
                    </a:lnTo>
                    <a:lnTo>
                      <a:pt x="105" y="224"/>
                    </a:lnTo>
                    <a:lnTo>
                      <a:pt x="102" y="222"/>
                    </a:lnTo>
                    <a:lnTo>
                      <a:pt x="100" y="221"/>
                    </a:lnTo>
                    <a:lnTo>
                      <a:pt x="100" y="219"/>
                    </a:lnTo>
                    <a:lnTo>
                      <a:pt x="100" y="219"/>
                    </a:lnTo>
                    <a:lnTo>
                      <a:pt x="99" y="217"/>
                    </a:lnTo>
                    <a:lnTo>
                      <a:pt x="100" y="217"/>
                    </a:lnTo>
                    <a:lnTo>
                      <a:pt x="100" y="216"/>
                    </a:lnTo>
                    <a:lnTo>
                      <a:pt x="100" y="214"/>
                    </a:lnTo>
                    <a:lnTo>
                      <a:pt x="99" y="213"/>
                    </a:lnTo>
                    <a:lnTo>
                      <a:pt x="97" y="213"/>
                    </a:lnTo>
                    <a:lnTo>
                      <a:pt x="97" y="213"/>
                    </a:lnTo>
                    <a:lnTo>
                      <a:pt x="97" y="211"/>
                    </a:lnTo>
                    <a:lnTo>
                      <a:pt x="95" y="210"/>
                    </a:lnTo>
                    <a:lnTo>
                      <a:pt x="94" y="210"/>
                    </a:lnTo>
                    <a:lnTo>
                      <a:pt x="92" y="210"/>
                    </a:lnTo>
                    <a:lnTo>
                      <a:pt x="91" y="211"/>
                    </a:lnTo>
                    <a:lnTo>
                      <a:pt x="91" y="213"/>
                    </a:lnTo>
                    <a:lnTo>
                      <a:pt x="91" y="214"/>
                    </a:lnTo>
                    <a:lnTo>
                      <a:pt x="89" y="216"/>
                    </a:lnTo>
                    <a:lnTo>
                      <a:pt x="89" y="216"/>
                    </a:lnTo>
                    <a:lnTo>
                      <a:pt x="89" y="217"/>
                    </a:lnTo>
                    <a:lnTo>
                      <a:pt x="89" y="217"/>
                    </a:lnTo>
                    <a:lnTo>
                      <a:pt x="88" y="217"/>
                    </a:lnTo>
                    <a:lnTo>
                      <a:pt x="86" y="217"/>
                    </a:lnTo>
                    <a:lnTo>
                      <a:pt x="84" y="221"/>
                    </a:lnTo>
                    <a:lnTo>
                      <a:pt x="83" y="221"/>
                    </a:lnTo>
                    <a:lnTo>
                      <a:pt x="81" y="219"/>
                    </a:lnTo>
                    <a:lnTo>
                      <a:pt x="75" y="213"/>
                    </a:lnTo>
                    <a:lnTo>
                      <a:pt x="73" y="211"/>
                    </a:lnTo>
                    <a:lnTo>
                      <a:pt x="70" y="208"/>
                    </a:lnTo>
                    <a:lnTo>
                      <a:pt x="64" y="197"/>
                    </a:lnTo>
                    <a:lnTo>
                      <a:pt x="63" y="194"/>
                    </a:lnTo>
                    <a:lnTo>
                      <a:pt x="63" y="189"/>
                    </a:lnTo>
                    <a:lnTo>
                      <a:pt x="61" y="185"/>
                    </a:lnTo>
                    <a:lnTo>
                      <a:pt x="61" y="183"/>
                    </a:lnTo>
                    <a:lnTo>
                      <a:pt x="61" y="181"/>
                    </a:lnTo>
                    <a:lnTo>
                      <a:pt x="61" y="180"/>
                    </a:lnTo>
                    <a:lnTo>
                      <a:pt x="59" y="178"/>
                    </a:lnTo>
                    <a:lnTo>
                      <a:pt x="58" y="175"/>
                    </a:lnTo>
                    <a:lnTo>
                      <a:pt x="56" y="169"/>
                    </a:lnTo>
                    <a:lnTo>
                      <a:pt x="55" y="164"/>
                    </a:lnTo>
                    <a:lnTo>
                      <a:pt x="56" y="160"/>
                    </a:lnTo>
                    <a:lnTo>
                      <a:pt x="55" y="156"/>
                    </a:lnTo>
                    <a:lnTo>
                      <a:pt x="55" y="155"/>
                    </a:lnTo>
                    <a:lnTo>
                      <a:pt x="55" y="150"/>
                    </a:lnTo>
                    <a:lnTo>
                      <a:pt x="55" y="145"/>
                    </a:lnTo>
                    <a:lnTo>
                      <a:pt x="52" y="141"/>
                    </a:lnTo>
                    <a:lnTo>
                      <a:pt x="50" y="134"/>
                    </a:lnTo>
                    <a:lnTo>
                      <a:pt x="48" y="131"/>
                    </a:lnTo>
                    <a:lnTo>
                      <a:pt x="50" y="124"/>
                    </a:lnTo>
                    <a:lnTo>
                      <a:pt x="48" y="120"/>
                    </a:lnTo>
                    <a:lnTo>
                      <a:pt x="48" y="117"/>
                    </a:lnTo>
                    <a:lnTo>
                      <a:pt x="48" y="113"/>
                    </a:lnTo>
                    <a:lnTo>
                      <a:pt x="47" y="111"/>
                    </a:lnTo>
                    <a:lnTo>
                      <a:pt x="48" y="109"/>
                    </a:lnTo>
                    <a:lnTo>
                      <a:pt x="48" y="109"/>
                    </a:lnTo>
                    <a:lnTo>
                      <a:pt x="50" y="109"/>
                    </a:lnTo>
                    <a:lnTo>
                      <a:pt x="50" y="108"/>
                    </a:lnTo>
                    <a:lnTo>
                      <a:pt x="50" y="106"/>
                    </a:lnTo>
                    <a:lnTo>
                      <a:pt x="48" y="102"/>
                    </a:lnTo>
                    <a:lnTo>
                      <a:pt x="47" y="97"/>
                    </a:lnTo>
                    <a:lnTo>
                      <a:pt x="41" y="89"/>
                    </a:lnTo>
                    <a:lnTo>
                      <a:pt x="39" y="86"/>
                    </a:lnTo>
                    <a:lnTo>
                      <a:pt x="38" y="83"/>
                    </a:lnTo>
                    <a:lnTo>
                      <a:pt x="31" y="72"/>
                    </a:lnTo>
                    <a:lnTo>
                      <a:pt x="28" y="66"/>
                    </a:lnTo>
                    <a:lnTo>
                      <a:pt x="27" y="59"/>
                    </a:lnTo>
                    <a:lnTo>
                      <a:pt x="23" y="56"/>
                    </a:lnTo>
                    <a:lnTo>
                      <a:pt x="14" y="36"/>
                    </a:lnTo>
                    <a:lnTo>
                      <a:pt x="11" y="33"/>
                    </a:lnTo>
                    <a:lnTo>
                      <a:pt x="8" y="28"/>
                    </a:lnTo>
                    <a:lnTo>
                      <a:pt x="6" y="26"/>
                    </a:lnTo>
                    <a:lnTo>
                      <a:pt x="5" y="23"/>
                    </a:lnTo>
                    <a:lnTo>
                      <a:pt x="2" y="19"/>
                    </a:lnTo>
                    <a:lnTo>
                      <a:pt x="2" y="14"/>
                    </a:lnTo>
                    <a:lnTo>
                      <a:pt x="0" y="9"/>
                    </a:lnTo>
                    <a:lnTo>
                      <a:pt x="2" y="5"/>
                    </a:lnTo>
                    <a:lnTo>
                      <a:pt x="3" y="5"/>
                    </a:lnTo>
                    <a:lnTo>
                      <a:pt x="6" y="3"/>
                    </a:lnTo>
                    <a:lnTo>
                      <a:pt x="8" y="3"/>
                    </a:lnTo>
                    <a:lnTo>
                      <a:pt x="9" y="5"/>
                    </a:lnTo>
                    <a:lnTo>
                      <a:pt x="11" y="5"/>
                    </a:lnTo>
                    <a:lnTo>
                      <a:pt x="13" y="5"/>
                    </a:lnTo>
                    <a:lnTo>
                      <a:pt x="16" y="5"/>
                    </a:lnTo>
                    <a:lnTo>
                      <a:pt x="17" y="3"/>
                    </a:lnTo>
                    <a:lnTo>
                      <a:pt x="19" y="1"/>
                    </a:lnTo>
                    <a:lnTo>
                      <a:pt x="20" y="1"/>
                    </a:lnTo>
                    <a:lnTo>
                      <a:pt x="22" y="0"/>
                    </a:lnTo>
                    <a:lnTo>
                      <a:pt x="25" y="0"/>
                    </a:lnTo>
                    <a:lnTo>
                      <a:pt x="27" y="0"/>
                    </a:lnTo>
                    <a:lnTo>
                      <a:pt x="28" y="0"/>
                    </a:lnTo>
                    <a:lnTo>
                      <a:pt x="30" y="0"/>
                    </a:lnTo>
                    <a:lnTo>
                      <a:pt x="31" y="1"/>
                    </a:lnTo>
                    <a:lnTo>
                      <a:pt x="33" y="3"/>
                    </a:lnTo>
                    <a:lnTo>
                      <a:pt x="36" y="5"/>
                    </a:lnTo>
                    <a:lnTo>
                      <a:pt x="38" y="5"/>
                    </a:lnTo>
                    <a:lnTo>
                      <a:pt x="39" y="6"/>
                    </a:lnTo>
                    <a:lnTo>
                      <a:pt x="39" y="8"/>
                    </a:lnTo>
                    <a:lnTo>
                      <a:pt x="41" y="8"/>
                    </a:lnTo>
                    <a:lnTo>
                      <a:pt x="41" y="8"/>
                    </a:lnTo>
                    <a:lnTo>
                      <a:pt x="45" y="8"/>
                    </a:lnTo>
                    <a:lnTo>
                      <a:pt x="48" y="8"/>
                    </a:lnTo>
                    <a:lnTo>
                      <a:pt x="52" y="8"/>
                    </a:lnTo>
                    <a:lnTo>
                      <a:pt x="58" y="8"/>
                    </a:lnTo>
                    <a:lnTo>
                      <a:pt x="64" y="8"/>
                    </a:lnTo>
                    <a:lnTo>
                      <a:pt x="72" y="8"/>
                    </a:lnTo>
                    <a:lnTo>
                      <a:pt x="78" y="8"/>
                    </a:lnTo>
                    <a:lnTo>
                      <a:pt x="84" y="8"/>
                    </a:lnTo>
                    <a:lnTo>
                      <a:pt x="92" y="8"/>
                    </a:lnTo>
                    <a:lnTo>
                      <a:pt x="99" y="8"/>
                    </a:lnTo>
                    <a:lnTo>
                      <a:pt x="105" y="8"/>
                    </a:lnTo>
                    <a:lnTo>
                      <a:pt x="108" y="8"/>
                    </a:lnTo>
                    <a:lnTo>
                      <a:pt x="113" y="8"/>
                    </a:lnTo>
                    <a:lnTo>
                      <a:pt x="117" y="8"/>
                    </a:lnTo>
                    <a:lnTo>
                      <a:pt x="119" y="8"/>
                    </a:lnTo>
                    <a:lnTo>
                      <a:pt x="119" y="8"/>
                    </a:lnTo>
                    <a:lnTo>
                      <a:pt x="119" y="8"/>
                    </a:lnTo>
                    <a:lnTo>
                      <a:pt x="120" y="11"/>
                    </a:lnTo>
                    <a:lnTo>
                      <a:pt x="124" y="12"/>
                    </a:lnTo>
                    <a:lnTo>
                      <a:pt x="125" y="14"/>
                    </a:lnTo>
                    <a:lnTo>
                      <a:pt x="128" y="16"/>
                    </a:lnTo>
                    <a:lnTo>
                      <a:pt x="130" y="16"/>
                    </a:lnTo>
                    <a:lnTo>
                      <a:pt x="131" y="16"/>
                    </a:lnTo>
                    <a:lnTo>
                      <a:pt x="134" y="16"/>
                    </a:lnTo>
                    <a:lnTo>
                      <a:pt x="139" y="16"/>
                    </a:lnTo>
                    <a:lnTo>
                      <a:pt x="144" y="16"/>
                    </a:lnTo>
                    <a:lnTo>
                      <a:pt x="150" y="16"/>
                    </a:lnTo>
                    <a:lnTo>
                      <a:pt x="153" y="17"/>
                    </a:lnTo>
                    <a:lnTo>
                      <a:pt x="155" y="17"/>
                    </a:lnTo>
                    <a:lnTo>
                      <a:pt x="156" y="19"/>
                    </a:lnTo>
                    <a:lnTo>
                      <a:pt x="159" y="19"/>
                    </a:lnTo>
                    <a:lnTo>
                      <a:pt x="163" y="19"/>
                    </a:lnTo>
                    <a:lnTo>
                      <a:pt x="166" y="17"/>
                    </a:lnTo>
                    <a:lnTo>
                      <a:pt x="169" y="17"/>
                    </a:lnTo>
                    <a:lnTo>
                      <a:pt x="170" y="19"/>
                    </a:lnTo>
                    <a:lnTo>
                      <a:pt x="170" y="19"/>
                    </a:lnTo>
                    <a:lnTo>
                      <a:pt x="177" y="17"/>
                    </a:lnTo>
                    <a:lnTo>
                      <a:pt x="180" y="17"/>
                    </a:lnTo>
                    <a:lnTo>
                      <a:pt x="186" y="16"/>
                    </a:lnTo>
                    <a:lnTo>
                      <a:pt x="192" y="14"/>
                    </a:lnTo>
                    <a:lnTo>
                      <a:pt x="200" y="12"/>
                    </a:lnTo>
                    <a:lnTo>
                      <a:pt x="205" y="1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3" name="Freeform 150">
                <a:extLst>
                  <a:ext uri="{FF2B5EF4-FFF2-40B4-BE49-F238E27FC236}">
                    <a16:creationId xmlns:a16="http://schemas.microsoft.com/office/drawing/2014/main" id="{2CC8EF53-039D-342B-CD73-E189AF7C1A21}"/>
                  </a:ext>
                </a:extLst>
              </p:cNvPr>
              <p:cNvSpPr>
                <a:spLocks noEditPoints="1"/>
              </p:cNvSpPr>
              <p:nvPr/>
            </p:nvSpPr>
            <p:spPr bwMode="gray">
              <a:xfrm>
                <a:off x="5482" y="1917"/>
                <a:ext cx="144" cy="66"/>
              </a:xfrm>
              <a:custGeom>
                <a:avLst/>
                <a:gdLst>
                  <a:gd name="T0" fmla="*/ 133 w 144"/>
                  <a:gd name="T1" fmla="*/ 64 h 66"/>
                  <a:gd name="T2" fmla="*/ 133 w 144"/>
                  <a:gd name="T3" fmla="*/ 66 h 66"/>
                  <a:gd name="T4" fmla="*/ 133 w 144"/>
                  <a:gd name="T5" fmla="*/ 66 h 66"/>
                  <a:gd name="T6" fmla="*/ 133 w 144"/>
                  <a:gd name="T7" fmla="*/ 64 h 66"/>
                  <a:gd name="T8" fmla="*/ 142 w 144"/>
                  <a:gd name="T9" fmla="*/ 42 h 66"/>
                  <a:gd name="T10" fmla="*/ 142 w 144"/>
                  <a:gd name="T11" fmla="*/ 42 h 66"/>
                  <a:gd name="T12" fmla="*/ 140 w 144"/>
                  <a:gd name="T13" fmla="*/ 42 h 66"/>
                  <a:gd name="T14" fmla="*/ 139 w 144"/>
                  <a:gd name="T15" fmla="*/ 45 h 66"/>
                  <a:gd name="T16" fmla="*/ 140 w 144"/>
                  <a:gd name="T17" fmla="*/ 47 h 66"/>
                  <a:gd name="T18" fmla="*/ 142 w 144"/>
                  <a:gd name="T19" fmla="*/ 47 h 66"/>
                  <a:gd name="T20" fmla="*/ 144 w 144"/>
                  <a:gd name="T21" fmla="*/ 44 h 66"/>
                  <a:gd name="T22" fmla="*/ 131 w 144"/>
                  <a:gd name="T23" fmla="*/ 34 h 66"/>
                  <a:gd name="T24" fmla="*/ 129 w 144"/>
                  <a:gd name="T25" fmla="*/ 30 h 66"/>
                  <a:gd name="T26" fmla="*/ 128 w 144"/>
                  <a:gd name="T27" fmla="*/ 28 h 66"/>
                  <a:gd name="T28" fmla="*/ 125 w 144"/>
                  <a:gd name="T29" fmla="*/ 30 h 66"/>
                  <a:gd name="T30" fmla="*/ 128 w 144"/>
                  <a:gd name="T31" fmla="*/ 31 h 66"/>
                  <a:gd name="T32" fmla="*/ 125 w 144"/>
                  <a:gd name="T33" fmla="*/ 33 h 66"/>
                  <a:gd name="T34" fmla="*/ 126 w 144"/>
                  <a:gd name="T35" fmla="*/ 36 h 66"/>
                  <a:gd name="T36" fmla="*/ 129 w 144"/>
                  <a:gd name="T37" fmla="*/ 38 h 66"/>
                  <a:gd name="T38" fmla="*/ 131 w 144"/>
                  <a:gd name="T39" fmla="*/ 36 h 66"/>
                  <a:gd name="T40" fmla="*/ 131 w 144"/>
                  <a:gd name="T41" fmla="*/ 34 h 66"/>
                  <a:gd name="T42" fmla="*/ 117 w 144"/>
                  <a:gd name="T43" fmla="*/ 25 h 66"/>
                  <a:gd name="T44" fmla="*/ 117 w 144"/>
                  <a:gd name="T45" fmla="*/ 23 h 66"/>
                  <a:gd name="T46" fmla="*/ 117 w 144"/>
                  <a:gd name="T47" fmla="*/ 25 h 66"/>
                  <a:gd name="T48" fmla="*/ 117 w 144"/>
                  <a:gd name="T49" fmla="*/ 28 h 66"/>
                  <a:gd name="T50" fmla="*/ 115 w 144"/>
                  <a:gd name="T51" fmla="*/ 30 h 66"/>
                  <a:gd name="T52" fmla="*/ 117 w 144"/>
                  <a:gd name="T53" fmla="*/ 28 h 66"/>
                  <a:gd name="T54" fmla="*/ 117 w 144"/>
                  <a:gd name="T55" fmla="*/ 27 h 66"/>
                  <a:gd name="T56" fmla="*/ 122 w 144"/>
                  <a:gd name="T57" fmla="*/ 55 h 66"/>
                  <a:gd name="T58" fmla="*/ 117 w 144"/>
                  <a:gd name="T59" fmla="*/ 52 h 66"/>
                  <a:gd name="T60" fmla="*/ 112 w 144"/>
                  <a:gd name="T61" fmla="*/ 47 h 66"/>
                  <a:gd name="T62" fmla="*/ 106 w 144"/>
                  <a:gd name="T63" fmla="*/ 44 h 66"/>
                  <a:gd name="T64" fmla="*/ 103 w 144"/>
                  <a:gd name="T65" fmla="*/ 42 h 66"/>
                  <a:gd name="T66" fmla="*/ 101 w 144"/>
                  <a:gd name="T67" fmla="*/ 41 h 66"/>
                  <a:gd name="T68" fmla="*/ 97 w 144"/>
                  <a:gd name="T69" fmla="*/ 36 h 66"/>
                  <a:gd name="T70" fmla="*/ 97 w 144"/>
                  <a:gd name="T71" fmla="*/ 34 h 66"/>
                  <a:gd name="T72" fmla="*/ 95 w 144"/>
                  <a:gd name="T73" fmla="*/ 33 h 66"/>
                  <a:gd name="T74" fmla="*/ 92 w 144"/>
                  <a:gd name="T75" fmla="*/ 31 h 66"/>
                  <a:gd name="T76" fmla="*/ 89 w 144"/>
                  <a:gd name="T77" fmla="*/ 30 h 66"/>
                  <a:gd name="T78" fmla="*/ 79 w 144"/>
                  <a:gd name="T79" fmla="*/ 22 h 66"/>
                  <a:gd name="T80" fmla="*/ 75 w 144"/>
                  <a:gd name="T81" fmla="*/ 20 h 66"/>
                  <a:gd name="T82" fmla="*/ 72 w 144"/>
                  <a:gd name="T83" fmla="*/ 19 h 66"/>
                  <a:gd name="T84" fmla="*/ 73 w 144"/>
                  <a:gd name="T85" fmla="*/ 22 h 66"/>
                  <a:gd name="T86" fmla="*/ 75 w 144"/>
                  <a:gd name="T87" fmla="*/ 23 h 66"/>
                  <a:gd name="T88" fmla="*/ 75 w 144"/>
                  <a:gd name="T89" fmla="*/ 25 h 66"/>
                  <a:gd name="T90" fmla="*/ 78 w 144"/>
                  <a:gd name="T91" fmla="*/ 30 h 66"/>
                  <a:gd name="T92" fmla="*/ 81 w 144"/>
                  <a:gd name="T93" fmla="*/ 33 h 66"/>
                  <a:gd name="T94" fmla="*/ 86 w 144"/>
                  <a:gd name="T95" fmla="*/ 39 h 66"/>
                  <a:gd name="T96" fmla="*/ 89 w 144"/>
                  <a:gd name="T97" fmla="*/ 41 h 66"/>
                  <a:gd name="T98" fmla="*/ 95 w 144"/>
                  <a:gd name="T99" fmla="*/ 45 h 66"/>
                  <a:gd name="T100" fmla="*/ 100 w 144"/>
                  <a:gd name="T101" fmla="*/ 49 h 66"/>
                  <a:gd name="T102" fmla="*/ 103 w 144"/>
                  <a:gd name="T103" fmla="*/ 52 h 66"/>
                  <a:gd name="T104" fmla="*/ 108 w 144"/>
                  <a:gd name="T105" fmla="*/ 53 h 66"/>
                  <a:gd name="T106" fmla="*/ 109 w 144"/>
                  <a:gd name="T107" fmla="*/ 55 h 66"/>
                  <a:gd name="T108" fmla="*/ 112 w 144"/>
                  <a:gd name="T109" fmla="*/ 56 h 66"/>
                  <a:gd name="T110" fmla="*/ 114 w 144"/>
                  <a:gd name="T111" fmla="*/ 58 h 66"/>
                  <a:gd name="T112" fmla="*/ 115 w 144"/>
                  <a:gd name="T113" fmla="*/ 58 h 66"/>
                  <a:gd name="T114" fmla="*/ 120 w 144"/>
                  <a:gd name="T115" fmla="*/ 61 h 66"/>
                  <a:gd name="T116" fmla="*/ 122 w 144"/>
                  <a:gd name="T117" fmla="*/ 61 h 66"/>
                  <a:gd name="T118" fmla="*/ 125 w 144"/>
                  <a:gd name="T119" fmla="*/ 58 h 66"/>
                  <a:gd name="T120" fmla="*/ 1 w 144"/>
                  <a:gd name="T121" fmla="*/ 0 h 66"/>
                  <a:gd name="T122" fmla="*/ 0 w 144"/>
                  <a:gd name="T123" fmla="*/ 5 h 66"/>
                  <a:gd name="T124" fmla="*/ 1 w 144"/>
                  <a:gd name="T125"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66">
                    <a:moveTo>
                      <a:pt x="133" y="64"/>
                    </a:moveTo>
                    <a:lnTo>
                      <a:pt x="133" y="64"/>
                    </a:lnTo>
                    <a:lnTo>
                      <a:pt x="131" y="66"/>
                    </a:lnTo>
                    <a:lnTo>
                      <a:pt x="133" y="66"/>
                    </a:lnTo>
                    <a:lnTo>
                      <a:pt x="133" y="66"/>
                    </a:lnTo>
                    <a:lnTo>
                      <a:pt x="133" y="66"/>
                    </a:lnTo>
                    <a:lnTo>
                      <a:pt x="134" y="66"/>
                    </a:lnTo>
                    <a:lnTo>
                      <a:pt x="133" y="64"/>
                    </a:lnTo>
                    <a:close/>
                    <a:moveTo>
                      <a:pt x="142" y="44"/>
                    </a:moveTo>
                    <a:lnTo>
                      <a:pt x="142" y="42"/>
                    </a:lnTo>
                    <a:lnTo>
                      <a:pt x="142" y="42"/>
                    </a:lnTo>
                    <a:lnTo>
                      <a:pt x="142" y="42"/>
                    </a:lnTo>
                    <a:lnTo>
                      <a:pt x="142" y="41"/>
                    </a:lnTo>
                    <a:lnTo>
                      <a:pt x="140" y="42"/>
                    </a:lnTo>
                    <a:lnTo>
                      <a:pt x="139" y="42"/>
                    </a:lnTo>
                    <a:lnTo>
                      <a:pt x="139" y="45"/>
                    </a:lnTo>
                    <a:lnTo>
                      <a:pt x="139" y="45"/>
                    </a:lnTo>
                    <a:lnTo>
                      <a:pt x="140" y="47"/>
                    </a:lnTo>
                    <a:lnTo>
                      <a:pt x="140" y="47"/>
                    </a:lnTo>
                    <a:lnTo>
                      <a:pt x="142" y="47"/>
                    </a:lnTo>
                    <a:lnTo>
                      <a:pt x="144" y="47"/>
                    </a:lnTo>
                    <a:lnTo>
                      <a:pt x="144" y="44"/>
                    </a:lnTo>
                    <a:lnTo>
                      <a:pt x="142" y="44"/>
                    </a:lnTo>
                    <a:close/>
                    <a:moveTo>
                      <a:pt x="131" y="34"/>
                    </a:moveTo>
                    <a:lnTo>
                      <a:pt x="129" y="33"/>
                    </a:lnTo>
                    <a:lnTo>
                      <a:pt x="129" y="30"/>
                    </a:lnTo>
                    <a:lnTo>
                      <a:pt x="129" y="30"/>
                    </a:lnTo>
                    <a:lnTo>
                      <a:pt x="128" y="28"/>
                    </a:lnTo>
                    <a:lnTo>
                      <a:pt x="125" y="30"/>
                    </a:lnTo>
                    <a:lnTo>
                      <a:pt x="125" y="30"/>
                    </a:lnTo>
                    <a:lnTo>
                      <a:pt x="126" y="31"/>
                    </a:lnTo>
                    <a:lnTo>
                      <a:pt x="128" y="31"/>
                    </a:lnTo>
                    <a:lnTo>
                      <a:pt x="126" y="33"/>
                    </a:lnTo>
                    <a:lnTo>
                      <a:pt x="125" y="33"/>
                    </a:lnTo>
                    <a:lnTo>
                      <a:pt x="125" y="34"/>
                    </a:lnTo>
                    <a:lnTo>
                      <a:pt x="126" y="36"/>
                    </a:lnTo>
                    <a:lnTo>
                      <a:pt x="129" y="38"/>
                    </a:lnTo>
                    <a:lnTo>
                      <a:pt x="129" y="38"/>
                    </a:lnTo>
                    <a:lnTo>
                      <a:pt x="131" y="38"/>
                    </a:lnTo>
                    <a:lnTo>
                      <a:pt x="131" y="36"/>
                    </a:lnTo>
                    <a:lnTo>
                      <a:pt x="131" y="36"/>
                    </a:lnTo>
                    <a:lnTo>
                      <a:pt x="131" y="34"/>
                    </a:lnTo>
                    <a:close/>
                    <a:moveTo>
                      <a:pt x="117" y="27"/>
                    </a:moveTo>
                    <a:lnTo>
                      <a:pt x="117" y="25"/>
                    </a:lnTo>
                    <a:lnTo>
                      <a:pt x="119" y="25"/>
                    </a:lnTo>
                    <a:lnTo>
                      <a:pt x="117" y="23"/>
                    </a:lnTo>
                    <a:lnTo>
                      <a:pt x="117" y="23"/>
                    </a:lnTo>
                    <a:lnTo>
                      <a:pt x="117" y="25"/>
                    </a:lnTo>
                    <a:lnTo>
                      <a:pt x="117" y="27"/>
                    </a:lnTo>
                    <a:lnTo>
                      <a:pt x="117" y="28"/>
                    </a:lnTo>
                    <a:lnTo>
                      <a:pt x="115" y="30"/>
                    </a:lnTo>
                    <a:lnTo>
                      <a:pt x="115" y="30"/>
                    </a:lnTo>
                    <a:lnTo>
                      <a:pt x="117" y="28"/>
                    </a:lnTo>
                    <a:lnTo>
                      <a:pt x="117" y="28"/>
                    </a:lnTo>
                    <a:lnTo>
                      <a:pt x="117" y="27"/>
                    </a:lnTo>
                    <a:lnTo>
                      <a:pt x="117" y="27"/>
                    </a:lnTo>
                    <a:close/>
                    <a:moveTo>
                      <a:pt x="123" y="55"/>
                    </a:moveTo>
                    <a:lnTo>
                      <a:pt x="122" y="55"/>
                    </a:lnTo>
                    <a:lnTo>
                      <a:pt x="119" y="53"/>
                    </a:lnTo>
                    <a:lnTo>
                      <a:pt x="117" y="52"/>
                    </a:lnTo>
                    <a:lnTo>
                      <a:pt x="115" y="50"/>
                    </a:lnTo>
                    <a:lnTo>
                      <a:pt x="112" y="47"/>
                    </a:lnTo>
                    <a:lnTo>
                      <a:pt x="108" y="44"/>
                    </a:lnTo>
                    <a:lnTo>
                      <a:pt x="106" y="44"/>
                    </a:lnTo>
                    <a:lnTo>
                      <a:pt x="104" y="42"/>
                    </a:lnTo>
                    <a:lnTo>
                      <a:pt x="103" y="42"/>
                    </a:lnTo>
                    <a:lnTo>
                      <a:pt x="103" y="41"/>
                    </a:lnTo>
                    <a:lnTo>
                      <a:pt x="101" y="41"/>
                    </a:lnTo>
                    <a:lnTo>
                      <a:pt x="100" y="38"/>
                    </a:lnTo>
                    <a:lnTo>
                      <a:pt x="97" y="36"/>
                    </a:lnTo>
                    <a:lnTo>
                      <a:pt x="97" y="36"/>
                    </a:lnTo>
                    <a:lnTo>
                      <a:pt x="97" y="34"/>
                    </a:lnTo>
                    <a:lnTo>
                      <a:pt x="95" y="34"/>
                    </a:lnTo>
                    <a:lnTo>
                      <a:pt x="95" y="33"/>
                    </a:lnTo>
                    <a:lnTo>
                      <a:pt x="94" y="31"/>
                    </a:lnTo>
                    <a:lnTo>
                      <a:pt x="92" y="31"/>
                    </a:lnTo>
                    <a:lnTo>
                      <a:pt x="90" y="30"/>
                    </a:lnTo>
                    <a:lnTo>
                      <a:pt x="89" y="30"/>
                    </a:lnTo>
                    <a:lnTo>
                      <a:pt x="81" y="23"/>
                    </a:lnTo>
                    <a:lnTo>
                      <a:pt x="79" y="22"/>
                    </a:lnTo>
                    <a:lnTo>
                      <a:pt x="76" y="22"/>
                    </a:lnTo>
                    <a:lnTo>
                      <a:pt x="75" y="20"/>
                    </a:lnTo>
                    <a:lnTo>
                      <a:pt x="73" y="19"/>
                    </a:lnTo>
                    <a:lnTo>
                      <a:pt x="72" y="19"/>
                    </a:lnTo>
                    <a:lnTo>
                      <a:pt x="72" y="20"/>
                    </a:lnTo>
                    <a:lnTo>
                      <a:pt x="73" y="22"/>
                    </a:lnTo>
                    <a:lnTo>
                      <a:pt x="73" y="22"/>
                    </a:lnTo>
                    <a:lnTo>
                      <a:pt x="75" y="23"/>
                    </a:lnTo>
                    <a:lnTo>
                      <a:pt x="75" y="23"/>
                    </a:lnTo>
                    <a:lnTo>
                      <a:pt x="75" y="25"/>
                    </a:lnTo>
                    <a:lnTo>
                      <a:pt x="76" y="28"/>
                    </a:lnTo>
                    <a:lnTo>
                      <a:pt x="78" y="30"/>
                    </a:lnTo>
                    <a:lnTo>
                      <a:pt x="79" y="31"/>
                    </a:lnTo>
                    <a:lnTo>
                      <a:pt x="81" y="33"/>
                    </a:lnTo>
                    <a:lnTo>
                      <a:pt x="83" y="34"/>
                    </a:lnTo>
                    <a:lnTo>
                      <a:pt x="86" y="39"/>
                    </a:lnTo>
                    <a:lnTo>
                      <a:pt x="87" y="41"/>
                    </a:lnTo>
                    <a:lnTo>
                      <a:pt x="89" y="41"/>
                    </a:lnTo>
                    <a:lnTo>
                      <a:pt x="94" y="45"/>
                    </a:lnTo>
                    <a:lnTo>
                      <a:pt x="95" y="45"/>
                    </a:lnTo>
                    <a:lnTo>
                      <a:pt x="97" y="47"/>
                    </a:lnTo>
                    <a:lnTo>
                      <a:pt x="100" y="49"/>
                    </a:lnTo>
                    <a:lnTo>
                      <a:pt x="101" y="50"/>
                    </a:lnTo>
                    <a:lnTo>
                      <a:pt x="103" y="52"/>
                    </a:lnTo>
                    <a:lnTo>
                      <a:pt x="106" y="52"/>
                    </a:lnTo>
                    <a:lnTo>
                      <a:pt x="108" y="53"/>
                    </a:lnTo>
                    <a:lnTo>
                      <a:pt x="109" y="53"/>
                    </a:lnTo>
                    <a:lnTo>
                      <a:pt x="109" y="55"/>
                    </a:lnTo>
                    <a:lnTo>
                      <a:pt x="109" y="55"/>
                    </a:lnTo>
                    <a:lnTo>
                      <a:pt x="112" y="56"/>
                    </a:lnTo>
                    <a:lnTo>
                      <a:pt x="114" y="58"/>
                    </a:lnTo>
                    <a:lnTo>
                      <a:pt x="114" y="58"/>
                    </a:lnTo>
                    <a:lnTo>
                      <a:pt x="115" y="58"/>
                    </a:lnTo>
                    <a:lnTo>
                      <a:pt x="115" y="58"/>
                    </a:lnTo>
                    <a:lnTo>
                      <a:pt x="117" y="59"/>
                    </a:lnTo>
                    <a:lnTo>
                      <a:pt x="120" y="61"/>
                    </a:lnTo>
                    <a:lnTo>
                      <a:pt x="122" y="61"/>
                    </a:lnTo>
                    <a:lnTo>
                      <a:pt x="122" y="61"/>
                    </a:lnTo>
                    <a:lnTo>
                      <a:pt x="123" y="59"/>
                    </a:lnTo>
                    <a:lnTo>
                      <a:pt x="125" y="58"/>
                    </a:lnTo>
                    <a:lnTo>
                      <a:pt x="123" y="55"/>
                    </a:lnTo>
                    <a:close/>
                    <a:moveTo>
                      <a:pt x="1" y="0"/>
                    </a:moveTo>
                    <a:lnTo>
                      <a:pt x="0" y="2"/>
                    </a:lnTo>
                    <a:lnTo>
                      <a:pt x="0" y="5"/>
                    </a:lnTo>
                    <a:lnTo>
                      <a:pt x="0" y="3"/>
                    </a:lnTo>
                    <a:lnTo>
                      <a:pt x="1" y="2"/>
                    </a:lnTo>
                    <a:lnTo>
                      <a:pt x="1"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4" name="Freeform 151">
                <a:extLst>
                  <a:ext uri="{FF2B5EF4-FFF2-40B4-BE49-F238E27FC236}">
                    <a16:creationId xmlns:a16="http://schemas.microsoft.com/office/drawing/2014/main" id="{729CCAD3-275C-FE14-C2C9-EFB906EEE12F}"/>
                  </a:ext>
                </a:extLst>
              </p:cNvPr>
              <p:cNvSpPr>
                <a:spLocks/>
              </p:cNvSpPr>
              <p:nvPr/>
            </p:nvSpPr>
            <p:spPr bwMode="gray">
              <a:xfrm>
                <a:off x="2678" y="1155"/>
                <a:ext cx="277" cy="216"/>
              </a:xfrm>
              <a:custGeom>
                <a:avLst/>
                <a:gdLst>
                  <a:gd name="T0" fmla="*/ 263 w 277"/>
                  <a:gd name="T1" fmla="*/ 36 h 216"/>
                  <a:gd name="T2" fmla="*/ 271 w 277"/>
                  <a:gd name="T3" fmla="*/ 48 h 216"/>
                  <a:gd name="T4" fmla="*/ 277 w 277"/>
                  <a:gd name="T5" fmla="*/ 58 h 216"/>
                  <a:gd name="T6" fmla="*/ 272 w 277"/>
                  <a:gd name="T7" fmla="*/ 67 h 216"/>
                  <a:gd name="T8" fmla="*/ 271 w 277"/>
                  <a:gd name="T9" fmla="*/ 97 h 216"/>
                  <a:gd name="T10" fmla="*/ 265 w 277"/>
                  <a:gd name="T11" fmla="*/ 128 h 216"/>
                  <a:gd name="T12" fmla="*/ 240 w 277"/>
                  <a:gd name="T13" fmla="*/ 158 h 216"/>
                  <a:gd name="T14" fmla="*/ 233 w 277"/>
                  <a:gd name="T15" fmla="*/ 172 h 216"/>
                  <a:gd name="T16" fmla="*/ 229 w 277"/>
                  <a:gd name="T17" fmla="*/ 183 h 216"/>
                  <a:gd name="T18" fmla="*/ 219 w 277"/>
                  <a:gd name="T19" fmla="*/ 188 h 216"/>
                  <a:gd name="T20" fmla="*/ 210 w 277"/>
                  <a:gd name="T21" fmla="*/ 191 h 216"/>
                  <a:gd name="T22" fmla="*/ 197 w 277"/>
                  <a:gd name="T23" fmla="*/ 186 h 216"/>
                  <a:gd name="T24" fmla="*/ 175 w 277"/>
                  <a:gd name="T25" fmla="*/ 188 h 216"/>
                  <a:gd name="T26" fmla="*/ 158 w 277"/>
                  <a:gd name="T27" fmla="*/ 196 h 216"/>
                  <a:gd name="T28" fmla="*/ 139 w 277"/>
                  <a:gd name="T29" fmla="*/ 188 h 216"/>
                  <a:gd name="T30" fmla="*/ 125 w 277"/>
                  <a:gd name="T31" fmla="*/ 191 h 216"/>
                  <a:gd name="T32" fmla="*/ 121 w 277"/>
                  <a:gd name="T33" fmla="*/ 192 h 216"/>
                  <a:gd name="T34" fmla="*/ 116 w 277"/>
                  <a:gd name="T35" fmla="*/ 191 h 216"/>
                  <a:gd name="T36" fmla="*/ 108 w 277"/>
                  <a:gd name="T37" fmla="*/ 183 h 216"/>
                  <a:gd name="T38" fmla="*/ 99 w 277"/>
                  <a:gd name="T39" fmla="*/ 180 h 216"/>
                  <a:gd name="T40" fmla="*/ 89 w 277"/>
                  <a:gd name="T41" fmla="*/ 180 h 216"/>
                  <a:gd name="T42" fmla="*/ 78 w 277"/>
                  <a:gd name="T43" fmla="*/ 180 h 216"/>
                  <a:gd name="T44" fmla="*/ 71 w 277"/>
                  <a:gd name="T45" fmla="*/ 185 h 216"/>
                  <a:gd name="T46" fmla="*/ 66 w 277"/>
                  <a:gd name="T47" fmla="*/ 197 h 216"/>
                  <a:gd name="T48" fmla="*/ 61 w 277"/>
                  <a:gd name="T49" fmla="*/ 208 h 216"/>
                  <a:gd name="T50" fmla="*/ 60 w 277"/>
                  <a:gd name="T51" fmla="*/ 213 h 216"/>
                  <a:gd name="T52" fmla="*/ 61 w 277"/>
                  <a:gd name="T53" fmla="*/ 216 h 216"/>
                  <a:gd name="T54" fmla="*/ 57 w 277"/>
                  <a:gd name="T55" fmla="*/ 213 h 216"/>
                  <a:gd name="T56" fmla="*/ 47 w 277"/>
                  <a:gd name="T57" fmla="*/ 205 h 216"/>
                  <a:gd name="T58" fmla="*/ 44 w 277"/>
                  <a:gd name="T59" fmla="*/ 205 h 216"/>
                  <a:gd name="T60" fmla="*/ 38 w 277"/>
                  <a:gd name="T61" fmla="*/ 206 h 216"/>
                  <a:gd name="T62" fmla="*/ 38 w 277"/>
                  <a:gd name="T63" fmla="*/ 211 h 216"/>
                  <a:gd name="T64" fmla="*/ 33 w 277"/>
                  <a:gd name="T65" fmla="*/ 205 h 216"/>
                  <a:gd name="T66" fmla="*/ 36 w 277"/>
                  <a:gd name="T67" fmla="*/ 203 h 216"/>
                  <a:gd name="T68" fmla="*/ 33 w 277"/>
                  <a:gd name="T69" fmla="*/ 199 h 216"/>
                  <a:gd name="T70" fmla="*/ 28 w 277"/>
                  <a:gd name="T71" fmla="*/ 200 h 216"/>
                  <a:gd name="T72" fmla="*/ 24 w 277"/>
                  <a:gd name="T73" fmla="*/ 199 h 216"/>
                  <a:gd name="T74" fmla="*/ 14 w 277"/>
                  <a:gd name="T75" fmla="*/ 192 h 216"/>
                  <a:gd name="T76" fmla="*/ 16 w 277"/>
                  <a:gd name="T77" fmla="*/ 188 h 216"/>
                  <a:gd name="T78" fmla="*/ 14 w 277"/>
                  <a:gd name="T79" fmla="*/ 185 h 216"/>
                  <a:gd name="T80" fmla="*/ 11 w 277"/>
                  <a:gd name="T81" fmla="*/ 181 h 216"/>
                  <a:gd name="T82" fmla="*/ 8 w 277"/>
                  <a:gd name="T83" fmla="*/ 180 h 216"/>
                  <a:gd name="T84" fmla="*/ 3 w 277"/>
                  <a:gd name="T85" fmla="*/ 172 h 216"/>
                  <a:gd name="T86" fmla="*/ 0 w 277"/>
                  <a:gd name="T87" fmla="*/ 166 h 216"/>
                  <a:gd name="T88" fmla="*/ 0 w 277"/>
                  <a:gd name="T89" fmla="*/ 158 h 216"/>
                  <a:gd name="T90" fmla="*/ 10 w 277"/>
                  <a:gd name="T91" fmla="*/ 158 h 216"/>
                  <a:gd name="T92" fmla="*/ 19 w 277"/>
                  <a:gd name="T93" fmla="*/ 152 h 216"/>
                  <a:gd name="T94" fmla="*/ 39 w 277"/>
                  <a:gd name="T95" fmla="*/ 152 h 216"/>
                  <a:gd name="T96" fmla="*/ 50 w 277"/>
                  <a:gd name="T97" fmla="*/ 150 h 216"/>
                  <a:gd name="T98" fmla="*/ 58 w 277"/>
                  <a:gd name="T99" fmla="*/ 149 h 216"/>
                  <a:gd name="T100" fmla="*/ 64 w 277"/>
                  <a:gd name="T101" fmla="*/ 144 h 216"/>
                  <a:gd name="T102" fmla="*/ 66 w 277"/>
                  <a:gd name="T103" fmla="*/ 138 h 216"/>
                  <a:gd name="T104" fmla="*/ 71 w 277"/>
                  <a:gd name="T105" fmla="*/ 125 h 216"/>
                  <a:gd name="T106" fmla="*/ 71 w 277"/>
                  <a:gd name="T107" fmla="*/ 109 h 216"/>
                  <a:gd name="T108" fmla="*/ 71 w 277"/>
                  <a:gd name="T109" fmla="*/ 89 h 216"/>
                  <a:gd name="T110" fmla="*/ 78 w 277"/>
                  <a:gd name="T111" fmla="*/ 80 h 216"/>
                  <a:gd name="T112" fmla="*/ 99 w 277"/>
                  <a:gd name="T113" fmla="*/ 75 h 216"/>
                  <a:gd name="T114" fmla="*/ 114 w 277"/>
                  <a:gd name="T115" fmla="*/ 61 h 216"/>
                  <a:gd name="T116" fmla="*/ 135 w 277"/>
                  <a:gd name="T117" fmla="*/ 45 h 216"/>
                  <a:gd name="T118" fmla="*/ 171 w 277"/>
                  <a:gd name="T119" fmla="*/ 22 h 216"/>
                  <a:gd name="T120" fmla="*/ 207 w 277"/>
                  <a:gd name="T121" fmla="*/ 0 h 216"/>
                  <a:gd name="T122" fmla="*/ 235 w 277"/>
                  <a:gd name="T123" fmla="*/ 6 h 216"/>
                  <a:gd name="T124" fmla="*/ 247 w 277"/>
                  <a:gd name="T125"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16">
                    <a:moveTo>
                      <a:pt x="260" y="9"/>
                    </a:moveTo>
                    <a:lnTo>
                      <a:pt x="261" y="20"/>
                    </a:lnTo>
                    <a:lnTo>
                      <a:pt x="263" y="30"/>
                    </a:lnTo>
                    <a:lnTo>
                      <a:pt x="263" y="36"/>
                    </a:lnTo>
                    <a:lnTo>
                      <a:pt x="263" y="37"/>
                    </a:lnTo>
                    <a:lnTo>
                      <a:pt x="265" y="37"/>
                    </a:lnTo>
                    <a:lnTo>
                      <a:pt x="265" y="39"/>
                    </a:lnTo>
                    <a:lnTo>
                      <a:pt x="271" y="48"/>
                    </a:lnTo>
                    <a:lnTo>
                      <a:pt x="269" y="50"/>
                    </a:lnTo>
                    <a:lnTo>
                      <a:pt x="271" y="52"/>
                    </a:lnTo>
                    <a:lnTo>
                      <a:pt x="272" y="53"/>
                    </a:lnTo>
                    <a:lnTo>
                      <a:pt x="277" y="58"/>
                    </a:lnTo>
                    <a:lnTo>
                      <a:pt x="277" y="59"/>
                    </a:lnTo>
                    <a:lnTo>
                      <a:pt x="277" y="59"/>
                    </a:lnTo>
                    <a:lnTo>
                      <a:pt x="274" y="66"/>
                    </a:lnTo>
                    <a:lnTo>
                      <a:pt x="272" y="67"/>
                    </a:lnTo>
                    <a:lnTo>
                      <a:pt x="272" y="75"/>
                    </a:lnTo>
                    <a:lnTo>
                      <a:pt x="272" y="80"/>
                    </a:lnTo>
                    <a:lnTo>
                      <a:pt x="271" y="88"/>
                    </a:lnTo>
                    <a:lnTo>
                      <a:pt x="271" y="97"/>
                    </a:lnTo>
                    <a:lnTo>
                      <a:pt x="269" y="103"/>
                    </a:lnTo>
                    <a:lnTo>
                      <a:pt x="269" y="113"/>
                    </a:lnTo>
                    <a:lnTo>
                      <a:pt x="269" y="122"/>
                    </a:lnTo>
                    <a:lnTo>
                      <a:pt x="265" y="128"/>
                    </a:lnTo>
                    <a:lnTo>
                      <a:pt x="255" y="136"/>
                    </a:lnTo>
                    <a:lnTo>
                      <a:pt x="249" y="144"/>
                    </a:lnTo>
                    <a:lnTo>
                      <a:pt x="246" y="149"/>
                    </a:lnTo>
                    <a:lnTo>
                      <a:pt x="240" y="158"/>
                    </a:lnTo>
                    <a:lnTo>
                      <a:pt x="236" y="164"/>
                    </a:lnTo>
                    <a:lnTo>
                      <a:pt x="235" y="167"/>
                    </a:lnTo>
                    <a:lnTo>
                      <a:pt x="233" y="169"/>
                    </a:lnTo>
                    <a:lnTo>
                      <a:pt x="233" y="172"/>
                    </a:lnTo>
                    <a:lnTo>
                      <a:pt x="236" y="180"/>
                    </a:lnTo>
                    <a:lnTo>
                      <a:pt x="233" y="180"/>
                    </a:lnTo>
                    <a:lnTo>
                      <a:pt x="230" y="181"/>
                    </a:lnTo>
                    <a:lnTo>
                      <a:pt x="229" y="183"/>
                    </a:lnTo>
                    <a:lnTo>
                      <a:pt x="225" y="183"/>
                    </a:lnTo>
                    <a:lnTo>
                      <a:pt x="222" y="185"/>
                    </a:lnTo>
                    <a:lnTo>
                      <a:pt x="221" y="186"/>
                    </a:lnTo>
                    <a:lnTo>
                      <a:pt x="219" y="188"/>
                    </a:lnTo>
                    <a:lnTo>
                      <a:pt x="216" y="189"/>
                    </a:lnTo>
                    <a:lnTo>
                      <a:pt x="216" y="191"/>
                    </a:lnTo>
                    <a:lnTo>
                      <a:pt x="213" y="192"/>
                    </a:lnTo>
                    <a:lnTo>
                      <a:pt x="210" y="191"/>
                    </a:lnTo>
                    <a:lnTo>
                      <a:pt x="207" y="189"/>
                    </a:lnTo>
                    <a:lnTo>
                      <a:pt x="202" y="188"/>
                    </a:lnTo>
                    <a:lnTo>
                      <a:pt x="199" y="188"/>
                    </a:lnTo>
                    <a:lnTo>
                      <a:pt x="197" y="186"/>
                    </a:lnTo>
                    <a:lnTo>
                      <a:pt x="189" y="186"/>
                    </a:lnTo>
                    <a:lnTo>
                      <a:pt x="180" y="188"/>
                    </a:lnTo>
                    <a:lnTo>
                      <a:pt x="177" y="188"/>
                    </a:lnTo>
                    <a:lnTo>
                      <a:pt x="175" y="188"/>
                    </a:lnTo>
                    <a:lnTo>
                      <a:pt x="174" y="189"/>
                    </a:lnTo>
                    <a:lnTo>
                      <a:pt x="171" y="191"/>
                    </a:lnTo>
                    <a:lnTo>
                      <a:pt x="166" y="197"/>
                    </a:lnTo>
                    <a:lnTo>
                      <a:pt x="158" y="196"/>
                    </a:lnTo>
                    <a:lnTo>
                      <a:pt x="154" y="196"/>
                    </a:lnTo>
                    <a:lnTo>
                      <a:pt x="150" y="194"/>
                    </a:lnTo>
                    <a:lnTo>
                      <a:pt x="146" y="192"/>
                    </a:lnTo>
                    <a:lnTo>
                      <a:pt x="139" y="188"/>
                    </a:lnTo>
                    <a:lnTo>
                      <a:pt x="136" y="188"/>
                    </a:lnTo>
                    <a:lnTo>
                      <a:pt x="135" y="188"/>
                    </a:lnTo>
                    <a:lnTo>
                      <a:pt x="133" y="188"/>
                    </a:lnTo>
                    <a:lnTo>
                      <a:pt x="125" y="191"/>
                    </a:lnTo>
                    <a:lnTo>
                      <a:pt x="124" y="191"/>
                    </a:lnTo>
                    <a:lnTo>
                      <a:pt x="122" y="191"/>
                    </a:lnTo>
                    <a:lnTo>
                      <a:pt x="122" y="192"/>
                    </a:lnTo>
                    <a:lnTo>
                      <a:pt x="121" y="192"/>
                    </a:lnTo>
                    <a:lnTo>
                      <a:pt x="119" y="192"/>
                    </a:lnTo>
                    <a:lnTo>
                      <a:pt x="119" y="192"/>
                    </a:lnTo>
                    <a:lnTo>
                      <a:pt x="118" y="192"/>
                    </a:lnTo>
                    <a:lnTo>
                      <a:pt x="116" y="191"/>
                    </a:lnTo>
                    <a:lnTo>
                      <a:pt x="113" y="186"/>
                    </a:lnTo>
                    <a:lnTo>
                      <a:pt x="113" y="186"/>
                    </a:lnTo>
                    <a:lnTo>
                      <a:pt x="111" y="185"/>
                    </a:lnTo>
                    <a:lnTo>
                      <a:pt x="108" y="183"/>
                    </a:lnTo>
                    <a:lnTo>
                      <a:pt x="108" y="181"/>
                    </a:lnTo>
                    <a:lnTo>
                      <a:pt x="107" y="181"/>
                    </a:lnTo>
                    <a:lnTo>
                      <a:pt x="105" y="181"/>
                    </a:lnTo>
                    <a:lnTo>
                      <a:pt x="99" y="180"/>
                    </a:lnTo>
                    <a:lnTo>
                      <a:pt x="93" y="177"/>
                    </a:lnTo>
                    <a:lnTo>
                      <a:pt x="93" y="178"/>
                    </a:lnTo>
                    <a:lnTo>
                      <a:pt x="91" y="178"/>
                    </a:lnTo>
                    <a:lnTo>
                      <a:pt x="89" y="180"/>
                    </a:lnTo>
                    <a:lnTo>
                      <a:pt x="86" y="180"/>
                    </a:lnTo>
                    <a:lnTo>
                      <a:pt x="83" y="180"/>
                    </a:lnTo>
                    <a:lnTo>
                      <a:pt x="82" y="180"/>
                    </a:lnTo>
                    <a:lnTo>
                      <a:pt x="78" y="180"/>
                    </a:lnTo>
                    <a:lnTo>
                      <a:pt x="77" y="180"/>
                    </a:lnTo>
                    <a:lnTo>
                      <a:pt x="74" y="181"/>
                    </a:lnTo>
                    <a:lnTo>
                      <a:pt x="71" y="185"/>
                    </a:lnTo>
                    <a:lnTo>
                      <a:pt x="71" y="185"/>
                    </a:lnTo>
                    <a:lnTo>
                      <a:pt x="69" y="185"/>
                    </a:lnTo>
                    <a:lnTo>
                      <a:pt x="69" y="192"/>
                    </a:lnTo>
                    <a:lnTo>
                      <a:pt x="68" y="194"/>
                    </a:lnTo>
                    <a:lnTo>
                      <a:pt x="66" y="197"/>
                    </a:lnTo>
                    <a:lnTo>
                      <a:pt x="63" y="200"/>
                    </a:lnTo>
                    <a:lnTo>
                      <a:pt x="61" y="202"/>
                    </a:lnTo>
                    <a:lnTo>
                      <a:pt x="61" y="203"/>
                    </a:lnTo>
                    <a:lnTo>
                      <a:pt x="61" y="208"/>
                    </a:lnTo>
                    <a:lnTo>
                      <a:pt x="61" y="210"/>
                    </a:lnTo>
                    <a:lnTo>
                      <a:pt x="61" y="211"/>
                    </a:lnTo>
                    <a:lnTo>
                      <a:pt x="60" y="213"/>
                    </a:lnTo>
                    <a:lnTo>
                      <a:pt x="60" y="213"/>
                    </a:lnTo>
                    <a:lnTo>
                      <a:pt x="60" y="214"/>
                    </a:lnTo>
                    <a:lnTo>
                      <a:pt x="61" y="214"/>
                    </a:lnTo>
                    <a:lnTo>
                      <a:pt x="61" y="216"/>
                    </a:lnTo>
                    <a:lnTo>
                      <a:pt x="61" y="216"/>
                    </a:lnTo>
                    <a:lnTo>
                      <a:pt x="60" y="216"/>
                    </a:lnTo>
                    <a:lnTo>
                      <a:pt x="58" y="214"/>
                    </a:lnTo>
                    <a:lnTo>
                      <a:pt x="58" y="214"/>
                    </a:lnTo>
                    <a:lnTo>
                      <a:pt x="57" y="213"/>
                    </a:lnTo>
                    <a:lnTo>
                      <a:pt x="55" y="213"/>
                    </a:lnTo>
                    <a:lnTo>
                      <a:pt x="53" y="211"/>
                    </a:lnTo>
                    <a:lnTo>
                      <a:pt x="52" y="210"/>
                    </a:lnTo>
                    <a:lnTo>
                      <a:pt x="47" y="205"/>
                    </a:lnTo>
                    <a:lnTo>
                      <a:pt x="47" y="205"/>
                    </a:lnTo>
                    <a:lnTo>
                      <a:pt x="46" y="203"/>
                    </a:lnTo>
                    <a:lnTo>
                      <a:pt x="44" y="205"/>
                    </a:lnTo>
                    <a:lnTo>
                      <a:pt x="44" y="205"/>
                    </a:lnTo>
                    <a:lnTo>
                      <a:pt x="44" y="205"/>
                    </a:lnTo>
                    <a:lnTo>
                      <a:pt x="43" y="206"/>
                    </a:lnTo>
                    <a:lnTo>
                      <a:pt x="41" y="206"/>
                    </a:lnTo>
                    <a:lnTo>
                      <a:pt x="38" y="206"/>
                    </a:lnTo>
                    <a:lnTo>
                      <a:pt x="38" y="208"/>
                    </a:lnTo>
                    <a:lnTo>
                      <a:pt x="39" y="211"/>
                    </a:lnTo>
                    <a:lnTo>
                      <a:pt x="39" y="213"/>
                    </a:lnTo>
                    <a:lnTo>
                      <a:pt x="38" y="211"/>
                    </a:lnTo>
                    <a:lnTo>
                      <a:pt x="35" y="208"/>
                    </a:lnTo>
                    <a:lnTo>
                      <a:pt x="33" y="206"/>
                    </a:lnTo>
                    <a:lnTo>
                      <a:pt x="33" y="205"/>
                    </a:lnTo>
                    <a:lnTo>
                      <a:pt x="33" y="205"/>
                    </a:lnTo>
                    <a:lnTo>
                      <a:pt x="33" y="205"/>
                    </a:lnTo>
                    <a:lnTo>
                      <a:pt x="33" y="203"/>
                    </a:lnTo>
                    <a:lnTo>
                      <a:pt x="36" y="203"/>
                    </a:lnTo>
                    <a:lnTo>
                      <a:pt x="36" y="203"/>
                    </a:lnTo>
                    <a:lnTo>
                      <a:pt x="36" y="203"/>
                    </a:lnTo>
                    <a:lnTo>
                      <a:pt x="36" y="202"/>
                    </a:lnTo>
                    <a:lnTo>
                      <a:pt x="35" y="200"/>
                    </a:lnTo>
                    <a:lnTo>
                      <a:pt x="33" y="199"/>
                    </a:lnTo>
                    <a:lnTo>
                      <a:pt x="33" y="199"/>
                    </a:lnTo>
                    <a:lnTo>
                      <a:pt x="32" y="199"/>
                    </a:lnTo>
                    <a:lnTo>
                      <a:pt x="32" y="199"/>
                    </a:lnTo>
                    <a:lnTo>
                      <a:pt x="28" y="200"/>
                    </a:lnTo>
                    <a:lnTo>
                      <a:pt x="28" y="200"/>
                    </a:lnTo>
                    <a:lnTo>
                      <a:pt x="27" y="200"/>
                    </a:lnTo>
                    <a:lnTo>
                      <a:pt x="24" y="200"/>
                    </a:lnTo>
                    <a:lnTo>
                      <a:pt x="24" y="199"/>
                    </a:lnTo>
                    <a:lnTo>
                      <a:pt x="19" y="196"/>
                    </a:lnTo>
                    <a:lnTo>
                      <a:pt x="16" y="192"/>
                    </a:lnTo>
                    <a:lnTo>
                      <a:pt x="14" y="192"/>
                    </a:lnTo>
                    <a:lnTo>
                      <a:pt x="14" y="192"/>
                    </a:lnTo>
                    <a:lnTo>
                      <a:pt x="14" y="189"/>
                    </a:lnTo>
                    <a:lnTo>
                      <a:pt x="14" y="188"/>
                    </a:lnTo>
                    <a:lnTo>
                      <a:pt x="14" y="186"/>
                    </a:lnTo>
                    <a:lnTo>
                      <a:pt x="16" y="188"/>
                    </a:lnTo>
                    <a:lnTo>
                      <a:pt x="18" y="188"/>
                    </a:lnTo>
                    <a:lnTo>
                      <a:pt x="18" y="186"/>
                    </a:lnTo>
                    <a:lnTo>
                      <a:pt x="16" y="186"/>
                    </a:lnTo>
                    <a:lnTo>
                      <a:pt x="14" y="185"/>
                    </a:lnTo>
                    <a:lnTo>
                      <a:pt x="14" y="183"/>
                    </a:lnTo>
                    <a:lnTo>
                      <a:pt x="13" y="183"/>
                    </a:lnTo>
                    <a:lnTo>
                      <a:pt x="13" y="181"/>
                    </a:lnTo>
                    <a:lnTo>
                      <a:pt x="11" y="181"/>
                    </a:lnTo>
                    <a:lnTo>
                      <a:pt x="11" y="181"/>
                    </a:lnTo>
                    <a:lnTo>
                      <a:pt x="10" y="181"/>
                    </a:lnTo>
                    <a:lnTo>
                      <a:pt x="8" y="181"/>
                    </a:lnTo>
                    <a:lnTo>
                      <a:pt x="8" y="180"/>
                    </a:lnTo>
                    <a:lnTo>
                      <a:pt x="7" y="178"/>
                    </a:lnTo>
                    <a:lnTo>
                      <a:pt x="5" y="175"/>
                    </a:lnTo>
                    <a:lnTo>
                      <a:pt x="3" y="174"/>
                    </a:lnTo>
                    <a:lnTo>
                      <a:pt x="3" y="172"/>
                    </a:lnTo>
                    <a:lnTo>
                      <a:pt x="3" y="171"/>
                    </a:lnTo>
                    <a:lnTo>
                      <a:pt x="3" y="171"/>
                    </a:lnTo>
                    <a:lnTo>
                      <a:pt x="2" y="167"/>
                    </a:lnTo>
                    <a:lnTo>
                      <a:pt x="0" y="166"/>
                    </a:lnTo>
                    <a:lnTo>
                      <a:pt x="0" y="163"/>
                    </a:lnTo>
                    <a:lnTo>
                      <a:pt x="0" y="161"/>
                    </a:lnTo>
                    <a:lnTo>
                      <a:pt x="0" y="160"/>
                    </a:lnTo>
                    <a:lnTo>
                      <a:pt x="0" y="158"/>
                    </a:lnTo>
                    <a:lnTo>
                      <a:pt x="0" y="158"/>
                    </a:lnTo>
                    <a:lnTo>
                      <a:pt x="2" y="158"/>
                    </a:lnTo>
                    <a:lnTo>
                      <a:pt x="5" y="158"/>
                    </a:lnTo>
                    <a:lnTo>
                      <a:pt x="10" y="158"/>
                    </a:lnTo>
                    <a:lnTo>
                      <a:pt x="13" y="158"/>
                    </a:lnTo>
                    <a:lnTo>
                      <a:pt x="14" y="158"/>
                    </a:lnTo>
                    <a:lnTo>
                      <a:pt x="16" y="155"/>
                    </a:lnTo>
                    <a:lnTo>
                      <a:pt x="19" y="152"/>
                    </a:lnTo>
                    <a:lnTo>
                      <a:pt x="24" y="152"/>
                    </a:lnTo>
                    <a:lnTo>
                      <a:pt x="30" y="152"/>
                    </a:lnTo>
                    <a:lnTo>
                      <a:pt x="33" y="152"/>
                    </a:lnTo>
                    <a:lnTo>
                      <a:pt x="39" y="152"/>
                    </a:lnTo>
                    <a:lnTo>
                      <a:pt x="44" y="152"/>
                    </a:lnTo>
                    <a:lnTo>
                      <a:pt x="49" y="152"/>
                    </a:lnTo>
                    <a:lnTo>
                      <a:pt x="50" y="150"/>
                    </a:lnTo>
                    <a:lnTo>
                      <a:pt x="50" y="150"/>
                    </a:lnTo>
                    <a:lnTo>
                      <a:pt x="50" y="150"/>
                    </a:lnTo>
                    <a:lnTo>
                      <a:pt x="55" y="150"/>
                    </a:lnTo>
                    <a:lnTo>
                      <a:pt x="58" y="150"/>
                    </a:lnTo>
                    <a:lnTo>
                      <a:pt x="58" y="149"/>
                    </a:lnTo>
                    <a:lnTo>
                      <a:pt x="61" y="145"/>
                    </a:lnTo>
                    <a:lnTo>
                      <a:pt x="64" y="145"/>
                    </a:lnTo>
                    <a:lnTo>
                      <a:pt x="64" y="144"/>
                    </a:lnTo>
                    <a:lnTo>
                      <a:pt x="64" y="144"/>
                    </a:lnTo>
                    <a:lnTo>
                      <a:pt x="66" y="142"/>
                    </a:lnTo>
                    <a:lnTo>
                      <a:pt x="66" y="141"/>
                    </a:lnTo>
                    <a:lnTo>
                      <a:pt x="66" y="141"/>
                    </a:lnTo>
                    <a:lnTo>
                      <a:pt x="66" y="138"/>
                    </a:lnTo>
                    <a:lnTo>
                      <a:pt x="68" y="136"/>
                    </a:lnTo>
                    <a:lnTo>
                      <a:pt x="69" y="133"/>
                    </a:lnTo>
                    <a:lnTo>
                      <a:pt x="71" y="128"/>
                    </a:lnTo>
                    <a:lnTo>
                      <a:pt x="71" y="125"/>
                    </a:lnTo>
                    <a:lnTo>
                      <a:pt x="71" y="122"/>
                    </a:lnTo>
                    <a:lnTo>
                      <a:pt x="71" y="120"/>
                    </a:lnTo>
                    <a:lnTo>
                      <a:pt x="71" y="116"/>
                    </a:lnTo>
                    <a:lnTo>
                      <a:pt x="71" y="109"/>
                    </a:lnTo>
                    <a:lnTo>
                      <a:pt x="71" y="106"/>
                    </a:lnTo>
                    <a:lnTo>
                      <a:pt x="71" y="100"/>
                    </a:lnTo>
                    <a:lnTo>
                      <a:pt x="71" y="95"/>
                    </a:lnTo>
                    <a:lnTo>
                      <a:pt x="71" y="89"/>
                    </a:lnTo>
                    <a:lnTo>
                      <a:pt x="71" y="84"/>
                    </a:lnTo>
                    <a:lnTo>
                      <a:pt x="71" y="81"/>
                    </a:lnTo>
                    <a:lnTo>
                      <a:pt x="75" y="81"/>
                    </a:lnTo>
                    <a:lnTo>
                      <a:pt x="78" y="80"/>
                    </a:lnTo>
                    <a:lnTo>
                      <a:pt x="85" y="78"/>
                    </a:lnTo>
                    <a:lnTo>
                      <a:pt x="91" y="78"/>
                    </a:lnTo>
                    <a:lnTo>
                      <a:pt x="97" y="77"/>
                    </a:lnTo>
                    <a:lnTo>
                      <a:pt x="99" y="75"/>
                    </a:lnTo>
                    <a:lnTo>
                      <a:pt x="105" y="70"/>
                    </a:lnTo>
                    <a:lnTo>
                      <a:pt x="107" y="69"/>
                    </a:lnTo>
                    <a:lnTo>
                      <a:pt x="111" y="64"/>
                    </a:lnTo>
                    <a:lnTo>
                      <a:pt x="114" y="61"/>
                    </a:lnTo>
                    <a:lnTo>
                      <a:pt x="119" y="56"/>
                    </a:lnTo>
                    <a:lnTo>
                      <a:pt x="124" y="53"/>
                    </a:lnTo>
                    <a:lnTo>
                      <a:pt x="129" y="50"/>
                    </a:lnTo>
                    <a:lnTo>
                      <a:pt x="135" y="45"/>
                    </a:lnTo>
                    <a:lnTo>
                      <a:pt x="143" y="39"/>
                    </a:lnTo>
                    <a:lnTo>
                      <a:pt x="152" y="34"/>
                    </a:lnTo>
                    <a:lnTo>
                      <a:pt x="161" y="28"/>
                    </a:lnTo>
                    <a:lnTo>
                      <a:pt x="171" y="22"/>
                    </a:lnTo>
                    <a:lnTo>
                      <a:pt x="180" y="17"/>
                    </a:lnTo>
                    <a:lnTo>
                      <a:pt x="189" y="11"/>
                    </a:lnTo>
                    <a:lnTo>
                      <a:pt x="197" y="5"/>
                    </a:lnTo>
                    <a:lnTo>
                      <a:pt x="207" y="0"/>
                    </a:lnTo>
                    <a:lnTo>
                      <a:pt x="216" y="2"/>
                    </a:lnTo>
                    <a:lnTo>
                      <a:pt x="225" y="3"/>
                    </a:lnTo>
                    <a:lnTo>
                      <a:pt x="233" y="6"/>
                    </a:lnTo>
                    <a:lnTo>
                      <a:pt x="235" y="6"/>
                    </a:lnTo>
                    <a:lnTo>
                      <a:pt x="240" y="11"/>
                    </a:lnTo>
                    <a:lnTo>
                      <a:pt x="246" y="16"/>
                    </a:lnTo>
                    <a:lnTo>
                      <a:pt x="246" y="17"/>
                    </a:lnTo>
                    <a:lnTo>
                      <a:pt x="247" y="17"/>
                    </a:lnTo>
                    <a:lnTo>
                      <a:pt x="252" y="14"/>
                    </a:lnTo>
                    <a:lnTo>
                      <a:pt x="260" y="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5" name="Freeform 152">
                <a:extLst>
                  <a:ext uri="{FF2B5EF4-FFF2-40B4-BE49-F238E27FC236}">
                    <a16:creationId xmlns:a16="http://schemas.microsoft.com/office/drawing/2014/main" id="{14300AB8-1741-5BA3-0274-714051D52F1B}"/>
                  </a:ext>
                </a:extLst>
              </p:cNvPr>
              <p:cNvSpPr>
                <a:spLocks/>
              </p:cNvSpPr>
              <p:nvPr/>
            </p:nvSpPr>
            <p:spPr bwMode="gray">
              <a:xfrm>
                <a:off x="5622" y="2106"/>
                <a:ext cx="2" cy="2"/>
              </a:xfrm>
              <a:custGeom>
                <a:avLst/>
                <a:gdLst>
                  <a:gd name="T0" fmla="*/ 0 w 2"/>
                  <a:gd name="T1" fmla="*/ 0 h 2"/>
                  <a:gd name="T2" fmla="*/ 0 w 2"/>
                  <a:gd name="T3" fmla="*/ 0 h 2"/>
                  <a:gd name="T4" fmla="*/ 2 w 2"/>
                  <a:gd name="T5" fmla="*/ 0 h 2"/>
                  <a:gd name="T6" fmla="*/ 2 w 2"/>
                  <a:gd name="T7" fmla="*/ 2 h 2"/>
                  <a:gd name="T8" fmla="*/ 2 w 2"/>
                  <a:gd name="T9" fmla="*/ 2 h 2"/>
                  <a:gd name="T10" fmla="*/ 2 w 2"/>
                  <a:gd name="T11" fmla="*/ 2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0 h 2"/>
                  <a:gd name="T42" fmla="*/ 0 w 2"/>
                  <a:gd name="T43" fmla="*/ 0 h 2"/>
                  <a:gd name="T44" fmla="*/ 0 w 2"/>
                  <a:gd name="T45" fmla="*/ 0 h 2"/>
                  <a:gd name="T46" fmla="*/ 0 w 2"/>
                  <a:gd name="T47" fmla="*/ 0 h 2"/>
                  <a:gd name="T48" fmla="*/ 0 w 2"/>
                  <a:gd name="T49" fmla="*/ 0 h 2"/>
                  <a:gd name="T50" fmla="*/ 0 w 2"/>
                  <a:gd name="T5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2">
                    <a:moveTo>
                      <a:pt x="0" y="0"/>
                    </a:moveTo>
                    <a:lnTo>
                      <a:pt x="0" y="0"/>
                    </a:lnTo>
                    <a:lnTo>
                      <a:pt x="2"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6" name="Freeform 153">
                <a:extLst>
                  <a:ext uri="{FF2B5EF4-FFF2-40B4-BE49-F238E27FC236}">
                    <a16:creationId xmlns:a16="http://schemas.microsoft.com/office/drawing/2014/main" id="{6E938354-8875-B067-1534-0EF9354FDD1F}"/>
                  </a:ext>
                </a:extLst>
              </p:cNvPr>
              <p:cNvSpPr>
                <a:spLocks noEditPoints="1"/>
              </p:cNvSpPr>
              <p:nvPr/>
            </p:nvSpPr>
            <p:spPr bwMode="gray">
              <a:xfrm>
                <a:off x="2722" y="1332"/>
                <a:ext cx="210" cy="170"/>
              </a:xfrm>
              <a:custGeom>
                <a:avLst/>
                <a:gdLst>
                  <a:gd name="T0" fmla="*/ 81 w 210"/>
                  <a:gd name="T1" fmla="*/ 167 h 170"/>
                  <a:gd name="T2" fmla="*/ 206 w 210"/>
                  <a:gd name="T3" fmla="*/ 28 h 170"/>
                  <a:gd name="T4" fmla="*/ 202 w 210"/>
                  <a:gd name="T5" fmla="*/ 23 h 170"/>
                  <a:gd name="T6" fmla="*/ 186 w 210"/>
                  <a:gd name="T7" fmla="*/ 4 h 170"/>
                  <a:gd name="T8" fmla="*/ 172 w 210"/>
                  <a:gd name="T9" fmla="*/ 12 h 170"/>
                  <a:gd name="T10" fmla="*/ 155 w 210"/>
                  <a:gd name="T11" fmla="*/ 11 h 170"/>
                  <a:gd name="T12" fmla="*/ 130 w 210"/>
                  <a:gd name="T13" fmla="*/ 12 h 170"/>
                  <a:gd name="T14" fmla="*/ 102 w 210"/>
                  <a:gd name="T15" fmla="*/ 15 h 170"/>
                  <a:gd name="T16" fmla="*/ 80 w 210"/>
                  <a:gd name="T17" fmla="*/ 14 h 170"/>
                  <a:gd name="T18" fmla="*/ 74 w 210"/>
                  <a:gd name="T19" fmla="*/ 15 h 170"/>
                  <a:gd name="T20" fmla="*/ 66 w 210"/>
                  <a:gd name="T21" fmla="*/ 6 h 170"/>
                  <a:gd name="T22" fmla="*/ 49 w 210"/>
                  <a:gd name="T23" fmla="*/ 1 h 170"/>
                  <a:gd name="T24" fmla="*/ 34 w 210"/>
                  <a:gd name="T25" fmla="*/ 3 h 170"/>
                  <a:gd name="T26" fmla="*/ 25 w 210"/>
                  <a:gd name="T27" fmla="*/ 15 h 170"/>
                  <a:gd name="T28" fmla="*/ 19 w 210"/>
                  <a:gd name="T29" fmla="*/ 23 h 170"/>
                  <a:gd name="T30" fmla="*/ 16 w 210"/>
                  <a:gd name="T31" fmla="*/ 36 h 170"/>
                  <a:gd name="T32" fmla="*/ 17 w 210"/>
                  <a:gd name="T33" fmla="*/ 39 h 170"/>
                  <a:gd name="T34" fmla="*/ 17 w 210"/>
                  <a:gd name="T35" fmla="*/ 48 h 170"/>
                  <a:gd name="T36" fmla="*/ 19 w 210"/>
                  <a:gd name="T37" fmla="*/ 55 h 170"/>
                  <a:gd name="T38" fmla="*/ 19 w 210"/>
                  <a:gd name="T39" fmla="*/ 62 h 170"/>
                  <a:gd name="T40" fmla="*/ 17 w 210"/>
                  <a:gd name="T41" fmla="*/ 67 h 170"/>
                  <a:gd name="T42" fmla="*/ 11 w 210"/>
                  <a:gd name="T43" fmla="*/ 73 h 170"/>
                  <a:gd name="T44" fmla="*/ 8 w 210"/>
                  <a:gd name="T45" fmla="*/ 80 h 170"/>
                  <a:gd name="T46" fmla="*/ 2 w 210"/>
                  <a:gd name="T47" fmla="*/ 86 h 170"/>
                  <a:gd name="T48" fmla="*/ 0 w 210"/>
                  <a:gd name="T49" fmla="*/ 105 h 170"/>
                  <a:gd name="T50" fmla="*/ 2 w 210"/>
                  <a:gd name="T51" fmla="*/ 114 h 170"/>
                  <a:gd name="T52" fmla="*/ 2 w 210"/>
                  <a:gd name="T53" fmla="*/ 122 h 170"/>
                  <a:gd name="T54" fmla="*/ 2 w 210"/>
                  <a:gd name="T55" fmla="*/ 130 h 170"/>
                  <a:gd name="T56" fmla="*/ 14 w 210"/>
                  <a:gd name="T57" fmla="*/ 131 h 170"/>
                  <a:gd name="T58" fmla="*/ 14 w 210"/>
                  <a:gd name="T59" fmla="*/ 133 h 170"/>
                  <a:gd name="T60" fmla="*/ 42 w 210"/>
                  <a:gd name="T61" fmla="*/ 144 h 170"/>
                  <a:gd name="T62" fmla="*/ 47 w 210"/>
                  <a:gd name="T63" fmla="*/ 145 h 170"/>
                  <a:gd name="T64" fmla="*/ 45 w 210"/>
                  <a:gd name="T65" fmla="*/ 147 h 170"/>
                  <a:gd name="T66" fmla="*/ 50 w 210"/>
                  <a:gd name="T67" fmla="*/ 150 h 170"/>
                  <a:gd name="T68" fmla="*/ 47 w 210"/>
                  <a:gd name="T69" fmla="*/ 155 h 170"/>
                  <a:gd name="T70" fmla="*/ 49 w 210"/>
                  <a:gd name="T71" fmla="*/ 161 h 170"/>
                  <a:gd name="T72" fmla="*/ 60 w 210"/>
                  <a:gd name="T73" fmla="*/ 170 h 170"/>
                  <a:gd name="T74" fmla="*/ 63 w 210"/>
                  <a:gd name="T75" fmla="*/ 169 h 170"/>
                  <a:gd name="T76" fmla="*/ 69 w 210"/>
                  <a:gd name="T77" fmla="*/ 167 h 170"/>
                  <a:gd name="T78" fmla="*/ 74 w 210"/>
                  <a:gd name="T79" fmla="*/ 169 h 170"/>
                  <a:gd name="T80" fmla="*/ 72 w 210"/>
                  <a:gd name="T81" fmla="*/ 164 h 170"/>
                  <a:gd name="T82" fmla="*/ 78 w 210"/>
                  <a:gd name="T83" fmla="*/ 164 h 170"/>
                  <a:gd name="T84" fmla="*/ 85 w 210"/>
                  <a:gd name="T85" fmla="*/ 166 h 170"/>
                  <a:gd name="T86" fmla="*/ 89 w 210"/>
                  <a:gd name="T87" fmla="*/ 166 h 170"/>
                  <a:gd name="T88" fmla="*/ 99 w 210"/>
                  <a:gd name="T89" fmla="*/ 161 h 170"/>
                  <a:gd name="T90" fmla="*/ 103 w 210"/>
                  <a:gd name="T91" fmla="*/ 161 h 170"/>
                  <a:gd name="T92" fmla="*/ 110 w 210"/>
                  <a:gd name="T93" fmla="*/ 144 h 170"/>
                  <a:gd name="T94" fmla="*/ 119 w 210"/>
                  <a:gd name="T95" fmla="*/ 133 h 170"/>
                  <a:gd name="T96" fmla="*/ 127 w 210"/>
                  <a:gd name="T97" fmla="*/ 127 h 170"/>
                  <a:gd name="T98" fmla="*/ 131 w 210"/>
                  <a:gd name="T99" fmla="*/ 125 h 170"/>
                  <a:gd name="T100" fmla="*/ 138 w 210"/>
                  <a:gd name="T101" fmla="*/ 123 h 170"/>
                  <a:gd name="T102" fmla="*/ 145 w 210"/>
                  <a:gd name="T103" fmla="*/ 127 h 170"/>
                  <a:gd name="T104" fmla="*/ 149 w 210"/>
                  <a:gd name="T105" fmla="*/ 133 h 170"/>
                  <a:gd name="T106" fmla="*/ 155 w 210"/>
                  <a:gd name="T107" fmla="*/ 128 h 170"/>
                  <a:gd name="T108" fmla="*/ 161 w 210"/>
                  <a:gd name="T109" fmla="*/ 120 h 170"/>
                  <a:gd name="T110" fmla="*/ 164 w 210"/>
                  <a:gd name="T111" fmla="*/ 112 h 170"/>
                  <a:gd name="T112" fmla="*/ 167 w 210"/>
                  <a:gd name="T113" fmla="*/ 100 h 170"/>
                  <a:gd name="T114" fmla="*/ 177 w 210"/>
                  <a:gd name="T115" fmla="*/ 92 h 170"/>
                  <a:gd name="T116" fmla="*/ 178 w 210"/>
                  <a:gd name="T117" fmla="*/ 81 h 170"/>
                  <a:gd name="T118" fmla="*/ 185 w 210"/>
                  <a:gd name="T119" fmla="*/ 73 h 170"/>
                  <a:gd name="T120" fmla="*/ 191 w 210"/>
                  <a:gd name="T121" fmla="*/ 59 h 170"/>
                  <a:gd name="T122" fmla="*/ 202 w 210"/>
                  <a:gd name="T123" fmla="*/ 47 h 170"/>
                  <a:gd name="T124" fmla="*/ 208 w 210"/>
                  <a:gd name="T125" fmla="*/ 4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70">
                    <a:moveTo>
                      <a:pt x="80" y="166"/>
                    </a:moveTo>
                    <a:lnTo>
                      <a:pt x="80" y="166"/>
                    </a:lnTo>
                    <a:lnTo>
                      <a:pt x="78" y="169"/>
                    </a:lnTo>
                    <a:lnTo>
                      <a:pt x="80" y="169"/>
                    </a:lnTo>
                    <a:lnTo>
                      <a:pt x="81" y="167"/>
                    </a:lnTo>
                    <a:lnTo>
                      <a:pt x="81" y="167"/>
                    </a:lnTo>
                    <a:lnTo>
                      <a:pt x="80" y="166"/>
                    </a:lnTo>
                    <a:close/>
                    <a:moveTo>
                      <a:pt x="210" y="31"/>
                    </a:moveTo>
                    <a:lnTo>
                      <a:pt x="210" y="29"/>
                    </a:lnTo>
                    <a:lnTo>
                      <a:pt x="208" y="29"/>
                    </a:lnTo>
                    <a:lnTo>
                      <a:pt x="208" y="28"/>
                    </a:lnTo>
                    <a:lnTo>
                      <a:pt x="206" y="28"/>
                    </a:lnTo>
                    <a:lnTo>
                      <a:pt x="203" y="28"/>
                    </a:lnTo>
                    <a:lnTo>
                      <a:pt x="202" y="26"/>
                    </a:lnTo>
                    <a:lnTo>
                      <a:pt x="202" y="26"/>
                    </a:lnTo>
                    <a:lnTo>
                      <a:pt x="202" y="25"/>
                    </a:lnTo>
                    <a:lnTo>
                      <a:pt x="202" y="25"/>
                    </a:lnTo>
                    <a:lnTo>
                      <a:pt x="202" y="23"/>
                    </a:lnTo>
                    <a:lnTo>
                      <a:pt x="200" y="15"/>
                    </a:lnTo>
                    <a:lnTo>
                      <a:pt x="197" y="11"/>
                    </a:lnTo>
                    <a:lnTo>
                      <a:pt x="194" y="8"/>
                    </a:lnTo>
                    <a:lnTo>
                      <a:pt x="192" y="3"/>
                    </a:lnTo>
                    <a:lnTo>
                      <a:pt x="189" y="3"/>
                    </a:lnTo>
                    <a:lnTo>
                      <a:pt x="186" y="4"/>
                    </a:lnTo>
                    <a:lnTo>
                      <a:pt x="185" y="6"/>
                    </a:lnTo>
                    <a:lnTo>
                      <a:pt x="181" y="6"/>
                    </a:lnTo>
                    <a:lnTo>
                      <a:pt x="178" y="8"/>
                    </a:lnTo>
                    <a:lnTo>
                      <a:pt x="177" y="9"/>
                    </a:lnTo>
                    <a:lnTo>
                      <a:pt x="175" y="11"/>
                    </a:lnTo>
                    <a:lnTo>
                      <a:pt x="172" y="12"/>
                    </a:lnTo>
                    <a:lnTo>
                      <a:pt x="172" y="14"/>
                    </a:lnTo>
                    <a:lnTo>
                      <a:pt x="169" y="15"/>
                    </a:lnTo>
                    <a:lnTo>
                      <a:pt x="166" y="14"/>
                    </a:lnTo>
                    <a:lnTo>
                      <a:pt x="163" y="12"/>
                    </a:lnTo>
                    <a:lnTo>
                      <a:pt x="158" y="11"/>
                    </a:lnTo>
                    <a:lnTo>
                      <a:pt x="155" y="11"/>
                    </a:lnTo>
                    <a:lnTo>
                      <a:pt x="153" y="9"/>
                    </a:lnTo>
                    <a:lnTo>
                      <a:pt x="145" y="9"/>
                    </a:lnTo>
                    <a:lnTo>
                      <a:pt x="136" y="11"/>
                    </a:lnTo>
                    <a:lnTo>
                      <a:pt x="133" y="11"/>
                    </a:lnTo>
                    <a:lnTo>
                      <a:pt x="131" y="11"/>
                    </a:lnTo>
                    <a:lnTo>
                      <a:pt x="130" y="12"/>
                    </a:lnTo>
                    <a:lnTo>
                      <a:pt x="127" y="14"/>
                    </a:lnTo>
                    <a:lnTo>
                      <a:pt x="122" y="20"/>
                    </a:lnTo>
                    <a:lnTo>
                      <a:pt x="114" y="19"/>
                    </a:lnTo>
                    <a:lnTo>
                      <a:pt x="110" y="19"/>
                    </a:lnTo>
                    <a:lnTo>
                      <a:pt x="106" y="17"/>
                    </a:lnTo>
                    <a:lnTo>
                      <a:pt x="102" y="15"/>
                    </a:lnTo>
                    <a:lnTo>
                      <a:pt x="95" y="11"/>
                    </a:lnTo>
                    <a:lnTo>
                      <a:pt x="92" y="11"/>
                    </a:lnTo>
                    <a:lnTo>
                      <a:pt x="91" y="11"/>
                    </a:lnTo>
                    <a:lnTo>
                      <a:pt x="89" y="11"/>
                    </a:lnTo>
                    <a:lnTo>
                      <a:pt x="81" y="14"/>
                    </a:lnTo>
                    <a:lnTo>
                      <a:pt x="80" y="14"/>
                    </a:lnTo>
                    <a:lnTo>
                      <a:pt x="78" y="14"/>
                    </a:lnTo>
                    <a:lnTo>
                      <a:pt x="78" y="15"/>
                    </a:lnTo>
                    <a:lnTo>
                      <a:pt x="77" y="15"/>
                    </a:lnTo>
                    <a:lnTo>
                      <a:pt x="75" y="15"/>
                    </a:lnTo>
                    <a:lnTo>
                      <a:pt x="75" y="15"/>
                    </a:lnTo>
                    <a:lnTo>
                      <a:pt x="74" y="15"/>
                    </a:lnTo>
                    <a:lnTo>
                      <a:pt x="72" y="14"/>
                    </a:lnTo>
                    <a:lnTo>
                      <a:pt x="69" y="9"/>
                    </a:lnTo>
                    <a:lnTo>
                      <a:pt x="69" y="9"/>
                    </a:lnTo>
                    <a:lnTo>
                      <a:pt x="69" y="9"/>
                    </a:lnTo>
                    <a:lnTo>
                      <a:pt x="67" y="8"/>
                    </a:lnTo>
                    <a:lnTo>
                      <a:pt x="66" y="6"/>
                    </a:lnTo>
                    <a:lnTo>
                      <a:pt x="64" y="4"/>
                    </a:lnTo>
                    <a:lnTo>
                      <a:pt x="63" y="4"/>
                    </a:lnTo>
                    <a:lnTo>
                      <a:pt x="61" y="4"/>
                    </a:lnTo>
                    <a:lnTo>
                      <a:pt x="55" y="3"/>
                    </a:lnTo>
                    <a:lnTo>
                      <a:pt x="49" y="0"/>
                    </a:lnTo>
                    <a:lnTo>
                      <a:pt x="49" y="1"/>
                    </a:lnTo>
                    <a:lnTo>
                      <a:pt x="47" y="1"/>
                    </a:lnTo>
                    <a:lnTo>
                      <a:pt x="45" y="3"/>
                    </a:lnTo>
                    <a:lnTo>
                      <a:pt x="42" y="3"/>
                    </a:lnTo>
                    <a:lnTo>
                      <a:pt x="39" y="3"/>
                    </a:lnTo>
                    <a:lnTo>
                      <a:pt x="38" y="3"/>
                    </a:lnTo>
                    <a:lnTo>
                      <a:pt x="34" y="3"/>
                    </a:lnTo>
                    <a:lnTo>
                      <a:pt x="33" y="3"/>
                    </a:lnTo>
                    <a:lnTo>
                      <a:pt x="30" y="4"/>
                    </a:lnTo>
                    <a:lnTo>
                      <a:pt x="27" y="8"/>
                    </a:lnTo>
                    <a:lnTo>
                      <a:pt x="27" y="8"/>
                    </a:lnTo>
                    <a:lnTo>
                      <a:pt x="25" y="8"/>
                    </a:lnTo>
                    <a:lnTo>
                      <a:pt x="25" y="15"/>
                    </a:lnTo>
                    <a:lnTo>
                      <a:pt x="24" y="17"/>
                    </a:lnTo>
                    <a:lnTo>
                      <a:pt x="24" y="19"/>
                    </a:lnTo>
                    <a:lnTo>
                      <a:pt x="24" y="19"/>
                    </a:lnTo>
                    <a:lnTo>
                      <a:pt x="22" y="19"/>
                    </a:lnTo>
                    <a:lnTo>
                      <a:pt x="22" y="20"/>
                    </a:lnTo>
                    <a:lnTo>
                      <a:pt x="19" y="23"/>
                    </a:lnTo>
                    <a:lnTo>
                      <a:pt x="17" y="25"/>
                    </a:lnTo>
                    <a:lnTo>
                      <a:pt x="17" y="26"/>
                    </a:lnTo>
                    <a:lnTo>
                      <a:pt x="17" y="31"/>
                    </a:lnTo>
                    <a:lnTo>
                      <a:pt x="17" y="33"/>
                    </a:lnTo>
                    <a:lnTo>
                      <a:pt x="17" y="34"/>
                    </a:lnTo>
                    <a:lnTo>
                      <a:pt x="16" y="36"/>
                    </a:lnTo>
                    <a:lnTo>
                      <a:pt x="16" y="36"/>
                    </a:lnTo>
                    <a:lnTo>
                      <a:pt x="16" y="37"/>
                    </a:lnTo>
                    <a:lnTo>
                      <a:pt x="17" y="37"/>
                    </a:lnTo>
                    <a:lnTo>
                      <a:pt x="17" y="39"/>
                    </a:lnTo>
                    <a:lnTo>
                      <a:pt x="17" y="39"/>
                    </a:lnTo>
                    <a:lnTo>
                      <a:pt x="17" y="39"/>
                    </a:lnTo>
                    <a:lnTo>
                      <a:pt x="17" y="39"/>
                    </a:lnTo>
                    <a:lnTo>
                      <a:pt x="16" y="39"/>
                    </a:lnTo>
                    <a:lnTo>
                      <a:pt x="16" y="40"/>
                    </a:lnTo>
                    <a:lnTo>
                      <a:pt x="14" y="44"/>
                    </a:lnTo>
                    <a:lnTo>
                      <a:pt x="14" y="45"/>
                    </a:lnTo>
                    <a:lnTo>
                      <a:pt x="17" y="48"/>
                    </a:lnTo>
                    <a:lnTo>
                      <a:pt x="17" y="48"/>
                    </a:lnTo>
                    <a:lnTo>
                      <a:pt x="17" y="50"/>
                    </a:lnTo>
                    <a:lnTo>
                      <a:pt x="17" y="50"/>
                    </a:lnTo>
                    <a:lnTo>
                      <a:pt x="19" y="50"/>
                    </a:lnTo>
                    <a:lnTo>
                      <a:pt x="19" y="53"/>
                    </a:lnTo>
                    <a:lnTo>
                      <a:pt x="19" y="55"/>
                    </a:lnTo>
                    <a:lnTo>
                      <a:pt x="19" y="56"/>
                    </a:lnTo>
                    <a:lnTo>
                      <a:pt x="20" y="58"/>
                    </a:lnTo>
                    <a:lnTo>
                      <a:pt x="20" y="59"/>
                    </a:lnTo>
                    <a:lnTo>
                      <a:pt x="19" y="62"/>
                    </a:lnTo>
                    <a:lnTo>
                      <a:pt x="19" y="62"/>
                    </a:lnTo>
                    <a:lnTo>
                      <a:pt x="19" y="62"/>
                    </a:lnTo>
                    <a:lnTo>
                      <a:pt x="17" y="62"/>
                    </a:lnTo>
                    <a:lnTo>
                      <a:pt x="17" y="62"/>
                    </a:lnTo>
                    <a:lnTo>
                      <a:pt x="16" y="64"/>
                    </a:lnTo>
                    <a:lnTo>
                      <a:pt x="16" y="64"/>
                    </a:lnTo>
                    <a:lnTo>
                      <a:pt x="16" y="65"/>
                    </a:lnTo>
                    <a:lnTo>
                      <a:pt x="17" y="67"/>
                    </a:lnTo>
                    <a:lnTo>
                      <a:pt x="16" y="70"/>
                    </a:lnTo>
                    <a:lnTo>
                      <a:pt x="16" y="72"/>
                    </a:lnTo>
                    <a:lnTo>
                      <a:pt x="16" y="72"/>
                    </a:lnTo>
                    <a:lnTo>
                      <a:pt x="14" y="72"/>
                    </a:lnTo>
                    <a:lnTo>
                      <a:pt x="13" y="72"/>
                    </a:lnTo>
                    <a:lnTo>
                      <a:pt x="11" y="73"/>
                    </a:lnTo>
                    <a:lnTo>
                      <a:pt x="11" y="73"/>
                    </a:lnTo>
                    <a:lnTo>
                      <a:pt x="11" y="75"/>
                    </a:lnTo>
                    <a:lnTo>
                      <a:pt x="11" y="75"/>
                    </a:lnTo>
                    <a:lnTo>
                      <a:pt x="9" y="78"/>
                    </a:lnTo>
                    <a:lnTo>
                      <a:pt x="8" y="78"/>
                    </a:lnTo>
                    <a:lnTo>
                      <a:pt x="8" y="80"/>
                    </a:lnTo>
                    <a:lnTo>
                      <a:pt x="8" y="81"/>
                    </a:lnTo>
                    <a:lnTo>
                      <a:pt x="8" y="84"/>
                    </a:lnTo>
                    <a:lnTo>
                      <a:pt x="6" y="86"/>
                    </a:lnTo>
                    <a:lnTo>
                      <a:pt x="6" y="86"/>
                    </a:lnTo>
                    <a:lnTo>
                      <a:pt x="3" y="86"/>
                    </a:lnTo>
                    <a:lnTo>
                      <a:pt x="2" y="86"/>
                    </a:lnTo>
                    <a:lnTo>
                      <a:pt x="2" y="91"/>
                    </a:lnTo>
                    <a:lnTo>
                      <a:pt x="2" y="94"/>
                    </a:lnTo>
                    <a:lnTo>
                      <a:pt x="0" y="97"/>
                    </a:lnTo>
                    <a:lnTo>
                      <a:pt x="0" y="98"/>
                    </a:lnTo>
                    <a:lnTo>
                      <a:pt x="0" y="100"/>
                    </a:lnTo>
                    <a:lnTo>
                      <a:pt x="0" y="105"/>
                    </a:lnTo>
                    <a:lnTo>
                      <a:pt x="0" y="108"/>
                    </a:lnTo>
                    <a:lnTo>
                      <a:pt x="0" y="108"/>
                    </a:lnTo>
                    <a:lnTo>
                      <a:pt x="0" y="109"/>
                    </a:lnTo>
                    <a:lnTo>
                      <a:pt x="0" y="111"/>
                    </a:lnTo>
                    <a:lnTo>
                      <a:pt x="2" y="112"/>
                    </a:lnTo>
                    <a:lnTo>
                      <a:pt x="2" y="114"/>
                    </a:lnTo>
                    <a:lnTo>
                      <a:pt x="2" y="114"/>
                    </a:lnTo>
                    <a:lnTo>
                      <a:pt x="2" y="116"/>
                    </a:lnTo>
                    <a:lnTo>
                      <a:pt x="2" y="116"/>
                    </a:lnTo>
                    <a:lnTo>
                      <a:pt x="2" y="120"/>
                    </a:lnTo>
                    <a:lnTo>
                      <a:pt x="2" y="122"/>
                    </a:lnTo>
                    <a:lnTo>
                      <a:pt x="2" y="122"/>
                    </a:lnTo>
                    <a:lnTo>
                      <a:pt x="0" y="123"/>
                    </a:lnTo>
                    <a:lnTo>
                      <a:pt x="0" y="125"/>
                    </a:lnTo>
                    <a:lnTo>
                      <a:pt x="2" y="127"/>
                    </a:lnTo>
                    <a:lnTo>
                      <a:pt x="2" y="128"/>
                    </a:lnTo>
                    <a:lnTo>
                      <a:pt x="2" y="128"/>
                    </a:lnTo>
                    <a:lnTo>
                      <a:pt x="2" y="130"/>
                    </a:lnTo>
                    <a:lnTo>
                      <a:pt x="0" y="133"/>
                    </a:lnTo>
                    <a:lnTo>
                      <a:pt x="0" y="134"/>
                    </a:lnTo>
                    <a:lnTo>
                      <a:pt x="2" y="133"/>
                    </a:lnTo>
                    <a:lnTo>
                      <a:pt x="11" y="133"/>
                    </a:lnTo>
                    <a:lnTo>
                      <a:pt x="13" y="131"/>
                    </a:lnTo>
                    <a:lnTo>
                      <a:pt x="14" y="131"/>
                    </a:lnTo>
                    <a:lnTo>
                      <a:pt x="19" y="130"/>
                    </a:lnTo>
                    <a:lnTo>
                      <a:pt x="19" y="130"/>
                    </a:lnTo>
                    <a:lnTo>
                      <a:pt x="16" y="131"/>
                    </a:lnTo>
                    <a:lnTo>
                      <a:pt x="14" y="133"/>
                    </a:lnTo>
                    <a:lnTo>
                      <a:pt x="14" y="133"/>
                    </a:lnTo>
                    <a:lnTo>
                      <a:pt x="14" y="133"/>
                    </a:lnTo>
                    <a:lnTo>
                      <a:pt x="25" y="133"/>
                    </a:lnTo>
                    <a:lnTo>
                      <a:pt x="31" y="134"/>
                    </a:lnTo>
                    <a:lnTo>
                      <a:pt x="34" y="136"/>
                    </a:lnTo>
                    <a:lnTo>
                      <a:pt x="38" y="139"/>
                    </a:lnTo>
                    <a:lnTo>
                      <a:pt x="41" y="144"/>
                    </a:lnTo>
                    <a:lnTo>
                      <a:pt x="42" y="144"/>
                    </a:lnTo>
                    <a:lnTo>
                      <a:pt x="42" y="145"/>
                    </a:lnTo>
                    <a:lnTo>
                      <a:pt x="42" y="147"/>
                    </a:lnTo>
                    <a:lnTo>
                      <a:pt x="44" y="147"/>
                    </a:lnTo>
                    <a:lnTo>
                      <a:pt x="45" y="147"/>
                    </a:lnTo>
                    <a:lnTo>
                      <a:pt x="45" y="145"/>
                    </a:lnTo>
                    <a:lnTo>
                      <a:pt x="47" y="145"/>
                    </a:lnTo>
                    <a:lnTo>
                      <a:pt x="47" y="147"/>
                    </a:lnTo>
                    <a:lnTo>
                      <a:pt x="47" y="147"/>
                    </a:lnTo>
                    <a:lnTo>
                      <a:pt x="49" y="147"/>
                    </a:lnTo>
                    <a:lnTo>
                      <a:pt x="49" y="147"/>
                    </a:lnTo>
                    <a:lnTo>
                      <a:pt x="47" y="147"/>
                    </a:lnTo>
                    <a:lnTo>
                      <a:pt x="45" y="147"/>
                    </a:lnTo>
                    <a:lnTo>
                      <a:pt x="44" y="147"/>
                    </a:lnTo>
                    <a:lnTo>
                      <a:pt x="44" y="148"/>
                    </a:lnTo>
                    <a:lnTo>
                      <a:pt x="45" y="148"/>
                    </a:lnTo>
                    <a:lnTo>
                      <a:pt x="47" y="150"/>
                    </a:lnTo>
                    <a:lnTo>
                      <a:pt x="50" y="150"/>
                    </a:lnTo>
                    <a:lnTo>
                      <a:pt x="50" y="150"/>
                    </a:lnTo>
                    <a:lnTo>
                      <a:pt x="50" y="152"/>
                    </a:lnTo>
                    <a:lnTo>
                      <a:pt x="49" y="152"/>
                    </a:lnTo>
                    <a:lnTo>
                      <a:pt x="47" y="152"/>
                    </a:lnTo>
                    <a:lnTo>
                      <a:pt x="47" y="153"/>
                    </a:lnTo>
                    <a:lnTo>
                      <a:pt x="47" y="155"/>
                    </a:lnTo>
                    <a:lnTo>
                      <a:pt x="47" y="155"/>
                    </a:lnTo>
                    <a:lnTo>
                      <a:pt x="49" y="155"/>
                    </a:lnTo>
                    <a:lnTo>
                      <a:pt x="49" y="155"/>
                    </a:lnTo>
                    <a:lnTo>
                      <a:pt x="47" y="155"/>
                    </a:lnTo>
                    <a:lnTo>
                      <a:pt x="47" y="155"/>
                    </a:lnTo>
                    <a:lnTo>
                      <a:pt x="49" y="158"/>
                    </a:lnTo>
                    <a:lnTo>
                      <a:pt x="49" y="161"/>
                    </a:lnTo>
                    <a:lnTo>
                      <a:pt x="50" y="163"/>
                    </a:lnTo>
                    <a:lnTo>
                      <a:pt x="52" y="164"/>
                    </a:lnTo>
                    <a:lnTo>
                      <a:pt x="55" y="167"/>
                    </a:lnTo>
                    <a:lnTo>
                      <a:pt x="56" y="169"/>
                    </a:lnTo>
                    <a:lnTo>
                      <a:pt x="58" y="169"/>
                    </a:lnTo>
                    <a:lnTo>
                      <a:pt x="60" y="170"/>
                    </a:lnTo>
                    <a:lnTo>
                      <a:pt x="61" y="170"/>
                    </a:lnTo>
                    <a:lnTo>
                      <a:pt x="61" y="170"/>
                    </a:lnTo>
                    <a:lnTo>
                      <a:pt x="63" y="169"/>
                    </a:lnTo>
                    <a:lnTo>
                      <a:pt x="63" y="167"/>
                    </a:lnTo>
                    <a:lnTo>
                      <a:pt x="63" y="169"/>
                    </a:lnTo>
                    <a:lnTo>
                      <a:pt x="63" y="169"/>
                    </a:lnTo>
                    <a:lnTo>
                      <a:pt x="63" y="170"/>
                    </a:lnTo>
                    <a:lnTo>
                      <a:pt x="64" y="170"/>
                    </a:lnTo>
                    <a:lnTo>
                      <a:pt x="66" y="169"/>
                    </a:lnTo>
                    <a:lnTo>
                      <a:pt x="67" y="169"/>
                    </a:lnTo>
                    <a:lnTo>
                      <a:pt x="67" y="169"/>
                    </a:lnTo>
                    <a:lnTo>
                      <a:pt x="69" y="167"/>
                    </a:lnTo>
                    <a:lnTo>
                      <a:pt x="69" y="167"/>
                    </a:lnTo>
                    <a:lnTo>
                      <a:pt x="69" y="169"/>
                    </a:lnTo>
                    <a:lnTo>
                      <a:pt x="69" y="169"/>
                    </a:lnTo>
                    <a:lnTo>
                      <a:pt x="70" y="169"/>
                    </a:lnTo>
                    <a:lnTo>
                      <a:pt x="72" y="169"/>
                    </a:lnTo>
                    <a:lnTo>
                      <a:pt x="74" y="169"/>
                    </a:lnTo>
                    <a:lnTo>
                      <a:pt x="72" y="167"/>
                    </a:lnTo>
                    <a:lnTo>
                      <a:pt x="72" y="164"/>
                    </a:lnTo>
                    <a:lnTo>
                      <a:pt x="72" y="164"/>
                    </a:lnTo>
                    <a:lnTo>
                      <a:pt x="72" y="163"/>
                    </a:lnTo>
                    <a:lnTo>
                      <a:pt x="72" y="163"/>
                    </a:lnTo>
                    <a:lnTo>
                      <a:pt x="72" y="164"/>
                    </a:lnTo>
                    <a:lnTo>
                      <a:pt x="74" y="166"/>
                    </a:lnTo>
                    <a:lnTo>
                      <a:pt x="74" y="167"/>
                    </a:lnTo>
                    <a:lnTo>
                      <a:pt x="75" y="169"/>
                    </a:lnTo>
                    <a:lnTo>
                      <a:pt x="77" y="169"/>
                    </a:lnTo>
                    <a:lnTo>
                      <a:pt x="78" y="166"/>
                    </a:lnTo>
                    <a:lnTo>
                      <a:pt x="78" y="164"/>
                    </a:lnTo>
                    <a:lnTo>
                      <a:pt x="77" y="163"/>
                    </a:lnTo>
                    <a:lnTo>
                      <a:pt x="77" y="163"/>
                    </a:lnTo>
                    <a:lnTo>
                      <a:pt x="78" y="163"/>
                    </a:lnTo>
                    <a:lnTo>
                      <a:pt x="80" y="164"/>
                    </a:lnTo>
                    <a:lnTo>
                      <a:pt x="81" y="166"/>
                    </a:lnTo>
                    <a:lnTo>
                      <a:pt x="85" y="166"/>
                    </a:lnTo>
                    <a:lnTo>
                      <a:pt x="85" y="164"/>
                    </a:lnTo>
                    <a:lnTo>
                      <a:pt x="85" y="164"/>
                    </a:lnTo>
                    <a:lnTo>
                      <a:pt x="85" y="164"/>
                    </a:lnTo>
                    <a:lnTo>
                      <a:pt x="86" y="166"/>
                    </a:lnTo>
                    <a:lnTo>
                      <a:pt x="88" y="166"/>
                    </a:lnTo>
                    <a:lnTo>
                      <a:pt x="89" y="166"/>
                    </a:lnTo>
                    <a:lnTo>
                      <a:pt x="94" y="166"/>
                    </a:lnTo>
                    <a:lnTo>
                      <a:pt x="99" y="166"/>
                    </a:lnTo>
                    <a:lnTo>
                      <a:pt x="99" y="164"/>
                    </a:lnTo>
                    <a:lnTo>
                      <a:pt x="97" y="159"/>
                    </a:lnTo>
                    <a:lnTo>
                      <a:pt x="97" y="159"/>
                    </a:lnTo>
                    <a:lnTo>
                      <a:pt x="99" y="161"/>
                    </a:lnTo>
                    <a:lnTo>
                      <a:pt x="100" y="161"/>
                    </a:lnTo>
                    <a:lnTo>
                      <a:pt x="100" y="163"/>
                    </a:lnTo>
                    <a:lnTo>
                      <a:pt x="102" y="163"/>
                    </a:lnTo>
                    <a:lnTo>
                      <a:pt x="103" y="163"/>
                    </a:lnTo>
                    <a:lnTo>
                      <a:pt x="103" y="163"/>
                    </a:lnTo>
                    <a:lnTo>
                      <a:pt x="103" y="161"/>
                    </a:lnTo>
                    <a:lnTo>
                      <a:pt x="105" y="159"/>
                    </a:lnTo>
                    <a:lnTo>
                      <a:pt x="106" y="156"/>
                    </a:lnTo>
                    <a:lnTo>
                      <a:pt x="108" y="155"/>
                    </a:lnTo>
                    <a:lnTo>
                      <a:pt x="108" y="150"/>
                    </a:lnTo>
                    <a:lnTo>
                      <a:pt x="110" y="147"/>
                    </a:lnTo>
                    <a:lnTo>
                      <a:pt x="110" y="144"/>
                    </a:lnTo>
                    <a:lnTo>
                      <a:pt x="111" y="142"/>
                    </a:lnTo>
                    <a:lnTo>
                      <a:pt x="113" y="141"/>
                    </a:lnTo>
                    <a:lnTo>
                      <a:pt x="116" y="137"/>
                    </a:lnTo>
                    <a:lnTo>
                      <a:pt x="117" y="134"/>
                    </a:lnTo>
                    <a:lnTo>
                      <a:pt x="119" y="133"/>
                    </a:lnTo>
                    <a:lnTo>
                      <a:pt x="119" y="133"/>
                    </a:lnTo>
                    <a:lnTo>
                      <a:pt x="120" y="131"/>
                    </a:lnTo>
                    <a:lnTo>
                      <a:pt x="122" y="131"/>
                    </a:lnTo>
                    <a:lnTo>
                      <a:pt x="124" y="128"/>
                    </a:lnTo>
                    <a:lnTo>
                      <a:pt x="125" y="127"/>
                    </a:lnTo>
                    <a:lnTo>
                      <a:pt x="125" y="127"/>
                    </a:lnTo>
                    <a:lnTo>
                      <a:pt x="127" y="127"/>
                    </a:lnTo>
                    <a:lnTo>
                      <a:pt x="127" y="127"/>
                    </a:lnTo>
                    <a:lnTo>
                      <a:pt x="130" y="123"/>
                    </a:lnTo>
                    <a:lnTo>
                      <a:pt x="131" y="122"/>
                    </a:lnTo>
                    <a:lnTo>
                      <a:pt x="131" y="123"/>
                    </a:lnTo>
                    <a:lnTo>
                      <a:pt x="131" y="123"/>
                    </a:lnTo>
                    <a:lnTo>
                      <a:pt x="131" y="125"/>
                    </a:lnTo>
                    <a:lnTo>
                      <a:pt x="133" y="125"/>
                    </a:lnTo>
                    <a:lnTo>
                      <a:pt x="133" y="125"/>
                    </a:lnTo>
                    <a:lnTo>
                      <a:pt x="136" y="125"/>
                    </a:lnTo>
                    <a:lnTo>
                      <a:pt x="136" y="125"/>
                    </a:lnTo>
                    <a:lnTo>
                      <a:pt x="136" y="125"/>
                    </a:lnTo>
                    <a:lnTo>
                      <a:pt x="138" y="123"/>
                    </a:lnTo>
                    <a:lnTo>
                      <a:pt x="138" y="122"/>
                    </a:lnTo>
                    <a:lnTo>
                      <a:pt x="139" y="122"/>
                    </a:lnTo>
                    <a:lnTo>
                      <a:pt x="139" y="122"/>
                    </a:lnTo>
                    <a:lnTo>
                      <a:pt x="141" y="123"/>
                    </a:lnTo>
                    <a:lnTo>
                      <a:pt x="144" y="125"/>
                    </a:lnTo>
                    <a:lnTo>
                      <a:pt x="145" y="127"/>
                    </a:lnTo>
                    <a:lnTo>
                      <a:pt x="145" y="127"/>
                    </a:lnTo>
                    <a:lnTo>
                      <a:pt x="147" y="128"/>
                    </a:lnTo>
                    <a:lnTo>
                      <a:pt x="147" y="131"/>
                    </a:lnTo>
                    <a:lnTo>
                      <a:pt x="147" y="133"/>
                    </a:lnTo>
                    <a:lnTo>
                      <a:pt x="149" y="133"/>
                    </a:lnTo>
                    <a:lnTo>
                      <a:pt x="149" y="133"/>
                    </a:lnTo>
                    <a:lnTo>
                      <a:pt x="150" y="133"/>
                    </a:lnTo>
                    <a:lnTo>
                      <a:pt x="152" y="131"/>
                    </a:lnTo>
                    <a:lnTo>
                      <a:pt x="153" y="131"/>
                    </a:lnTo>
                    <a:lnTo>
                      <a:pt x="155" y="130"/>
                    </a:lnTo>
                    <a:lnTo>
                      <a:pt x="155" y="130"/>
                    </a:lnTo>
                    <a:lnTo>
                      <a:pt x="155" y="128"/>
                    </a:lnTo>
                    <a:lnTo>
                      <a:pt x="155" y="128"/>
                    </a:lnTo>
                    <a:lnTo>
                      <a:pt x="156" y="125"/>
                    </a:lnTo>
                    <a:lnTo>
                      <a:pt x="156" y="125"/>
                    </a:lnTo>
                    <a:lnTo>
                      <a:pt x="158" y="123"/>
                    </a:lnTo>
                    <a:lnTo>
                      <a:pt x="160" y="122"/>
                    </a:lnTo>
                    <a:lnTo>
                      <a:pt x="161" y="120"/>
                    </a:lnTo>
                    <a:lnTo>
                      <a:pt x="161" y="120"/>
                    </a:lnTo>
                    <a:lnTo>
                      <a:pt x="160" y="119"/>
                    </a:lnTo>
                    <a:lnTo>
                      <a:pt x="160" y="117"/>
                    </a:lnTo>
                    <a:lnTo>
                      <a:pt x="160" y="117"/>
                    </a:lnTo>
                    <a:lnTo>
                      <a:pt x="161" y="116"/>
                    </a:lnTo>
                    <a:lnTo>
                      <a:pt x="164" y="112"/>
                    </a:lnTo>
                    <a:lnTo>
                      <a:pt x="164" y="111"/>
                    </a:lnTo>
                    <a:lnTo>
                      <a:pt x="164" y="109"/>
                    </a:lnTo>
                    <a:lnTo>
                      <a:pt x="166" y="106"/>
                    </a:lnTo>
                    <a:lnTo>
                      <a:pt x="167" y="101"/>
                    </a:lnTo>
                    <a:lnTo>
                      <a:pt x="167" y="101"/>
                    </a:lnTo>
                    <a:lnTo>
                      <a:pt x="167" y="100"/>
                    </a:lnTo>
                    <a:lnTo>
                      <a:pt x="169" y="97"/>
                    </a:lnTo>
                    <a:lnTo>
                      <a:pt x="171" y="94"/>
                    </a:lnTo>
                    <a:lnTo>
                      <a:pt x="174" y="94"/>
                    </a:lnTo>
                    <a:lnTo>
                      <a:pt x="175" y="94"/>
                    </a:lnTo>
                    <a:lnTo>
                      <a:pt x="177" y="92"/>
                    </a:lnTo>
                    <a:lnTo>
                      <a:pt x="177" y="92"/>
                    </a:lnTo>
                    <a:lnTo>
                      <a:pt x="177" y="91"/>
                    </a:lnTo>
                    <a:lnTo>
                      <a:pt x="178" y="89"/>
                    </a:lnTo>
                    <a:lnTo>
                      <a:pt x="178" y="87"/>
                    </a:lnTo>
                    <a:lnTo>
                      <a:pt x="178" y="84"/>
                    </a:lnTo>
                    <a:lnTo>
                      <a:pt x="178" y="84"/>
                    </a:lnTo>
                    <a:lnTo>
                      <a:pt x="178" y="81"/>
                    </a:lnTo>
                    <a:lnTo>
                      <a:pt x="180" y="80"/>
                    </a:lnTo>
                    <a:lnTo>
                      <a:pt x="181" y="78"/>
                    </a:lnTo>
                    <a:lnTo>
                      <a:pt x="185" y="78"/>
                    </a:lnTo>
                    <a:lnTo>
                      <a:pt x="185" y="78"/>
                    </a:lnTo>
                    <a:lnTo>
                      <a:pt x="185" y="76"/>
                    </a:lnTo>
                    <a:lnTo>
                      <a:pt x="185" y="73"/>
                    </a:lnTo>
                    <a:lnTo>
                      <a:pt x="185" y="72"/>
                    </a:lnTo>
                    <a:lnTo>
                      <a:pt x="186" y="70"/>
                    </a:lnTo>
                    <a:lnTo>
                      <a:pt x="186" y="69"/>
                    </a:lnTo>
                    <a:lnTo>
                      <a:pt x="188" y="67"/>
                    </a:lnTo>
                    <a:lnTo>
                      <a:pt x="189" y="62"/>
                    </a:lnTo>
                    <a:lnTo>
                      <a:pt x="191" y="59"/>
                    </a:lnTo>
                    <a:lnTo>
                      <a:pt x="194" y="55"/>
                    </a:lnTo>
                    <a:lnTo>
                      <a:pt x="197" y="50"/>
                    </a:lnTo>
                    <a:lnTo>
                      <a:pt x="199" y="48"/>
                    </a:lnTo>
                    <a:lnTo>
                      <a:pt x="200" y="47"/>
                    </a:lnTo>
                    <a:lnTo>
                      <a:pt x="202" y="47"/>
                    </a:lnTo>
                    <a:lnTo>
                      <a:pt x="202" y="47"/>
                    </a:lnTo>
                    <a:lnTo>
                      <a:pt x="206" y="45"/>
                    </a:lnTo>
                    <a:lnTo>
                      <a:pt x="208" y="44"/>
                    </a:lnTo>
                    <a:lnTo>
                      <a:pt x="208" y="44"/>
                    </a:lnTo>
                    <a:lnTo>
                      <a:pt x="208" y="44"/>
                    </a:lnTo>
                    <a:lnTo>
                      <a:pt x="208" y="42"/>
                    </a:lnTo>
                    <a:lnTo>
                      <a:pt x="208" y="42"/>
                    </a:lnTo>
                    <a:lnTo>
                      <a:pt x="208" y="39"/>
                    </a:lnTo>
                    <a:lnTo>
                      <a:pt x="210" y="37"/>
                    </a:lnTo>
                    <a:lnTo>
                      <a:pt x="210" y="34"/>
                    </a:lnTo>
                    <a:lnTo>
                      <a:pt x="210" y="33"/>
                    </a:lnTo>
                    <a:lnTo>
                      <a:pt x="210" y="3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7" name="Freeform 154">
                <a:extLst>
                  <a:ext uri="{FF2B5EF4-FFF2-40B4-BE49-F238E27FC236}">
                    <a16:creationId xmlns:a16="http://schemas.microsoft.com/office/drawing/2014/main" id="{82051E88-790F-2110-36A2-A5618C3AE59B}"/>
                  </a:ext>
                </a:extLst>
              </p:cNvPr>
              <p:cNvSpPr>
                <a:spLocks/>
              </p:cNvSpPr>
              <p:nvPr/>
            </p:nvSpPr>
            <p:spPr bwMode="gray">
              <a:xfrm>
                <a:off x="1137" y="1311"/>
                <a:ext cx="78" cy="77"/>
              </a:xfrm>
              <a:custGeom>
                <a:avLst/>
                <a:gdLst>
                  <a:gd name="T0" fmla="*/ 78 w 78"/>
                  <a:gd name="T1" fmla="*/ 2 h 77"/>
                  <a:gd name="T2" fmla="*/ 76 w 78"/>
                  <a:gd name="T3" fmla="*/ 4 h 77"/>
                  <a:gd name="T4" fmla="*/ 73 w 78"/>
                  <a:gd name="T5" fmla="*/ 4 h 77"/>
                  <a:gd name="T6" fmla="*/ 76 w 78"/>
                  <a:gd name="T7" fmla="*/ 5 h 77"/>
                  <a:gd name="T8" fmla="*/ 76 w 78"/>
                  <a:gd name="T9" fmla="*/ 16 h 77"/>
                  <a:gd name="T10" fmla="*/ 73 w 78"/>
                  <a:gd name="T11" fmla="*/ 24 h 77"/>
                  <a:gd name="T12" fmla="*/ 72 w 78"/>
                  <a:gd name="T13" fmla="*/ 44 h 77"/>
                  <a:gd name="T14" fmla="*/ 72 w 78"/>
                  <a:gd name="T15" fmla="*/ 47 h 77"/>
                  <a:gd name="T16" fmla="*/ 70 w 78"/>
                  <a:gd name="T17" fmla="*/ 46 h 77"/>
                  <a:gd name="T18" fmla="*/ 70 w 78"/>
                  <a:gd name="T19" fmla="*/ 43 h 77"/>
                  <a:gd name="T20" fmla="*/ 68 w 78"/>
                  <a:gd name="T21" fmla="*/ 46 h 77"/>
                  <a:gd name="T22" fmla="*/ 70 w 78"/>
                  <a:gd name="T23" fmla="*/ 49 h 77"/>
                  <a:gd name="T24" fmla="*/ 68 w 78"/>
                  <a:gd name="T25" fmla="*/ 55 h 77"/>
                  <a:gd name="T26" fmla="*/ 67 w 78"/>
                  <a:gd name="T27" fmla="*/ 54 h 77"/>
                  <a:gd name="T28" fmla="*/ 67 w 78"/>
                  <a:gd name="T29" fmla="*/ 57 h 77"/>
                  <a:gd name="T30" fmla="*/ 68 w 78"/>
                  <a:gd name="T31" fmla="*/ 58 h 77"/>
                  <a:gd name="T32" fmla="*/ 70 w 78"/>
                  <a:gd name="T33" fmla="*/ 61 h 77"/>
                  <a:gd name="T34" fmla="*/ 67 w 78"/>
                  <a:gd name="T35" fmla="*/ 65 h 77"/>
                  <a:gd name="T36" fmla="*/ 67 w 78"/>
                  <a:gd name="T37" fmla="*/ 71 h 77"/>
                  <a:gd name="T38" fmla="*/ 70 w 78"/>
                  <a:gd name="T39" fmla="*/ 74 h 77"/>
                  <a:gd name="T40" fmla="*/ 67 w 78"/>
                  <a:gd name="T41" fmla="*/ 77 h 77"/>
                  <a:gd name="T42" fmla="*/ 61 w 78"/>
                  <a:gd name="T43" fmla="*/ 77 h 77"/>
                  <a:gd name="T44" fmla="*/ 59 w 78"/>
                  <a:gd name="T45" fmla="*/ 74 h 77"/>
                  <a:gd name="T46" fmla="*/ 54 w 78"/>
                  <a:gd name="T47" fmla="*/ 72 h 77"/>
                  <a:gd name="T48" fmla="*/ 50 w 78"/>
                  <a:gd name="T49" fmla="*/ 72 h 77"/>
                  <a:gd name="T50" fmla="*/ 39 w 78"/>
                  <a:gd name="T51" fmla="*/ 71 h 77"/>
                  <a:gd name="T52" fmla="*/ 36 w 78"/>
                  <a:gd name="T53" fmla="*/ 69 h 77"/>
                  <a:gd name="T54" fmla="*/ 34 w 78"/>
                  <a:gd name="T55" fmla="*/ 71 h 77"/>
                  <a:gd name="T56" fmla="*/ 33 w 78"/>
                  <a:gd name="T57" fmla="*/ 71 h 77"/>
                  <a:gd name="T58" fmla="*/ 20 w 78"/>
                  <a:gd name="T59" fmla="*/ 60 h 77"/>
                  <a:gd name="T60" fmla="*/ 14 w 78"/>
                  <a:gd name="T61" fmla="*/ 50 h 77"/>
                  <a:gd name="T62" fmla="*/ 3 w 78"/>
                  <a:gd name="T63" fmla="*/ 41 h 77"/>
                  <a:gd name="T64" fmla="*/ 1 w 78"/>
                  <a:gd name="T65" fmla="*/ 36 h 77"/>
                  <a:gd name="T66" fmla="*/ 3 w 78"/>
                  <a:gd name="T67" fmla="*/ 38 h 77"/>
                  <a:gd name="T68" fmla="*/ 4 w 78"/>
                  <a:gd name="T69" fmla="*/ 38 h 77"/>
                  <a:gd name="T70" fmla="*/ 12 w 78"/>
                  <a:gd name="T71" fmla="*/ 36 h 77"/>
                  <a:gd name="T72" fmla="*/ 12 w 78"/>
                  <a:gd name="T73" fmla="*/ 33 h 77"/>
                  <a:gd name="T74" fmla="*/ 15 w 78"/>
                  <a:gd name="T75" fmla="*/ 32 h 77"/>
                  <a:gd name="T76" fmla="*/ 15 w 78"/>
                  <a:gd name="T77" fmla="*/ 25 h 77"/>
                  <a:gd name="T78" fmla="*/ 15 w 78"/>
                  <a:gd name="T79" fmla="*/ 24 h 77"/>
                  <a:gd name="T80" fmla="*/ 23 w 78"/>
                  <a:gd name="T81" fmla="*/ 24 h 77"/>
                  <a:gd name="T82" fmla="*/ 26 w 78"/>
                  <a:gd name="T83" fmla="*/ 19 h 77"/>
                  <a:gd name="T84" fmla="*/ 33 w 78"/>
                  <a:gd name="T85" fmla="*/ 22 h 77"/>
                  <a:gd name="T86" fmla="*/ 33 w 78"/>
                  <a:gd name="T87" fmla="*/ 21 h 77"/>
                  <a:gd name="T88" fmla="*/ 36 w 78"/>
                  <a:gd name="T89" fmla="*/ 19 h 77"/>
                  <a:gd name="T90" fmla="*/ 40 w 78"/>
                  <a:gd name="T91" fmla="*/ 15 h 77"/>
                  <a:gd name="T92" fmla="*/ 42 w 78"/>
                  <a:gd name="T93" fmla="*/ 13 h 77"/>
                  <a:gd name="T94" fmla="*/ 43 w 78"/>
                  <a:gd name="T95" fmla="*/ 8 h 77"/>
                  <a:gd name="T96" fmla="*/ 45 w 78"/>
                  <a:gd name="T97" fmla="*/ 8 h 77"/>
                  <a:gd name="T98" fmla="*/ 48 w 78"/>
                  <a:gd name="T99" fmla="*/ 5 h 77"/>
                  <a:gd name="T100" fmla="*/ 53 w 78"/>
                  <a:gd name="T101" fmla="*/ 7 h 77"/>
                  <a:gd name="T102" fmla="*/ 56 w 78"/>
                  <a:gd name="T103" fmla="*/ 7 h 77"/>
                  <a:gd name="T104" fmla="*/ 59 w 78"/>
                  <a:gd name="T105" fmla="*/ 7 h 77"/>
                  <a:gd name="T106" fmla="*/ 61 w 78"/>
                  <a:gd name="T107" fmla="*/ 7 h 77"/>
                  <a:gd name="T108" fmla="*/ 62 w 78"/>
                  <a:gd name="T109" fmla="*/ 5 h 77"/>
                  <a:gd name="T110" fmla="*/ 64 w 78"/>
                  <a:gd name="T111" fmla="*/ 5 h 77"/>
                  <a:gd name="T112" fmla="*/ 68 w 78"/>
                  <a:gd name="T113" fmla="*/ 4 h 77"/>
                  <a:gd name="T114" fmla="*/ 72 w 78"/>
                  <a:gd name="T115"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 h="77">
                    <a:moveTo>
                      <a:pt x="78" y="2"/>
                    </a:moveTo>
                    <a:lnTo>
                      <a:pt x="78" y="2"/>
                    </a:lnTo>
                    <a:lnTo>
                      <a:pt x="78" y="2"/>
                    </a:lnTo>
                    <a:lnTo>
                      <a:pt x="76" y="5"/>
                    </a:lnTo>
                    <a:lnTo>
                      <a:pt x="76" y="5"/>
                    </a:lnTo>
                    <a:lnTo>
                      <a:pt x="76" y="4"/>
                    </a:lnTo>
                    <a:lnTo>
                      <a:pt x="75" y="4"/>
                    </a:lnTo>
                    <a:lnTo>
                      <a:pt x="75" y="4"/>
                    </a:lnTo>
                    <a:lnTo>
                      <a:pt x="73" y="4"/>
                    </a:lnTo>
                    <a:lnTo>
                      <a:pt x="75" y="5"/>
                    </a:lnTo>
                    <a:lnTo>
                      <a:pt x="75" y="5"/>
                    </a:lnTo>
                    <a:lnTo>
                      <a:pt x="76" y="5"/>
                    </a:lnTo>
                    <a:lnTo>
                      <a:pt x="78" y="13"/>
                    </a:lnTo>
                    <a:lnTo>
                      <a:pt x="78" y="15"/>
                    </a:lnTo>
                    <a:lnTo>
                      <a:pt x="76" y="16"/>
                    </a:lnTo>
                    <a:lnTo>
                      <a:pt x="75" y="18"/>
                    </a:lnTo>
                    <a:lnTo>
                      <a:pt x="73" y="19"/>
                    </a:lnTo>
                    <a:lnTo>
                      <a:pt x="73" y="24"/>
                    </a:lnTo>
                    <a:lnTo>
                      <a:pt x="72" y="32"/>
                    </a:lnTo>
                    <a:lnTo>
                      <a:pt x="72" y="38"/>
                    </a:lnTo>
                    <a:lnTo>
                      <a:pt x="72" y="44"/>
                    </a:lnTo>
                    <a:lnTo>
                      <a:pt x="72" y="46"/>
                    </a:lnTo>
                    <a:lnTo>
                      <a:pt x="72" y="47"/>
                    </a:lnTo>
                    <a:lnTo>
                      <a:pt x="72" y="47"/>
                    </a:lnTo>
                    <a:lnTo>
                      <a:pt x="70" y="47"/>
                    </a:lnTo>
                    <a:lnTo>
                      <a:pt x="70" y="47"/>
                    </a:lnTo>
                    <a:lnTo>
                      <a:pt x="70" y="46"/>
                    </a:lnTo>
                    <a:lnTo>
                      <a:pt x="70" y="44"/>
                    </a:lnTo>
                    <a:lnTo>
                      <a:pt x="72" y="43"/>
                    </a:lnTo>
                    <a:lnTo>
                      <a:pt x="70" y="43"/>
                    </a:lnTo>
                    <a:lnTo>
                      <a:pt x="70" y="44"/>
                    </a:lnTo>
                    <a:lnTo>
                      <a:pt x="68" y="44"/>
                    </a:lnTo>
                    <a:lnTo>
                      <a:pt x="68" y="46"/>
                    </a:lnTo>
                    <a:lnTo>
                      <a:pt x="68" y="46"/>
                    </a:lnTo>
                    <a:lnTo>
                      <a:pt x="68" y="47"/>
                    </a:lnTo>
                    <a:lnTo>
                      <a:pt x="70" y="49"/>
                    </a:lnTo>
                    <a:lnTo>
                      <a:pt x="70" y="50"/>
                    </a:lnTo>
                    <a:lnTo>
                      <a:pt x="70" y="50"/>
                    </a:lnTo>
                    <a:lnTo>
                      <a:pt x="68" y="55"/>
                    </a:lnTo>
                    <a:lnTo>
                      <a:pt x="68" y="55"/>
                    </a:lnTo>
                    <a:lnTo>
                      <a:pt x="68" y="54"/>
                    </a:lnTo>
                    <a:lnTo>
                      <a:pt x="67" y="54"/>
                    </a:lnTo>
                    <a:lnTo>
                      <a:pt x="67" y="55"/>
                    </a:lnTo>
                    <a:lnTo>
                      <a:pt x="67" y="57"/>
                    </a:lnTo>
                    <a:lnTo>
                      <a:pt x="67" y="57"/>
                    </a:lnTo>
                    <a:lnTo>
                      <a:pt x="67" y="57"/>
                    </a:lnTo>
                    <a:lnTo>
                      <a:pt x="67" y="58"/>
                    </a:lnTo>
                    <a:lnTo>
                      <a:pt x="68" y="58"/>
                    </a:lnTo>
                    <a:lnTo>
                      <a:pt x="68" y="58"/>
                    </a:lnTo>
                    <a:lnTo>
                      <a:pt x="70" y="60"/>
                    </a:lnTo>
                    <a:lnTo>
                      <a:pt x="70" y="61"/>
                    </a:lnTo>
                    <a:lnTo>
                      <a:pt x="68" y="63"/>
                    </a:lnTo>
                    <a:lnTo>
                      <a:pt x="67" y="65"/>
                    </a:lnTo>
                    <a:lnTo>
                      <a:pt x="67" y="65"/>
                    </a:lnTo>
                    <a:lnTo>
                      <a:pt x="65" y="66"/>
                    </a:lnTo>
                    <a:lnTo>
                      <a:pt x="65" y="68"/>
                    </a:lnTo>
                    <a:lnTo>
                      <a:pt x="67" y="71"/>
                    </a:lnTo>
                    <a:lnTo>
                      <a:pt x="67" y="72"/>
                    </a:lnTo>
                    <a:lnTo>
                      <a:pt x="68" y="74"/>
                    </a:lnTo>
                    <a:lnTo>
                      <a:pt x="70" y="74"/>
                    </a:lnTo>
                    <a:lnTo>
                      <a:pt x="70" y="76"/>
                    </a:lnTo>
                    <a:lnTo>
                      <a:pt x="68" y="77"/>
                    </a:lnTo>
                    <a:lnTo>
                      <a:pt x="67" y="77"/>
                    </a:lnTo>
                    <a:lnTo>
                      <a:pt x="65" y="77"/>
                    </a:lnTo>
                    <a:lnTo>
                      <a:pt x="62" y="77"/>
                    </a:lnTo>
                    <a:lnTo>
                      <a:pt x="61" y="77"/>
                    </a:lnTo>
                    <a:lnTo>
                      <a:pt x="61" y="77"/>
                    </a:lnTo>
                    <a:lnTo>
                      <a:pt x="61" y="76"/>
                    </a:lnTo>
                    <a:lnTo>
                      <a:pt x="59" y="74"/>
                    </a:lnTo>
                    <a:lnTo>
                      <a:pt x="58" y="72"/>
                    </a:lnTo>
                    <a:lnTo>
                      <a:pt x="56" y="74"/>
                    </a:lnTo>
                    <a:lnTo>
                      <a:pt x="54" y="72"/>
                    </a:lnTo>
                    <a:lnTo>
                      <a:pt x="53" y="72"/>
                    </a:lnTo>
                    <a:lnTo>
                      <a:pt x="51" y="72"/>
                    </a:lnTo>
                    <a:lnTo>
                      <a:pt x="50" y="72"/>
                    </a:lnTo>
                    <a:lnTo>
                      <a:pt x="48" y="74"/>
                    </a:lnTo>
                    <a:lnTo>
                      <a:pt x="43" y="72"/>
                    </a:lnTo>
                    <a:lnTo>
                      <a:pt x="39" y="71"/>
                    </a:lnTo>
                    <a:lnTo>
                      <a:pt x="37" y="69"/>
                    </a:lnTo>
                    <a:lnTo>
                      <a:pt x="36" y="69"/>
                    </a:lnTo>
                    <a:lnTo>
                      <a:pt x="36" y="69"/>
                    </a:lnTo>
                    <a:lnTo>
                      <a:pt x="34" y="71"/>
                    </a:lnTo>
                    <a:lnTo>
                      <a:pt x="34" y="71"/>
                    </a:lnTo>
                    <a:lnTo>
                      <a:pt x="34" y="71"/>
                    </a:lnTo>
                    <a:lnTo>
                      <a:pt x="33" y="71"/>
                    </a:lnTo>
                    <a:lnTo>
                      <a:pt x="33" y="72"/>
                    </a:lnTo>
                    <a:lnTo>
                      <a:pt x="33" y="71"/>
                    </a:lnTo>
                    <a:lnTo>
                      <a:pt x="31" y="69"/>
                    </a:lnTo>
                    <a:lnTo>
                      <a:pt x="29" y="66"/>
                    </a:lnTo>
                    <a:lnTo>
                      <a:pt x="20" y="60"/>
                    </a:lnTo>
                    <a:lnTo>
                      <a:pt x="17" y="55"/>
                    </a:lnTo>
                    <a:lnTo>
                      <a:pt x="15" y="52"/>
                    </a:lnTo>
                    <a:lnTo>
                      <a:pt x="14" y="50"/>
                    </a:lnTo>
                    <a:lnTo>
                      <a:pt x="9" y="47"/>
                    </a:lnTo>
                    <a:lnTo>
                      <a:pt x="8" y="46"/>
                    </a:lnTo>
                    <a:lnTo>
                      <a:pt x="3" y="41"/>
                    </a:lnTo>
                    <a:lnTo>
                      <a:pt x="0" y="40"/>
                    </a:lnTo>
                    <a:lnTo>
                      <a:pt x="0" y="38"/>
                    </a:lnTo>
                    <a:lnTo>
                      <a:pt x="1" y="36"/>
                    </a:lnTo>
                    <a:lnTo>
                      <a:pt x="1" y="36"/>
                    </a:lnTo>
                    <a:lnTo>
                      <a:pt x="3" y="38"/>
                    </a:lnTo>
                    <a:lnTo>
                      <a:pt x="3" y="38"/>
                    </a:lnTo>
                    <a:lnTo>
                      <a:pt x="4" y="38"/>
                    </a:lnTo>
                    <a:lnTo>
                      <a:pt x="4" y="38"/>
                    </a:lnTo>
                    <a:lnTo>
                      <a:pt x="4" y="38"/>
                    </a:lnTo>
                    <a:lnTo>
                      <a:pt x="9" y="38"/>
                    </a:lnTo>
                    <a:lnTo>
                      <a:pt x="11" y="36"/>
                    </a:lnTo>
                    <a:lnTo>
                      <a:pt x="12" y="36"/>
                    </a:lnTo>
                    <a:lnTo>
                      <a:pt x="12" y="35"/>
                    </a:lnTo>
                    <a:lnTo>
                      <a:pt x="12" y="33"/>
                    </a:lnTo>
                    <a:lnTo>
                      <a:pt x="12" y="33"/>
                    </a:lnTo>
                    <a:lnTo>
                      <a:pt x="14" y="32"/>
                    </a:lnTo>
                    <a:lnTo>
                      <a:pt x="14" y="32"/>
                    </a:lnTo>
                    <a:lnTo>
                      <a:pt x="15" y="32"/>
                    </a:lnTo>
                    <a:lnTo>
                      <a:pt x="15" y="32"/>
                    </a:lnTo>
                    <a:lnTo>
                      <a:pt x="15" y="30"/>
                    </a:lnTo>
                    <a:lnTo>
                      <a:pt x="15" y="25"/>
                    </a:lnTo>
                    <a:lnTo>
                      <a:pt x="15" y="24"/>
                    </a:lnTo>
                    <a:lnTo>
                      <a:pt x="15" y="24"/>
                    </a:lnTo>
                    <a:lnTo>
                      <a:pt x="15" y="24"/>
                    </a:lnTo>
                    <a:lnTo>
                      <a:pt x="18" y="24"/>
                    </a:lnTo>
                    <a:lnTo>
                      <a:pt x="22" y="24"/>
                    </a:lnTo>
                    <a:lnTo>
                      <a:pt x="23" y="24"/>
                    </a:lnTo>
                    <a:lnTo>
                      <a:pt x="25" y="21"/>
                    </a:lnTo>
                    <a:lnTo>
                      <a:pt x="26" y="19"/>
                    </a:lnTo>
                    <a:lnTo>
                      <a:pt x="26" y="19"/>
                    </a:lnTo>
                    <a:lnTo>
                      <a:pt x="28" y="18"/>
                    </a:lnTo>
                    <a:lnTo>
                      <a:pt x="29" y="19"/>
                    </a:lnTo>
                    <a:lnTo>
                      <a:pt x="33" y="22"/>
                    </a:lnTo>
                    <a:lnTo>
                      <a:pt x="33" y="22"/>
                    </a:lnTo>
                    <a:lnTo>
                      <a:pt x="33" y="22"/>
                    </a:lnTo>
                    <a:lnTo>
                      <a:pt x="33" y="21"/>
                    </a:lnTo>
                    <a:lnTo>
                      <a:pt x="33" y="21"/>
                    </a:lnTo>
                    <a:lnTo>
                      <a:pt x="34" y="19"/>
                    </a:lnTo>
                    <a:lnTo>
                      <a:pt x="36" y="19"/>
                    </a:lnTo>
                    <a:lnTo>
                      <a:pt x="37" y="18"/>
                    </a:lnTo>
                    <a:lnTo>
                      <a:pt x="39" y="15"/>
                    </a:lnTo>
                    <a:lnTo>
                      <a:pt x="40" y="15"/>
                    </a:lnTo>
                    <a:lnTo>
                      <a:pt x="42" y="13"/>
                    </a:lnTo>
                    <a:lnTo>
                      <a:pt x="43" y="13"/>
                    </a:lnTo>
                    <a:lnTo>
                      <a:pt x="42" y="13"/>
                    </a:lnTo>
                    <a:lnTo>
                      <a:pt x="42" y="11"/>
                    </a:lnTo>
                    <a:lnTo>
                      <a:pt x="43" y="10"/>
                    </a:lnTo>
                    <a:lnTo>
                      <a:pt x="43" y="8"/>
                    </a:lnTo>
                    <a:lnTo>
                      <a:pt x="45" y="8"/>
                    </a:lnTo>
                    <a:lnTo>
                      <a:pt x="45" y="8"/>
                    </a:lnTo>
                    <a:lnTo>
                      <a:pt x="45" y="8"/>
                    </a:lnTo>
                    <a:lnTo>
                      <a:pt x="45" y="7"/>
                    </a:lnTo>
                    <a:lnTo>
                      <a:pt x="47" y="5"/>
                    </a:lnTo>
                    <a:lnTo>
                      <a:pt x="48" y="5"/>
                    </a:lnTo>
                    <a:lnTo>
                      <a:pt x="50" y="5"/>
                    </a:lnTo>
                    <a:lnTo>
                      <a:pt x="51" y="7"/>
                    </a:lnTo>
                    <a:lnTo>
                      <a:pt x="53" y="7"/>
                    </a:lnTo>
                    <a:lnTo>
                      <a:pt x="54" y="8"/>
                    </a:lnTo>
                    <a:lnTo>
                      <a:pt x="56" y="8"/>
                    </a:lnTo>
                    <a:lnTo>
                      <a:pt x="56" y="7"/>
                    </a:lnTo>
                    <a:lnTo>
                      <a:pt x="58" y="7"/>
                    </a:lnTo>
                    <a:lnTo>
                      <a:pt x="59" y="7"/>
                    </a:lnTo>
                    <a:lnTo>
                      <a:pt x="59" y="7"/>
                    </a:lnTo>
                    <a:lnTo>
                      <a:pt x="59" y="5"/>
                    </a:lnTo>
                    <a:lnTo>
                      <a:pt x="59" y="5"/>
                    </a:lnTo>
                    <a:lnTo>
                      <a:pt x="61" y="7"/>
                    </a:lnTo>
                    <a:lnTo>
                      <a:pt x="61" y="7"/>
                    </a:lnTo>
                    <a:lnTo>
                      <a:pt x="62" y="7"/>
                    </a:lnTo>
                    <a:lnTo>
                      <a:pt x="62" y="5"/>
                    </a:lnTo>
                    <a:lnTo>
                      <a:pt x="62" y="5"/>
                    </a:lnTo>
                    <a:lnTo>
                      <a:pt x="62" y="5"/>
                    </a:lnTo>
                    <a:lnTo>
                      <a:pt x="64" y="5"/>
                    </a:lnTo>
                    <a:lnTo>
                      <a:pt x="65" y="5"/>
                    </a:lnTo>
                    <a:lnTo>
                      <a:pt x="68" y="4"/>
                    </a:lnTo>
                    <a:lnTo>
                      <a:pt x="68" y="4"/>
                    </a:lnTo>
                    <a:lnTo>
                      <a:pt x="70" y="4"/>
                    </a:lnTo>
                    <a:lnTo>
                      <a:pt x="70" y="4"/>
                    </a:lnTo>
                    <a:lnTo>
                      <a:pt x="72" y="2"/>
                    </a:lnTo>
                    <a:lnTo>
                      <a:pt x="73" y="0"/>
                    </a:lnTo>
                    <a:lnTo>
                      <a:pt x="78"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8" name="Freeform 155">
                <a:extLst>
                  <a:ext uri="{FF2B5EF4-FFF2-40B4-BE49-F238E27FC236}">
                    <a16:creationId xmlns:a16="http://schemas.microsoft.com/office/drawing/2014/main" id="{01D9F26C-3FB7-4E47-80E9-D04052C64E4F}"/>
                  </a:ext>
                </a:extLst>
              </p:cNvPr>
              <p:cNvSpPr>
                <a:spLocks noEditPoints="1"/>
              </p:cNvSpPr>
              <p:nvPr/>
            </p:nvSpPr>
            <p:spPr bwMode="gray">
              <a:xfrm>
                <a:off x="2733" y="462"/>
                <a:ext cx="69" cy="83"/>
              </a:xfrm>
              <a:custGeom>
                <a:avLst/>
                <a:gdLst>
                  <a:gd name="T0" fmla="*/ 5 w 69"/>
                  <a:gd name="T1" fmla="*/ 64 h 83"/>
                  <a:gd name="T2" fmla="*/ 2 w 69"/>
                  <a:gd name="T3" fmla="*/ 69 h 83"/>
                  <a:gd name="T4" fmla="*/ 8 w 69"/>
                  <a:gd name="T5" fmla="*/ 69 h 83"/>
                  <a:gd name="T6" fmla="*/ 16 w 69"/>
                  <a:gd name="T7" fmla="*/ 67 h 83"/>
                  <a:gd name="T8" fmla="*/ 13 w 69"/>
                  <a:gd name="T9" fmla="*/ 56 h 83"/>
                  <a:gd name="T10" fmla="*/ 8 w 69"/>
                  <a:gd name="T11" fmla="*/ 56 h 83"/>
                  <a:gd name="T12" fmla="*/ 66 w 69"/>
                  <a:gd name="T13" fmla="*/ 9 h 83"/>
                  <a:gd name="T14" fmla="*/ 53 w 69"/>
                  <a:gd name="T15" fmla="*/ 6 h 83"/>
                  <a:gd name="T16" fmla="*/ 36 w 69"/>
                  <a:gd name="T17" fmla="*/ 15 h 83"/>
                  <a:gd name="T18" fmla="*/ 38 w 69"/>
                  <a:gd name="T19" fmla="*/ 23 h 83"/>
                  <a:gd name="T20" fmla="*/ 41 w 69"/>
                  <a:gd name="T21" fmla="*/ 25 h 83"/>
                  <a:gd name="T22" fmla="*/ 38 w 69"/>
                  <a:gd name="T23" fmla="*/ 31 h 83"/>
                  <a:gd name="T24" fmla="*/ 30 w 69"/>
                  <a:gd name="T25" fmla="*/ 37 h 83"/>
                  <a:gd name="T26" fmla="*/ 31 w 69"/>
                  <a:gd name="T27" fmla="*/ 33 h 83"/>
                  <a:gd name="T28" fmla="*/ 34 w 69"/>
                  <a:gd name="T29" fmla="*/ 28 h 83"/>
                  <a:gd name="T30" fmla="*/ 33 w 69"/>
                  <a:gd name="T31" fmla="*/ 26 h 83"/>
                  <a:gd name="T32" fmla="*/ 27 w 69"/>
                  <a:gd name="T33" fmla="*/ 20 h 83"/>
                  <a:gd name="T34" fmla="*/ 20 w 69"/>
                  <a:gd name="T35" fmla="*/ 39 h 83"/>
                  <a:gd name="T36" fmla="*/ 13 w 69"/>
                  <a:gd name="T37" fmla="*/ 50 h 83"/>
                  <a:gd name="T38" fmla="*/ 16 w 69"/>
                  <a:gd name="T39" fmla="*/ 58 h 83"/>
                  <a:gd name="T40" fmla="*/ 17 w 69"/>
                  <a:gd name="T41" fmla="*/ 62 h 83"/>
                  <a:gd name="T42" fmla="*/ 5 w 69"/>
                  <a:gd name="T43" fmla="*/ 59 h 83"/>
                  <a:gd name="T44" fmla="*/ 6 w 69"/>
                  <a:gd name="T45" fmla="*/ 62 h 83"/>
                  <a:gd name="T46" fmla="*/ 17 w 69"/>
                  <a:gd name="T47" fmla="*/ 65 h 83"/>
                  <a:gd name="T48" fmla="*/ 20 w 69"/>
                  <a:gd name="T49" fmla="*/ 62 h 83"/>
                  <a:gd name="T50" fmla="*/ 23 w 69"/>
                  <a:gd name="T51" fmla="*/ 64 h 83"/>
                  <a:gd name="T52" fmla="*/ 27 w 69"/>
                  <a:gd name="T53" fmla="*/ 64 h 83"/>
                  <a:gd name="T54" fmla="*/ 31 w 69"/>
                  <a:gd name="T55" fmla="*/ 62 h 83"/>
                  <a:gd name="T56" fmla="*/ 38 w 69"/>
                  <a:gd name="T57" fmla="*/ 67 h 83"/>
                  <a:gd name="T58" fmla="*/ 42 w 69"/>
                  <a:gd name="T59" fmla="*/ 70 h 83"/>
                  <a:gd name="T60" fmla="*/ 42 w 69"/>
                  <a:gd name="T61" fmla="*/ 76 h 83"/>
                  <a:gd name="T62" fmla="*/ 41 w 69"/>
                  <a:gd name="T63" fmla="*/ 81 h 83"/>
                  <a:gd name="T64" fmla="*/ 47 w 69"/>
                  <a:gd name="T65" fmla="*/ 83 h 83"/>
                  <a:gd name="T66" fmla="*/ 45 w 69"/>
                  <a:gd name="T67" fmla="*/ 75 h 83"/>
                  <a:gd name="T68" fmla="*/ 50 w 69"/>
                  <a:gd name="T69" fmla="*/ 72 h 83"/>
                  <a:gd name="T70" fmla="*/ 49 w 69"/>
                  <a:gd name="T71" fmla="*/ 70 h 83"/>
                  <a:gd name="T72" fmla="*/ 50 w 69"/>
                  <a:gd name="T73" fmla="*/ 62 h 83"/>
                  <a:gd name="T74" fmla="*/ 49 w 69"/>
                  <a:gd name="T75" fmla="*/ 58 h 83"/>
                  <a:gd name="T76" fmla="*/ 49 w 69"/>
                  <a:gd name="T77" fmla="*/ 51 h 83"/>
                  <a:gd name="T78" fmla="*/ 55 w 69"/>
                  <a:gd name="T79" fmla="*/ 51 h 83"/>
                  <a:gd name="T80" fmla="*/ 61 w 69"/>
                  <a:gd name="T81" fmla="*/ 48 h 83"/>
                  <a:gd name="T82" fmla="*/ 61 w 69"/>
                  <a:gd name="T83" fmla="*/ 44 h 83"/>
                  <a:gd name="T84" fmla="*/ 66 w 69"/>
                  <a:gd name="T85" fmla="*/ 36 h 83"/>
                  <a:gd name="T86" fmla="*/ 63 w 69"/>
                  <a:gd name="T87" fmla="*/ 34 h 83"/>
                  <a:gd name="T88" fmla="*/ 59 w 69"/>
                  <a:gd name="T89" fmla="*/ 33 h 83"/>
                  <a:gd name="T90" fmla="*/ 61 w 69"/>
                  <a:gd name="T91" fmla="*/ 29 h 83"/>
                  <a:gd name="T92" fmla="*/ 67 w 69"/>
                  <a:gd name="T93" fmla="*/ 20 h 83"/>
                  <a:gd name="T94" fmla="*/ 41 w 69"/>
                  <a:gd name="T95" fmla="*/ 25 h 83"/>
                  <a:gd name="T96" fmla="*/ 38 w 69"/>
                  <a:gd name="T97" fmla="*/ 23 h 83"/>
                  <a:gd name="T98" fmla="*/ 30 w 69"/>
                  <a:gd name="T99" fmla="*/ 20 h 83"/>
                  <a:gd name="T100" fmla="*/ 34 w 69"/>
                  <a:gd name="T101" fmla="*/ 26 h 83"/>
                  <a:gd name="T102" fmla="*/ 31 w 69"/>
                  <a:gd name="T103" fmla="*/ 29 h 83"/>
                  <a:gd name="T104" fmla="*/ 31 w 69"/>
                  <a:gd name="T105" fmla="*/ 34 h 83"/>
                  <a:gd name="T106" fmla="*/ 31 w 69"/>
                  <a:gd name="T107" fmla="*/ 36 h 83"/>
                  <a:gd name="T108" fmla="*/ 41 w 69"/>
                  <a:gd name="T109" fmla="*/ 29 h 83"/>
                  <a:gd name="T110" fmla="*/ 25 w 69"/>
                  <a:gd name="T111" fmla="*/ 17 h 83"/>
                  <a:gd name="T112" fmla="*/ 25 w 69"/>
                  <a:gd name="T113" fmla="*/ 15 h 83"/>
                  <a:gd name="T114" fmla="*/ 61 w 69"/>
                  <a:gd name="T115" fmla="*/ 0 h 83"/>
                  <a:gd name="T116" fmla="*/ 50 w 69"/>
                  <a:gd name="T117" fmla="*/ 4 h 83"/>
                  <a:gd name="T118" fmla="*/ 28 w 69"/>
                  <a:gd name="T119" fmla="*/ 12 h 83"/>
                  <a:gd name="T120" fmla="*/ 41 w 69"/>
                  <a:gd name="T121" fmla="*/ 4 h 83"/>
                  <a:gd name="T122" fmla="*/ 45 w 69"/>
                  <a:gd name="T123" fmla="*/ 4 h 83"/>
                  <a:gd name="T124" fmla="*/ 36 w 69"/>
                  <a:gd name="T125" fmla="*/ 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 h="83">
                    <a:moveTo>
                      <a:pt x="14" y="65"/>
                    </a:moveTo>
                    <a:lnTo>
                      <a:pt x="13" y="64"/>
                    </a:lnTo>
                    <a:lnTo>
                      <a:pt x="9" y="65"/>
                    </a:lnTo>
                    <a:lnTo>
                      <a:pt x="8" y="65"/>
                    </a:lnTo>
                    <a:lnTo>
                      <a:pt x="5" y="64"/>
                    </a:lnTo>
                    <a:lnTo>
                      <a:pt x="2" y="64"/>
                    </a:lnTo>
                    <a:lnTo>
                      <a:pt x="0" y="65"/>
                    </a:lnTo>
                    <a:lnTo>
                      <a:pt x="2" y="67"/>
                    </a:lnTo>
                    <a:lnTo>
                      <a:pt x="2" y="69"/>
                    </a:lnTo>
                    <a:lnTo>
                      <a:pt x="2" y="69"/>
                    </a:lnTo>
                    <a:lnTo>
                      <a:pt x="3" y="69"/>
                    </a:lnTo>
                    <a:lnTo>
                      <a:pt x="3" y="69"/>
                    </a:lnTo>
                    <a:lnTo>
                      <a:pt x="5" y="67"/>
                    </a:lnTo>
                    <a:lnTo>
                      <a:pt x="6" y="67"/>
                    </a:lnTo>
                    <a:lnTo>
                      <a:pt x="8" y="69"/>
                    </a:lnTo>
                    <a:lnTo>
                      <a:pt x="8" y="69"/>
                    </a:lnTo>
                    <a:lnTo>
                      <a:pt x="9" y="70"/>
                    </a:lnTo>
                    <a:lnTo>
                      <a:pt x="11" y="70"/>
                    </a:lnTo>
                    <a:lnTo>
                      <a:pt x="13" y="69"/>
                    </a:lnTo>
                    <a:lnTo>
                      <a:pt x="16" y="67"/>
                    </a:lnTo>
                    <a:lnTo>
                      <a:pt x="16" y="65"/>
                    </a:lnTo>
                    <a:lnTo>
                      <a:pt x="16" y="64"/>
                    </a:lnTo>
                    <a:lnTo>
                      <a:pt x="14" y="65"/>
                    </a:lnTo>
                    <a:close/>
                    <a:moveTo>
                      <a:pt x="13" y="56"/>
                    </a:moveTo>
                    <a:lnTo>
                      <a:pt x="13" y="56"/>
                    </a:lnTo>
                    <a:lnTo>
                      <a:pt x="11" y="54"/>
                    </a:lnTo>
                    <a:lnTo>
                      <a:pt x="8" y="54"/>
                    </a:lnTo>
                    <a:lnTo>
                      <a:pt x="6" y="54"/>
                    </a:lnTo>
                    <a:lnTo>
                      <a:pt x="6" y="56"/>
                    </a:lnTo>
                    <a:lnTo>
                      <a:pt x="8" y="56"/>
                    </a:lnTo>
                    <a:lnTo>
                      <a:pt x="9" y="56"/>
                    </a:lnTo>
                    <a:lnTo>
                      <a:pt x="11" y="58"/>
                    </a:lnTo>
                    <a:lnTo>
                      <a:pt x="14" y="58"/>
                    </a:lnTo>
                    <a:lnTo>
                      <a:pt x="13" y="56"/>
                    </a:lnTo>
                    <a:close/>
                    <a:moveTo>
                      <a:pt x="66" y="9"/>
                    </a:moveTo>
                    <a:lnTo>
                      <a:pt x="64" y="9"/>
                    </a:lnTo>
                    <a:lnTo>
                      <a:pt x="63" y="8"/>
                    </a:lnTo>
                    <a:lnTo>
                      <a:pt x="61" y="6"/>
                    </a:lnTo>
                    <a:lnTo>
                      <a:pt x="56" y="6"/>
                    </a:lnTo>
                    <a:lnTo>
                      <a:pt x="53" y="6"/>
                    </a:lnTo>
                    <a:lnTo>
                      <a:pt x="49" y="6"/>
                    </a:lnTo>
                    <a:lnTo>
                      <a:pt x="45" y="8"/>
                    </a:lnTo>
                    <a:lnTo>
                      <a:pt x="39" y="11"/>
                    </a:lnTo>
                    <a:lnTo>
                      <a:pt x="38" y="12"/>
                    </a:lnTo>
                    <a:lnTo>
                      <a:pt x="36" y="15"/>
                    </a:lnTo>
                    <a:lnTo>
                      <a:pt x="36" y="19"/>
                    </a:lnTo>
                    <a:lnTo>
                      <a:pt x="36" y="20"/>
                    </a:lnTo>
                    <a:lnTo>
                      <a:pt x="36" y="22"/>
                    </a:lnTo>
                    <a:lnTo>
                      <a:pt x="38" y="23"/>
                    </a:lnTo>
                    <a:lnTo>
                      <a:pt x="38" y="23"/>
                    </a:lnTo>
                    <a:lnTo>
                      <a:pt x="39" y="23"/>
                    </a:lnTo>
                    <a:lnTo>
                      <a:pt x="41" y="23"/>
                    </a:lnTo>
                    <a:lnTo>
                      <a:pt x="41" y="23"/>
                    </a:lnTo>
                    <a:lnTo>
                      <a:pt x="41" y="23"/>
                    </a:lnTo>
                    <a:lnTo>
                      <a:pt x="41" y="25"/>
                    </a:lnTo>
                    <a:lnTo>
                      <a:pt x="41" y="28"/>
                    </a:lnTo>
                    <a:lnTo>
                      <a:pt x="41" y="29"/>
                    </a:lnTo>
                    <a:lnTo>
                      <a:pt x="41" y="29"/>
                    </a:lnTo>
                    <a:lnTo>
                      <a:pt x="39" y="29"/>
                    </a:lnTo>
                    <a:lnTo>
                      <a:pt x="38" y="31"/>
                    </a:lnTo>
                    <a:lnTo>
                      <a:pt x="38" y="31"/>
                    </a:lnTo>
                    <a:lnTo>
                      <a:pt x="38" y="33"/>
                    </a:lnTo>
                    <a:lnTo>
                      <a:pt x="31" y="36"/>
                    </a:lnTo>
                    <a:lnTo>
                      <a:pt x="31" y="37"/>
                    </a:lnTo>
                    <a:lnTo>
                      <a:pt x="30" y="37"/>
                    </a:lnTo>
                    <a:lnTo>
                      <a:pt x="30" y="36"/>
                    </a:lnTo>
                    <a:lnTo>
                      <a:pt x="30" y="36"/>
                    </a:lnTo>
                    <a:lnTo>
                      <a:pt x="31" y="34"/>
                    </a:lnTo>
                    <a:lnTo>
                      <a:pt x="30" y="34"/>
                    </a:lnTo>
                    <a:lnTo>
                      <a:pt x="31" y="33"/>
                    </a:lnTo>
                    <a:lnTo>
                      <a:pt x="30" y="31"/>
                    </a:lnTo>
                    <a:lnTo>
                      <a:pt x="30" y="29"/>
                    </a:lnTo>
                    <a:lnTo>
                      <a:pt x="31" y="29"/>
                    </a:lnTo>
                    <a:lnTo>
                      <a:pt x="31" y="29"/>
                    </a:lnTo>
                    <a:lnTo>
                      <a:pt x="34" y="28"/>
                    </a:lnTo>
                    <a:lnTo>
                      <a:pt x="34" y="28"/>
                    </a:lnTo>
                    <a:lnTo>
                      <a:pt x="34" y="26"/>
                    </a:lnTo>
                    <a:lnTo>
                      <a:pt x="34" y="26"/>
                    </a:lnTo>
                    <a:lnTo>
                      <a:pt x="33" y="25"/>
                    </a:lnTo>
                    <a:lnTo>
                      <a:pt x="33" y="26"/>
                    </a:lnTo>
                    <a:lnTo>
                      <a:pt x="31" y="25"/>
                    </a:lnTo>
                    <a:lnTo>
                      <a:pt x="31" y="23"/>
                    </a:lnTo>
                    <a:lnTo>
                      <a:pt x="30" y="20"/>
                    </a:lnTo>
                    <a:lnTo>
                      <a:pt x="28" y="22"/>
                    </a:lnTo>
                    <a:lnTo>
                      <a:pt x="27" y="20"/>
                    </a:lnTo>
                    <a:lnTo>
                      <a:pt x="25" y="20"/>
                    </a:lnTo>
                    <a:lnTo>
                      <a:pt x="25" y="22"/>
                    </a:lnTo>
                    <a:lnTo>
                      <a:pt x="23" y="23"/>
                    </a:lnTo>
                    <a:lnTo>
                      <a:pt x="22" y="34"/>
                    </a:lnTo>
                    <a:lnTo>
                      <a:pt x="20" y="39"/>
                    </a:lnTo>
                    <a:lnTo>
                      <a:pt x="19" y="42"/>
                    </a:lnTo>
                    <a:lnTo>
                      <a:pt x="16" y="45"/>
                    </a:lnTo>
                    <a:lnTo>
                      <a:pt x="14" y="47"/>
                    </a:lnTo>
                    <a:lnTo>
                      <a:pt x="14" y="47"/>
                    </a:lnTo>
                    <a:lnTo>
                      <a:pt x="13" y="50"/>
                    </a:lnTo>
                    <a:lnTo>
                      <a:pt x="11" y="51"/>
                    </a:lnTo>
                    <a:lnTo>
                      <a:pt x="11" y="53"/>
                    </a:lnTo>
                    <a:lnTo>
                      <a:pt x="14" y="56"/>
                    </a:lnTo>
                    <a:lnTo>
                      <a:pt x="14" y="58"/>
                    </a:lnTo>
                    <a:lnTo>
                      <a:pt x="16" y="58"/>
                    </a:lnTo>
                    <a:lnTo>
                      <a:pt x="13" y="59"/>
                    </a:lnTo>
                    <a:lnTo>
                      <a:pt x="14" y="59"/>
                    </a:lnTo>
                    <a:lnTo>
                      <a:pt x="16" y="61"/>
                    </a:lnTo>
                    <a:lnTo>
                      <a:pt x="16" y="61"/>
                    </a:lnTo>
                    <a:lnTo>
                      <a:pt x="17" y="62"/>
                    </a:lnTo>
                    <a:lnTo>
                      <a:pt x="16" y="62"/>
                    </a:lnTo>
                    <a:lnTo>
                      <a:pt x="14" y="62"/>
                    </a:lnTo>
                    <a:lnTo>
                      <a:pt x="9" y="59"/>
                    </a:lnTo>
                    <a:lnTo>
                      <a:pt x="8" y="59"/>
                    </a:lnTo>
                    <a:lnTo>
                      <a:pt x="5" y="59"/>
                    </a:lnTo>
                    <a:lnTo>
                      <a:pt x="3" y="59"/>
                    </a:lnTo>
                    <a:lnTo>
                      <a:pt x="3" y="61"/>
                    </a:lnTo>
                    <a:lnTo>
                      <a:pt x="3" y="62"/>
                    </a:lnTo>
                    <a:lnTo>
                      <a:pt x="5" y="62"/>
                    </a:lnTo>
                    <a:lnTo>
                      <a:pt x="6" y="62"/>
                    </a:lnTo>
                    <a:lnTo>
                      <a:pt x="9" y="64"/>
                    </a:lnTo>
                    <a:lnTo>
                      <a:pt x="13" y="62"/>
                    </a:lnTo>
                    <a:lnTo>
                      <a:pt x="14" y="64"/>
                    </a:lnTo>
                    <a:lnTo>
                      <a:pt x="16" y="64"/>
                    </a:lnTo>
                    <a:lnTo>
                      <a:pt x="17" y="65"/>
                    </a:lnTo>
                    <a:lnTo>
                      <a:pt x="19" y="65"/>
                    </a:lnTo>
                    <a:lnTo>
                      <a:pt x="19" y="65"/>
                    </a:lnTo>
                    <a:lnTo>
                      <a:pt x="19" y="64"/>
                    </a:lnTo>
                    <a:lnTo>
                      <a:pt x="20" y="62"/>
                    </a:lnTo>
                    <a:lnTo>
                      <a:pt x="20" y="62"/>
                    </a:lnTo>
                    <a:lnTo>
                      <a:pt x="20" y="62"/>
                    </a:lnTo>
                    <a:lnTo>
                      <a:pt x="20" y="62"/>
                    </a:lnTo>
                    <a:lnTo>
                      <a:pt x="22" y="62"/>
                    </a:lnTo>
                    <a:lnTo>
                      <a:pt x="22" y="64"/>
                    </a:lnTo>
                    <a:lnTo>
                      <a:pt x="23" y="64"/>
                    </a:lnTo>
                    <a:lnTo>
                      <a:pt x="25" y="62"/>
                    </a:lnTo>
                    <a:lnTo>
                      <a:pt x="27" y="62"/>
                    </a:lnTo>
                    <a:lnTo>
                      <a:pt x="27" y="62"/>
                    </a:lnTo>
                    <a:lnTo>
                      <a:pt x="27" y="64"/>
                    </a:lnTo>
                    <a:lnTo>
                      <a:pt x="27" y="64"/>
                    </a:lnTo>
                    <a:lnTo>
                      <a:pt x="27" y="64"/>
                    </a:lnTo>
                    <a:lnTo>
                      <a:pt x="28" y="64"/>
                    </a:lnTo>
                    <a:lnTo>
                      <a:pt x="30" y="62"/>
                    </a:lnTo>
                    <a:lnTo>
                      <a:pt x="30" y="62"/>
                    </a:lnTo>
                    <a:lnTo>
                      <a:pt x="31" y="62"/>
                    </a:lnTo>
                    <a:lnTo>
                      <a:pt x="31" y="64"/>
                    </a:lnTo>
                    <a:lnTo>
                      <a:pt x="31" y="65"/>
                    </a:lnTo>
                    <a:lnTo>
                      <a:pt x="33" y="67"/>
                    </a:lnTo>
                    <a:lnTo>
                      <a:pt x="34" y="69"/>
                    </a:lnTo>
                    <a:lnTo>
                      <a:pt x="38" y="67"/>
                    </a:lnTo>
                    <a:lnTo>
                      <a:pt x="38" y="67"/>
                    </a:lnTo>
                    <a:lnTo>
                      <a:pt x="39" y="67"/>
                    </a:lnTo>
                    <a:lnTo>
                      <a:pt x="39" y="69"/>
                    </a:lnTo>
                    <a:lnTo>
                      <a:pt x="41" y="70"/>
                    </a:lnTo>
                    <a:lnTo>
                      <a:pt x="42" y="70"/>
                    </a:lnTo>
                    <a:lnTo>
                      <a:pt x="44" y="72"/>
                    </a:lnTo>
                    <a:lnTo>
                      <a:pt x="44" y="72"/>
                    </a:lnTo>
                    <a:lnTo>
                      <a:pt x="44" y="73"/>
                    </a:lnTo>
                    <a:lnTo>
                      <a:pt x="42" y="76"/>
                    </a:lnTo>
                    <a:lnTo>
                      <a:pt x="42" y="76"/>
                    </a:lnTo>
                    <a:lnTo>
                      <a:pt x="42" y="76"/>
                    </a:lnTo>
                    <a:lnTo>
                      <a:pt x="42" y="78"/>
                    </a:lnTo>
                    <a:lnTo>
                      <a:pt x="41" y="80"/>
                    </a:lnTo>
                    <a:lnTo>
                      <a:pt x="41" y="80"/>
                    </a:lnTo>
                    <a:lnTo>
                      <a:pt x="41" y="81"/>
                    </a:lnTo>
                    <a:lnTo>
                      <a:pt x="42" y="81"/>
                    </a:lnTo>
                    <a:lnTo>
                      <a:pt x="44" y="81"/>
                    </a:lnTo>
                    <a:lnTo>
                      <a:pt x="45" y="83"/>
                    </a:lnTo>
                    <a:lnTo>
                      <a:pt x="47" y="83"/>
                    </a:lnTo>
                    <a:lnTo>
                      <a:pt x="47" y="83"/>
                    </a:lnTo>
                    <a:lnTo>
                      <a:pt x="49" y="78"/>
                    </a:lnTo>
                    <a:lnTo>
                      <a:pt x="47" y="76"/>
                    </a:lnTo>
                    <a:lnTo>
                      <a:pt x="47" y="76"/>
                    </a:lnTo>
                    <a:lnTo>
                      <a:pt x="45" y="76"/>
                    </a:lnTo>
                    <a:lnTo>
                      <a:pt x="45" y="75"/>
                    </a:lnTo>
                    <a:lnTo>
                      <a:pt x="45" y="75"/>
                    </a:lnTo>
                    <a:lnTo>
                      <a:pt x="45" y="75"/>
                    </a:lnTo>
                    <a:lnTo>
                      <a:pt x="45" y="75"/>
                    </a:lnTo>
                    <a:lnTo>
                      <a:pt x="47" y="73"/>
                    </a:lnTo>
                    <a:lnTo>
                      <a:pt x="50" y="72"/>
                    </a:lnTo>
                    <a:lnTo>
                      <a:pt x="50" y="72"/>
                    </a:lnTo>
                    <a:lnTo>
                      <a:pt x="50" y="70"/>
                    </a:lnTo>
                    <a:lnTo>
                      <a:pt x="50" y="70"/>
                    </a:lnTo>
                    <a:lnTo>
                      <a:pt x="49" y="70"/>
                    </a:lnTo>
                    <a:lnTo>
                      <a:pt x="49" y="70"/>
                    </a:lnTo>
                    <a:lnTo>
                      <a:pt x="49" y="70"/>
                    </a:lnTo>
                    <a:lnTo>
                      <a:pt x="49" y="69"/>
                    </a:lnTo>
                    <a:lnTo>
                      <a:pt x="50" y="65"/>
                    </a:lnTo>
                    <a:lnTo>
                      <a:pt x="50" y="64"/>
                    </a:lnTo>
                    <a:lnTo>
                      <a:pt x="50" y="62"/>
                    </a:lnTo>
                    <a:lnTo>
                      <a:pt x="50" y="62"/>
                    </a:lnTo>
                    <a:lnTo>
                      <a:pt x="50" y="59"/>
                    </a:lnTo>
                    <a:lnTo>
                      <a:pt x="49" y="59"/>
                    </a:lnTo>
                    <a:lnTo>
                      <a:pt x="49" y="58"/>
                    </a:lnTo>
                    <a:lnTo>
                      <a:pt x="49" y="58"/>
                    </a:lnTo>
                    <a:lnTo>
                      <a:pt x="47" y="54"/>
                    </a:lnTo>
                    <a:lnTo>
                      <a:pt x="47" y="53"/>
                    </a:lnTo>
                    <a:lnTo>
                      <a:pt x="47" y="51"/>
                    </a:lnTo>
                    <a:lnTo>
                      <a:pt x="49" y="51"/>
                    </a:lnTo>
                    <a:lnTo>
                      <a:pt x="49" y="51"/>
                    </a:lnTo>
                    <a:lnTo>
                      <a:pt x="50" y="51"/>
                    </a:lnTo>
                    <a:lnTo>
                      <a:pt x="52" y="51"/>
                    </a:lnTo>
                    <a:lnTo>
                      <a:pt x="53" y="53"/>
                    </a:lnTo>
                    <a:lnTo>
                      <a:pt x="53" y="51"/>
                    </a:lnTo>
                    <a:lnTo>
                      <a:pt x="55" y="51"/>
                    </a:lnTo>
                    <a:lnTo>
                      <a:pt x="56" y="51"/>
                    </a:lnTo>
                    <a:lnTo>
                      <a:pt x="59" y="50"/>
                    </a:lnTo>
                    <a:lnTo>
                      <a:pt x="61" y="48"/>
                    </a:lnTo>
                    <a:lnTo>
                      <a:pt x="61" y="48"/>
                    </a:lnTo>
                    <a:lnTo>
                      <a:pt x="61" y="48"/>
                    </a:lnTo>
                    <a:lnTo>
                      <a:pt x="59" y="47"/>
                    </a:lnTo>
                    <a:lnTo>
                      <a:pt x="59" y="45"/>
                    </a:lnTo>
                    <a:lnTo>
                      <a:pt x="59" y="45"/>
                    </a:lnTo>
                    <a:lnTo>
                      <a:pt x="61" y="45"/>
                    </a:lnTo>
                    <a:lnTo>
                      <a:pt x="61" y="44"/>
                    </a:lnTo>
                    <a:lnTo>
                      <a:pt x="63" y="44"/>
                    </a:lnTo>
                    <a:lnTo>
                      <a:pt x="64" y="42"/>
                    </a:lnTo>
                    <a:lnTo>
                      <a:pt x="66" y="39"/>
                    </a:lnTo>
                    <a:lnTo>
                      <a:pt x="66" y="37"/>
                    </a:lnTo>
                    <a:lnTo>
                      <a:pt x="66" y="36"/>
                    </a:lnTo>
                    <a:lnTo>
                      <a:pt x="64" y="36"/>
                    </a:lnTo>
                    <a:lnTo>
                      <a:pt x="64" y="34"/>
                    </a:lnTo>
                    <a:lnTo>
                      <a:pt x="64" y="34"/>
                    </a:lnTo>
                    <a:lnTo>
                      <a:pt x="64" y="34"/>
                    </a:lnTo>
                    <a:lnTo>
                      <a:pt x="63" y="34"/>
                    </a:lnTo>
                    <a:lnTo>
                      <a:pt x="61" y="34"/>
                    </a:lnTo>
                    <a:lnTo>
                      <a:pt x="61" y="34"/>
                    </a:lnTo>
                    <a:lnTo>
                      <a:pt x="61" y="34"/>
                    </a:lnTo>
                    <a:lnTo>
                      <a:pt x="59" y="33"/>
                    </a:lnTo>
                    <a:lnTo>
                      <a:pt x="59" y="33"/>
                    </a:lnTo>
                    <a:lnTo>
                      <a:pt x="59" y="31"/>
                    </a:lnTo>
                    <a:lnTo>
                      <a:pt x="59" y="31"/>
                    </a:lnTo>
                    <a:lnTo>
                      <a:pt x="59" y="29"/>
                    </a:lnTo>
                    <a:lnTo>
                      <a:pt x="59" y="29"/>
                    </a:lnTo>
                    <a:lnTo>
                      <a:pt x="61" y="29"/>
                    </a:lnTo>
                    <a:lnTo>
                      <a:pt x="66" y="29"/>
                    </a:lnTo>
                    <a:lnTo>
                      <a:pt x="66" y="28"/>
                    </a:lnTo>
                    <a:lnTo>
                      <a:pt x="66" y="26"/>
                    </a:lnTo>
                    <a:lnTo>
                      <a:pt x="67" y="22"/>
                    </a:lnTo>
                    <a:lnTo>
                      <a:pt x="67" y="20"/>
                    </a:lnTo>
                    <a:lnTo>
                      <a:pt x="69" y="19"/>
                    </a:lnTo>
                    <a:lnTo>
                      <a:pt x="69" y="12"/>
                    </a:lnTo>
                    <a:lnTo>
                      <a:pt x="69" y="11"/>
                    </a:lnTo>
                    <a:lnTo>
                      <a:pt x="66" y="9"/>
                    </a:lnTo>
                    <a:close/>
                    <a:moveTo>
                      <a:pt x="41" y="25"/>
                    </a:moveTo>
                    <a:lnTo>
                      <a:pt x="41" y="23"/>
                    </a:lnTo>
                    <a:lnTo>
                      <a:pt x="41" y="23"/>
                    </a:lnTo>
                    <a:lnTo>
                      <a:pt x="39" y="23"/>
                    </a:lnTo>
                    <a:lnTo>
                      <a:pt x="38" y="23"/>
                    </a:lnTo>
                    <a:lnTo>
                      <a:pt x="38" y="23"/>
                    </a:lnTo>
                    <a:lnTo>
                      <a:pt x="36" y="22"/>
                    </a:lnTo>
                    <a:lnTo>
                      <a:pt x="36" y="20"/>
                    </a:lnTo>
                    <a:lnTo>
                      <a:pt x="36" y="19"/>
                    </a:lnTo>
                    <a:lnTo>
                      <a:pt x="36" y="15"/>
                    </a:lnTo>
                    <a:lnTo>
                      <a:pt x="30" y="20"/>
                    </a:lnTo>
                    <a:lnTo>
                      <a:pt x="31" y="23"/>
                    </a:lnTo>
                    <a:lnTo>
                      <a:pt x="31" y="25"/>
                    </a:lnTo>
                    <a:lnTo>
                      <a:pt x="33" y="26"/>
                    </a:lnTo>
                    <a:lnTo>
                      <a:pt x="33" y="25"/>
                    </a:lnTo>
                    <a:lnTo>
                      <a:pt x="34" y="26"/>
                    </a:lnTo>
                    <a:lnTo>
                      <a:pt x="34" y="26"/>
                    </a:lnTo>
                    <a:lnTo>
                      <a:pt x="34" y="28"/>
                    </a:lnTo>
                    <a:lnTo>
                      <a:pt x="34" y="28"/>
                    </a:lnTo>
                    <a:lnTo>
                      <a:pt x="31" y="29"/>
                    </a:lnTo>
                    <a:lnTo>
                      <a:pt x="31" y="29"/>
                    </a:lnTo>
                    <a:lnTo>
                      <a:pt x="30" y="29"/>
                    </a:lnTo>
                    <a:lnTo>
                      <a:pt x="30" y="31"/>
                    </a:lnTo>
                    <a:lnTo>
                      <a:pt x="31" y="33"/>
                    </a:lnTo>
                    <a:lnTo>
                      <a:pt x="30" y="34"/>
                    </a:lnTo>
                    <a:lnTo>
                      <a:pt x="31" y="34"/>
                    </a:lnTo>
                    <a:lnTo>
                      <a:pt x="30" y="36"/>
                    </a:lnTo>
                    <a:lnTo>
                      <a:pt x="30" y="36"/>
                    </a:lnTo>
                    <a:lnTo>
                      <a:pt x="30" y="37"/>
                    </a:lnTo>
                    <a:lnTo>
                      <a:pt x="31" y="37"/>
                    </a:lnTo>
                    <a:lnTo>
                      <a:pt x="31" y="36"/>
                    </a:lnTo>
                    <a:lnTo>
                      <a:pt x="38" y="33"/>
                    </a:lnTo>
                    <a:lnTo>
                      <a:pt x="38" y="31"/>
                    </a:lnTo>
                    <a:lnTo>
                      <a:pt x="38" y="31"/>
                    </a:lnTo>
                    <a:lnTo>
                      <a:pt x="39" y="29"/>
                    </a:lnTo>
                    <a:lnTo>
                      <a:pt x="41" y="29"/>
                    </a:lnTo>
                    <a:lnTo>
                      <a:pt x="41" y="29"/>
                    </a:lnTo>
                    <a:lnTo>
                      <a:pt x="41" y="28"/>
                    </a:lnTo>
                    <a:lnTo>
                      <a:pt x="41" y="25"/>
                    </a:lnTo>
                    <a:close/>
                    <a:moveTo>
                      <a:pt x="25" y="15"/>
                    </a:moveTo>
                    <a:lnTo>
                      <a:pt x="25" y="17"/>
                    </a:lnTo>
                    <a:lnTo>
                      <a:pt x="25" y="19"/>
                    </a:lnTo>
                    <a:lnTo>
                      <a:pt x="27" y="19"/>
                    </a:lnTo>
                    <a:lnTo>
                      <a:pt x="28" y="17"/>
                    </a:lnTo>
                    <a:lnTo>
                      <a:pt x="28" y="14"/>
                    </a:lnTo>
                    <a:lnTo>
                      <a:pt x="25" y="15"/>
                    </a:lnTo>
                    <a:close/>
                    <a:moveTo>
                      <a:pt x="61" y="0"/>
                    </a:moveTo>
                    <a:lnTo>
                      <a:pt x="59" y="1"/>
                    </a:lnTo>
                    <a:lnTo>
                      <a:pt x="58" y="1"/>
                    </a:lnTo>
                    <a:lnTo>
                      <a:pt x="59" y="1"/>
                    </a:lnTo>
                    <a:lnTo>
                      <a:pt x="61" y="0"/>
                    </a:lnTo>
                    <a:lnTo>
                      <a:pt x="61" y="0"/>
                    </a:lnTo>
                    <a:close/>
                    <a:moveTo>
                      <a:pt x="52" y="3"/>
                    </a:moveTo>
                    <a:lnTo>
                      <a:pt x="50" y="4"/>
                    </a:lnTo>
                    <a:lnTo>
                      <a:pt x="50" y="4"/>
                    </a:lnTo>
                    <a:lnTo>
                      <a:pt x="50" y="4"/>
                    </a:lnTo>
                    <a:lnTo>
                      <a:pt x="53" y="3"/>
                    </a:lnTo>
                    <a:lnTo>
                      <a:pt x="52" y="3"/>
                    </a:lnTo>
                    <a:close/>
                    <a:moveTo>
                      <a:pt x="30" y="9"/>
                    </a:moveTo>
                    <a:lnTo>
                      <a:pt x="28" y="11"/>
                    </a:lnTo>
                    <a:lnTo>
                      <a:pt x="28" y="12"/>
                    </a:lnTo>
                    <a:lnTo>
                      <a:pt x="31" y="9"/>
                    </a:lnTo>
                    <a:lnTo>
                      <a:pt x="30" y="9"/>
                    </a:lnTo>
                    <a:close/>
                    <a:moveTo>
                      <a:pt x="45" y="4"/>
                    </a:moveTo>
                    <a:lnTo>
                      <a:pt x="42" y="4"/>
                    </a:lnTo>
                    <a:lnTo>
                      <a:pt x="41" y="4"/>
                    </a:lnTo>
                    <a:lnTo>
                      <a:pt x="41" y="4"/>
                    </a:lnTo>
                    <a:lnTo>
                      <a:pt x="42" y="6"/>
                    </a:lnTo>
                    <a:lnTo>
                      <a:pt x="45" y="4"/>
                    </a:lnTo>
                    <a:lnTo>
                      <a:pt x="45" y="4"/>
                    </a:lnTo>
                    <a:lnTo>
                      <a:pt x="45" y="4"/>
                    </a:lnTo>
                    <a:close/>
                    <a:moveTo>
                      <a:pt x="39" y="6"/>
                    </a:moveTo>
                    <a:lnTo>
                      <a:pt x="38" y="6"/>
                    </a:lnTo>
                    <a:lnTo>
                      <a:pt x="33" y="8"/>
                    </a:lnTo>
                    <a:lnTo>
                      <a:pt x="34" y="8"/>
                    </a:lnTo>
                    <a:lnTo>
                      <a:pt x="36" y="8"/>
                    </a:lnTo>
                    <a:lnTo>
                      <a:pt x="39" y="6"/>
                    </a:lnTo>
                    <a:lnTo>
                      <a:pt x="39"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29" name="Freeform 156">
                <a:extLst>
                  <a:ext uri="{FF2B5EF4-FFF2-40B4-BE49-F238E27FC236}">
                    <a16:creationId xmlns:a16="http://schemas.microsoft.com/office/drawing/2014/main" id="{3D4985D6-76F2-94E7-4E7C-C0AC4E2BA278}"/>
                  </a:ext>
                </a:extLst>
              </p:cNvPr>
              <p:cNvSpPr>
                <a:spLocks noEditPoints="1"/>
              </p:cNvSpPr>
              <p:nvPr/>
            </p:nvSpPr>
            <p:spPr bwMode="gray">
              <a:xfrm>
                <a:off x="2760" y="27"/>
                <a:ext cx="172" cy="297"/>
              </a:xfrm>
              <a:custGeom>
                <a:avLst/>
                <a:gdLst>
                  <a:gd name="T0" fmla="*/ 4 w 172"/>
                  <a:gd name="T1" fmla="*/ 223 h 297"/>
                  <a:gd name="T2" fmla="*/ 57 w 172"/>
                  <a:gd name="T3" fmla="*/ 103 h 297"/>
                  <a:gd name="T4" fmla="*/ 70 w 172"/>
                  <a:gd name="T5" fmla="*/ 90 h 297"/>
                  <a:gd name="T6" fmla="*/ 70 w 172"/>
                  <a:gd name="T7" fmla="*/ 90 h 297"/>
                  <a:gd name="T8" fmla="*/ 111 w 172"/>
                  <a:gd name="T9" fmla="*/ 40 h 297"/>
                  <a:gd name="T10" fmla="*/ 172 w 172"/>
                  <a:gd name="T11" fmla="*/ 0 h 297"/>
                  <a:gd name="T12" fmla="*/ 129 w 172"/>
                  <a:gd name="T13" fmla="*/ 29 h 297"/>
                  <a:gd name="T14" fmla="*/ 134 w 172"/>
                  <a:gd name="T15" fmla="*/ 36 h 297"/>
                  <a:gd name="T16" fmla="*/ 118 w 172"/>
                  <a:gd name="T17" fmla="*/ 48 h 297"/>
                  <a:gd name="T18" fmla="*/ 89 w 172"/>
                  <a:gd name="T19" fmla="*/ 81 h 297"/>
                  <a:gd name="T20" fmla="*/ 89 w 172"/>
                  <a:gd name="T21" fmla="*/ 100 h 297"/>
                  <a:gd name="T22" fmla="*/ 115 w 172"/>
                  <a:gd name="T23" fmla="*/ 80 h 297"/>
                  <a:gd name="T24" fmla="*/ 107 w 172"/>
                  <a:gd name="T25" fmla="*/ 92 h 297"/>
                  <a:gd name="T26" fmla="*/ 92 w 172"/>
                  <a:gd name="T27" fmla="*/ 103 h 297"/>
                  <a:gd name="T28" fmla="*/ 76 w 172"/>
                  <a:gd name="T29" fmla="*/ 101 h 297"/>
                  <a:gd name="T30" fmla="*/ 62 w 172"/>
                  <a:gd name="T31" fmla="*/ 103 h 297"/>
                  <a:gd name="T32" fmla="*/ 61 w 172"/>
                  <a:gd name="T33" fmla="*/ 119 h 297"/>
                  <a:gd name="T34" fmla="*/ 45 w 172"/>
                  <a:gd name="T35" fmla="*/ 119 h 297"/>
                  <a:gd name="T36" fmla="*/ 45 w 172"/>
                  <a:gd name="T37" fmla="*/ 131 h 297"/>
                  <a:gd name="T38" fmla="*/ 47 w 172"/>
                  <a:gd name="T39" fmla="*/ 137 h 297"/>
                  <a:gd name="T40" fmla="*/ 22 w 172"/>
                  <a:gd name="T41" fmla="*/ 141 h 297"/>
                  <a:gd name="T42" fmla="*/ 20 w 172"/>
                  <a:gd name="T43" fmla="*/ 142 h 297"/>
                  <a:gd name="T44" fmla="*/ 6 w 172"/>
                  <a:gd name="T45" fmla="*/ 151 h 297"/>
                  <a:gd name="T46" fmla="*/ 28 w 172"/>
                  <a:gd name="T47" fmla="*/ 166 h 297"/>
                  <a:gd name="T48" fmla="*/ 4 w 172"/>
                  <a:gd name="T49" fmla="*/ 172 h 297"/>
                  <a:gd name="T50" fmla="*/ 9 w 172"/>
                  <a:gd name="T51" fmla="*/ 191 h 297"/>
                  <a:gd name="T52" fmla="*/ 32 w 172"/>
                  <a:gd name="T53" fmla="*/ 187 h 297"/>
                  <a:gd name="T54" fmla="*/ 43 w 172"/>
                  <a:gd name="T55" fmla="*/ 184 h 297"/>
                  <a:gd name="T56" fmla="*/ 36 w 172"/>
                  <a:gd name="T57" fmla="*/ 191 h 297"/>
                  <a:gd name="T58" fmla="*/ 3 w 172"/>
                  <a:gd name="T59" fmla="*/ 194 h 297"/>
                  <a:gd name="T60" fmla="*/ 6 w 172"/>
                  <a:gd name="T61" fmla="*/ 213 h 297"/>
                  <a:gd name="T62" fmla="*/ 7 w 172"/>
                  <a:gd name="T63" fmla="*/ 227 h 297"/>
                  <a:gd name="T64" fmla="*/ 7 w 172"/>
                  <a:gd name="T65" fmla="*/ 241 h 297"/>
                  <a:gd name="T66" fmla="*/ 22 w 172"/>
                  <a:gd name="T67" fmla="*/ 220 h 297"/>
                  <a:gd name="T68" fmla="*/ 29 w 172"/>
                  <a:gd name="T69" fmla="*/ 223 h 297"/>
                  <a:gd name="T70" fmla="*/ 15 w 172"/>
                  <a:gd name="T71" fmla="*/ 234 h 297"/>
                  <a:gd name="T72" fmla="*/ 12 w 172"/>
                  <a:gd name="T73" fmla="*/ 241 h 297"/>
                  <a:gd name="T74" fmla="*/ 11 w 172"/>
                  <a:gd name="T75" fmla="*/ 258 h 297"/>
                  <a:gd name="T76" fmla="*/ 26 w 172"/>
                  <a:gd name="T77" fmla="*/ 247 h 297"/>
                  <a:gd name="T78" fmla="*/ 22 w 172"/>
                  <a:gd name="T79" fmla="*/ 266 h 297"/>
                  <a:gd name="T80" fmla="*/ 12 w 172"/>
                  <a:gd name="T81" fmla="*/ 274 h 297"/>
                  <a:gd name="T82" fmla="*/ 32 w 172"/>
                  <a:gd name="T83" fmla="*/ 291 h 297"/>
                  <a:gd name="T84" fmla="*/ 36 w 172"/>
                  <a:gd name="T85" fmla="*/ 294 h 297"/>
                  <a:gd name="T86" fmla="*/ 64 w 172"/>
                  <a:gd name="T87" fmla="*/ 288 h 297"/>
                  <a:gd name="T88" fmla="*/ 84 w 172"/>
                  <a:gd name="T89" fmla="*/ 266 h 297"/>
                  <a:gd name="T90" fmla="*/ 93 w 172"/>
                  <a:gd name="T91" fmla="*/ 264 h 297"/>
                  <a:gd name="T92" fmla="*/ 101 w 172"/>
                  <a:gd name="T93" fmla="*/ 239 h 297"/>
                  <a:gd name="T94" fmla="*/ 111 w 172"/>
                  <a:gd name="T95" fmla="*/ 259 h 297"/>
                  <a:gd name="T96" fmla="*/ 122 w 172"/>
                  <a:gd name="T97" fmla="*/ 255 h 297"/>
                  <a:gd name="T98" fmla="*/ 128 w 172"/>
                  <a:gd name="T99" fmla="*/ 233 h 297"/>
                  <a:gd name="T100" fmla="*/ 136 w 172"/>
                  <a:gd name="T101" fmla="*/ 217 h 297"/>
                  <a:gd name="T102" fmla="*/ 137 w 172"/>
                  <a:gd name="T103" fmla="*/ 194 h 297"/>
                  <a:gd name="T104" fmla="*/ 136 w 172"/>
                  <a:gd name="T105" fmla="*/ 175 h 297"/>
                  <a:gd name="T106" fmla="*/ 128 w 172"/>
                  <a:gd name="T107" fmla="*/ 131 h 297"/>
                  <a:gd name="T108" fmla="*/ 128 w 172"/>
                  <a:gd name="T109" fmla="*/ 97 h 297"/>
                  <a:gd name="T110" fmla="*/ 148 w 172"/>
                  <a:gd name="T111" fmla="*/ 78 h 297"/>
                  <a:gd name="T112" fmla="*/ 159 w 172"/>
                  <a:gd name="T113" fmla="*/ 59 h 297"/>
                  <a:gd name="T114" fmla="*/ 172 w 172"/>
                  <a:gd name="T115" fmla="*/ 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97">
                    <a:moveTo>
                      <a:pt x="4" y="219"/>
                    </a:moveTo>
                    <a:lnTo>
                      <a:pt x="3" y="217"/>
                    </a:lnTo>
                    <a:lnTo>
                      <a:pt x="3" y="214"/>
                    </a:lnTo>
                    <a:lnTo>
                      <a:pt x="1" y="214"/>
                    </a:lnTo>
                    <a:lnTo>
                      <a:pt x="1" y="216"/>
                    </a:lnTo>
                    <a:lnTo>
                      <a:pt x="1" y="219"/>
                    </a:lnTo>
                    <a:lnTo>
                      <a:pt x="1" y="220"/>
                    </a:lnTo>
                    <a:lnTo>
                      <a:pt x="1" y="222"/>
                    </a:lnTo>
                    <a:lnTo>
                      <a:pt x="3" y="223"/>
                    </a:lnTo>
                    <a:lnTo>
                      <a:pt x="4" y="223"/>
                    </a:lnTo>
                    <a:lnTo>
                      <a:pt x="4" y="219"/>
                    </a:lnTo>
                    <a:close/>
                    <a:moveTo>
                      <a:pt x="1" y="187"/>
                    </a:moveTo>
                    <a:lnTo>
                      <a:pt x="0" y="187"/>
                    </a:lnTo>
                    <a:lnTo>
                      <a:pt x="0" y="187"/>
                    </a:lnTo>
                    <a:lnTo>
                      <a:pt x="0" y="192"/>
                    </a:lnTo>
                    <a:lnTo>
                      <a:pt x="0" y="192"/>
                    </a:lnTo>
                    <a:lnTo>
                      <a:pt x="1" y="192"/>
                    </a:lnTo>
                    <a:lnTo>
                      <a:pt x="3" y="189"/>
                    </a:lnTo>
                    <a:lnTo>
                      <a:pt x="1" y="187"/>
                    </a:lnTo>
                    <a:close/>
                    <a:moveTo>
                      <a:pt x="57" y="103"/>
                    </a:moveTo>
                    <a:lnTo>
                      <a:pt x="56" y="101"/>
                    </a:lnTo>
                    <a:lnTo>
                      <a:pt x="54" y="103"/>
                    </a:lnTo>
                    <a:lnTo>
                      <a:pt x="51" y="105"/>
                    </a:lnTo>
                    <a:lnTo>
                      <a:pt x="53" y="105"/>
                    </a:lnTo>
                    <a:lnTo>
                      <a:pt x="53" y="106"/>
                    </a:lnTo>
                    <a:lnTo>
                      <a:pt x="56" y="106"/>
                    </a:lnTo>
                    <a:lnTo>
                      <a:pt x="57" y="106"/>
                    </a:lnTo>
                    <a:lnTo>
                      <a:pt x="57" y="106"/>
                    </a:lnTo>
                    <a:lnTo>
                      <a:pt x="57" y="103"/>
                    </a:lnTo>
                    <a:close/>
                    <a:moveTo>
                      <a:pt x="70" y="90"/>
                    </a:moveTo>
                    <a:lnTo>
                      <a:pt x="68" y="89"/>
                    </a:lnTo>
                    <a:lnTo>
                      <a:pt x="68" y="89"/>
                    </a:lnTo>
                    <a:lnTo>
                      <a:pt x="68" y="89"/>
                    </a:lnTo>
                    <a:lnTo>
                      <a:pt x="64" y="92"/>
                    </a:lnTo>
                    <a:lnTo>
                      <a:pt x="61" y="94"/>
                    </a:lnTo>
                    <a:lnTo>
                      <a:pt x="62" y="94"/>
                    </a:lnTo>
                    <a:lnTo>
                      <a:pt x="64" y="94"/>
                    </a:lnTo>
                    <a:lnTo>
                      <a:pt x="68" y="92"/>
                    </a:lnTo>
                    <a:lnTo>
                      <a:pt x="70" y="92"/>
                    </a:lnTo>
                    <a:lnTo>
                      <a:pt x="70" y="90"/>
                    </a:lnTo>
                    <a:close/>
                    <a:moveTo>
                      <a:pt x="111" y="40"/>
                    </a:moveTo>
                    <a:lnTo>
                      <a:pt x="109" y="40"/>
                    </a:lnTo>
                    <a:lnTo>
                      <a:pt x="104" y="44"/>
                    </a:lnTo>
                    <a:lnTo>
                      <a:pt x="103" y="45"/>
                    </a:lnTo>
                    <a:lnTo>
                      <a:pt x="104" y="47"/>
                    </a:lnTo>
                    <a:lnTo>
                      <a:pt x="109" y="45"/>
                    </a:lnTo>
                    <a:lnTo>
                      <a:pt x="111" y="47"/>
                    </a:lnTo>
                    <a:lnTo>
                      <a:pt x="112" y="45"/>
                    </a:lnTo>
                    <a:lnTo>
                      <a:pt x="112" y="44"/>
                    </a:lnTo>
                    <a:lnTo>
                      <a:pt x="111" y="40"/>
                    </a:lnTo>
                    <a:close/>
                    <a:moveTo>
                      <a:pt x="125" y="11"/>
                    </a:moveTo>
                    <a:lnTo>
                      <a:pt x="123" y="11"/>
                    </a:lnTo>
                    <a:lnTo>
                      <a:pt x="122" y="11"/>
                    </a:lnTo>
                    <a:lnTo>
                      <a:pt x="122" y="14"/>
                    </a:lnTo>
                    <a:lnTo>
                      <a:pt x="122" y="14"/>
                    </a:lnTo>
                    <a:lnTo>
                      <a:pt x="123" y="15"/>
                    </a:lnTo>
                    <a:lnTo>
                      <a:pt x="125" y="14"/>
                    </a:lnTo>
                    <a:lnTo>
                      <a:pt x="126" y="11"/>
                    </a:lnTo>
                    <a:lnTo>
                      <a:pt x="125" y="11"/>
                    </a:lnTo>
                    <a:close/>
                    <a:moveTo>
                      <a:pt x="172" y="0"/>
                    </a:moveTo>
                    <a:lnTo>
                      <a:pt x="172" y="0"/>
                    </a:lnTo>
                    <a:lnTo>
                      <a:pt x="172" y="4"/>
                    </a:lnTo>
                    <a:lnTo>
                      <a:pt x="172" y="6"/>
                    </a:lnTo>
                    <a:lnTo>
                      <a:pt x="136" y="6"/>
                    </a:lnTo>
                    <a:lnTo>
                      <a:pt x="131" y="14"/>
                    </a:lnTo>
                    <a:lnTo>
                      <a:pt x="131" y="15"/>
                    </a:lnTo>
                    <a:lnTo>
                      <a:pt x="129" y="20"/>
                    </a:lnTo>
                    <a:lnTo>
                      <a:pt x="128" y="25"/>
                    </a:lnTo>
                    <a:lnTo>
                      <a:pt x="128" y="28"/>
                    </a:lnTo>
                    <a:lnTo>
                      <a:pt x="129" y="29"/>
                    </a:lnTo>
                    <a:lnTo>
                      <a:pt x="129" y="29"/>
                    </a:lnTo>
                    <a:lnTo>
                      <a:pt x="131" y="29"/>
                    </a:lnTo>
                    <a:lnTo>
                      <a:pt x="133" y="31"/>
                    </a:lnTo>
                    <a:lnTo>
                      <a:pt x="133" y="33"/>
                    </a:lnTo>
                    <a:lnTo>
                      <a:pt x="134" y="31"/>
                    </a:lnTo>
                    <a:lnTo>
                      <a:pt x="139" y="29"/>
                    </a:lnTo>
                    <a:lnTo>
                      <a:pt x="140" y="26"/>
                    </a:lnTo>
                    <a:lnTo>
                      <a:pt x="142" y="26"/>
                    </a:lnTo>
                    <a:lnTo>
                      <a:pt x="139" y="31"/>
                    </a:lnTo>
                    <a:lnTo>
                      <a:pt x="134" y="36"/>
                    </a:lnTo>
                    <a:lnTo>
                      <a:pt x="131" y="36"/>
                    </a:lnTo>
                    <a:lnTo>
                      <a:pt x="129" y="34"/>
                    </a:lnTo>
                    <a:lnTo>
                      <a:pt x="128" y="33"/>
                    </a:lnTo>
                    <a:lnTo>
                      <a:pt x="117" y="40"/>
                    </a:lnTo>
                    <a:lnTo>
                      <a:pt x="114" y="44"/>
                    </a:lnTo>
                    <a:lnTo>
                      <a:pt x="114" y="47"/>
                    </a:lnTo>
                    <a:lnTo>
                      <a:pt x="114" y="50"/>
                    </a:lnTo>
                    <a:lnTo>
                      <a:pt x="115" y="50"/>
                    </a:lnTo>
                    <a:lnTo>
                      <a:pt x="118" y="47"/>
                    </a:lnTo>
                    <a:lnTo>
                      <a:pt x="118" y="48"/>
                    </a:lnTo>
                    <a:lnTo>
                      <a:pt x="117" y="50"/>
                    </a:lnTo>
                    <a:lnTo>
                      <a:pt x="114" y="53"/>
                    </a:lnTo>
                    <a:lnTo>
                      <a:pt x="112" y="53"/>
                    </a:lnTo>
                    <a:lnTo>
                      <a:pt x="109" y="56"/>
                    </a:lnTo>
                    <a:lnTo>
                      <a:pt x="107" y="58"/>
                    </a:lnTo>
                    <a:lnTo>
                      <a:pt x="104" y="61"/>
                    </a:lnTo>
                    <a:lnTo>
                      <a:pt x="100" y="64"/>
                    </a:lnTo>
                    <a:lnTo>
                      <a:pt x="95" y="73"/>
                    </a:lnTo>
                    <a:lnTo>
                      <a:pt x="90" y="78"/>
                    </a:lnTo>
                    <a:lnTo>
                      <a:pt x="89" y="81"/>
                    </a:lnTo>
                    <a:lnTo>
                      <a:pt x="89" y="84"/>
                    </a:lnTo>
                    <a:lnTo>
                      <a:pt x="86" y="86"/>
                    </a:lnTo>
                    <a:lnTo>
                      <a:pt x="84" y="89"/>
                    </a:lnTo>
                    <a:lnTo>
                      <a:pt x="82" y="92"/>
                    </a:lnTo>
                    <a:lnTo>
                      <a:pt x="82" y="94"/>
                    </a:lnTo>
                    <a:lnTo>
                      <a:pt x="84" y="92"/>
                    </a:lnTo>
                    <a:lnTo>
                      <a:pt x="86" y="92"/>
                    </a:lnTo>
                    <a:lnTo>
                      <a:pt x="87" y="95"/>
                    </a:lnTo>
                    <a:lnTo>
                      <a:pt x="89" y="97"/>
                    </a:lnTo>
                    <a:lnTo>
                      <a:pt x="89" y="100"/>
                    </a:lnTo>
                    <a:lnTo>
                      <a:pt x="92" y="100"/>
                    </a:lnTo>
                    <a:lnTo>
                      <a:pt x="97" y="98"/>
                    </a:lnTo>
                    <a:lnTo>
                      <a:pt x="107" y="90"/>
                    </a:lnTo>
                    <a:lnTo>
                      <a:pt x="109" y="87"/>
                    </a:lnTo>
                    <a:lnTo>
                      <a:pt x="107" y="84"/>
                    </a:lnTo>
                    <a:lnTo>
                      <a:pt x="106" y="84"/>
                    </a:lnTo>
                    <a:lnTo>
                      <a:pt x="109" y="81"/>
                    </a:lnTo>
                    <a:lnTo>
                      <a:pt x="112" y="80"/>
                    </a:lnTo>
                    <a:lnTo>
                      <a:pt x="114" y="78"/>
                    </a:lnTo>
                    <a:lnTo>
                      <a:pt x="115" y="80"/>
                    </a:lnTo>
                    <a:lnTo>
                      <a:pt x="115" y="81"/>
                    </a:lnTo>
                    <a:lnTo>
                      <a:pt x="114" y="83"/>
                    </a:lnTo>
                    <a:lnTo>
                      <a:pt x="111" y="84"/>
                    </a:lnTo>
                    <a:lnTo>
                      <a:pt x="112" y="86"/>
                    </a:lnTo>
                    <a:lnTo>
                      <a:pt x="114" y="86"/>
                    </a:lnTo>
                    <a:lnTo>
                      <a:pt x="114" y="87"/>
                    </a:lnTo>
                    <a:lnTo>
                      <a:pt x="114" y="89"/>
                    </a:lnTo>
                    <a:lnTo>
                      <a:pt x="112" y="90"/>
                    </a:lnTo>
                    <a:lnTo>
                      <a:pt x="111" y="92"/>
                    </a:lnTo>
                    <a:lnTo>
                      <a:pt x="107" y="92"/>
                    </a:lnTo>
                    <a:lnTo>
                      <a:pt x="104" y="95"/>
                    </a:lnTo>
                    <a:lnTo>
                      <a:pt x="103" y="95"/>
                    </a:lnTo>
                    <a:lnTo>
                      <a:pt x="103" y="98"/>
                    </a:lnTo>
                    <a:lnTo>
                      <a:pt x="103" y="98"/>
                    </a:lnTo>
                    <a:lnTo>
                      <a:pt x="104" y="101"/>
                    </a:lnTo>
                    <a:lnTo>
                      <a:pt x="103" y="101"/>
                    </a:lnTo>
                    <a:lnTo>
                      <a:pt x="101" y="103"/>
                    </a:lnTo>
                    <a:lnTo>
                      <a:pt x="97" y="101"/>
                    </a:lnTo>
                    <a:lnTo>
                      <a:pt x="93" y="101"/>
                    </a:lnTo>
                    <a:lnTo>
                      <a:pt x="92" y="103"/>
                    </a:lnTo>
                    <a:lnTo>
                      <a:pt x="90" y="105"/>
                    </a:lnTo>
                    <a:lnTo>
                      <a:pt x="90" y="105"/>
                    </a:lnTo>
                    <a:lnTo>
                      <a:pt x="89" y="101"/>
                    </a:lnTo>
                    <a:lnTo>
                      <a:pt x="89" y="101"/>
                    </a:lnTo>
                    <a:lnTo>
                      <a:pt x="87" y="100"/>
                    </a:lnTo>
                    <a:lnTo>
                      <a:pt x="86" y="95"/>
                    </a:lnTo>
                    <a:lnTo>
                      <a:pt x="84" y="97"/>
                    </a:lnTo>
                    <a:lnTo>
                      <a:pt x="82" y="97"/>
                    </a:lnTo>
                    <a:lnTo>
                      <a:pt x="78" y="98"/>
                    </a:lnTo>
                    <a:lnTo>
                      <a:pt x="76" y="101"/>
                    </a:lnTo>
                    <a:lnTo>
                      <a:pt x="75" y="101"/>
                    </a:lnTo>
                    <a:lnTo>
                      <a:pt x="75" y="100"/>
                    </a:lnTo>
                    <a:lnTo>
                      <a:pt x="76" y="98"/>
                    </a:lnTo>
                    <a:lnTo>
                      <a:pt x="75" y="97"/>
                    </a:lnTo>
                    <a:lnTo>
                      <a:pt x="70" y="95"/>
                    </a:lnTo>
                    <a:lnTo>
                      <a:pt x="67" y="95"/>
                    </a:lnTo>
                    <a:lnTo>
                      <a:pt x="65" y="97"/>
                    </a:lnTo>
                    <a:lnTo>
                      <a:pt x="62" y="98"/>
                    </a:lnTo>
                    <a:lnTo>
                      <a:pt x="62" y="100"/>
                    </a:lnTo>
                    <a:lnTo>
                      <a:pt x="62" y="103"/>
                    </a:lnTo>
                    <a:lnTo>
                      <a:pt x="64" y="103"/>
                    </a:lnTo>
                    <a:lnTo>
                      <a:pt x="65" y="103"/>
                    </a:lnTo>
                    <a:lnTo>
                      <a:pt x="67" y="105"/>
                    </a:lnTo>
                    <a:lnTo>
                      <a:pt x="67" y="106"/>
                    </a:lnTo>
                    <a:lnTo>
                      <a:pt x="65" y="108"/>
                    </a:lnTo>
                    <a:lnTo>
                      <a:pt x="61" y="109"/>
                    </a:lnTo>
                    <a:lnTo>
                      <a:pt x="59" y="111"/>
                    </a:lnTo>
                    <a:lnTo>
                      <a:pt x="57" y="114"/>
                    </a:lnTo>
                    <a:lnTo>
                      <a:pt x="59" y="117"/>
                    </a:lnTo>
                    <a:lnTo>
                      <a:pt x="61" y="119"/>
                    </a:lnTo>
                    <a:lnTo>
                      <a:pt x="65" y="125"/>
                    </a:lnTo>
                    <a:lnTo>
                      <a:pt x="67" y="126"/>
                    </a:lnTo>
                    <a:lnTo>
                      <a:pt x="61" y="122"/>
                    </a:lnTo>
                    <a:lnTo>
                      <a:pt x="59" y="120"/>
                    </a:lnTo>
                    <a:lnTo>
                      <a:pt x="57" y="117"/>
                    </a:lnTo>
                    <a:lnTo>
                      <a:pt x="53" y="116"/>
                    </a:lnTo>
                    <a:lnTo>
                      <a:pt x="51" y="116"/>
                    </a:lnTo>
                    <a:lnTo>
                      <a:pt x="50" y="116"/>
                    </a:lnTo>
                    <a:lnTo>
                      <a:pt x="48" y="116"/>
                    </a:lnTo>
                    <a:lnTo>
                      <a:pt x="45" y="119"/>
                    </a:lnTo>
                    <a:lnTo>
                      <a:pt x="37" y="122"/>
                    </a:lnTo>
                    <a:lnTo>
                      <a:pt x="37" y="123"/>
                    </a:lnTo>
                    <a:lnTo>
                      <a:pt x="37" y="123"/>
                    </a:lnTo>
                    <a:lnTo>
                      <a:pt x="34" y="128"/>
                    </a:lnTo>
                    <a:lnTo>
                      <a:pt x="32" y="131"/>
                    </a:lnTo>
                    <a:lnTo>
                      <a:pt x="34" y="131"/>
                    </a:lnTo>
                    <a:lnTo>
                      <a:pt x="39" y="130"/>
                    </a:lnTo>
                    <a:lnTo>
                      <a:pt x="40" y="130"/>
                    </a:lnTo>
                    <a:lnTo>
                      <a:pt x="42" y="130"/>
                    </a:lnTo>
                    <a:lnTo>
                      <a:pt x="45" y="131"/>
                    </a:lnTo>
                    <a:lnTo>
                      <a:pt x="56" y="128"/>
                    </a:lnTo>
                    <a:lnTo>
                      <a:pt x="57" y="130"/>
                    </a:lnTo>
                    <a:lnTo>
                      <a:pt x="51" y="131"/>
                    </a:lnTo>
                    <a:lnTo>
                      <a:pt x="47" y="133"/>
                    </a:lnTo>
                    <a:lnTo>
                      <a:pt x="47" y="133"/>
                    </a:lnTo>
                    <a:lnTo>
                      <a:pt x="47" y="134"/>
                    </a:lnTo>
                    <a:lnTo>
                      <a:pt x="50" y="136"/>
                    </a:lnTo>
                    <a:lnTo>
                      <a:pt x="50" y="136"/>
                    </a:lnTo>
                    <a:lnTo>
                      <a:pt x="48" y="137"/>
                    </a:lnTo>
                    <a:lnTo>
                      <a:pt x="47" y="137"/>
                    </a:lnTo>
                    <a:lnTo>
                      <a:pt x="43" y="136"/>
                    </a:lnTo>
                    <a:lnTo>
                      <a:pt x="37" y="134"/>
                    </a:lnTo>
                    <a:lnTo>
                      <a:pt x="34" y="134"/>
                    </a:lnTo>
                    <a:lnTo>
                      <a:pt x="31" y="134"/>
                    </a:lnTo>
                    <a:lnTo>
                      <a:pt x="28" y="134"/>
                    </a:lnTo>
                    <a:lnTo>
                      <a:pt x="26" y="134"/>
                    </a:lnTo>
                    <a:lnTo>
                      <a:pt x="25" y="136"/>
                    </a:lnTo>
                    <a:lnTo>
                      <a:pt x="25" y="139"/>
                    </a:lnTo>
                    <a:lnTo>
                      <a:pt x="23" y="139"/>
                    </a:lnTo>
                    <a:lnTo>
                      <a:pt x="22" y="141"/>
                    </a:lnTo>
                    <a:lnTo>
                      <a:pt x="23" y="142"/>
                    </a:lnTo>
                    <a:lnTo>
                      <a:pt x="25" y="142"/>
                    </a:lnTo>
                    <a:lnTo>
                      <a:pt x="28" y="141"/>
                    </a:lnTo>
                    <a:lnTo>
                      <a:pt x="32" y="141"/>
                    </a:lnTo>
                    <a:lnTo>
                      <a:pt x="31" y="142"/>
                    </a:lnTo>
                    <a:lnTo>
                      <a:pt x="31" y="142"/>
                    </a:lnTo>
                    <a:lnTo>
                      <a:pt x="23" y="145"/>
                    </a:lnTo>
                    <a:lnTo>
                      <a:pt x="22" y="145"/>
                    </a:lnTo>
                    <a:lnTo>
                      <a:pt x="20" y="144"/>
                    </a:lnTo>
                    <a:lnTo>
                      <a:pt x="20" y="142"/>
                    </a:lnTo>
                    <a:lnTo>
                      <a:pt x="18" y="142"/>
                    </a:lnTo>
                    <a:lnTo>
                      <a:pt x="17" y="144"/>
                    </a:lnTo>
                    <a:lnTo>
                      <a:pt x="15" y="144"/>
                    </a:lnTo>
                    <a:lnTo>
                      <a:pt x="12" y="147"/>
                    </a:lnTo>
                    <a:lnTo>
                      <a:pt x="11" y="148"/>
                    </a:lnTo>
                    <a:lnTo>
                      <a:pt x="11" y="150"/>
                    </a:lnTo>
                    <a:lnTo>
                      <a:pt x="9" y="151"/>
                    </a:lnTo>
                    <a:lnTo>
                      <a:pt x="7" y="151"/>
                    </a:lnTo>
                    <a:lnTo>
                      <a:pt x="7" y="151"/>
                    </a:lnTo>
                    <a:lnTo>
                      <a:pt x="6" y="151"/>
                    </a:lnTo>
                    <a:lnTo>
                      <a:pt x="4" y="156"/>
                    </a:lnTo>
                    <a:lnTo>
                      <a:pt x="6" y="159"/>
                    </a:lnTo>
                    <a:lnTo>
                      <a:pt x="7" y="161"/>
                    </a:lnTo>
                    <a:lnTo>
                      <a:pt x="11" y="159"/>
                    </a:lnTo>
                    <a:lnTo>
                      <a:pt x="14" y="161"/>
                    </a:lnTo>
                    <a:lnTo>
                      <a:pt x="23" y="164"/>
                    </a:lnTo>
                    <a:lnTo>
                      <a:pt x="28" y="164"/>
                    </a:lnTo>
                    <a:lnTo>
                      <a:pt x="32" y="162"/>
                    </a:lnTo>
                    <a:lnTo>
                      <a:pt x="32" y="162"/>
                    </a:lnTo>
                    <a:lnTo>
                      <a:pt x="28" y="166"/>
                    </a:lnTo>
                    <a:lnTo>
                      <a:pt x="20" y="166"/>
                    </a:lnTo>
                    <a:lnTo>
                      <a:pt x="17" y="164"/>
                    </a:lnTo>
                    <a:lnTo>
                      <a:pt x="11" y="162"/>
                    </a:lnTo>
                    <a:lnTo>
                      <a:pt x="4" y="162"/>
                    </a:lnTo>
                    <a:lnTo>
                      <a:pt x="3" y="161"/>
                    </a:lnTo>
                    <a:lnTo>
                      <a:pt x="1" y="162"/>
                    </a:lnTo>
                    <a:lnTo>
                      <a:pt x="1" y="166"/>
                    </a:lnTo>
                    <a:lnTo>
                      <a:pt x="1" y="169"/>
                    </a:lnTo>
                    <a:lnTo>
                      <a:pt x="3" y="172"/>
                    </a:lnTo>
                    <a:lnTo>
                      <a:pt x="4" y="172"/>
                    </a:lnTo>
                    <a:lnTo>
                      <a:pt x="6" y="175"/>
                    </a:lnTo>
                    <a:lnTo>
                      <a:pt x="7" y="177"/>
                    </a:lnTo>
                    <a:lnTo>
                      <a:pt x="9" y="177"/>
                    </a:lnTo>
                    <a:lnTo>
                      <a:pt x="7" y="178"/>
                    </a:lnTo>
                    <a:lnTo>
                      <a:pt x="6" y="178"/>
                    </a:lnTo>
                    <a:lnTo>
                      <a:pt x="3" y="178"/>
                    </a:lnTo>
                    <a:lnTo>
                      <a:pt x="3" y="181"/>
                    </a:lnTo>
                    <a:lnTo>
                      <a:pt x="3" y="186"/>
                    </a:lnTo>
                    <a:lnTo>
                      <a:pt x="4" y="187"/>
                    </a:lnTo>
                    <a:lnTo>
                      <a:pt x="9" y="191"/>
                    </a:lnTo>
                    <a:lnTo>
                      <a:pt x="11" y="191"/>
                    </a:lnTo>
                    <a:lnTo>
                      <a:pt x="14" y="189"/>
                    </a:lnTo>
                    <a:lnTo>
                      <a:pt x="22" y="189"/>
                    </a:lnTo>
                    <a:lnTo>
                      <a:pt x="26" y="189"/>
                    </a:lnTo>
                    <a:lnTo>
                      <a:pt x="29" y="189"/>
                    </a:lnTo>
                    <a:lnTo>
                      <a:pt x="29" y="186"/>
                    </a:lnTo>
                    <a:lnTo>
                      <a:pt x="31" y="184"/>
                    </a:lnTo>
                    <a:lnTo>
                      <a:pt x="31" y="184"/>
                    </a:lnTo>
                    <a:lnTo>
                      <a:pt x="31" y="186"/>
                    </a:lnTo>
                    <a:lnTo>
                      <a:pt x="32" y="187"/>
                    </a:lnTo>
                    <a:lnTo>
                      <a:pt x="34" y="187"/>
                    </a:lnTo>
                    <a:lnTo>
                      <a:pt x="37" y="189"/>
                    </a:lnTo>
                    <a:lnTo>
                      <a:pt x="40" y="189"/>
                    </a:lnTo>
                    <a:lnTo>
                      <a:pt x="42" y="187"/>
                    </a:lnTo>
                    <a:lnTo>
                      <a:pt x="43" y="187"/>
                    </a:lnTo>
                    <a:lnTo>
                      <a:pt x="42" y="184"/>
                    </a:lnTo>
                    <a:lnTo>
                      <a:pt x="43" y="181"/>
                    </a:lnTo>
                    <a:lnTo>
                      <a:pt x="45" y="178"/>
                    </a:lnTo>
                    <a:lnTo>
                      <a:pt x="45" y="180"/>
                    </a:lnTo>
                    <a:lnTo>
                      <a:pt x="43" y="184"/>
                    </a:lnTo>
                    <a:lnTo>
                      <a:pt x="45" y="186"/>
                    </a:lnTo>
                    <a:lnTo>
                      <a:pt x="48" y="187"/>
                    </a:lnTo>
                    <a:lnTo>
                      <a:pt x="48" y="187"/>
                    </a:lnTo>
                    <a:lnTo>
                      <a:pt x="39" y="191"/>
                    </a:lnTo>
                    <a:lnTo>
                      <a:pt x="39" y="194"/>
                    </a:lnTo>
                    <a:lnTo>
                      <a:pt x="39" y="195"/>
                    </a:lnTo>
                    <a:lnTo>
                      <a:pt x="39" y="197"/>
                    </a:lnTo>
                    <a:lnTo>
                      <a:pt x="37" y="195"/>
                    </a:lnTo>
                    <a:lnTo>
                      <a:pt x="37" y="192"/>
                    </a:lnTo>
                    <a:lnTo>
                      <a:pt x="36" y="191"/>
                    </a:lnTo>
                    <a:lnTo>
                      <a:pt x="34" y="189"/>
                    </a:lnTo>
                    <a:lnTo>
                      <a:pt x="31" y="189"/>
                    </a:lnTo>
                    <a:lnTo>
                      <a:pt x="28" y="192"/>
                    </a:lnTo>
                    <a:lnTo>
                      <a:pt x="25" y="192"/>
                    </a:lnTo>
                    <a:lnTo>
                      <a:pt x="20" y="191"/>
                    </a:lnTo>
                    <a:lnTo>
                      <a:pt x="12" y="192"/>
                    </a:lnTo>
                    <a:lnTo>
                      <a:pt x="7" y="192"/>
                    </a:lnTo>
                    <a:lnTo>
                      <a:pt x="6" y="192"/>
                    </a:lnTo>
                    <a:lnTo>
                      <a:pt x="4" y="192"/>
                    </a:lnTo>
                    <a:lnTo>
                      <a:pt x="3" y="194"/>
                    </a:lnTo>
                    <a:lnTo>
                      <a:pt x="3" y="197"/>
                    </a:lnTo>
                    <a:lnTo>
                      <a:pt x="3" y="200"/>
                    </a:lnTo>
                    <a:lnTo>
                      <a:pt x="3" y="205"/>
                    </a:lnTo>
                    <a:lnTo>
                      <a:pt x="4" y="208"/>
                    </a:lnTo>
                    <a:lnTo>
                      <a:pt x="7" y="209"/>
                    </a:lnTo>
                    <a:lnTo>
                      <a:pt x="11" y="208"/>
                    </a:lnTo>
                    <a:lnTo>
                      <a:pt x="14" y="206"/>
                    </a:lnTo>
                    <a:lnTo>
                      <a:pt x="14" y="206"/>
                    </a:lnTo>
                    <a:lnTo>
                      <a:pt x="12" y="208"/>
                    </a:lnTo>
                    <a:lnTo>
                      <a:pt x="6" y="213"/>
                    </a:lnTo>
                    <a:lnTo>
                      <a:pt x="4" y="214"/>
                    </a:lnTo>
                    <a:lnTo>
                      <a:pt x="6" y="219"/>
                    </a:lnTo>
                    <a:lnTo>
                      <a:pt x="7" y="223"/>
                    </a:lnTo>
                    <a:lnTo>
                      <a:pt x="11" y="225"/>
                    </a:lnTo>
                    <a:lnTo>
                      <a:pt x="12" y="225"/>
                    </a:lnTo>
                    <a:lnTo>
                      <a:pt x="14" y="225"/>
                    </a:lnTo>
                    <a:lnTo>
                      <a:pt x="15" y="227"/>
                    </a:lnTo>
                    <a:lnTo>
                      <a:pt x="11" y="228"/>
                    </a:lnTo>
                    <a:lnTo>
                      <a:pt x="9" y="228"/>
                    </a:lnTo>
                    <a:lnTo>
                      <a:pt x="7" y="227"/>
                    </a:lnTo>
                    <a:lnTo>
                      <a:pt x="6" y="227"/>
                    </a:lnTo>
                    <a:lnTo>
                      <a:pt x="6" y="228"/>
                    </a:lnTo>
                    <a:lnTo>
                      <a:pt x="6" y="231"/>
                    </a:lnTo>
                    <a:lnTo>
                      <a:pt x="6" y="233"/>
                    </a:lnTo>
                    <a:lnTo>
                      <a:pt x="4" y="236"/>
                    </a:lnTo>
                    <a:lnTo>
                      <a:pt x="4" y="239"/>
                    </a:lnTo>
                    <a:lnTo>
                      <a:pt x="4" y="242"/>
                    </a:lnTo>
                    <a:lnTo>
                      <a:pt x="6" y="242"/>
                    </a:lnTo>
                    <a:lnTo>
                      <a:pt x="6" y="242"/>
                    </a:lnTo>
                    <a:lnTo>
                      <a:pt x="7" y="241"/>
                    </a:lnTo>
                    <a:lnTo>
                      <a:pt x="7" y="241"/>
                    </a:lnTo>
                    <a:lnTo>
                      <a:pt x="9" y="239"/>
                    </a:lnTo>
                    <a:lnTo>
                      <a:pt x="11" y="236"/>
                    </a:lnTo>
                    <a:lnTo>
                      <a:pt x="12" y="233"/>
                    </a:lnTo>
                    <a:lnTo>
                      <a:pt x="15" y="230"/>
                    </a:lnTo>
                    <a:lnTo>
                      <a:pt x="17" y="230"/>
                    </a:lnTo>
                    <a:lnTo>
                      <a:pt x="18" y="228"/>
                    </a:lnTo>
                    <a:lnTo>
                      <a:pt x="18" y="225"/>
                    </a:lnTo>
                    <a:lnTo>
                      <a:pt x="20" y="223"/>
                    </a:lnTo>
                    <a:lnTo>
                      <a:pt x="22" y="220"/>
                    </a:lnTo>
                    <a:lnTo>
                      <a:pt x="23" y="219"/>
                    </a:lnTo>
                    <a:lnTo>
                      <a:pt x="26" y="216"/>
                    </a:lnTo>
                    <a:lnTo>
                      <a:pt x="34" y="213"/>
                    </a:lnTo>
                    <a:lnTo>
                      <a:pt x="37" y="213"/>
                    </a:lnTo>
                    <a:lnTo>
                      <a:pt x="37" y="214"/>
                    </a:lnTo>
                    <a:lnTo>
                      <a:pt x="34" y="214"/>
                    </a:lnTo>
                    <a:lnTo>
                      <a:pt x="32" y="216"/>
                    </a:lnTo>
                    <a:lnTo>
                      <a:pt x="32" y="217"/>
                    </a:lnTo>
                    <a:lnTo>
                      <a:pt x="29" y="225"/>
                    </a:lnTo>
                    <a:lnTo>
                      <a:pt x="29" y="223"/>
                    </a:lnTo>
                    <a:lnTo>
                      <a:pt x="31" y="217"/>
                    </a:lnTo>
                    <a:lnTo>
                      <a:pt x="29" y="216"/>
                    </a:lnTo>
                    <a:lnTo>
                      <a:pt x="26" y="217"/>
                    </a:lnTo>
                    <a:lnTo>
                      <a:pt x="23" y="222"/>
                    </a:lnTo>
                    <a:lnTo>
                      <a:pt x="22" y="225"/>
                    </a:lnTo>
                    <a:lnTo>
                      <a:pt x="22" y="225"/>
                    </a:lnTo>
                    <a:lnTo>
                      <a:pt x="22" y="227"/>
                    </a:lnTo>
                    <a:lnTo>
                      <a:pt x="20" y="230"/>
                    </a:lnTo>
                    <a:lnTo>
                      <a:pt x="17" y="233"/>
                    </a:lnTo>
                    <a:lnTo>
                      <a:pt x="15" y="234"/>
                    </a:lnTo>
                    <a:lnTo>
                      <a:pt x="17" y="238"/>
                    </a:lnTo>
                    <a:lnTo>
                      <a:pt x="17" y="238"/>
                    </a:lnTo>
                    <a:lnTo>
                      <a:pt x="20" y="238"/>
                    </a:lnTo>
                    <a:lnTo>
                      <a:pt x="22" y="236"/>
                    </a:lnTo>
                    <a:lnTo>
                      <a:pt x="25" y="236"/>
                    </a:lnTo>
                    <a:lnTo>
                      <a:pt x="25" y="236"/>
                    </a:lnTo>
                    <a:lnTo>
                      <a:pt x="20" y="239"/>
                    </a:lnTo>
                    <a:lnTo>
                      <a:pt x="18" y="239"/>
                    </a:lnTo>
                    <a:lnTo>
                      <a:pt x="17" y="242"/>
                    </a:lnTo>
                    <a:lnTo>
                      <a:pt x="12" y="241"/>
                    </a:lnTo>
                    <a:lnTo>
                      <a:pt x="12" y="241"/>
                    </a:lnTo>
                    <a:lnTo>
                      <a:pt x="11" y="241"/>
                    </a:lnTo>
                    <a:lnTo>
                      <a:pt x="9" y="242"/>
                    </a:lnTo>
                    <a:lnTo>
                      <a:pt x="7" y="242"/>
                    </a:lnTo>
                    <a:lnTo>
                      <a:pt x="7" y="245"/>
                    </a:lnTo>
                    <a:lnTo>
                      <a:pt x="6" y="249"/>
                    </a:lnTo>
                    <a:lnTo>
                      <a:pt x="4" y="256"/>
                    </a:lnTo>
                    <a:lnTo>
                      <a:pt x="6" y="259"/>
                    </a:lnTo>
                    <a:lnTo>
                      <a:pt x="9" y="259"/>
                    </a:lnTo>
                    <a:lnTo>
                      <a:pt x="11" y="258"/>
                    </a:lnTo>
                    <a:lnTo>
                      <a:pt x="12" y="255"/>
                    </a:lnTo>
                    <a:lnTo>
                      <a:pt x="14" y="255"/>
                    </a:lnTo>
                    <a:lnTo>
                      <a:pt x="15" y="253"/>
                    </a:lnTo>
                    <a:lnTo>
                      <a:pt x="17" y="253"/>
                    </a:lnTo>
                    <a:lnTo>
                      <a:pt x="20" y="250"/>
                    </a:lnTo>
                    <a:lnTo>
                      <a:pt x="23" y="249"/>
                    </a:lnTo>
                    <a:lnTo>
                      <a:pt x="25" y="247"/>
                    </a:lnTo>
                    <a:lnTo>
                      <a:pt x="28" y="245"/>
                    </a:lnTo>
                    <a:lnTo>
                      <a:pt x="28" y="245"/>
                    </a:lnTo>
                    <a:lnTo>
                      <a:pt x="26" y="247"/>
                    </a:lnTo>
                    <a:lnTo>
                      <a:pt x="23" y="250"/>
                    </a:lnTo>
                    <a:lnTo>
                      <a:pt x="22" y="252"/>
                    </a:lnTo>
                    <a:lnTo>
                      <a:pt x="20" y="255"/>
                    </a:lnTo>
                    <a:lnTo>
                      <a:pt x="18" y="256"/>
                    </a:lnTo>
                    <a:lnTo>
                      <a:pt x="20" y="258"/>
                    </a:lnTo>
                    <a:lnTo>
                      <a:pt x="20" y="259"/>
                    </a:lnTo>
                    <a:lnTo>
                      <a:pt x="18" y="261"/>
                    </a:lnTo>
                    <a:lnTo>
                      <a:pt x="18" y="263"/>
                    </a:lnTo>
                    <a:lnTo>
                      <a:pt x="20" y="266"/>
                    </a:lnTo>
                    <a:lnTo>
                      <a:pt x="22" y="266"/>
                    </a:lnTo>
                    <a:lnTo>
                      <a:pt x="26" y="264"/>
                    </a:lnTo>
                    <a:lnTo>
                      <a:pt x="26" y="264"/>
                    </a:lnTo>
                    <a:lnTo>
                      <a:pt x="25" y="267"/>
                    </a:lnTo>
                    <a:lnTo>
                      <a:pt x="23" y="269"/>
                    </a:lnTo>
                    <a:lnTo>
                      <a:pt x="22" y="269"/>
                    </a:lnTo>
                    <a:lnTo>
                      <a:pt x="18" y="266"/>
                    </a:lnTo>
                    <a:lnTo>
                      <a:pt x="14" y="264"/>
                    </a:lnTo>
                    <a:lnTo>
                      <a:pt x="12" y="266"/>
                    </a:lnTo>
                    <a:lnTo>
                      <a:pt x="12" y="270"/>
                    </a:lnTo>
                    <a:lnTo>
                      <a:pt x="12" y="274"/>
                    </a:lnTo>
                    <a:lnTo>
                      <a:pt x="14" y="278"/>
                    </a:lnTo>
                    <a:lnTo>
                      <a:pt x="15" y="281"/>
                    </a:lnTo>
                    <a:lnTo>
                      <a:pt x="20" y="285"/>
                    </a:lnTo>
                    <a:lnTo>
                      <a:pt x="22" y="286"/>
                    </a:lnTo>
                    <a:lnTo>
                      <a:pt x="28" y="289"/>
                    </a:lnTo>
                    <a:lnTo>
                      <a:pt x="29" y="289"/>
                    </a:lnTo>
                    <a:lnTo>
                      <a:pt x="31" y="289"/>
                    </a:lnTo>
                    <a:lnTo>
                      <a:pt x="32" y="289"/>
                    </a:lnTo>
                    <a:lnTo>
                      <a:pt x="32" y="291"/>
                    </a:lnTo>
                    <a:lnTo>
                      <a:pt x="32" y="291"/>
                    </a:lnTo>
                    <a:lnTo>
                      <a:pt x="31" y="292"/>
                    </a:lnTo>
                    <a:lnTo>
                      <a:pt x="29" y="294"/>
                    </a:lnTo>
                    <a:lnTo>
                      <a:pt x="31" y="295"/>
                    </a:lnTo>
                    <a:lnTo>
                      <a:pt x="32" y="295"/>
                    </a:lnTo>
                    <a:lnTo>
                      <a:pt x="34" y="295"/>
                    </a:lnTo>
                    <a:lnTo>
                      <a:pt x="34" y="294"/>
                    </a:lnTo>
                    <a:lnTo>
                      <a:pt x="34" y="294"/>
                    </a:lnTo>
                    <a:lnTo>
                      <a:pt x="36" y="294"/>
                    </a:lnTo>
                    <a:lnTo>
                      <a:pt x="36" y="294"/>
                    </a:lnTo>
                    <a:lnTo>
                      <a:pt x="36" y="294"/>
                    </a:lnTo>
                    <a:lnTo>
                      <a:pt x="36" y="295"/>
                    </a:lnTo>
                    <a:lnTo>
                      <a:pt x="36" y="295"/>
                    </a:lnTo>
                    <a:lnTo>
                      <a:pt x="37" y="297"/>
                    </a:lnTo>
                    <a:lnTo>
                      <a:pt x="42" y="297"/>
                    </a:lnTo>
                    <a:lnTo>
                      <a:pt x="47" y="297"/>
                    </a:lnTo>
                    <a:lnTo>
                      <a:pt x="53" y="295"/>
                    </a:lnTo>
                    <a:lnTo>
                      <a:pt x="56" y="294"/>
                    </a:lnTo>
                    <a:lnTo>
                      <a:pt x="57" y="294"/>
                    </a:lnTo>
                    <a:lnTo>
                      <a:pt x="61" y="291"/>
                    </a:lnTo>
                    <a:lnTo>
                      <a:pt x="64" y="288"/>
                    </a:lnTo>
                    <a:lnTo>
                      <a:pt x="72" y="280"/>
                    </a:lnTo>
                    <a:lnTo>
                      <a:pt x="76" y="275"/>
                    </a:lnTo>
                    <a:lnTo>
                      <a:pt x="76" y="275"/>
                    </a:lnTo>
                    <a:lnTo>
                      <a:pt x="78" y="274"/>
                    </a:lnTo>
                    <a:lnTo>
                      <a:pt x="78" y="274"/>
                    </a:lnTo>
                    <a:lnTo>
                      <a:pt x="79" y="272"/>
                    </a:lnTo>
                    <a:lnTo>
                      <a:pt x="78" y="270"/>
                    </a:lnTo>
                    <a:lnTo>
                      <a:pt x="82" y="267"/>
                    </a:lnTo>
                    <a:lnTo>
                      <a:pt x="84" y="267"/>
                    </a:lnTo>
                    <a:lnTo>
                      <a:pt x="84" y="266"/>
                    </a:lnTo>
                    <a:lnTo>
                      <a:pt x="86" y="264"/>
                    </a:lnTo>
                    <a:lnTo>
                      <a:pt x="84" y="263"/>
                    </a:lnTo>
                    <a:lnTo>
                      <a:pt x="82" y="261"/>
                    </a:lnTo>
                    <a:lnTo>
                      <a:pt x="84" y="261"/>
                    </a:lnTo>
                    <a:lnTo>
                      <a:pt x="87" y="264"/>
                    </a:lnTo>
                    <a:lnTo>
                      <a:pt x="87" y="266"/>
                    </a:lnTo>
                    <a:lnTo>
                      <a:pt x="90" y="266"/>
                    </a:lnTo>
                    <a:lnTo>
                      <a:pt x="92" y="264"/>
                    </a:lnTo>
                    <a:lnTo>
                      <a:pt x="93" y="264"/>
                    </a:lnTo>
                    <a:lnTo>
                      <a:pt x="93" y="264"/>
                    </a:lnTo>
                    <a:lnTo>
                      <a:pt x="95" y="263"/>
                    </a:lnTo>
                    <a:lnTo>
                      <a:pt x="98" y="255"/>
                    </a:lnTo>
                    <a:lnTo>
                      <a:pt x="98" y="252"/>
                    </a:lnTo>
                    <a:lnTo>
                      <a:pt x="98" y="250"/>
                    </a:lnTo>
                    <a:lnTo>
                      <a:pt x="98" y="249"/>
                    </a:lnTo>
                    <a:lnTo>
                      <a:pt x="98" y="247"/>
                    </a:lnTo>
                    <a:lnTo>
                      <a:pt x="100" y="247"/>
                    </a:lnTo>
                    <a:lnTo>
                      <a:pt x="100" y="245"/>
                    </a:lnTo>
                    <a:lnTo>
                      <a:pt x="100" y="241"/>
                    </a:lnTo>
                    <a:lnTo>
                      <a:pt x="101" y="239"/>
                    </a:lnTo>
                    <a:lnTo>
                      <a:pt x="101" y="241"/>
                    </a:lnTo>
                    <a:lnTo>
                      <a:pt x="101" y="244"/>
                    </a:lnTo>
                    <a:lnTo>
                      <a:pt x="101" y="250"/>
                    </a:lnTo>
                    <a:lnTo>
                      <a:pt x="101" y="252"/>
                    </a:lnTo>
                    <a:lnTo>
                      <a:pt x="103" y="255"/>
                    </a:lnTo>
                    <a:lnTo>
                      <a:pt x="104" y="258"/>
                    </a:lnTo>
                    <a:lnTo>
                      <a:pt x="107" y="259"/>
                    </a:lnTo>
                    <a:lnTo>
                      <a:pt x="107" y="259"/>
                    </a:lnTo>
                    <a:lnTo>
                      <a:pt x="109" y="259"/>
                    </a:lnTo>
                    <a:lnTo>
                      <a:pt x="111" y="259"/>
                    </a:lnTo>
                    <a:lnTo>
                      <a:pt x="114" y="261"/>
                    </a:lnTo>
                    <a:lnTo>
                      <a:pt x="115" y="263"/>
                    </a:lnTo>
                    <a:lnTo>
                      <a:pt x="115" y="264"/>
                    </a:lnTo>
                    <a:lnTo>
                      <a:pt x="117" y="267"/>
                    </a:lnTo>
                    <a:lnTo>
                      <a:pt x="117" y="269"/>
                    </a:lnTo>
                    <a:lnTo>
                      <a:pt x="118" y="267"/>
                    </a:lnTo>
                    <a:lnTo>
                      <a:pt x="120" y="267"/>
                    </a:lnTo>
                    <a:lnTo>
                      <a:pt x="120" y="264"/>
                    </a:lnTo>
                    <a:lnTo>
                      <a:pt x="122" y="259"/>
                    </a:lnTo>
                    <a:lnTo>
                      <a:pt x="122" y="255"/>
                    </a:lnTo>
                    <a:lnTo>
                      <a:pt x="122" y="250"/>
                    </a:lnTo>
                    <a:lnTo>
                      <a:pt x="120" y="245"/>
                    </a:lnTo>
                    <a:lnTo>
                      <a:pt x="120" y="244"/>
                    </a:lnTo>
                    <a:lnTo>
                      <a:pt x="123" y="241"/>
                    </a:lnTo>
                    <a:lnTo>
                      <a:pt x="123" y="238"/>
                    </a:lnTo>
                    <a:lnTo>
                      <a:pt x="125" y="234"/>
                    </a:lnTo>
                    <a:lnTo>
                      <a:pt x="125" y="234"/>
                    </a:lnTo>
                    <a:lnTo>
                      <a:pt x="126" y="234"/>
                    </a:lnTo>
                    <a:lnTo>
                      <a:pt x="126" y="234"/>
                    </a:lnTo>
                    <a:lnTo>
                      <a:pt x="128" y="233"/>
                    </a:lnTo>
                    <a:lnTo>
                      <a:pt x="128" y="233"/>
                    </a:lnTo>
                    <a:lnTo>
                      <a:pt x="128" y="233"/>
                    </a:lnTo>
                    <a:lnTo>
                      <a:pt x="131" y="231"/>
                    </a:lnTo>
                    <a:lnTo>
                      <a:pt x="131" y="231"/>
                    </a:lnTo>
                    <a:lnTo>
                      <a:pt x="131" y="231"/>
                    </a:lnTo>
                    <a:lnTo>
                      <a:pt x="133" y="228"/>
                    </a:lnTo>
                    <a:lnTo>
                      <a:pt x="134" y="227"/>
                    </a:lnTo>
                    <a:lnTo>
                      <a:pt x="134" y="222"/>
                    </a:lnTo>
                    <a:lnTo>
                      <a:pt x="134" y="219"/>
                    </a:lnTo>
                    <a:lnTo>
                      <a:pt x="136" y="217"/>
                    </a:lnTo>
                    <a:lnTo>
                      <a:pt x="136" y="217"/>
                    </a:lnTo>
                    <a:lnTo>
                      <a:pt x="136" y="214"/>
                    </a:lnTo>
                    <a:lnTo>
                      <a:pt x="136" y="211"/>
                    </a:lnTo>
                    <a:lnTo>
                      <a:pt x="134" y="206"/>
                    </a:lnTo>
                    <a:lnTo>
                      <a:pt x="131" y="198"/>
                    </a:lnTo>
                    <a:lnTo>
                      <a:pt x="131" y="195"/>
                    </a:lnTo>
                    <a:lnTo>
                      <a:pt x="131" y="194"/>
                    </a:lnTo>
                    <a:lnTo>
                      <a:pt x="134" y="194"/>
                    </a:lnTo>
                    <a:lnTo>
                      <a:pt x="137" y="194"/>
                    </a:lnTo>
                    <a:lnTo>
                      <a:pt x="137" y="194"/>
                    </a:lnTo>
                    <a:lnTo>
                      <a:pt x="137" y="192"/>
                    </a:lnTo>
                    <a:lnTo>
                      <a:pt x="137" y="192"/>
                    </a:lnTo>
                    <a:lnTo>
                      <a:pt x="139" y="191"/>
                    </a:lnTo>
                    <a:lnTo>
                      <a:pt x="139" y="189"/>
                    </a:lnTo>
                    <a:lnTo>
                      <a:pt x="140" y="186"/>
                    </a:lnTo>
                    <a:lnTo>
                      <a:pt x="140" y="186"/>
                    </a:lnTo>
                    <a:lnTo>
                      <a:pt x="140" y="184"/>
                    </a:lnTo>
                    <a:lnTo>
                      <a:pt x="140" y="181"/>
                    </a:lnTo>
                    <a:lnTo>
                      <a:pt x="139" y="178"/>
                    </a:lnTo>
                    <a:lnTo>
                      <a:pt x="136" y="175"/>
                    </a:lnTo>
                    <a:lnTo>
                      <a:pt x="134" y="173"/>
                    </a:lnTo>
                    <a:lnTo>
                      <a:pt x="131" y="170"/>
                    </a:lnTo>
                    <a:lnTo>
                      <a:pt x="128" y="169"/>
                    </a:lnTo>
                    <a:lnTo>
                      <a:pt x="129" y="159"/>
                    </a:lnTo>
                    <a:lnTo>
                      <a:pt x="131" y="151"/>
                    </a:lnTo>
                    <a:lnTo>
                      <a:pt x="131" y="150"/>
                    </a:lnTo>
                    <a:lnTo>
                      <a:pt x="131" y="147"/>
                    </a:lnTo>
                    <a:lnTo>
                      <a:pt x="128" y="136"/>
                    </a:lnTo>
                    <a:lnTo>
                      <a:pt x="128" y="133"/>
                    </a:lnTo>
                    <a:lnTo>
                      <a:pt x="128" y="131"/>
                    </a:lnTo>
                    <a:lnTo>
                      <a:pt x="128" y="126"/>
                    </a:lnTo>
                    <a:lnTo>
                      <a:pt x="128" y="123"/>
                    </a:lnTo>
                    <a:lnTo>
                      <a:pt x="128" y="122"/>
                    </a:lnTo>
                    <a:lnTo>
                      <a:pt x="129" y="120"/>
                    </a:lnTo>
                    <a:lnTo>
                      <a:pt x="129" y="120"/>
                    </a:lnTo>
                    <a:lnTo>
                      <a:pt x="128" y="117"/>
                    </a:lnTo>
                    <a:lnTo>
                      <a:pt x="128" y="117"/>
                    </a:lnTo>
                    <a:lnTo>
                      <a:pt x="126" y="109"/>
                    </a:lnTo>
                    <a:lnTo>
                      <a:pt x="129" y="101"/>
                    </a:lnTo>
                    <a:lnTo>
                      <a:pt x="128" y="97"/>
                    </a:lnTo>
                    <a:lnTo>
                      <a:pt x="131" y="94"/>
                    </a:lnTo>
                    <a:lnTo>
                      <a:pt x="131" y="94"/>
                    </a:lnTo>
                    <a:lnTo>
                      <a:pt x="134" y="87"/>
                    </a:lnTo>
                    <a:lnTo>
                      <a:pt x="137" y="83"/>
                    </a:lnTo>
                    <a:lnTo>
                      <a:pt x="137" y="83"/>
                    </a:lnTo>
                    <a:lnTo>
                      <a:pt x="139" y="81"/>
                    </a:lnTo>
                    <a:lnTo>
                      <a:pt x="143" y="78"/>
                    </a:lnTo>
                    <a:lnTo>
                      <a:pt x="147" y="78"/>
                    </a:lnTo>
                    <a:lnTo>
                      <a:pt x="147" y="78"/>
                    </a:lnTo>
                    <a:lnTo>
                      <a:pt x="148" y="78"/>
                    </a:lnTo>
                    <a:lnTo>
                      <a:pt x="154" y="80"/>
                    </a:lnTo>
                    <a:lnTo>
                      <a:pt x="161" y="80"/>
                    </a:lnTo>
                    <a:lnTo>
                      <a:pt x="161" y="80"/>
                    </a:lnTo>
                    <a:lnTo>
                      <a:pt x="161" y="80"/>
                    </a:lnTo>
                    <a:lnTo>
                      <a:pt x="162" y="76"/>
                    </a:lnTo>
                    <a:lnTo>
                      <a:pt x="164" y="73"/>
                    </a:lnTo>
                    <a:lnTo>
                      <a:pt x="164" y="70"/>
                    </a:lnTo>
                    <a:lnTo>
                      <a:pt x="162" y="65"/>
                    </a:lnTo>
                    <a:lnTo>
                      <a:pt x="162" y="62"/>
                    </a:lnTo>
                    <a:lnTo>
                      <a:pt x="159" y="59"/>
                    </a:lnTo>
                    <a:lnTo>
                      <a:pt x="154" y="58"/>
                    </a:lnTo>
                    <a:lnTo>
                      <a:pt x="159" y="48"/>
                    </a:lnTo>
                    <a:lnTo>
                      <a:pt x="159" y="48"/>
                    </a:lnTo>
                    <a:lnTo>
                      <a:pt x="162" y="42"/>
                    </a:lnTo>
                    <a:lnTo>
                      <a:pt x="167" y="33"/>
                    </a:lnTo>
                    <a:lnTo>
                      <a:pt x="168" y="29"/>
                    </a:lnTo>
                    <a:lnTo>
                      <a:pt x="168" y="28"/>
                    </a:lnTo>
                    <a:lnTo>
                      <a:pt x="170" y="12"/>
                    </a:lnTo>
                    <a:lnTo>
                      <a:pt x="172" y="9"/>
                    </a:lnTo>
                    <a:lnTo>
                      <a:pt x="172" y="6"/>
                    </a:lnTo>
                    <a:lnTo>
                      <a:pt x="172" y="4"/>
                    </a:lnTo>
                    <a:lnTo>
                      <a:pt x="172"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0" name="Freeform 157">
                <a:extLst>
                  <a:ext uri="{FF2B5EF4-FFF2-40B4-BE49-F238E27FC236}">
                    <a16:creationId xmlns:a16="http://schemas.microsoft.com/office/drawing/2014/main" id="{A75C7043-EA6C-9CC6-A41C-E1F6625F676D}"/>
                  </a:ext>
                </a:extLst>
              </p:cNvPr>
              <p:cNvSpPr>
                <a:spLocks/>
              </p:cNvSpPr>
              <p:nvPr/>
            </p:nvSpPr>
            <p:spPr bwMode="gray">
              <a:xfrm>
                <a:off x="4079" y="1020"/>
                <a:ext cx="143" cy="80"/>
              </a:xfrm>
              <a:custGeom>
                <a:avLst/>
                <a:gdLst>
                  <a:gd name="T0" fmla="*/ 143 w 143"/>
                  <a:gd name="T1" fmla="*/ 52 h 80"/>
                  <a:gd name="T2" fmla="*/ 141 w 143"/>
                  <a:gd name="T3" fmla="*/ 65 h 80"/>
                  <a:gd name="T4" fmla="*/ 143 w 143"/>
                  <a:gd name="T5" fmla="*/ 72 h 80"/>
                  <a:gd name="T6" fmla="*/ 141 w 143"/>
                  <a:gd name="T7" fmla="*/ 79 h 80"/>
                  <a:gd name="T8" fmla="*/ 132 w 143"/>
                  <a:gd name="T9" fmla="*/ 79 h 80"/>
                  <a:gd name="T10" fmla="*/ 124 w 143"/>
                  <a:gd name="T11" fmla="*/ 79 h 80"/>
                  <a:gd name="T12" fmla="*/ 117 w 143"/>
                  <a:gd name="T13" fmla="*/ 79 h 80"/>
                  <a:gd name="T14" fmla="*/ 110 w 143"/>
                  <a:gd name="T15" fmla="*/ 75 h 80"/>
                  <a:gd name="T16" fmla="*/ 102 w 143"/>
                  <a:gd name="T17" fmla="*/ 75 h 80"/>
                  <a:gd name="T18" fmla="*/ 99 w 143"/>
                  <a:gd name="T19" fmla="*/ 71 h 80"/>
                  <a:gd name="T20" fmla="*/ 92 w 143"/>
                  <a:gd name="T21" fmla="*/ 72 h 80"/>
                  <a:gd name="T22" fmla="*/ 89 w 143"/>
                  <a:gd name="T23" fmla="*/ 69 h 80"/>
                  <a:gd name="T24" fmla="*/ 82 w 143"/>
                  <a:gd name="T25" fmla="*/ 66 h 80"/>
                  <a:gd name="T26" fmla="*/ 82 w 143"/>
                  <a:gd name="T27" fmla="*/ 61 h 80"/>
                  <a:gd name="T28" fmla="*/ 71 w 143"/>
                  <a:gd name="T29" fmla="*/ 58 h 80"/>
                  <a:gd name="T30" fmla="*/ 63 w 143"/>
                  <a:gd name="T31" fmla="*/ 58 h 80"/>
                  <a:gd name="T32" fmla="*/ 58 w 143"/>
                  <a:gd name="T33" fmla="*/ 60 h 80"/>
                  <a:gd name="T34" fmla="*/ 49 w 143"/>
                  <a:gd name="T35" fmla="*/ 57 h 80"/>
                  <a:gd name="T36" fmla="*/ 42 w 143"/>
                  <a:gd name="T37" fmla="*/ 54 h 80"/>
                  <a:gd name="T38" fmla="*/ 35 w 143"/>
                  <a:gd name="T39" fmla="*/ 49 h 80"/>
                  <a:gd name="T40" fmla="*/ 31 w 143"/>
                  <a:gd name="T41" fmla="*/ 49 h 80"/>
                  <a:gd name="T42" fmla="*/ 22 w 143"/>
                  <a:gd name="T43" fmla="*/ 43 h 80"/>
                  <a:gd name="T44" fmla="*/ 16 w 143"/>
                  <a:gd name="T45" fmla="*/ 38 h 80"/>
                  <a:gd name="T46" fmla="*/ 10 w 143"/>
                  <a:gd name="T47" fmla="*/ 35 h 80"/>
                  <a:gd name="T48" fmla="*/ 8 w 143"/>
                  <a:gd name="T49" fmla="*/ 35 h 80"/>
                  <a:gd name="T50" fmla="*/ 2 w 143"/>
                  <a:gd name="T51" fmla="*/ 32 h 80"/>
                  <a:gd name="T52" fmla="*/ 3 w 143"/>
                  <a:gd name="T53" fmla="*/ 25 h 80"/>
                  <a:gd name="T54" fmla="*/ 5 w 143"/>
                  <a:gd name="T55" fmla="*/ 16 h 80"/>
                  <a:gd name="T56" fmla="*/ 13 w 143"/>
                  <a:gd name="T57" fmla="*/ 8 h 80"/>
                  <a:gd name="T58" fmla="*/ 17 w 143"/>
                  <a:gd name="T59" fmla="*/ 3 h 80"/>
                  <a:gd name="T60" fmla="*/ 21 w 143"/>
                  <a:gd name="T61" fmla="*/ 7 h 80"/>
                  <a:gd name="T62" fmla="*/ 33 w 143"/>
                  <a:gd name="T63" fmla="*/ 0 h 80"/>
                  <a:gd name="T64" fmla="*/ 38 w 143"/>
                  <a:gd name="T65" fmla="*/ 5 h 80"/>
                  <a:gd name="T66" fmla="*/ 50 w 143"/>
                  <a:gd name="T67" fmla="*/ 14 h 80"/>
                  <a:gd name="T68" fmla="*/ 60 w 143"/>
                  <a:gd name="T69" fmla="*/ 19 h 80"/>
                  <a:gd name="T70" fmla="*/ 66 w 143"/>
                  <a:gd name="T71" fmla="*/ 22 h 80"/>
                  <a:gd name="T72" fmla="*/ 72 w 143"/>
                  <a:gd name="T73" fmla="*/ 24 h 80"/>
                  <a:gd name="T74" fmla="*/ 77 w 143"/>
                  <a:gd name="T75" fmla="*/ 32 h 80"/>
                  <a:gd name="T76" fmla="*/ 83 w 143"/>
                  <a:gd name="T77" fmla="*/ 36 h 80"/>
                  <a:gd name="T78" fmla="*/ 89 w 143"/>
                  <a:gd name="T79" fmla="*/ 35 h 80"/>
                  <a:gd name="T80" fmla="*/ 89 w 143"/>
                  <a:gd name="T81" fmla="*/ 38 h 80"/>
                  <a:gd name="T82" fmla="*/ 96 w 143"/>
                  <a:gd name="T83" fmla="*/ 43 h 80"/>
                  <a:gd name="T84" fmla="*/ 103 w 143"/>
                  <a:gd name="T85" fmla="*/ 47 h 80"/>
                  <a:gd name="T86" fmla="*/ 107 w 143"/>
                  <a:gd name="T87" fmla="*/ 47 h 80"/>
                  <a:gd name="T88" fmla="*/ 110 w 143"/>
                  <a:gd name="T89" fmla="*/ 47 h 80"/>
                  <a:gd name="T90" fmla="*/ 114 w 143"/>
                  <a:gd name="T91" fmla="*/ 49 h 80"/>
                  <a:gd name="T92" fmla="*/ 117 w 143"/>
                  <a:gd name="T93" fmla="*/ 46 h 80"/>
                  <a:gd name="T94" fmla="*/ 124 w 143"/>
                  <a:gd name="T95" fmla="*/ 49 h 80"/>
                  <a:gd name="T96" fmla="*/ 133 w 143"/>
                  <a:gd name="T97" fmla="*/ 50 h 80"/>
                  <a:gd name="T98" fmla="*/ 139 w 143"/>
                  <a:gd name="T9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3" h="80">
                    <a:moveTo>
                      <a:pt x="143" y="50"/>
                    </a:moveTo>
                    <a:lnTo>
                      <a:pt x="143" y="50"/>
                    </a:lnTo>
                    <a:lnTo>
                      <a:pt x="143" y="52"/>
                    </a:lnTo>
                    <a:lnTo>
                      <a:pt x="143" y="52"/>
                    </a:lnTo>
                    <a:lnTo>
                      <a:pt x="143" y="55"/>
                    </a:lnTo>
                    <a:lnTo>
                      <a:pt x="141" y="57"/>
                    </a:lnTo>
                    <a:lnTo>
                      <a:pt x="141" y="60"/>
                    </a:lnTo>
                    <a:lnTo>
                      <a:pt x="141" y="65"/>
                    </a:lnTo>
                    <a:lnTo>
                      <a:pt x="141" y="66"/>
                    </a:lnTo>
                    <a:lnTo>
                      <a:pt x="143" y="69"/>
                    </a:lnTo>
                    <a:lnTo>
                      <a:pt x="143" y="71"/>
                    </a:lnTo>
                    <a:lnTo>
                      <a:pt x="143" y="72"/>
                    </a:lnTo>
                    <a:lnTo>
                      <a:pt x="143" y="75"/>
                    </a:lnTo>
                    <a:lnTo>
                      <a:pt x="141" y="79"/>
                    </a:lnTo>
                    <a:lnTo>
                      <a:pt x="141" y="79"/>
                    </a:lnTo>
                    <a:lnTo>
                      <a:pt x="141" y="79"/>
                    </a:lnTo>
                    <a:lnTo>
                      <a:pt x="138" y="79"/>
                    </a:lnTo>
                    <a:lnTo>
                      <a:pt x="136" y="79"/>
                    </a:lnTo>
                    <a:lnTo>
                      <a:pt x="135" y="79"/>
                    </a:lnTo>
                    <a:lnTo>
                      <a:pt x="132" y="79"/>
                    </a:lnTo>
                    <a:lnTo>
                      <a:pt x="130" y="79"/>
                    </a:lnTo>
                    <a:lnTo>
                      <a:pt x="128" y="80"/>
                    </a:lnTo>
                    <a:lnTo>
                      <a:pt x="125" y="79"/>
                    </a:lnTo>
                    <a:lnTo>
                      <a:pt x="124" y="79"/>
                    </a:lnTo>
                    <a:lnTo>
                      <a:pt x="124" y="75"/>
                    </a:lnTo>
                    <a:lnTo>
                      <a:pt x="124" y="75"/>
                    </a:lnTo>
                    <a:lnTo>
                      <a:pt x="119" y="79"/>
                    </a:lnTo>
                    <a:lnTo>
                      <a:pt x="117" y="79"/>
                    </a:lnTo>
                    <a:lnTo>
                      <a:pt x="114" y="77"/>
                    </a:lnTo>
                    <a:lnTo>
                      <a:pt x="113" y="75"/>
                    </a:lnTo>
                    <a:lnTo>
                      <a:pt x="111" y="75"/>
                    </a:lnTo>
                    <a:lnTo>
                      <a:pt x="110" y="75"/>
                    </a:lnTo>
                    <a:lnTo>
                      <a:pt x="108" y="75"/>
                    </a:lnTo>
                    <a:lnTo>
                      <a:pt x="105" y="74"/>
                    </a:lnTo>
                    <a:lnTo>
                      <a:pt x="103" y="75"/>
                    </a:lnTo>
                    <a:lnTo>
                      <a:pt x="102" y="75"/>
                    </a:lnTo>
                    <a:lnTo>
                      <a:pt x="100" y="74"/>
                    </a:lnTo>
                    <a:lnTo>
                      <a:pt x="100" y="72"/>
                    </a:lnTo>
                    <a:lnTo>
                      <a:pt x="100" y="71"/>
                    </a:lnTo>
                    <a:lnTo>
                      <a:pt x="99" y="71"/>
                    </a:lnTo>
                    <a:lnTo>
                      <a:pt x="97" y="71"/>
                    </a:lnTo>
                    <a:lnTo>
                      <a:pt x="96" y="71"/>
                    </a:lnTo>
                    <a:lnTo>
                      <a:pt x="92" y="72"/>
                    </a:lnTo>
                    <a:lnTo>
                      <a:pt x="92" y="72"/>
                    </a:lnTo>
                    <a:lnTo>
                      <a:pt x="91" y="72"/>
                    </a:lnTo>
                    <a:lnTo>
                      <a:pt x="91" y="71"/>
                    </a:lnTo>
                    <a:lnTo>
                      <a:pt x="91" y="71"/>
                    </a:lnTo>
                    <a:lnTo>
                      <a:pt x="89" y="69"/>
                    </a:lnTo>
                    <a:lnTo>
                      <a:pt x="89" y="69"/>
                    </a:lnTo>
                    <a:lnTo>
                      <a:pt x="88" y="69"/>
                    </a:lnTo>
                    <a:lnTo>
                      <a:pt x="86" y="69"/>
                    </a:lnTo>
                    <a:lnTo>
                      <a:pt x="82" y="66"/>
                    </a:lnTo>
                    <a:lnTo>
                      <a:pt x="82" y="66"/>
                    </a:lnTo>
                    <a:lnTo>
                      <a:pt x="82" y="63"/>
                    </a:lnTo>
                    <a:lnTo>
                      <a:pt x="82" y="63"/>
                    </a:lnTo>
                    <a:lnTo>
                      <a:pt x="82" y="61"/>
                    </a:lnTo>
                    <a:lnTo>
                      <a:pt x="78" y="60"/>
                    </a:lnTo>
                    <a:lnTo>
                      <a:pt x="74" y="58"/>
                    </a:lnTo>
                    <a:lnTo>
                      <a:pt x="72" y="57"/>
                    </a:lnTo>
                    <a:lnTo>
                      <a:pt x="71" y="58"/>
                    </a:lnTo>
                    <a:lnTo>
                      <a:pt x="69" y="58"/>
                    </a:lnTo>
                    <a:lnTo>
                      <a:pt x="67" y="60"/>
                    </a:lnTo>
                    <a:lnTo>
                      <a:pt x="66" y="60"/>
                    </a:lnTo>
                    <a:lnTo>
                      <a:pt x="63" y="58"/>
                    </a:lnTo>
                    <a:lnTo>
                      <a:pt x="61" y="58"/>
                    </a:lnTo>
                    <a:lnTo>
                      <a:pt x="60" y="58"/>
                    </a:lnTo>
                    <a:lnTo>
                      <a:pt x="60" y="58"/>
                    </a:lnTo>
                    <a:lnTo>
                      <a:pt x="58" y="60"/>
                    </a:lnTo>
                    <a:lnTo>
                      <a:pt x="57" y="60"/>
                    </a:lnTo>
                    <a:lnTo>
                      <a:pt x="53" y="58"/>
                    </a:lnTo>
                    <a:lnTo>
                      <a:pt x="52" y="58"/>
                    </a:lnTo>
                    <a:lnTo>
                      <a:pt x="49" y="57"/>
                    </a:lnTo>
                    <a:lnTo>
                      <a:pt x="47" y="55"/>
                    </a:lnTo>
                    <a:lnTo>
                      <a:pt x="47" y="54"/>
                    </a:lnTo>
                    <a:lnTo>
                      <a:pt x="46" y="54"/>
                    </a:lnTo>
                    <a:lnTo>
                      <a:pt x="42" y="54"/>
                    </a:lnTo>
                    <a:lnTo>
                      <a:pt x="41" y="52"/>
                    </a:lnTo>
                    <a:lnTo>
                      <a:pt x="38" y="50"/>
                    </a:lnTo>
                    <a:lnTo>
                      <a:pt x="36" y="49"/>
                    </a:lnTo>
                    <a:lnTo>
                      <a:pt x="35" y="49"/>
                    </a:lnTo>
                    <a:lnTo>
                      <a:pt x="35" y="49"/>
                    </a:lnTo>
                    <a:lnTo>
                      <a:pt x="33" y="50"/>
                    </a:lnTo>
                    <a:lnTo>
                      <a:pt x="33" y="50"/>
                    </a:lnTo>
                    <a:lnTo>
                      <a:pt x="31" y="49"/>
                    </a:lnTo>
                    <a:lnTo>
                      <a:pt x="28" y="47"/>
                    </a:lnTo>
                    <a:lnTo>
                      <a:pt x="27" y="46"/>
                    </a:lnTo>
                    <a:lnTo>
                      <a:pt x="24" y="44"/>
                    </a:lnTo>
                    <a:lnTo>
                      <a:pt x="22" y="43"/>
                    </a:lnTo>
                    <a:lnTo>
                      <a:pt x="21" y="41"/>
                    </a:lnTo>
                    <a:lnTo>
                      <a:pt x="21" y="41"/>
                    </a:lnTo>
                    <a:lnTo>
                      <a:pt x="17" y="39"/>
                    </a:lnTo>
                    <a:lnTo>
                      <a:pt x="16" y="38"/>
                    </a:lnTo>
                    <a:lnTo>
                      <a:pt x="13" y="36"/>
                    </a:lnTo>
                    <a:lnTo>
                      <a:pt x="13" y="36"/>
                    </a:lnTo>
                    <a:lnTo>
                      <a:pt x="11" y="35"/>
                    </a:lnTo>
                    <a:lnTo>
                      <a:pt x="10" y="35"/>
                    </a:lnTo>
                    <a:lnTo>
                      <a:pt x="10" y="35"/>
                    </a:lnTo>
                    <a:lnTo>
                      <a:pt x="8" y="35"/>
                    </a:lnTo>
                    <a:lnTo>
                      <a:pt x="8" y="35"/>
                    </a:lnTo>
                    <a:lnTo>
                      <a:pt x="8" y="35"/>
                    </a:lnTo>
                    <a:lnTo>
                      <a:pt x="6" y="35"/>
                    </a:lnTo>
                    <a:lnTo>
                      <a:pt x="3" y="33"/>
                    </a:lnTo>
                    <a:lnTo>
                      <a:pt x="3" y="32"/>
                    </a:lnTo>
                    <a:lnTo>
                      <a:pt x="2" y="32"/>
                    </a:lnTo>
                    <a:lnTo>
                      <a:pt x="0" y="30"/>
                    </a:lnTo>
                    <a:lnTo>
                      <a:pt x="2" y="27"/>
                    </a:lnTo>
                    <a:lnTo>
                      <a:pt x="2" y="25"/>
                    </a:lnTo>
                    <a:lnTo>
                      <a:pt x="3" y="25"/>
                    </a:lnTo>
                    <a:lnTo>
                      <a:pt x="3" y="24"/>
                    </a:lnTo>
                    <a:lnTo>
                      <a:pt x="5" y="21"/>
                    </a:lnTo>
                    <a:lnTo>
                      <a:pt x="5" y="19"/>
                    </a:lnTo>
                    <a:lnTo>
                      <a:pt x="5" y="16"/>
                    </a:lnTo>
                    <a:lnTo>
                      <a:pt x="6" y="13"/>
                    </a:lnTo>
                    <a:lnTo>
                      <a:pt x="10" y="10"/>
                    </a:lnTo>
                    <a:lnTo>
                      <a:pt x="11" y="8"/>
                    </a:lnTo>
                    <a:lnTo>
                      <a:pt x="13" y="8"/>
                    </a:lnTo>
                    <a:lnTo>
                      <a:pt x="14" y="5"/>
                    </a:lnTo>
                    <a:lnTo>
                      <a:pt x="14" y="5"/>
                    </a:lnTo>
                    <a:lnTo>
                      <a:pt x="16" y="3"/>
                    </a:lnTo>
                    <a:lnTo>
                      <a:pt x="17" y="3"/>
                    </a:lnTo>
                    <a:lnTo>
                      <a:pt x="17" y="3"/>
                    </a:lnTo>
                    <a:lnTo>
                      <a:pt x="19" y="5"/>
                    </a:lnTo>
                    <a:lnTo>
                      <a:pt x="19" y="7"/>
                    </a:lnTo>
                    <a:lnTo>
                      <a:pt x="21" y="7"/>
                    </a:lnTo>
                    <a:lnTo>
                      <a:pt x="22" y="5"/>
                    </a:lnTo>
                    <a:lnTo>
                      <a:pt x="25" y="0"/>
                    </a:lnTo>
                    <a:lnTo>
                      <a:pt x="28" y="0"/>
                    </a:lnTo>
                    <a:lnTo>
                      <a:pt x="33" y="0"/>
                    </a:lnTo>
                    <a:lnTo>
                      <a:pt x="36" y="0"/>
                    </a:lnTo>
                    <a:lnTo>
                      <a:pt x="36" y="2"/>
                    </a:lnTo>
                    <a:lnTo>
                      <a:pt x="38" y="3"/>
                    </a:lnTo>
                    <a:lnTo>
                      <a:pt x="38" y="5"/>
                    </a:lnTo>
                    <a:lnTo>
                      <a:pt x="39" y="7"/>
                    </a:lnTo>
                    <a:lnTo>
                      <a:pt x="44" y="8"/>
                    </a:lnTo>
                    <a:lnTo>
                      <a:pt x="47" y="11"/>
                    </a:lnTo>
                    <a:lnTo>
                      <a:pt x="50" y="14"/>
                    </a:lnTo>
                    <a:lnTo>
                      <a:pt x="53" y="14"/>
                    </a:lnTo>
                    <a:lnTo>
                      <a:pt x="55" y="16"/>
                    </a:lnTo>
                    <a:lnTo>
                      <a:pt x="57" y="16"/>
                    </a:lnTo>
                    <a:lnTo>
                      <a:pt x="60" y="19"/>
                    </a:lnTo>
                    <a:lnTo>
                      <a:pt x="61" y="21"/>
                    </a:lnTo>
                    <a:lnTo>
                      <a:pt x="63" y="24"/>
                    </a:lnTo>
                    <a:lnTo>
                      <a:pt x="64" y="24"/>
                    </a:lnTo>
                    <a:lnTo>
                      <a:pt x="66" y="22"/>
                    </a:lnTo>
                    <a:lnTo>
                      <a:pt x="69" y="22"/>
                    </a:lnTo>
                    <a:lnTo>
                      <a:pt x="71" y="22"/>
                    </a:lnTo>
                    <a:lnTo>
                      <a:pt x="72" y="24"/>
                    </a:lnTo>
                    <a:lnTo>
                      <a:pt x="72" y="24"/>
                    </a:lnTo>
                    <a:lnTo>
                      <a:pt x="74" y="27"/>
                    </a:lnTo>
                    <a:lnTo>
                      <a:pt x="74" y="29"/>
                    </a:lnTo>
                    <a:lnTo>
                      <a:pt x="75" y="30"/>
                    </a:lnTo>
                    <a:lnTo>
                      <a:pt x="77" y="32"/>
                    </a:lnTo>
                    <a:lnTo>
                      <a:pt x="78" y="33"/>
                    </a:lnTo>
                    <a:lnTo>
                      <a:pt x="82" y="35"/>
                    </a:lnTo>
                    <a:lnTo>
                      <a:pt x="82" y="35"/>
                    </a:lnTo>
                    <a:lnTo>
                      <a:pt x="83" y="36"/>
                    </a:lnTo>
                    <a:lnTo>
                      <a:pt x="83" y="36"/>
                    </a:lnTo>
                    <a:lnTo>
                      <a:pt x="85" y="36"/>
                    </a:lnTo>
                    <a:lnTo>
                      <a:pt x="85" y="36"/>
                    </a:lnTo>
                    <a:lnTo>
                      <a:pt x="89" y="35"/>
                    </a:lnTo>
                    <a:lnTo>
                      <a:pt x="89" y="35"/>
                    </a:lnTo>
                    <a:lnTo>
                      <a:pt x="91" y="36"/>
                    </a:lnTo>
                    <a:lnTo>
                      <a:pt x="91" y="36"/>
                    </a:lnTo>
                    <a:lnTo>
                      <a:pt x="89" y="38"/>
                    </a:lnTo>
                    <a:lnTo>
                      <a:pt x="89" y="39"/>
                    </a:lnTo>
                    <a:lnTo>
                      <a:pt x="89" y="41"/>
                    </a:lnTo>
                    <a:lnTo>
                      <a:pt x="91" y="41"/>
                    </a:lnTo>
                    <a:lnTo>
                      <a:pt x="96" y="43"/>
                    </a:lnTo>
                    <a:lnTo>
                      <a:pt x="100" y="43"/>
                    </a:lnTo>
                    <a:lnTo>
                      <a:pt x="102" y="43"/>
                    </a:lnTo>
                    <a:lnTo>
                      <a:pt x="102" y="44"/>
                    </a:lnTo>
                    <a:lnTo>
                      <a:pt x="103" y="47"/>
                    </a:lnTo>
                    <a:lnTo>
                      <a:pt x="105" y="49"/>
                    </a:lnTo>
                    <a:lnTo>
                      <a:pt x="105" y="49"/>
                    </a:lnTo>
                    <a:lnTo>
                      <a:pt x="107" y="49"/>
                    </a:lnTo>
                    <a:lnTo>
                      <a:pt x="107" y="47"/>
                    </a:lnTo>
                    <a:lnTo>
                      <a:pt x="107" y="46"/>
                    </a:lnTo>
                    <a:lnTo>
                      <a:pt x="108" y="46"/>
                    </a:lnTo>
                    <a:lnTo>
                      <a:pt x="108" y="46"/>
                    </a:lnTo>
                    <a:lnTo>
                      <a:pt x="110" y="47"/>
                    </a:lnTo>
                    <a:lnTo>
                      <a:pt x="111" y="49"/>
                    </a:lnTo>
                    <a:lnTo>
                      <a:pt x="113" y="49"/>
                    </a:lnTo>
                    <a:lnTo>
                      <a:pt x="114" y="49"/>
                    </a:lnTo>
                    <a:lnTo>
                      <a:pt x="114" y="49"/>
                    </a:lnTo>
                    <a:lnTo>
                      <a:pt x="114" y="46"/>
                    </a:lnTo>
                    <a:lnTo>
                      <a:pt x="116" y="46"/>
                    </a:lnTo>
                    <a:lnTo>
                      <a:pt x="117" y="46"/>
                    </a:lnTo>
                    <a:lnTo>
                      <a:pt x="117" y="46"/>
                    </a:lnTo>
                    <a:lnTo>
                      <a:pt x="119" y="47"/>
                    </a:lnTo>
                    <a:lnTo>
                      <a:pt x="121" y="47"/>
                    </a:lnTo>
                    <a:lnTo>
                      <a:pt x="122" y="47"/>
                    </a:lnTo>
                    <a:lnTo>
                      <a:pt x="124" y="49"/>
                    </a:lnTo>
                    <a:lnTo>
                      <a:pt x="125" y="50"/>
                    </a:lnTo>
                    <a:lnTo>
                      <a:pt x="128" y="50"/>
                    </a:lnTo>
                    <a:lnTo>
                      <a:pt x="132" y="50"/>
                    </a:lnTo>
                    <a:lnTo>
                      <a:pt x="133" y="50"/>
                    </a:lnTo>
                    <a:lnTo>
                      <a:pt x="133" y="50"/>
                    </a:lnTo>
                    <a:lnTo>
                      <a:pt x="135" y="50"/>
                    </a:lnTo>
                    <a:lnTo>
                      <a:pt x="138" y="50"/>
                    </a:lnTo>
                    <a:lnTo>
                      <a:pt x="139" y="49"/>
                    </a:lnTo>
                    <a:lnTo>
                      <a:pt x="141" y="50"/>
                    </a:lnTo>
                    <a:lnTo>
                      <a:pt x="143" y="5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1" name="Freeform 158">
                <a:extLst>
                  <a:ext uri="{FF2B5EF4-FFF2-40B4-BE49-F238E27FC236}">
                    <a16:creationId xmlns:a16="http://schemas.microsoft.com/office/drawing/2014/main" id="{189E3C82-7806-1B2A-5F53-F046E209BF50}"/>
                  </a:ext>
                </a:extLst>
              </p:cNvPr>
              <p:cNvSpPr>
                <a:spLocks noEditPoints="1"/>
              </p:cNvSpPr>
              <p:nvPr/>
            </p:nvSpPr>
            <p:spPr bwMode="gray">
              <a:xfrm>
                <a:off x="5497" y="2217"/>
                <a:ext cx="211" cy="299"/>
              </a:xfrm>
              <a:custGeom>
                <a:avLst/>
                <a:gdLst>
                  <a:gd name="T0" fmla="*/ 24 w 211"/>
                  <a:gd name="T1" fmla="*/ 290 h 299"/>
                  <a:gd name="T2" fmla="*/ 24 w 211"/>
                  <a:gd name="T3" fmla="*/ 298 h 299"/>
                  <a:gd name="T4" fmla="*/ 2 w 211"/>
                  <a:gd name="T5" fmla="*/ 260 h 299"/>
                  <a:gd name="T6" fmla="*/ 8 w 211"/>
                  <a:gd name="T7" fmla="*/ 249 h 299"/>
                  <a:gd name="T8" fmla="*/ 130 w 211"/>
                  <a:gd name="T9" fmla="*/ 141 h 299"/>
                  <a:gd name="T10" fmla="*/ 135 w 211"/>
                  <a:gd name="T11" fmla="*/ 146 h 299"/>
                  <a:gd name="T12" fmla="*/ 130 w 211"/>
                  <a:gd name="T13" fmla="*/ 151 h 299"/>
                  <a:gd name="T14" fmla="*/ 124 w 211"/>
                  <a:gd name="T15" fmla="*/ 149 h 299"/>
                  <a:gd name="T16" fmla="*/ 110 w 211"/>
                  <a:gd name="T17" fmla="*/ 140 h 299"/>
                  <a:gd name="T18" fmla="*/ 99 w 211"/>
                  <a:gd name="T19" fmla="*/ 151 h 299"/>
                  <a:gd name="T20" fmla="*/ 85 w 211"/>
                  <a:gd name="T21" fmla="*/ 177 h 299"/>
                  <a:gd name="T22" fmla="*/ 80 w 211"/>
                  <a:gd name="T23" fmla="*/ 190 h 299"/>
                  <a:gd name="T24" fmla="*/ 72 w 211"/>
                  <a:gd name="T25" fmla="*/ 196 h 299"/>
                  <a:gd name="T26" fmla="*/ 64 w 211"/>
                  <a:gd name="T27" fmla="*/ 199 h 299"/>
                  <a:gd name="T28" fmla="*/ 53 w 211"/>
                  <a:gd name="T29" fmla="*/ 209 h 299"/>
                  <a:gd name="T30" fmla="*/ 35 w 211"/>
                  <a:gd name="T31" fmla="*/ 218 h 299"/>
                  <a:gd name="T32" fmla="*/ 19 w 211"/>
                  <a:gd name="T33" fmla="*/ 235 h 299"/>
                  <a:gd name="T34" fmla="*/ 13 w 211"/>
                  <a:gd name="T35" fmla="*/ 245 h 299"/>
                  <a:gd name="T36" fmla="*/ 11 w 211"/>
                  <a:gd name="T37" fmla="*/ 251 h 299"/>
                  <a:gd name="T38" fmla="*/ 8 w 211"/>
                  <a:gd name="T39" fmla="*/ 256 h 299"/>
                  <a:gd name="T40" fmla="*/ 2 w 211"/>
                  <a:gd name="T41" fmla="*/ 266 h 299"/>
                  <a:gd name="T42" fmla="*/ 11 w 211"/>
                  <a:gd name="T43" fmla="*/ 274 h 299"/>
                  <a:gd name="T44" fmla="*/ 30 w 211"/>
                  <a:gd name="T45" fmla="*/ 277 h 299"/>
                  <a:gd name="T46" fmla="*/ 41 w 211"/>
                  <a:gd name="T47" fmla="*/ 282 h 299"/>
                  <a:gd name="T48" fmla="*/ 69 w 211"/>
                  <a:gd name="T49" fmla="*/ 266 h 299"/>
                  <a:gd name="T50" fmla="*/ 79 w 211"/>
                  <a:gd name="T51" fmla="*/ 248 h 299"/>
                  <a:gd name="T52" fmla="*/ 85 w 211"/>
                  <a:gd name="T53" fmla="*/ 224 h 299"/>
                  <a:gd name="T54" fmla="*/ 99 w 211"/>
                  <a:gd name="T55" fmla="*/ 216 h 299"/>
                  <a:gd name="T56" fmla="*/ 104 w 211"/>
                  <a:gd name="T57" fmla="*/ 212 h 299"/>
                  <a:gd name="T58" fmla="*/ 116 w 211"/>
                  <a:gd name="T59" fmla="*/ 215 h 299"/>
                  <a:gd name="T60" fmla="*/ 107 w 211"/>
                  <a:gd name="T61" fmla="*/ 205 h 299"/>
                  <a:gd name="T62" fmla="*/ 116 w 211"/>
                  <a:gd name="T63" fmla="*/ 194 h 299"/>
                  <a:gd name="T64" fmla="*/ 136 w 211"/>
                  <a:gd name="T65" fmla="*/ 166 h 299"/>
                  <a:gd name="T66" fmla="*/ 135 w 211"/>
                  <a:gd name="T67" fmla="*/ 154 h 299"/>
                  <a:gd name="T68" fmla="*/ 157 w 211"/>
                  <a:gd name="T69" fmla="*/ 36 h 299"/>
                  <a:gd name="T70" fmla="*/ 202 w 211"/>
                  <a:gd name="T71" fmla="*/ 69 h 299"/>
                  <a:gd name="T72" fmla="*/ 180 w 211"/>
                  <a:gd name="T73" fmla="*/ 76 h 299"/>
                  <a:gd name="T74" fmla="*/ 166 w 211"/>
                  <a:gd name="T75" fmla="*/ 66 h 299"/>
                  <a:gd name="T76" fmla="*/ 157 w 211"/>
                  <a:gd name="T77" fmla="*/ 47 h 299"/>
                  <a:gd name="T78" fmla="*/ 157 w 211"/>
                  <a:gd name="T79" fmla="*/ 61 h 299"/>
                  <a:gd name="T80" fmla="*/ 144 w 211"/>
                  <a:gd name="T81" fmla="*/ 54 h 299"/>
                  <a:gd name="T82" fmla="*/ 141 w 211"/>
                  <a:gd name="T83" fmla="*/ 32 h 299"/>
                  <a:gd name="T84" fmla="*/ 139 w 211"/>
                  <a:gd name="T85" fmla="*/ 21 h 299"/>
                  <a:gd name="T86" fmla="*/ 129 w 211"/>
                  <a:gd name="T87" fmla="*/ 13 h 299"/>
                  <a:gd name="T88" fmla="*/ 119 w 211"/>
                  <a:gd name="T89" fmla="*/ 11 h 299"/>
                  <a:gd name="T90" fmla="*/ 114 w 211"/>
                  <a:gd name="T91" fmla="*/ 8 h 299"/>
                  <a:gd name="T92" fmla="*/ 121 w 211"/>
                  <a:gd name="T93" fmla="*/ 24 h 299"/>
                  <a:gd name="T94" fmla="*/ 132 w 211"/>
                  <a:gd name="T95" fmla="*/ 38 h 299"/>
                  <a:gd name="T96" fmla="*/ 132 w 211"/>
                  <a:gd name="T97" fmla="*/ 35 h 299"/>
                  <a:gd name="T98" fmla="*/ 139 w 211"/>
                  <a:gd name="T99" fmla="*/ 43 h 299"/>
                  <a:gd name="T100" fmla="*/ 141 w 211"/>
                  <a:gd name="T101" fmla="*/ 55 h 299"/>
                  <a:gd name="T102" fmla="*/ 143 w 211"/>
                  <a:gd name="T103" fmla="*/ 58 h 299"/>
                  <a:gd name="T104" fmla="*/ 147 w 211"/>
                  <a:gd name="T105" fmla="*/ 76 h 299"/>
                  <a:gd name="T106" fmla="*/ 138 w 211"/>
                  <a:gd name="T107" fmla="*/ 101 h 299"/>
                  <a:gd name="T108" fmla="*/ 135 w 211"/>
                  <a:gd name="T109" fmla="*/ 113 h 299"/>
                  <a:gd name="T110" fmla="*/ 152 w 211"/>
                  <a:gd name="T111" fmla="*/ 138 h 299"/>
                  <a:gd name="T112" fmla="*/ 146 w 211"/>
                  <a:gd name="T113" fmla="*/ 152 h 299"/>
                  <a:gd name="T114" fmla="*/ 154 w 211"/>
                  <a:gd name="T115" fmla="*/ 160 h 299"/>
                  <a:gd name="T116" fmla="*/ 174 w 211"/>
                  <a:gd name="T117" fmla="*/ 138 h 299"/>
                  <a:gd name="T118" fmla="*/ 183 w 211"/>
                  <a:gd name="T119" fmla="*/ 108 h 299"/>
                  <a:gd name="T120" fmla="*/ 200 w 211"/>
                  <a:gd name="T121" fmla="*/ 107 h 299"/>
                  <a:gd name="T122" fmla="*/ 208 w 211"/>
                  <a:gd name="T123" fmla="*/ 8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1" h="299">
                    <a:moveTo>
                      <a:pt x="30" y="292"/>
                    </a:moveTo>
                    <a:lnTo>
                      <a:pt x="30" y="293"/>
                    </a:lnTo>
                    <a:lnTo>
                      <a:pt x="28" y="292"/>
                    </a:lnTo>
                    <a:lnTo>
                      <a:pt x="27" y="292"/>
                    </a:lnTo>
                    <a:lnTo>
                      <a:pt x="27" y="290"/>
                    </a:lnTo>
                    <a:lnTo>
                      <a:pt x="28" y="290"/>
                    </a:lnTo>
                    <a:lnTo>
                      <a:pt x="28" y="288"/>
                    </a:lnTo>
                    <a:lnTo>
                      <a:pt x="25" y="285"/>
                    </a:lnTo>
                    <a:lnTo>
                      <a:pt x="22" y="285"/>
                    </a:lnTo>
                    <a:lnTo>
                      <a:pt x="22" y="287"/>
                    </a:lnTo>
                    <a:lnTo>
                      <a:pt x="24" y="290"/>
                    </a:lnTo>
                    <a:lnTo>
                      <a:pt x="22" y="292"/>
                    </a:lnTo>
                    <a:lnTo>
                      <a:pt x="22" y="293"/>
                    </a:lnTo>
                    <a:lnTo>
                      <a:pt x="21" y="293"/>
                    </a:lnTo>
                    <a:lnTo>
                      <a:pt x="21" y="295"/>
                    </a:lnTo>
                    <a:lnTo>
                      <a:pt x="21" y="296"/>
                    </a:lnTo>
                    <a:lnTo>
                      <a:pt x="19" y="298"/>
                    </a:lnTo>
                    <a:lnTo>
                      <a:pt x="18" y="299"/>
                    </a:lnTo>
                    <a:lnTo>
                      <a:pt x="19" y="299"/>
                    </a:lnTo>
                    <a:lnTo>
                      <a:pt x="21" y="299"/>
                    </a:lnTo>
                    <a:lnTo>
                      <a:pt x="22" y="298"/>
                    </a:lnTo>
                    <a:lnTo>
                      <a:pt x="24" y="298"/>
                    </a:lnTo>
                    <a:lnTo>
                      <a:pt x="25" y="298"/>
                    </a:lnTo>
                    <a:lnTo>
                      <a:pt x="27" y="296"/>
                    </a:lnTo>
                    <a:lnTo>
                      <a:pt x="30" y="295"/>
                    </a:lnTo>
                    <a:lnTo>
                      <a:pt x="30" y="295"/>
                    </a:lnTo>
                    <a:lnTo>
                      <a:pt x="32" y="293"/>
                    </a:lnTo>
                    <a:lnTo>
                      <a:pt x="30" y="292"/>
                    </a:lnTo>
                    <a:close/>
                    <a:moveTo>
                      <a:pt x="5" y="259"/>
                    </a:moveTo>
                    <a:lnTo>
                      <a:pt x="3" y="257"/>
                    </a:lnTo>
                    <a:lnTo>
                      <a:pt x="2" y="259"/>
                    </a:lnTo>
                    <a:lnTo>
                      <a:pt x="0" y="260"/>
                    </a:lnTo>
                    <a:lnTo>
                      <a:pt x="2" y="260"/>
                    </a:lnTo>
                    <a:lnTo>
                      <a:pt x="2" y="260"/>
                    </a:lnTo>
                    <a:lnTo>
                      <a:pt x="3" y="260"/>
                    </a:lnTo>
                    <a:lnTo>
                      <a:pt x="3" y="260"/>
                    </a:lnTo>
                    <a:lnTo>
                      <a:pt x="3" y="260"/>
                    </a:lnTo>
                    <a:lnTo>
                      <a:pt x="5" y="260"/>
                    </a:lnTo>
                    <a:lnTo>
                      <a:pt x="5" y="259"/>
                    </a:lnTo>
                    <a:lnTo>
                      <a:pt x="5" y="259"/>
                    </a:lnTo>
                    <a:close/>
                    <a:moveTo>
                      <a:pt x="8" y="246"/>
                    </a:moveTo>
                    <a:lnTo>
                      <a:pt x="8" y="246"/>
                    </a:lnTo>
                    <a:lnTo>
                      <a:pt x="7" y="248"/>
                    </a:lnTo>
                    <a:lnTo>
                      <a:pt x="8" y="249"/>
                    </a:lnTo>
                    <a:lnTo>
                      <a:pt x="10" y="249"/>
                    </a:lnTo>
                    <a:lnTo>
                      <a:pt x="8" y="246"/>
                    </a:lnTo>
                    <a:close/>
                    <a:moveTo>
                      <a:pt x="130" y="141"/>
                    </a:moveTo>
                    <a:lnTo>
                      <a:pt x="130" y="141"/>
                    </a:lnTo>
                    <a:lnTo>
                      <a:pt x="129" y="141"/>
                    </a:lnTo>
                    <a:lnTo>
                      <a:pt x="129" y="144"/>
                    </a:lnTo>
                    <a:lnTo>
                      <a:pt x="129" y="144"/>
                    </a:lnTo>
                    <a:lnTo>
                      <a:pt x="130" y="143"/>
                    </a:lnTo>
                    <a:lnTo>
                      <a:pt x="132" y="141"/>
                    </a:lnTo>
                    <a:lnTo>
                      <a:pt x="132" y="140"/>
                    </a:lnTo>
                    <a:lnTo>
                      <a:pt x="130" y="141"/>
                    </a:lnTo>
                    <a:close/>
                    <a:moveTo>
                      <a:pt x="136" y="151"/>
                    </a:moveTo>
                    <a:lnTo>
                      <a:pt x="135" y="152"/>
                    </a:lnTo>
                    <a:lnTo>
                      <a:pt x="133" y="152"/>
                    </a:lnTo>
                    <a:lnTo>
                      <a:pt x="133" y="152"/>
                    </a:lnTo>
                    <a:lnTo>
                      <a:pt x="135" y="151"/>
                    </a:lnTo>
                    <a:lnTo>
                      <a:pt x="136" y="149"/>
                    </a:lnTo>
                    <a:lnTo>
                      <a:pt x="136" y="148"/>
                    </a:lnTo>
                    <a:lnTo>
                      <a:pt x="138" y="148"/>
                    </a:lnTo>
                    <a:lnTo>
                      <a:pt x="136" y="148"/>
                    </a:lnTo>
                    <a:lnTo>
                      <a:pt x="135" y="146"/>
                    </a:lnTo>
                    <a:lnTo>
                      <a:pt x="135" y="146"/>
                    </a:lnTo>
                    <a:lnTo>
                      <a:pt x="133" y="146"/>
                    </a:lnTo>
                    <a:lnTo>
                      <a:pt x="133" y="146"/>
                    </a:lnTo>
                    <a:lnTo>
                      <a:pt x="132" y="146"/>
                    </a:lnTo>
                    <a:lnTo>
                      <a:pt x="132" y="148"/>
                    </a:lnTo>
                    <a:lnTo>
                      <a:pt x="132" y="148"/>
                    </a:lnTo>
                    <a:lnTo>
                      <a:pt x="132" y="149"/>
                    </a:lnTo>
                    <a:lnTo>
                      <a:pt x="130" y="151"/>
                    </a:lnTo>
                    <a:lnTo>
                      <a:pt x="130" y="151"/>
                    </a:lnTo>
                    <a:lnTo>
                      <a:pt x="130" y="152"/>
                    </a:lnTo>
                    <a:lnTo>
                      <a:pt x="129" y="152"/>
                    </a:lnTo>
                    <a:lnTo>
                      <a:pt x="130" y="151"/>
                    </a:lnTo>
                    <a:lnTo>
                      <a:pt x="130" y="149"/>
                    </a:lnTo>
                    <a:lnTo>
                      <a:pt x="130" y="148"/>
                    </a:lnTo>
                    <a:lnTo>
                      <a:pt x="130" y="148"/>
                    </a:lnTo>
                    <a:lnTo>
                      <a:pt x="130" y="146"/>
                    </a:lnTo>
                    <a:lnTo>
                      <a:pt x="132" y="146"/>
                    </a:lnTo>
                    <a:lnTo>
                      <a:pt x="132" y="144"/>
                    </a:lnTo>
                    <a:lnTo>
                      <a:pt x="132" y="144"/>
                    </a:lnTo>
                    <a:lnTo>
                      <a:pt x="130" y="146"/>
                    </a:lnTo>
                    <a:lnTo>
                      <a:pt x="129" y="146"/>
                    </a:lnTo>
                    <a:lnTo>
                      <a:pt x="127" y="146"/>
                    </a:lnTo>
                    <a:lnTo>
                      <a:pt x="124" y="149"/>
                    </a:lnTo>
                    <a:lnTo>
                      <a:pt x="122" y="151"/>
                    </a:lnTo>
                    <a:lnTo>
                      <a:pt x="121" y="151"/>
                    </a:lnTo>
                    <a:lnTo>
                      <a:pt x="118" y="154"/>
                    </a:lnTo>
                    <a:lnTo>
                      <a:pt x="116" y="152"/>
                    </a:lnTo>
                    <a:lnTo>
                      <a:pt x="116" y="151"/>
                    </a:lnTo>
                    <a:lnTo>
                      <a:pt x="114" y="148"/>
                    </a:lnTo>
                    <a:lnTo>
                      <a:pt x="114" y="146"/>
                    </a:lnTo>
                    <a:lnTo>
                      <a:pt x="114" y="143"/>
                    </a:lnTo>
                    <a:lnTo>
                      <a:pt x="111" y="143"/>
                    </a:lnTo>
                    <a:lnTo>
                      <a:pt x="110" y="141"/>
                    </a:lnTo>
                    <a:lnTo>
                      <a:pt x="110" y="140"/>
                    </a:lnTo>
                    <a:lnTo>
                      <a:pt x="110" y="138"/>
                    </a:lnTo>
                    <a:lnTo>
                      <a:pt x="110" y="137"/>
                    </a:lnTo>
                    <a:lnTo>
                      <a:pt x="110" y="137"/>
                    </a:lnTo>
                    <a:lnTo>
                      <a:pt x="113" y="135"/>
                    </a:lnTo>
                    <a:lnTo>
                      <a:pt x="111" y="135"/>
                    </a:lnTo>
                    <a:lnTo>
                      <a:pt x="110" y="135"/>
                    </a:lnTo>
                    <a:lnTo>
                      <a:pt x="108" y="135"/>
                    </a:lnTo>
                    <a:lnTo>
                      <a:pt x="105" y="138"/>
                    </a:lnTo>
                    <a:lnTo>
                      <a:pt x="102" y="141"/>
                    </a:lnTo>
                    <a:lnTo>
                      <a:pt x="99" y="146"/>
                    </a:lnTo>
                    <a:lnTo>
                      <a:pt x="99" y="151"/>
                    </a:lnTo>
                    <a:lnTo>
                      <a:pt x="97" y="157"/>
                    </a:lnTo>
                    <a:lnTo>
                      <a:pt x="96" y="159"/>
                    </a:lnTo>
                    <a:lnTo>
                      <a:pt x="94" y="162"/>
                    </a:lnTo>
                    <a:lnTo>
                      <a:pt x="93" y="163"/>
                    </a:lnTo>
                    <a:lnTo>
                      <a:pt x="91" y="163"/>
                    </a:lnTo>
                    <a:lnTo>
                      <a:pt x="88" y="165"/>
                    </a:lnTo>
                    <a:lnTo>
                      <a:pt x="88" y="165"/>
                    </a:lnTo>
                    <a:lnTo>
                      <a:pt x="86" y="169"/>
                    </a:lnTo>
                    <a:lnTo>
                      <a:pt x="85" y="171"/>
                    </a:lnTo>
                    <a:lnTo>
                      <a:pt x="85" y="174"/>
                    </a:lnTo>
                    <a:lnTo>
                      <a:pt x="85" y="177"/>
                    </a:lnTo>
                    <a:lnTo>
                      <a:pt x="83" y="179"/>
                    </a:lnTo>
                    <a:lnTo>
                      <a:pt x="85" y="180"/>
                    </a:lnTo>
                    <a:lnTo>
                      <a:pt x="85" y="180"/>
                    </a:lnTo>
                    <a:lnTo>
                      <a:pt x="83" y="180"/>
                    </a:lnTo>
                    <a:lnTo>
                      <a:pt x="83" y="180"/>
                    </a:lnTo>
                    <a:lnTo>
                      <a:pt x="83" y="182"/>
                    </a:lnTo>
                    <a:lnTo>
                      <a:pt x="80" y="187"/>
                    </a:lnTo>
                    <a:lnTo>
                      <a:pt x="80" y="188"/>
                    </a:lnTo>
                    <a:lnTo>
                      <a:pt x="80" y="190"/>
                    </a:lnTo>
                    <a:lnTo>
                      <a:pt x="80" y="191"/>
                    </a:lnTo>
                    <a:lnTo>
                      <a:pt x="80" y="190"/>
                    </a:lnTo>
                    <a:lnTo>
                      <a:pt x="80" y="188"/>
                    </a:lnTo>
                    <a:lnTo>
                      <a:pt x="79" y="187"/>
                    </a:lnTo>
                    <a:lnTo>
                      <a:pt x="77" y="190"/>
                    </a:lnTo>
                    <a:lnTo>
                      <a:pt x="75" y="191"/>
                    </a:lnTo>
                    <a:lnTo>
                      <a:pt x="74" y="193"/>
                    </a:lnTo>
                    <a:lnTo>
                      <a:pt x="74" y="194"/>
                    </a:lnTo>
                    <a:lnTo>
                      <a:pt x="74" y="193"/>
                    </a:lnTo>
                    <a:lnTo>
                      <a:pt x="72" y="193"/>
                    </a:lnTo>
                    <a:lnTo>
                      <a:pt x="71" y="194"/>
                    </a:lnTo>
                    <a:lnTo>
                      <a:pt x="71" y="194"/>
                    </a:lnTo>
                    <a:lnTo>
                      <a:pt x="72" y="196"/>
                    </a:lnTo>
                    <a:lnTo>
                      <a:pt x="71" y="194"/>
                    </a:lnTo>
                    <a:lnTo>
                      <a:pt x="69" y="194"/>
                    </a:lnTo>
                    <a:lnTo>
                      <a:pt x="68" y="194"/>
                    </a:lnTo>
                    <a:lnTo>
                      <a:pt x="68" y="196"/>
                    </a:lnTo>
                    <a:lnTo>
                      <a:pt x="68" y="196"/>
                    </a:lnTo>
                    <a:lnTo>
                      <a:pt x="69" y="198"/>
                    </a:lnTo>
                    <a:lnTo>
                      <a:pt x="68" y="198"/>
                    </a:lnTo>
                    <a:lnTo>
                      <a:pt x="68" y="198"/>
                    </a:lnTo>
                    <a:lnTo>
                      <a:pt x="66" y="198"/>
                    </a:lnTo>
                    <a:lnTo>
                      <a:pt x="64" y="199"/>
                    </a:lnTo>
                    <a:lnTo>
                      <a:pt x="64" y="199"/>
                    </a:lnTo>
                    <a:lnTo>
                      <a:pt x="63" y="199"/>
                    </a:lnTo>
                    <a:lnTo>
                      <a:pt x="61" y="202"/>
                    </a:lnTo>
                    <a:lnTo>
                      <a:pt x="60" y="204"/>
                    </a:lnTo>
                    <a:lnTo>
                      <a:pt x="60" y="204"/>
                    </a:lnTo>
                    <a:lnTo>
                      <a:pt x="60" y="205"/>
                    </a:lnTo>
                    <a:lnTo>
                      <a:pt x="58" y="204"/>
                    </a:lnTo>
                    <a:lnTo>
                      <a:pt x="58" y="205"/>
                    </a:lnTo>
                    <a:lnTo>
                      <a:pt x="58" y="207"/>
                    </a:lnTo>
                    <a:lnTo>
                      <a:pt x="58" y="207"/>
                    </a:lnTo>
                    <a:lnTo>
                      <a:pt x="55" y="209"/>
                    </a:lnTo>
                    <a:lnTo>
                      <a:pt x="53" y="209"/>
                    </a:lnTo>
                    <a:lnTo>
                      <a:pt x="50" y="210"/>
                    </a:lnTo>
                    <a:lnTo>
                      <a:pt x="47" y="212"/>
                    </a:lnTo>
                    <a:lnTo>
                      <a:pt x="47" y="213"/>
                    </a:lnTo>
                    <a:lnTo>
                      <a:pt x="47" y="216"/>
                    </a:lnTo>
                    <a:lnTo>
                      <a:pt x="47" y="215"/>
                    </a:lnTo>
                    <a:lnTo>
                      <a:pt x="46" y="215"/>
                    </a:lnTo>
                    <a:lnTo>
                      <a:pt x="44" y="215"/>
                    </a:lnTo>
                    <a:lnTo>
                      <a:pt x="41" y="218"/>
                    </a:lnTo>
                    <a:lnTo>
                      <a:pt x="39" y="218"/>
                    </a:lnTo>
                    <a:lnTo>
                      <a:pt x="38" y="216"/>
                    </a:lnTo>
                    <a:lnTo>
                      <a:pt x="35" y="218"/>
                    </a:lnTo>
                    <a:lnTo>
                      <a:pt x="33" y="220"/>
                    </a:lnTo>
                    <a:lnTo>
                      <a:pt x="30" y="223"/>
                    </a:lnTo>
                    <a:lnTo>
                      <a:pt x="27" y="226"/>
                    </a:lnTo>
                    <a:lnTo>
                      <a:pt x="24" y="230"/>
                    </a:lnTo>
                    <a:lnTo>
                      <a:pt x="24" y="232"/>
                    </a:lnTo>
                    <a:lnTo>
                      <a:pt x="25" y="234"/>
                    </a:lnTo>
                    <a:lnTo>
                      <a:pt x="25" y="234"/>
                    </a:lnTo>
                    <a:lnTo>
                      <a:pt x="24" y="234"/>
                    </a:lnTo>
                    <a:lnTo>
                      <a:pt x="22" y="232"/>
                    </a:lnTo>
                    <a:lnTo>
                      <a:pt x="21" y="234"/>
                    </a:lnTo>
                    <a:lnTo>
                      <a:pt x="19" y="235"/>
                    </a:lnTo>
                    <a:lnTo>
                      <a:pt x="18" y="237"/>
                    </a:lnTo>
                    <a:lnTo>
                      <a:pt x="18" y="237"/>
                    </a:lnTo>
                    <a:lnTo>
                      <a:pt x="18" y="238"/>
                    </a:lnTo>
                    <a:lnTo>
                      <a:pt x="18" y="240"/>
                    </a:lnTo>
                    <a:lnTo>
                      <a:pt x="18" y="240"/>
                    </a:lnTo>
                    <a:lnTo>
                      <a:pt x="18" y="241"/>
                    </a:lnTo>
                    <a:lnTo>
                      <a:pt x="16" y="238"/>
                    </a:lnTo>
                    <a:lnTo>
                      <a:pt x="13" y="241"/>
                    </a:lnTo>
                    <a:lnTo>
                      <a:pt x="11" y="243"/>
                    </a:lnTo>
                    <a:lnTo>
                      <a:pt x="13" y="243"/>
                    </a:lnTo>
                    <a:lnTo>
                      <a:pt x="13" y="245"/>
                    </a:lnTo>
                    <a:lnTo>
                      <a:pt x="13" y="245"/>
                    </a:lnTo>
                    <a:lnTo>
                      <a:pt x="11" y="243"/>
                    </a:lnTo>
                    <a:lnTo>
                      <a:pt x="10" y="246"/>
                    </a:lnTo>
                    <a:lnTo>
                      <a:pt x="10" y="246"/>
                    </a:lnTo>
                    <a:lnTo>
                      <a:pt x="10" y="248"/>
                    </a:lnTo>
                    <a:lnTo>
                      <a:pt x="11" y="249"/>
                    </a:lnTo>
                    <a:lnTo>
                      <a:pt x="13" y="249"/>
                    </a:lnTo>
                    <a:lnTo>
                      <a:pt x="13" y="249"/>
                    </a:lnTo>
                    <a:lnTo>
                      <a:pt x="11" y="249"/>
                    </a:lnTo>
                    <a:lnTo>
                      <a:pt x="11" y="251"/>
                    </a:lnTo>
                    <a:lnTo>
                      <a:pt x="11" y="251"/>
                    </a:lnTo>
                    <a:lnTo>
                      <a:pt x="11" y="252"/>
                    </a:lnTo>
                    <a:lnTo>
                      <a:pt x="10" y="252"/>
                    </a:lnTo>
                    <a:lnTo>
                      <a:pt x="8" y="249"/>
                    </a:lnTo>
                    <a:lnTo>
                      <a:pt x="7" y="249"/>
                    </a:lnTo>
                    <a:lnTo>
                      <a:pt x="7" y="251"/>
                    </a:lnTo>
                    <a:lnTo>
                      <a:pt x="8" y="252"/>
                    </a:lnTo>
                    <a:lnTo>
                      <a:pt x="5" y="252"/>
                    </a:lnTo>
                    <a:lnTo>
                      <a:pt x="5" y="254"/>
                    </a:lnTo>
                    <a:lnTo>
                      <a:pt x="5" y="256"/>
                    </a:lnTo>
                    <a:lnTo>
                      <a:pt x="7" y="256"/>
                    </a:lnTo>
                    <a:lnTo>
                      <a:pt x="8" y="256"/>
                    </a:lnTo>
                    <a:lnTo>
                      <a:pt x="7" y="257"/>
                    </a:lnTo>
                    <a:lnTo>
                      <a:pt x="5" y="259"/>
                    </a:lnTo>
                    <a:lnTo>
                      <a:pt x="5" y="260"/>
                    </a:lnTo>
                    <a:lnTo>
                      <a:pt x="10" y="260"/>
                    </a:lnTo>
                    <a:lnTo>
                      <a:pt x="8" y="260"/>
                    </a:lnTo>
                    <a:lnTo>
                      <a:pt x="7" y="262"/>
                    </a:lnTo>
                    <a:lnTo>
                      <a:pt x="0" y="262"/>
                    </a:lnTo>
                    <a:lnTo>
                      <a:pt x="0" y="263"/>
                    </a:lnTo>
                    <a:lnTo>
                      <a:pt x="0" y="265"/>
                    </a:lnTo>
                    <a:lnTo>
                      <a:pt x="0" y="266"/>
                    </a:lnTo>
                    <a:lnTo>
                      <a:pt x="2" y="266"/>
                    </a:lnTo>
                    <a:lnTo>
                      <a:pt x="3" y="265"/>
                    </a:lnTo>
                    <a:lnTo>
                      <a:pt x="5" y="265"/>
                    </a:lnTo>
                    <a:lnTo>
                      <a:pt x="3" y="266"/>
                    </a:lnTo>
                    <a:lnTo>
                      <a:pt x="3" y="268"/>
                    </a:lnTo>
                    <a:lnTo>
                      <a:pt x="5" y="268"/>
                    </a:lnTo>
                    <a:lnTo>
                      <a:pt x="7" y="266"/>
                    </a:lnTo>
                    <a:lnTo>
                      <a:pt x="8" y="266"/>
                    </a:lnTo>
                    <a:lnTo>
                      <a:pt x="3" y="271"/>
                    </a:lnTo>
                    <a:lnTo>
                      <a:pt x="5" y="273"/>
                    </a:lnTo>
                    <a:lnTo>
                      <a:pt x="7" y="273"/>
                    </a:lnTo>
                    <a:lnTo>
                      <a:pt x="11" y="274"/>
                    </a:lnTo>
                    <a:lnTo>
                      <a:pt x="16" y="273"/>
                    </a:lnTo>
                    <a:lnTo>
                      <a:pt x="16" y="273"/>
                    </a:lnTo>
                    <a:lnTo>
                      <a:pt x="18" y="271"/>
                    </a:lnTo>
                    <a:lnTo>
                      <a:pt x="19" y="271"/>
                    </a:lnTo>
                    <a:lnTo>
                      <a:pt x="21" y="273"/>
                    </a:lnTo>
                    <a:lnTo>
                      <a:pt x="22" y="273"/>
                    </a:lnTo>
                    <a:lnTo>
                      <a:pt x="24" y="276"/>
                    </a:lnTo>
                    <a:lnTo>
                      <a:pt x="25" y="276"/>
                    </a:lnTo>
                    <a:lnTo>
                      <a:pt x="28" y="276"/>
                    </a:lnTo>
                    <a:lnTo>
                      <a:pt x="30" y="276"/>
                    </a:lnTo>
                    <a:lnTo>
                      <a:pt x="30" y="277"/>
                    </a:lnTo>
                    <a:lnTo>
                      <a:pt x="32" y="277"/>
                    </a:lnTo>
                    <a:lnTo>
                      <a:pt x="32" y="279"/>
                    </a:lnTo>
                    <a:lnTo>
                      <a:pt x="33" y="279"/>
                    </a:lnTo>
                    <a:lnTo>
                      <a:pt x="32" y="281"/>
                    </a:lnTo>
                    <a:lnTo>
                      <a:pt x="33" y="282"/>
                    </a:lnTo>
                    <a:lnTo>
                      <a:pt x="33" y="282"/>
                    </a:lnTo>
                    <a:lnTo>
                      <a:pt x="35" y="282"/>
                    </a:lnTo>
                    <a:lnTo>
                      <a:pt x="36" y="282"/>
                    </a:lnTo>
                    <a:lnTo>
                      <a:pt x="38" y="282"/>
                    </a:lnTo>
                    <a:lnTo>
                      <a:pt x="39" y="282"/>
                    </a:lnTo>
                    <a:lnTo>
                      <a:pt x="41" y="282"/>
                    </a:lnTo>
                    <a:lnTo>
                      <a:pt x="44" y="282"/>
                    </a:lnTo>
                    <a:lnTo>
                      <a:pt x="46" y="284"/>
                    </a:lnTo>
                    <a:lnTo>
                      <a:pt x="50" y="284"/>
                    </a:lnTo>
                    <a:lnTo>
                      <a:pt x="57" y="281"/>
                    </a:lnTo>
                    <a:lnTo>
                      <a:pt x="57" y="281"/>
                    </a:lnTo>
                    <a:lnTo>
                      <a:pt x="58" y="279"/>
                    </a:lnTo>
                    <a:lnTo>
                      <a:pt x="60" y="276"/>
                    </a:lnTo>
                    <a:lnTo>
                      <a:pt x="64" y="271"/>
                    </a:lnTo>
                    <a:lnTo>
                      <a:pt x="66" y="270"/>
                    </a:lnTo>
                    <a:lnTo>
                      <a:pt x="68" y="266"/>
                    </a:lnTo>
                    <a:lnTo>
                      <a:pt x="69" y="266"/>
                    </a:lnTo>
                    <a:lnTo>
                      <a:pt x="74" y="265"/>
                    </a:lnTo>
                    <a:lnTo>
                      <a:pt x="74" y="265"/>
                    </a:lnTo>
                    <a:lnTo>
                      <a:pt x="75" y="263"/>
                    </a:lnTo>
                    <a:lnTo>
                      <a:pt x="75" y="263"/>
                    </a:lnTo>
                    <a:lnTo>
                      <a:pt x="75" y="262"/>
                    </a:lnTo>
                    <a:lnTo>
                      <a:pt x="75" y="262"/>
                    </a:lnTo>
                    <a:lnTo>
                      <a:pt x="74" y="260"/>
                    </a:lnTo>
                    <a:lnTo>
                      <a:pt x="74" y="259"/>
                    </a:lnTo>
                    <a:lnTo>
                      <a:pt x="75" y="256"/>
                    </a:lnTo>
                    <a:lnTo>
                      <a:pt x="77" y="251"/>
                    </a:lnTo>
                    <a:lnTo>
                      <a:pt x="79" y="248"/>
                    </a:lnTo>
                    <a:lnTo>
                      <a:pt x="79" y="246"/>
                    </a:lnTo>
                    <a:lnTo>
                      <a:pt x="82" y="243"/>
                    </a:lnTo>
                    <a:lnTo>
                      <a:pt x="82" y="241"/>
                    </a:lnTo>
                    <a:lnTo>
                      <a:pt x="80" y="241"/>
                    </a:lnTo>
                    <a:lnTo>
                      <a:pt x="79" y="240"/>
                    </a:lnTo>
                    <a:lnTo>
                      <a:pt x="82" y="240"/>
                    </a:lnTo>
                    <a:lnTo>
                      <a:pt x="83" y="237"/>
                    </a:lnTo>
                    <a:lnTo>
                      <a:pt x="83" y="232"/>
                    </a:lnTo>
                    <a:lnTo>
                      <a:pt x="83" y="230"/>
                    </a:lnTo>
                    <a:lnTo>
                      <a:pt x="85" y="226"/>
                    </a:lnTo>
                    <a:lnTo>
                      <a:pt x="85" y="224"/>
                    </a:lnTo>
                    <a:lnTo>
                      <a:pt x="83" y="224"/>
                    </a:lnTo>
                    <a:lnTo>
                      <a:pt x="86" y="224"/>
                    </a:lnTo>
                    <a:lnTo>
                      <a:pt x="86" y="223"/>
                    </a:lnTo>
                    <a:lnTo>
                      <a:pt x="86" y="221"/>
                    </a:lnTo>
                    <a:lnTo>
                      <a:pt x="88" y="221"/>
                    </a:lnTo>
                    <a:lnTo>
                      <a:pt x="91" y="221"/>
                    </a:lnTo>
                    <a:lnTo>
                      <a:pt x="91" y="220"/>
                    </a:lnTo>
                    <a:lnTo>
                      <a:pt x="94" y="218"/>
                    </a:lnTo>
                    <a:lnTo>
                      <a:pt x="94" y="218"/>
                    </a:lnTo>
                    <a:lnTo>
                      <a:pt x="96" y="218"/>
                    </a:lnTo>
                    <a:lnTo>
                      <a:pt x="99" y="216"/>
                    </a:lnTo>
                    <a:lnTo>
                      <a:pt x="100" y="215"/>
                    </a:lnTo>
                    <a:lnTo>
                      <a:pt x="99" y="213"/>
                    </a:lnTo>
                    <a:lnTo>
                      <a:pt x="97" y="212"/>
                    </a:lnTo>
                    <a:lnTo>
                      <a:pt x="97" y="210"/>
                    </a:lnTo>
                    <a:lnTo>
                      <a:pt x="99" y="212"/>
                    </a:lnTo>
                    <a:lnTo>
                      <a:pt x="100" y="213"/>
                    </a:lnTo>
                    <a:lnTo>
                      <a:pt x="102" y="215"/>
                    </a:lnTo>
                    <a:lnTo>
                      <a:pt x="104" y="215"/>
                    </a:lnTo>
                    <a:lnTo>
                      <a:pt x="104" y="213"/>
                    </a:lnTo>
                    <a:lnTo>
                      <a:pt x="104" y="212"/>
                    </a:lnTo>
                    <a:lnTo>
                      <a:pt x="104" y="212"/>
                    </a:lnTo>
                    <a:lnTo>
                      <a:pt x="105" y="212"/>
                    </a:lnTo>
                    <a:lnTo>
                      <a:pt x="107" y="212"/>
                    </a:lnTo>
                    <a:lnTo>
                      <a:pt x="107" y="212"/>
                    </a:lnTo>
                    <a:lnTo>
                      <a:pt x="105" y="213"/>
                    </a:lnTo>
                    <a:lnTo>
                      <a:pt x="105" y="213"/>
                    </a:lnTo>
                    <a:lnTo>
                      <a:pt x="107" y="213"/>
                    </a:lnTo>
                    <a:lnTo>
                      <a:pt x="110" y="213"/>
                    </a:lnTo>
                    <a:lnTo>
                      <a:pt x="111" y="215"/>
                    </a:lnTo>
                    <a:lnTo>
                      <a:pt x="113" y="215"/>
                    </a:lnTo>
                    <a:lnTo>
                      <a:pt x="114" y="215"/>
                    </a:lnTo>
                    <a:lnTo>
                      <a:pt x="116" y="215"/>
                    </a:lnTo>
                    <a:lnTo>
                      <a:pt x="116" y="213"/>
                    </a:lnTo>
                    <a:lnTo>
                      <a:pt x="116" y="213"/>
                    </a:lnTo>
                    <a:lnTo>
                      <a:pt x="116" y="210"/>
                    </a:lnTo>
                    <a:lnTo>
                      <a:pt x="116" y="210"/>
                    </a:lnTo>
                    <a:lnTo>
                      <a:pt x="113" y="210"/>
                    </a:lnTo>
                    <a:lnTo>
                      <a:pt x="111" y="209"/>
                    </a:lnTo>
                    <a:lnTo>
                      <a:pt x="110" y="207"/>
                    </a:lnTo>
                    <a:lnTo>
                      <a:pt x="110" y="205"/>
                    </a:lnTo>
                    <a:lnTo>
                      <a:pt x="110" y="205"/>
                    </a:lnTo>
                    <a:lnTo>
                      <a:pt x="108" y="204"/>
                    </a:lnTo>
                    <a:lnTo>
                      <a:pt x="107" y="205"/>
                    </a:lnTo>
                    <a:lnTo>
                      <a:pt x="107" y="204"/>
                    </a:lnTo>
                    <a:lnTo>
                      <a:pt x="108" y="204"/>
                    </a:lnTo>
                    <a:lnTo>
                      <a:pt x="110" y="204"/>
                    </a:lnTo>
                    <a:lnTo>
                      <a:pt x="110" y="202"/>
                    </a:lnTo>
                    <a:lnTo>
                      <a:pt x="108" y="201"/>
                    </a:lnTo>
                    <a:lnTo>
                      <a:pt x="108" y="201"/>
                    </a:lnTo>
                    <a:lnTo>
                      <a:pt x="108" y="201"/>
                    </a:lnTo>
                    <a:lnTo>
                      <a:pt x="110" y="199"/>
                    </a:lnTo>
                    <a:lnTo>
                      <a:pt x="111" y="198"/>
                    </a:lnTo>
                    <a:lnTo>
                      <a:pt x="113" y="196"/>
                    </a:lnTo>
                    <a:lnTo>
                      <a:pt x="116" y="194"/>
                    </a:lnTo>
                    <a:lnTo>
                      <a:pt x="118" y="194"/>
                    </a:lnTo>
                    <a:lnTo>
                      <a:pt x="118" y="193"/>
                    </a:lnTo>
                    <a:lnTo>
                      <a:pt x="121" y="190"/>
                    </a:lnTo>
                    <a:lnTo>
                      <a:pt x="124" y="182"/>
                    </a:lnTo>
                    <a:lnTo>
                      <a:pt x="125" y="180"/>
                    </a:lnTo>
                    <a:lnTo>
                      <a:pt x="129" y="176"/>
                    </a:lnTo>
                    <a:lnTo>
                      <a:pt x="130" y="174"/>
                    </a:lnTo>
                    <a:lnTo>
                      <a:pt x="130" y="173"/>
                    </a:lnTo>
                    <a:lnTo>
                      <a:pt x="132" y="171"/>
                    </a:lnTo>
                    <a:lnTo>
                      <a:pt x="133" y="169"/>
                    </a:lnTo>
                    <a:lnTo>
                      <a:pt x="136" y="166"/>
                    </a:lnTo>
                    <a:lnTo>
                      <a:pt x="136" y="165"/>
                    </a:lnTo>
                    <a:lnTo>
                      <a:pt x="136" y="163"/>
                    </a:lnTo>
                    <a:lnTo>
                      <a:pt x="136" y="162"/>
                    </a:lnTo>
                    <a:lnTo>
                      <a:pt x="135" y="162"/>
                    </a:lnTo>
                    <a:lnTo>
                      <a:pt x="133" y="162"/>
                    </a:lnTo>
                    <a:lnTo>
                      <a:pt x="135" y="160"/>
                    </a:lnTo>
                    <a:lnTo>
                      <a:pt x="133" y="159"/>
                    </a:lnTo>
                    <a:lnTo>
                      <a:pt x="133" y="157"/>
                    </a:lnTo>
                    <a:lnTo>
                      <a:pt x="133" y="157"/>
                    </a:lnTo>
                    <a:lnTo>
                      <a:pt x="133" y="155"/>
                    </a:lnTo>
                    <a:lnTo>
                      <a:pt x="135" y="154"/>
                    </a:lnTo>
                    <a:lnTo>
                      <a:pt x="136" y="154"/>
                    </a:lnTo>
                    <a:lnTo>
                      <a:pt x="136" y="152"/>
                    </a:lnTo>
                    <a:lnTo>
                      <a:pt x="138" y="151"/>
                    </a:lnTo>
                    <a:lnTo>
                      <a:pt x="138" y="149"/>
                    </a:lnTo>
                    <a:lnTo>
                      <a:pt x="136" y="151"/>
                    </a:lnTo>
                    <a:close/>
                    <a:moveTo>
                      <a:pt x="158" y="41"/>
                    </a:moveTo>
                    <a:lnTo>
                      <a:pt x="158" y="38"/>
                    </a:lnTo>
                    <a:lnTo>
                      <a:pt x="157" y="36"/>
                    </a:lnTo>
                    <a:lnTo>
                      <a:pt x="157" y="36"/>
                    </a:lnTo>
                    <a:lnTo>
                      <a:pt x="157" y="36"/>
                    </a:lnTo>
                    <a:lnTo>
                      <a:pt x="157" y="36"/>
                    </a:lnTo>
                    <a:lnTo>
                      <a:pt x="155" y="38"/>
                    </a:lnTo>
                    <a:lnTo>
                      <a:pt x="155" y="40"/>
                    </a:lnTo>
                    <a:lnTo>
                      <a:pt x="155" y="40"/>
                    </a:lnTo>
                    <a:lnTo>
                      <a:pt x="157" y="41"/>
                    </a:lnTo>
                    <a:lnTo>
                      <a:pt x="158" y="41"/>
                    </a:lnTo>
                    <a:lnTo>
                      <a:pt x="160" y="41"/>
                    </a:lnTo>
                    <a:lnTo>
                      <a:pt x="158" y="41"/>
                    </a:lnTo>
                    <a:close/>
                    <a:moveTo>
                      <a:pt x="210" y="71"/>
                    </a:moveTo>
                    <a:lnTo>
                      <a:pt x="208" y="69"/>
                    </a:lnTo>
                    <a:lnTo>
                      <a:pt x="207" y="69"/>
                    </a:lnTo>
                    <a:lnTo>
                      <a:pt x="202" y="69"/>
                    </a:lnTo>
                    <a:lnTo>
                      <a:pt x="202" y="69"/>
                    </a:lnTo>
                    <a:lnTo>
                      <a:pt x="200" y="69"/>
                    </a:lnTo>
                    <a:lnTo>
                      <a:pt x="199" y="71"/>
                    </a:lnTo>
                    <a:lnTo>
                      <a:pt x="197" y="72"/>
                    </a:lnTo>
                    <a:lnTo>
                      <a:pt x="196" y="74"/>
                    </a:lnTo>
                    <a:lnTo>
                      <a:pt x="194" y="76"/>
                    </a:lnTo>
                    <a:lnTo>
                      <a:pt x="193" y="77"/>
                    </a:lnTo>
                    <a:lnTo>
                      <a:pt x="191" y="79"/>
                    </a:lnTo>
                    <a:lnTo>
                      <a:pt x="190" y="79"/>
                    </a:lnTo>
                    <a:lnTo>
                      <a:pt x="188" y="79"/>
                    </a:lnTo>
                    <a:lnTo>
                      <a:pt x="180" y="76"/>
                    </a:lnTo>
                    <a:lnTo>
                      <a:pt x="177" y="74"/>
                    </a:lnTo>
                    <a:lnTo>
                      <a:pt x="172" y="71"/>
                    </a:lnTo>
                    <a:lnTo>
                      <a:pt x="171" y="71"/>
                    </a:lnTo>
                    <a:lnTo>
                      <a:pt x="171" y="71"/>
                    </a:lnTo>
                    <a:lnTo>
                      <a:pt x="169" y="71"/>
                    </a:lnTo>
                    <a:lnTo>
                      <a:pt x="168" y="69"/>
                    </a:lnTo>
                    <a:lnTo>
                      <a:pt x="168" y="69"/>
                    </a:lnTo>
                    <a:lnTo>
                      <a:pt x="168" y="69"/>
                    </a:lnTo>
                    <a:lnTo>
                      <a:pt x="169" y="69"/>
                    </a:lnTo>
                    <a:lnTo>
                      <a:pt x="169" y="68"/>
                    </a:lnTo>
                    <a:lnTo>
                      <a:pt x="166" y="66"/>
                    </a:lnTo>
                    <a:lnTo>
                      <a:pt x="166" y="61"/>
                    </a:lnTo>
                    <a:lnTo>
                      <a:pt x="165" y="55"/>
                    </a:lnTo>
                    <a:lnTo>
                      <a:pt x="165" y="54"/>
                    </a:lnTo>
                    <a:lnTo>
                      <a:pt x="163" y="52"/>
                    </a:lnTo>
                    <a:lnTo>
                      <a:pt x="163" y="51"/>
                    </a:lnTo>
                    <a:lnTo>
                      <a:pt x="161" y="51"/>
                    </a:lnTo>
                    <a:lnTo>
                      <a:pt x="158" y="47"/>
                    </a:lnTo>
                    <a:lnTo>
                      <a:pt x="158" y="46"/>
                    </a:lnTo>
                    <a:lnTo>
                      <a:pt x="158" y="44"/>
                    </a:lnTo>
                    <a:lnTo>
                      <a:pt x="157" y="46"/>
                    </a:lnTo>
                    <a:lnTo>
                      <a:pt x="157" y="47"/>
                    </a:lnTo>
                    <a:lnTo>
                      <a:pt x="157" y="47"/>
                    </a:lnTo>
                    <a:lnTo>
                      <a:pt x="157" y="49"/>
                    </a:lnTo>
                    <a:lnTo>
                      <a:pt x="158" y="49"/>
                    </a:lnTo>
                    <a:lnTo>
                      <a:pt x="158" y="51"/>
                    </a:lnTo>
                    <a:lnTo>
                      <a:pt x="158" y="52"/>
                    </a:lnTo>
                    <a:lnTo>
                      <a:pt x="158" y="54"/>
                    </a:lnTo>
                    <a:lnTo>
                      <a:pt x="160" y="57"/>
                    </a:lnTo>
                    <a:lnTo>
                      <a:pt x="160" y="60"/>
                    </a:lnTo>
                    <a:lnTo>
                      <a:pt x="158" y="61"/>
                    </a:lnTo>
                    <a:lnTo>
                      <a:pt x="158" y="61"/>
                    </a:lnTo>
                    <a:lnTo>
                      <a:pt x="157" y="61"/>
                    </a:lnTo>
                    <a:lnTo>
                      <a:pt x="155" y="60"/>
                    </a:lnTo>
                    <a:lnTo>
                      <a:pt x="155" y="57"/>
                    </a:lnTo>
                    <a:lnTo>
                      <a:pt x="155" y="57"/>
                    </a:lnTo>
                    <a:lnTo>
                      <a:pt x="154" y="55"/>
                    </a:lnTo>
                    <a:lnTo>
                      <a:pt x="150" y="55"/>
                    </a:lnTo>
                    <a:lnTo>
                      <a:pt x="149" y="54"/>
                    </a:lnTo>
                    <a:lnTo>
                      <a:pt x="147" y="54"/>
                    </a:lnTo>
                    <a:lnTo>
                      <a:pt x="147" y="54"/>
                    </a:lnTo>
                    <a:lnTo>
                      <a:pt x="147" y="54"/>
                    </a:lnTo>
                    <a:lnTo>
                      <a:pt x="146" y="54"/>
                    </a:lnTo>
                    <a:lnTo>
                      <a:pt x="144" y="54"/>
                    </a:lnTo>
                    <a:lnTo>
                      <a:pt x="144" y="52"/>
                    </a:lnTo>
                    <a:lnTo>
                      <a:pt x="146" y="52"/>
                    </a:lnTo>
                    <a:lnTo>
                      <a:pt x="146" y="49"/>
                    </a:lnTo>
                    <a:lnTo>
                      <a:pt x="146" y="47"/>
                    </a:lnTo>
                    <a:lnTo>
                      <a:pt x="146" y="46"/>
                    </a:lnTo>
                    <a:lnTo>
                      <a:pt x="146" y="44"/>
                    </a:lnTo>
                    <a:lnTo>
                      <a:pt x="146" y="43"/>
                    </a:lnTo>
                    <a:lnTo>
                      <a:pt x="146" y="41"/>
                    </a:lnTo>
                    <a:lnTo>
                      <a:pt x="143" y="36"/>
                    </a:lnTo>
                    <a:lnTo>
                      <a:pt x="141" y="35"/>
                    </a:lnTo>
                    <a:lnTo>
                      <a:pt x="141" y="32"/>
                    </a:lnTo>
                    <a:lnTo>
                      <a:pt x="139" y="30"/>
                    </a:lnTo>
                    <a:lnTo>
                      <a:pt x="139" y="30"/>
                    </a:lnTo>
                    <a:lnTo>
                      <a:pt x="141" y="30"/>
                    </a:lnTo>
                    <a:lnTo>
                      <a:pt x="143" y="30"/>
                    </a:lnTo>
                    <a:lnTo>
                      <a:pt x="141" y="27"/>
                    </a:lnTo>
                    <a:lnTo>
                      <a:pt x="141" y="27"/>
                    </a:lnTo>
                    <a:lnTo>
                      <a:pt x="141" y="25"/>
                    </a:lnTo>
                    <a:lnTo>
                      <a:pt x="139" y="22"/>
                    </a:lnTo>
                    <a:lnTo>
                      <a:pt x="139" y="22"/>
                    </a:lnTo>
                    <a:lnTo>
                      <a:pt x="138" y="21"/>
                    </a:lnTo>
                    <a:lnTo>
                      <a:pt x="139" y="21"/>
                    </a:lnTo>
                    <a:lnTo>
                      <a:pt x="138" y="21"/>
                    </a:lnTo>
                    <a:lnTo>
                      <a:pt x="138" y="18"/>
                    </a:lnTo>
                    <a:lnTo>
                      <a:pt x="136" y="19"/>
                    </a:lnTo>
                    <a:lnTo>
                      <a:pt x="135" y="19"/>
                    </a:lnTo>
                    <a:lnTo>
                      <a:pt x="135" y="19"/>
                    </a:lnTo>
                    <a:lnTo>
                      <a:pt x="133" y="19"/>
                    </a:lnTo>
                    <a:lnTo>
                      <a:pt x="133" y="18"/>
                    </a:lnTo>
                    <a:lnTo>
                      <a:pt x="133" y="16"/>
                    </a:lnTo>
                    <a:lnTo>
                      <a:pt x="133" y="16"/>
                    </a:lnTo>
                    <a:lnTo>
                      <a:pt x="130" y="15"/>
                    </a:lnTo>
                    <a:lnTo>
                      <a:pt x="129" y="13"/>
                    </a:lnTo>
                    <a:lnTo>
                      <a:pt x="129" y="15"/>
                    </a:lnTo>
                    <a:lnTo>
                      <a:pt x="129" y="15"/>
                    </a:lnTo>
                    <a:lnTo>
                      <a:pt x="127" y="15"/>
                    </a:lnTo>
                    <a:lnTo>
                      <a:pt x="127" y="13"/>
                    </a:lnTo>
                    <a:lnTo>
                      <a:pt x="122" y="11"/>
                    </a:lnTo>
                    <a:lnTo>
                      <a:pt x="122" y="11"/>
                    </a:lnTo>
                    <a:lnTo>
                      <a:pt x="122" y="10"/>
                    </a:lnTo>
                    <a:lnTo>
                      <a:pt x="121" y="11"/>
                    </a:lnTo>
                    <a:lnTo>
                      <a:pt x="121" y="11"/>
                    </a:lnTo>
                    <a:lnTo>
                      <a:pt x="119" y="13"/>
                    </a:lnTo>
                    <a:lnTo>
                      <a:pt x="119" y="11"/>
                    </a:lnTo>
                    <a:lnTo>
                      <a:pt x="119" y="11"/>
                    </a:lnTo>
                    <a:lnTo>
                      <a:pt x="118" y="10"/>
                    </a:lnTo>
                    <a:lnTo>
                      <a:pt x="118" y="8"/>
                    </a:lnTo>
                    <a:lnTo>
                      <a:pt x="116" y="5"/>
                    </a:lnTo>
                    <a:lnTo>
                      <a:pt x="114" y="5"/>
                    </a:lnTo>
                    <a:lnTo>
                      <a:pt x="113" y="4"/>
                    </a:lnTo>
                    <a:lnTo>
                      <a:pt x="114" y="0"/>
                    </a:lnTo>
                    <a:lnTo>
                      <a:pt x="111" y="0"/>
                    </a:lnTo>
                    <a:lnTo>
                      <a:pt x="110" y="2"/>
                    </a:lnTo>
                    <a:lnTo>
                      <a:pt x="111" y="5"/>
                    </a:lnTo>
                    <a:lnTo>
                      <a:pt x="114" y="8"/>
                    </a:lnTo>
                    <a:lnTo>
                      <a:pt x="116" y="11"/>
                    </a:lnTo>
                    <a:lnTo>
                      <a:pt x="118" y="13"/>
                    </a:lnTo>
                    <a:lnTo>
                      <a:pt x="118" y="16"/>
                    </a:lnTo>
                    <a:lnTo>
                      <a:pt x="116" y="18"/>
                    </a:lnTo>
                    <a:lnTo>
                      <a:pt x="118" y="18"/>
                    </a:lnTo>
                    <a:lnTo>
                      <a:pt x="118" y="21"/>
                    </a:lnTo>
                    <a:lnTo>
                      <a:pt x="119" y="21"/>
                    </a:lnTo>
                    <a:lnTo>
                      <a:pt x="119" y="21"/>
                    </a:lnTo>
                    <a:lnTo>
                      <a:pt x="119" y="22"/>
                    </a:lnTo>
                    <a:lnTo>
                      <a:pt x="119" y="22"/>
                    </a:lnTo>
                    <a:lnTo>
                      <a:pt x="121" y="24"/>
                    </a:lnTo>
                    <a:lnTo>
                      <a:pt x="121" y="24"/>
                    </a:lnTo>
                    <a:lnTo>
                      <a:pt x="122" y="22"/>
                    </a:lnTo>
                    <a:lnTo>
                      <a:pt x="122" y="21"/>
                    </a:lnTo>
                    <a:lnTo>
                      <a:pt x="124" y="21"/>
                    </a:lnTo>
                    <a:lnTo>
                      <a:pt x="124" y="19"/>
                    </a:lnTo>
                    <a:lnTo>
                      <a:pt x="125" y="19"/>
                    </a:lnTo>
                    <a:lnTo>
                      <a:pt x="125" y="21"/>
                    </a:lnTo>
                    <a:lnTo>
                      <a:pt x="124" y="21"/>
                    </a:lnTo>
                    <a:lnTo>
                      <a:pt x="122" y="22"/>
                    </a:lnTo>
                    <a:lnTo>
                      <a:pt x="122" y="25"/>
                    </a:lnTo>
                    <a:lnTo>
                      <a:pt x="132" y="38"/>
                    </a:lnTo>
                    <a:lnTo>
                      <a:pt x="132" y="40"/>
                    </a:lnTo>
                    <a:lnTo>
                      <a:pt x="133" y="43"/>
                    </a:lnTo>
                    <a:lnTo>
                      <a:pt x="133" y="43"/>
                    </a:lnTo>
                    <a:lnTo>
                      <a:pt x="135" y="43"/>
                    </a:lnTo>
                    <a:lnTo>
                      <a:pt x="135" y="41"/>
                    </a:lnTo>
                    <a:lnTo>
                      <a:pt x="135" y="41"/>
                    </a:lnTo>
                    <a:lnTo>
                      <a:pt x="132" y="38"/>
                    </a:lnTo>
                    <a:lnTo>
                      <a:pt x="130" y="35"/>
                    </a:lnTo>
                    <a:lnTo>
                      <a:pt x="130" y="33"/>
                    </a:lnTo>
                    <a:lnTo>
                      <a:pt x="130" y="33"/>
                    </a:lnTo>
                    <a:lnTo>
                      <a:pt x="132" y="35"/>
                    </a:lnTo>
                    <a:lnTo>
                      <a:pt x="133" y="38"/>
                    </a:lnTo>
                    <a:lnTo>
                      <a:pt x="136" y="40"/>
                    </a:lnTo>
                    <a:lnTo>
                      <a:pt x="136" y="40"/>
                    </a:lnTo>
                    <a:lnTo>
                      <a:pt x="136" y="40"/>
                    </a:lnTo>
                    <a:lnTo>
                      <a:pt x="136" y="38"/>
                    </a:lnTo>
                    <a:lnTo>
                      <a:pt x="138" y="38"/>
                    </a:lnTo>
                    <a:lnTo>
                      <a:pt x="139" y="40"/>
                    </a:lnTo>
                    <a:lnTo>
                      <a:pt x="139" y="41"/>
                    </a:lnTo>
                    <a:lnTo>
                      <a:pt x="138" y="41"/>
                    </a:lnTo>
                    <a:lnTo>
                      <a:pt x="138" y="43"/>
                    </a:lnTo>
                    <a:lnTo>
                      <a:pt x="139" y="43"/>
                    </a:lnTo>
                    <a:lnTo>
                      <a:pt x="139" y="44"/>
                    </a:lnTo>
                    <a:lnTo>
                      <a:pt x="139" y="46"/>
                    </a:lnTo>
                    <a:lnTo>
                      <a:pt x="139" y="47"/>
                    </a:lnTo>
                    <a:lnTo>
                      <a:pt x="139" y="47"/>
                    </a:lnTo>
                    <a:lnTo>
                      <a:pt x="136" y="46"/>
                    </a:lnTo>
                    <a:lnTo>
                      <a:pt x="135" y="46"/>
                    </a:lnTo>
                    <a:lnTo>
                      <a:pt x="138" y="51"/>
                    </a:lnTo>
                    <a:lnTo>
                      <a:pt x="139" y="52"/>
                    </a:lnTo>
                    <a:lnTo>
                      <a:pt x="139" y="54"/>
                    </a:lnTo>
                    <a:lnTo>
                      <a:pt x="139" y="55"/>
                    </a:lnTo>
                    <a:lnTo>
                      <a:pt x="141" y="55"/>
                    </a:lnTo>
                    <a:lnTo>
                      <a:pt x="143" y="57"/>
                    </a:lnTo>
                    <a:lnTo>
                      <a:pt x="144" y="55"/>
                    </a:lnTo>
                    <a:lnTo>
                      <a:pt x="144" y="55"/>
                    </a:lnTo>
                    <a:lnTo>
                      <a:pt x="146" y="55"/>
                    </a:lnTo>
                    <a:lnTo>
                      <a:pt x="149" y="58"/>
                    </a:lnTo>
                    <a:lnTo>
                      <a:pt x="147" y="58"/>
                    </a:lnTo>
                    <a:lnTo>
                      <a:pt x="146" y="58"/>
                    </a:lnTo>
                    <a:lnTo>
                      <a:pt x="146" y="60"/>
                    </a:lnTo>
                    <a:lnTo>
                      <a:pt x="144" y="61"/>
                    </a:lnTo>
                    <a:lnTo>
                      <a:pt x="144" y="58"/>
                    </a:lnTo>
                    <a:lnTo>
                      <a:pt x="143" y="58"/>
                    </a:lnTo>
                    <a:lnTo>
                      <a:pt x="143" y="58"/>
                    </a:lnTo>
                    <a:lnTo>
                      <a:pt x="144" y="63"/>
                    </a:lnTo>
                    <a:lnTo>
                      <a:pt x="144" y="63"/>
                    </a:lnTo>
                    <a:lnTo>
                      <a:pt x="146" y="65"/>
                    </a:lnTo>
                    <a:lnTo>
                      <a:pt x="144" y="65"/>
                    </a:lnTo>
                    <a:lnTo>
                      <a:pt x="144" y="66"/>
                    </a:lnTo>
                    <a:lnTo>
                      <a:pt x="146" y="68"/>
                    </a:lnTo>
                    <a:lnTo>
                      <a:pt x="147" y="71"/>
                    </a:lnTo>
                    <a:lnTo>
                      <a:pt x="149" y="74"/>
                    </a:lnTo>
                    <a:lnTo>
                      <a:pt x="147" y="74"/>
                    </a:lnTo>
                    <a:lnTo>
                      <a:pt x="147" y="76"/>
                    </a:lnTo>
                    <a:lnTo>
                      <a:pt x="146" y="76"/>
                    </a:lnTo>
                    <a:lnTo>
                      <a:pt x="147" y="79"/>
                    </a:lnTo>
                    <a:lnTo>
                      <a:pt x="146" y="80"/>
                    </a:lnTo>
                    <a:lnTo>
                      <a:pt x="144" y="83"/>
                    </a:lnTo>
                    <a:lnTo>
                      <a:pt x="143" y="88"/>
                    </a:lnTo>
                    <a:lnTo>
                      <a:pt x="143" y="91"/>
                    </a:lnTo>
                    <a:lnTo>
                      <a:pt x="143" y="96"/>
                    </a:lnTo>
                    <a:lnTo>
                      <a:pt x="141" y="97"/>
                    </a:lnTo>
                    <a:lnTo>
                      <a:pt x="139" y="99"/>
                    </a:lnTo>
                    <a:lnTo>
                      <a:pt x="139" y="101"/>
                    </a:lnTo>
                    <a:lnTo>
                      <a:pt x="138" y="101"/>
                    </a:lnTo>
                    <a:lnTo>
                      <a:pt x="138" y="101"/>
                    </a:lnTo>
                    <a:lnTo>
                      <a:pt x="133" y="102"/>
                    </a:lnTo>
                    <a:lnTo>
                      <a:pt x="129" y="104"/>
                    </a:lnTo>
                    <a:lnTo>
                      <a:pt x="129" y="105"/>
                    </a:lnTo>
                    <a:lnTo>
                      <a:pt x="129" y="105"/>
                    </a:lnTo>
                    <a:lnTo>
                      <a:pt x="129" y="107"/>
                    </a:lnTo>
                    <a:lnTo>
                      <a:pt x="127" y="108"/>
                    </a:lnTo>
                    <a:lnTo>
                      <a:pt x="129" y="110"/>
                    </a:lnTo>
                    <a:lnTo>
                      <a:pt x="129" y="110"/>
                    </a:lnTo>
                    <a:lnTo>
                      <a:pt x="130" y="112"/>
                    </a:lnTo>
                    <a:lnTo>
                      <a:pt x="135" y="113"/>
                    </a:lnTo>
                    <a:lnTo>
                      <a:pt x="138" y="115"/>
                    </a:lnTo>
                    <a:lnTo>
                      <a:pt x="139" y="118"/>
                    </a:lnTo>
                    <a:lnTo>
                      <a:pt x="141" y="119"/>
                    </a:lnTo>
                    <a:lnTo>
                      <a:pt x="144" y="119"/>
                    </a:lnTo>
                    <a:lnTo>
                      <a:pt x="146" y="121"/>
                    </a:lnTo>
                    <a:lnTo>
                      <a:pt x="149" y="123"/>
                    </a:lnTo>
                    <a:lnTo>
                      <a:pt x="152" y="126"/>
                    </a:lnTo>
                    <a:lnTo>
                      <a:pt x="154" y="129"/>
                    </a:lnTo>
                    <a:lnTo>
                      <a:pt x="154" y="130"/>
                    </a:lnTo>
                    <a:lnTo>
                      <a:pt x="154" y="135"/>
                    </a:lnTo>
                    <a:lnTo>
                      <a:pt x="152" y="138"/>
                    </a:lnTo>
                    <a:lnTo>
                      <a:pt x="150" y="143"/>
                    </a:lnTo>
                    <a:lnTo>
                      <a:pt x="147" y="148"/>
                    </a:lnTo>
                    <a:lnTo>
                      <a:pt x="144" y="152"/>
                    </a:lnTo>
                    <a:lnTo>
                      <a:pt x="143" y="152"/>
                    </a:lnTo>
                    <a:lnTo>
                      <a:pt x="143" y="154"/>
                    </a:lnTo>
                    <a:lnTo>
                      <a:pt x="143" y="154"/>
                    </a:lnTo>
                    <a:lnTo>
                      <a:pt x="144" y="154"/>
                    </a:lnTo>
                    <a:lnTo>
                      <a:pt x="146" y="154"/>
                    </a:lnTo>
                    <a:lnTo>
                      <a:pt x="147" y="154"/>
                    </a:lnTo>
                    <a:lnTo>
                      <a:pt x="146" y="152"/>
                    </a:lnTo>
                    <a:lnTo>
                      <a:pt x="146" y="152"/>
                    </a:lnTo>
                    <a:lnTo>
                      <a:pt x="147" y="152"/>
                    </a:lnTo>
                    <a:lnTo>
                      <a:pt x="147" y="152"/>
                    </a:lnTo>
                    <a:lnTo>
                      <a:pt x="147" y="152"/>
                    </a:lnTo>
                    <a:lnTo>
                      <a:pt x="147" y="155"/>
                    </a:lnTo>
                    <a:lnTo>
                      <a:pt x="147" y="157"/>
                    </a:lnTo>
                    <a:lnTo>
                      <a:pt x="147" y="157"/>
                    </a:lnTo>
                    <a:lnTo>
                      <a:pt x="150" y="155"/>
                    </a:lnTo>
                    <a:lnTo>
                      <a:pt x="152" y="157"/>
                    </a:lnTo>
                    <a:lnTo>
                      <a:pt x="152" y="157"/>
                    </a:lnTo>
                    <a:lnTo>
                      <a:pt x="154" y="159"/>
                    </a:lnTo>
                    <a:lnTo>
                      <a:pt x="154" y="160"/>
                    </a:lnTo>
                    <a:lnTo>
                      <a:pt x="155" y="160"/>
                    </a:lnTo>
                    <a:lnTo>
                      <a:pt x="157" y="160"/>
                    </a:lnTo>
                    <a:lnTo>
                      <a:pt x="157" y="159"/>
                    </a:lnTo>
                    <a:lnTo>
                      <a:pt x="161" y="155"/>
                    </a:lnTo>
                    <a:lnTo>
                      <a:pt x="165" y="154"/>
                    </a:lnTo>
                    <a:lnTo>
                      <a:pt x="166" y="151"/>
                    </a:lnTo>
                    <a:lnTo>
                      <a:pt x="168" y="149"/>
                    </a:lnTo>
                    <a:lnTo>
                      <a:pt x="169" y="148"/>
                    </a:lnTo>
                    <a:lnTo>
                      <a:pt x="171" y="144"/>
                    </a:lnTo>
                    <a:lnTo>
                      <a:pt x="172" y="141"/>
                    </a:lnTo>
                    <a:lnTo>
                      <a:pt x="174" y="138"/>
                    </a:lnTo>
                    <a:lnTo>
                      <a:pt x="175" y="137"/>
                    </a:lnTo>
                    <a:lnTo>
                      <a:pt x="177" y="133"/>
                    </a:lnTo>
                    <a:lnTo>
                      <a:pt x="179" y="130"/>
                    </a:lnTo>
                    <a:lnTo>
                      <a:pt x="180" y="129"/>
                    </a:lnTo>
                    <a:lnTo>
                      <a:pt x="182" y="127"/>
                    </a:lnTo>
                    <a:lnTo>
                      <a:pt x="183" y="121"/>
                    </a:lnTo>
                    <a:lnTo>
                      <a:pt x="186" y="116"/>
                    </a:lnTo>
                    <a:lnTo>
                      <a:pt x="183" y="115"/>
                    </a:lnTo>
                    <a:lnTo>
                      <a:pt x="183" y="113"/>
                    </a:lnTo>
                    <a:lnTo>
                      <a:pt x="183" y="112"/>
                    </a:lnTo>
                    <a:lnTo>
                      <a:pt x="183" y="108"/>
                    </a:lnTo>
                    <a:lnTo>
                      <a:pt x="185" y="107"/>
                    </a:lnTo>
                    <a:lnTo>
                      <a:pt x="186" y="105"/>
                    </a:lnTo>
                    <a:lnTo>
                      <a:pt x="186" y="105"/>
                    </a:lnTo>
                    <a:lnTo>
                      <a:pt x="190" y="104"/>
                    </a:lnTo>
                    <a:lnTo>
                      <a:pt x="191" y="102"/>
                    </a:lnTo>
                    <a:lnTo>
                      <a:pt x="194" y="102"/>
                    </a:lnTo>
                    <a:lnTo>
                      <a:pt x="196" y="102"/>
                    </a:lnTo>
                    <a:lnTo>
                      <a:pt x="199" y="104"/>
                    </a:lnTo>
                    <a:lnTo>
                      <a:pt x="199" y="104"/>
                    </a:lnTo>
                    <a:lnTo>
                      <a:pt x="200" y="105"/>
                    </a:lnTo>
                    <a:lnTo>
                      <a:pt x="200" y="107"/>
                    </a:lnTo>
                    <a:lnTo>
                      <a:pt x="202" y="104"/>
                    </a:lnTo>
                    <a:lnTo>
                      <a:pt x="200" y="104"/>
                    </a:lnTo>
                    <a:lnTo>
                      <a:pt x="200" y="102"/>
                    </a:lnTo>
                    <a:lnTo>
                      <a:pt x="200" y="101"/>
                    </a:lnTo>
                    <a:lnTo>
                      <a:pt x="200" y="97"/>
                    </a:lnTo>
                    <a:lnTo>
                      <a:pt x="202" y="94"/>
                    </a:lnTo>
                    <a:lnTo>
                      <a:pt x="204" y="94"/>
                    </a:lnTo>
                    <a:lnTo>
                      <a:pt x="205" y="93"/>
                    </a:lnTo>
                    <a:lnTo>
                      <a:pt x="207" y="91"/>
                    </a:lnTo>
                    <a:lnTo>
                      <a:pt x="208" y="88"/>
                    </a:lnTo>
                    <a:lnTo>
                      <a:pt x="208" y="83"/>
                    </a:lnTo>
                    <a:lnTo>
                      <a:pt x="208" y="77"/>
                    </a:lnTo>
                    <a:lnTo>
                      <a:pt x="210" y="76"/>
                    </a:lnTo>
                    <a:lnTo>
                      <a:pt x="211" y="72"/>
                    </a:lnTo>
                    <a:lnTo>
                      <a:pt x="211" y="71"/>
                    </a:lnTo>
                    <a:lnTo>
                      <a:pt x="210" y="7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2" name="Freeform 159">
                <a:extLst>
                  <a:ext uri="{FF2B5EF4-FFF2-40B4-BE49-F238E27FC236}">
                    <a16:creationId xmlns:a16="http://schemas.microsoft.com/office/drawing/2014/main" id="{1B422570-26B8-2A29-7689-8C1916D21FD0}"/>
                  </a:ext>
                </a:extLst>
              </p:cNvPr>
              <p:cNvSpPr>
                <a:spLocks noEditPoints="1"/>
              </p:cNvSpPr>
              <p:nvPr/>
            </p:nvSpPr>
            <p:spPr bwMode="gray">
              <a:xfrm>
                <a:off x="3587" y="1100"/>
                <a:ext cx="139" cy="182"/>
              </a:xfrm>
              <a:custGeom>
                <a:avLst/>
                <a:gdLst>
                  <a:gd name="T0" fmla="*/ 117 w 139"/>
                  <a:gd name="T1" fmla="*/ 118 h 182"/>
                  <a:gd name="T2" fmla="*/ 122 w 139"/>
                  <a:gd name="T3" fmla="*/ 108 h 182"/>
                  <a:gd name="T4" fmla="*/ 129 w 139"/>
                  <a:gd name="T5" fmla="*/ 67 h 182"/>
                  <a:gd name="T6" fmla="*/ 120 w 139"/>
                  <a:gd name="T7" fmla="*/ 57 h 182"/>
                  <a:gd name="T8" fmla="*/ 112 w 139"/>
                  <a:gd name="T9" fmla="*/ 52 h 182"/>
                  <a:gd name="T10" fmla="*/ 90 w 139"/>
                  <a:gd name="T11" fmla="*/ 46 h 182"/>
                  <a:gd name="T12" fmla="*/ 78 w 139"/>
                  <a:gd name="T13" fmla="*/ 27 h 182"/>
                  <a:gd name="T14" fmla="*/ 75 w 139"/>
                  <a:gd name="T15" fmla="*/ 30 h 182"/>
                  <a:gd name="T16" fmla="*/ 70 w 139"/>
                  <a:gd name="T17" fmla="*/ 28 h 182"/>
                  <a:gd name="T18" fmla="*/ 70 w 139"/>
                  <a:gd name="T19" fmla="*/ 27 h 182"/>
                  <a:gd name="T20" fmla="*/ 67 w 139"/>
                  <a:gd name="T21" fmla="*/ 28 h 182"/>
                  <a:gd name="T22" fmla="*/ 67 w 139"/>
                  <a:gd name="T23" fmla="*/ 35 h 182"/>
                  <a:gd name="T24" fmla="*/ 67 w 139"/>
                  <a:gd name="T25" fmla="*/ 41 h 182"/>
                  <a:gd name="T26" fmla="*/ 70 w 139"/>
                  <a:gd name="T27" fmla="*/ 44 h 182"/>
                  <a:gd name="T28" fmla="*/ 62 w 139"/>
                  <a:gd name="T29" fmla="*/ 46 h 182"/>
                  <a:gd name="T30" fmla="*/ 62 w 139"/>
                  <a:gd name="T31" fmla="*/ 50 h 182"/>
                  <a:gd name="T32" fmla="*/ 58 w 139"/>
                  <a:gd name="T33" fmla="*/ 61 h 182"/>
                  <a:gd name="T34" fmla="*/ 58 w 139"/>
                  <a:gd name="T35" fmla="*/ 72 h 182"/>
                  <a:gd name="T36" fmla="*/ 64 w 139"/>
                  <a:gd name="T37" fmla="*/ 83 h 182"/>
                  <a:gd name="T38" fmla="*/ 61 w 139"/>
                  <a:gd name="T39" fmla="*/ 94 h 182"/>
                  <a:gd name="T40" fmla="*/ 59 w 139"/>
                  <a:gd name="T41" fmla="*/ 102 h 182"/>
                  <a:gd name="T42" fmla="*/ 58 w 139"/>
                  <a:gd name="T43" fmla="*/ 107 h 182"/>
                  <a:gd name="T44" fmla="*/ 54 w 139"/>
                  <a:gd name="T45" fmla="*/ 116 h 182"/>
                  <a:gd name="T46" fmla="*/ 51 w 139"/>
                  <a:gd name="T47" fmla="*/ 121 h 182"/>
                  <a:gd name="T48" fmla="*/ 39 w 139"/>
                  <a:gd name="T49" fmla="*/ 125 h 182"/>
                  <a:gd name="T50" fmla="*/ 26 w 139"/>
                  <a:gd name="T51" fmla="*/ 130 h 182"/>
                  <a:gd name="T52" fmla="*/ 15 w 139"/>
                  <a:gd name="T53" fmla="*/ 135 h 182"/>
                  <a:gd name="T54" fmla="*/ 0 w 139"/>
                  <a:gd name="T55" fmla="*/ 139 h 182"/>
                  <a:gd name="T56" fmla="*/ 3 w 139"/>
                  <a:gd name="T57" fmla="*/ 144 h 182"/>
                  <a:gd name="T58" fmla="*/ 6 w 139"/>
                  <a:gd name="T59" fmla="*/ 154 h 182"/>
                  <a:gd name="T60" fmla="*/ 9 w 139"/>
                  <a:gd name="T61" fmla="*/ 161 h 182"/>
                  <a:gd name="T62" fmla="*/ 12 w 139"/>
                  <a:gd name="T63" fmla="*/ 169 h 182"/>
                  <a:gd name="T64" fmla="*/ 17 w 139"/>
                  <a:gd name="T65" fmla="*/ 175 h 182"/>
                  <a:gd name="T66" fmla="*/ 31 w 139"/>
                  <a:gd name="T67" fmla="*/ 179 h 182"/>
                  <a:gd name="T68" fmla="*/ 47 w 139"/>
                  <a:gd name="T69" fmla="*/ 175 h 182"/>
                  <a:gd name="T70" fmla="*/ 59 w 139"/>
                  <a:gd name="T71" fmla="*/ 169 h 182"/>
                  <a:gd name="T72" fmla="*/ 64 w 139"/>
                  <a:gd name="T73" fmla="*/ 160 h 182"/>
                  <a:gd name="T74" fmla="*/ 83 w 139"/>
                  <a:gd name="T75" fmla="*/ 147 h 182"/>
                  <a:gd name="T76" fmla="*/ 100 w 139"/>
                  <a:gd name="T77" fmla="*/ 139 h 182"/>
                  <a:gd name="T78" fmla="*/ 101 w 139"/>
                  <a:gd name="T79" fmla="*/ 132 h 182"/>
                  <a:gd name="T80" fmla="*/ 103 w 139"/>
                  <a:gd name="T81" fmla="*/ 119 h 182"/>
                  <a:gd name="T82" fmla="*/ 111 w 139"/>
                  <a:gd name="T83" fmla="*/ 110 h 182"/>
                  <a:gd name="T84" fmla="*/ 114 w 139"/>
                  <a:gd name="T85" fmla="*/ 113 h 182"/>
                  <a:gd name="T86" fmla="*/ 129 w 139"/>
                  <a:gd name="T87" fmla="*/ 94 h 182"/>
                  <a:gd name="T88" fmla="*/ 137 w 139"/>
                  <a:gd name="T89" fmla="*/ 78 h 182"/>
                  <a:gd name="T90" fmla="*/ 75 w 139"/>
                  <a:gd name="T91" fmla="*/ 21 h 182"/>
                  <a:gd name="T92" fmla="*/ 76 w 139"/>
                  <a:gd name="T93" fmla="*/ 21 h 182"/>
                  <a:gd name="T94" fmla="*/ 76 w 139"/>
                  <a:gd name="T95" fmla="*/ 2 h 182"/>
                  <a:gd name="T96" fmla="*/ 73 w 139"/>
                  <a:gd name="T97" fmla="*/ 5 h 182"/>
                  <a:gd name="T98" fmla="*/ 73 w 139"/>
                  <a:gd name="T99" fmla="*/ 13 h 182"/>
                  <a:gd name="T100" fmla="*/ 76 w 139"/>
                  <a:gd name="T101" fmla="*/ 13 h 182"/>
                  <a:gd name="T102" fmla="*/ 78 w 139"/>
                  <a:gd name="T10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9" h="182">
                    <a:moveTo>
                      <a:pt x="122" y="108"/>
                    </a:moveTo>
                    <a:lnTo>
                      <a:pt x="120" y="111"/>
                    </a:lnTo>
                    <a:lnTo>
                      <a:pt x="117" y="114"/>
                    </a:lnTo>
                    <a:lnTo>
                      <a:pt x="117" y="116"/>
                    </a:lnTo>
                    <a:lnTo>
                      <a:pt x="117" y="118"/>
                    </a:lnTo>
                    <a:lnTo>
                      <a:pt x="119" y="116"/>
                    </a:lnTo>
                    <a:lnTo>
                      <a:pt x="120" y="116"/>
                    </a:lnTo>
                    <a:lnTo>
                      <a:pt x="120" y="113"/>
                    </a:lnTo>
                    <a:lnTo>
                      <a:pt x="123" y="111"/>
                    </a:lnTo>
                    <a:lnTo>
                      <a:pt x="122" y="108"/>
                    </a:lnTo>
                    <a:close/>
                    <a:moveTo>
                      <a:pt x="137" y="74"/>
                    </a:moveTo>
                    <a:lnTo>
                      <a:pt x="136" y="72"/>
                    </a:lnTo>
                    <a:lnTo>
                      <a:pt x="133" y="72"/>
                    </a:lnTo>
                    <a:lnTo>
                      <a:pt x="131" y="71"/>
                    </a:lnTo>
                    <a:lnTo>
                      <a:pt x="129" y="67"/>
                    </a:lnTo>
                    <a:lnTo>
                      <a:pt x="126" y="64"/>
                    </a:lnTo>
                    <a:lnTo>
                      <a:pt x="123" y="61"/>
                    </a:lnTo>
                    <a:lnTo>
                      <a:pt x="123" y="60"/>
                    </a:lnTo>
                    <a:lnTo>
                      <a:pt x="122" y="58"/>
                    </a:lnTo>
                    <a:lnTo>
                      <a:pt x="120" y="57"/>
                    </a:lnTo>
                    <a:lnTo>
                      <a:pt x="120" y="55"/>
                    </a:lnTo>
                    <a:lnTo>
                      <a:pt x="115" y="52"/>
                    </a:lnTo>
                    <a:lnTo>
                      <a:pt x="115" y="52"/>
                    </a:lnTo>
                    <a:lnTo>
                      <a:pt x="112" y="52"/>
                    </a:lnTo>
                    <a:lnTo>
                      <a:pt x="112" y="52"/>
                    </a:lnTo>
                    <a:lnTo>
                      <a:pt x="108" y="50"/>
                    </a:lnTo>
                    <a:lnTo>
                      <a:pt x="103" y="50"/>
                    </a:lnTo>
                    <a:lnTo>
                      <a:pt x="100" y="49"/>
                    </a:lnTo>
                    <a:lnTo>
                      <a:pt x="92" y="47"/>
                    </a:lnTo>
                    <a:lnTo>
                      <a:pt x="90" y="46"/>
                    </a:lnTo>
                    <a:lnTo>
                      <a:pt x="87" y="42"/>
                    </a:lnTo>
                    <a:lnTo>
                      <a:pt x="84" y="39"/>
                    </a:lnTo>
                    <a:lnTo>
                      <a:pt x="83" y="36"/>
                    </a:lnTo>
                    <a:lnTo>
                      <a:pt x="79" y="31"/>
                    </a:lnTo>
                    <a:lnTo>
                      <a:pt x="78" y="27"/>
                    </a:lnTo>
                    <a:lnTo>
                      <a:pt x="76" y="27"/>
                    </a:lnTo>
                    <a:lnTo>
                      <a:pt x="76" y="27"/>
                    </a:lnTo>
                    <a:lnTo>
                      <a:pt x="76" y="27"/>
                    </a:lnTo>
                    <a:lnTo>
                      <a:pt x="75" y="28"/>
                    </a:lnTo>
                    <a:lnTo>
                      <a:pt x="75" y="30"/>
                    </a:lnTo>
                    <a:lnTo>
                      <a:pt x="73" y="30"/>
                    </a:lnTo>
                    <a:lnTo>
                      <a:pt x="73" y="31"/>
                    </a:lnTo>
                    <a:lnTo>
                      <a:pt x="72" y="31"/>
                    </a:lnTo>
                    <a:lnTo>
                      <a:pt x="72" y="30"/>
                    </a:lnTo>
                    <a:lnTo>
                      <a:pt x="70" y="28"/>
                    </a:lnTo>
                    <a:lnTo>
                      <a:pt x="70" y="28"/>
                    </a:lnTo>
                    <a:lnTo>
                      <a:pt x="70" y="28"/>
                    </a:lnTo>
                    <a:lnTo>
                      <a:pt x="72" y="28"/>
                    </a:lnTo>
                    <a:lnTo>
                      <a:pt x="72" y="28"/>
                    </a:lnTo>
                    <a:lnTo>
                      <a:pt x="70" y="27"/>
                    </a:lnTo>
                    <a:lnTo>
                      <a:pt x="70" y="27"/>
                    </a:lnTo>
                    <a:lnTo>
                      <a:pt x="70" y="27"/>
                    </a:lnTo>
                    <a:lnTo>
                      <a:pt x="70" y="27"/>
                    </a:lnTo>
                    <a:lnTo>
                      <a:pt x="69" y="27"/>
                    </a:lnTo>
                    <a:lnTo>
                      <a:pt x="67" y="28"/>
                    </a:lnTo>
                    <a:lnTo>
                      <a:pt x="67" y="28"/>
                    </a:lnTo>
                    <a:lnTo>
                      <a:pt x="67" y="30"/>
                    </a:lnTo>
                    <a:lnTo>
                      <a:pt x="67" y="31"/>
                    </a:lnTo>
                    <a:lnTo>
                      <a:pt x="67" y="33"/>
                    </a:lnTo>
                    <a:lnTo>
                      <a:pt x="67" y="35"/>
                    </a:lnTo>
                    <a:lnTo>
                      <a:pt x="67" y="36"/>
                    </a:lnTo>
                    <a:lnTo>
                      <a:pt x="67" y="38"/>
                    </a:lnTo>
                    <a:lnTo>
                      <a:pt x="67" y="38"/>
                    </a:lnTo>
                    <a:lnTo>
                      <a:pt x="67" y="38"/>
                    </a:lnTo>
                    <a:lnTo>
                      <a:pt x="67" y="41"/>
                    </a:lnTo>
                    <a:lnTo>
                      <a:pt x="67" y="41"/>
                    </a:lnTo>
                    <a:lnTo>
                      <a:pt x="70" y="41"/>
                    </a:lnTo>
                    <a:lnTo>
                      <a:pt x="70" y="41"/>
                    </a:lnTo>
                    <a:lnTo>
                      <a:pt x="70" y="42"/>
                    </a:lnTo>
                    <a:lnTo>
                      <a:pt x="70" y="44"/>
                    </a:lnTo>
                    <a:lnTo>
                      <a:pt x="70" y="44"/>
                    </a:lnTo>
                    <a:lnTo>
                      <a:pt x="69" y="44"/>
                    </a:lnTo>
                    <a:lnTo>
                      <a:pt x="67" y="46"/>
                    </a:lnTo>
                    <a:lnTo>
                      <a:pt x="65" y="44"/>
                    </a:lnTo>
                    <a:lnTo>
                      <a:pt x="62" y="46"/>
                    </a:lnTo>
                    <a:lnTo>
                      <a:pt x="61" y="46"/>
                    </a:lnTo>
                    <a:lnTo>
                      <a:pt x="62" y="47"/>
                    </a:lnTo>
                    <a:lnTo>
                      <a:pt x="62" y="47"/>
                    </a:lnTo>
                    <a:lnTo>
                      <a:pt x="62" y="49"/>
                    </a:lnTo>
                    <a:lnTo>
                      <a:pt x="62" y="50"/>
                    </a:lnTo>
                    <a:lnTo>
                      <a:pt x="62" y="50"/>
                    </a:lnTo>
                    <a:lnTo>
                      <a:pt x="61" y="52"/>
                    </a:lnTo>
                    <a:lnTo>
                      <a:pt x="61" y="55"/>
                    </a:lnTo>
                    <a:lnTo>
                      <a:pt x="59" y="57"/>
                    </a:lnTo>
                    <a:lnTo>
                      <a:pt x="58" y="61"/>
                    </a:lnTo>
                    <a:lnTo>
                      <a:pt x="56" y="64"/>
                    </a:lnTo>
                    <a:lnTo>
                      <a:pt x="56" y="66"/>
                    </a:lnTo>
                    <a:lnTo>
                      <a:pt x="56" y="67"/>
                    </a:lnTo>
                    <a:lnTo>
                      <a:pt x="56" y="71"/>
                    </a:lnTo>
                    <a:lnTo>
                      <a:pt x="58" y="72"/>
                    </a:lnTo>
                    <a:lnTo>
                      <a:pt x="59" y="74"/>
                    </a:lnTo>
                    <a:lnTo>
                      <a:pt x="61" y="77"/>
                    </a:lnTo>
                    <a:lnTo>
                      <a:pt x="62" y="78"/>
                    </a:lnTo>
                    <a:lnTo>
                      <a:pt x="64" y="82"/>
                    </a:lnTo>
                    <a:lnTo>
                      <a:pt x="64" y="83"/>
                    </a:lnTo>
                    <a:lnTo>
                      <a:pt x="64" y="85"/>
                    </a:lnTo>
                    <a:lnTo>
                      <a:pt x="64" y="88"/>
                    </a:lnTo>
                    <a:lnTo>
                      <a:pt x="62" y="89"/>
                    </a:lnTo>
                    <a:lnTo>
                      <a:pt x="62" y="91"/>
                    </a:lnTo>
                    <a:lnTo>
                      <a:pt x="61" y="94"/>
                    </a:lnTo>
                    <a:lnTo>
                      <a:pt x="61" y="96"/>
                    </a:lnTo>
                    <a:lnTo>
                      <a:pt x="61" y="97"/>
                    </a:lnTo>
                    <a:lnTo>
                      <a:pt x="61" y="97"/>
                    </a:lnTo>
                    <a:lnTo>
                      <a:pt x="59" y="100"/>
                    </a:lnTo>
                    <a:lnTo>
                      <a:pt x="59" y="102"/>
                    </a:lnTo>
                    <a:lnTo>
                      <a:pt x="59" y="102"/>
                    </a:lnTo>
                    <a:lnTo>
                      <a:pt x="58" y="103"/>
                    </a:lnTo>
                    <a:lnTo>
                      <a:pt x="58" y="103"/>
                    </a:lnTo>
                    <a:lnTo>
                      <a:pt x="58" y="105"/>
                    </a:lnTo>
                    <a:lnTo>
                      <a:pt x="58" y="107"/>
                    </a:lnTo>
                    <a:lnTo>
                      <a:pt x="58" y="108"/>
                    </a:lnTo>
                    <a:lnTo>
                      <a:pt x="56" y="110"/>
                    </a:lnTo>
                    <a:lnTo>
                      <a:pt x="56" y="111"/>
                    </a:lnTo>
                    <a:lnTo>
                      <a:pt x="54" y="114"/>
                    </a:lnTo>
                    <a:lnTo>
                      <a:pt x="54" y="116"/>
                    </a:lnTo>
                    <a:lnTo>
                      <a:pt x="54" y="116"/>
                    </a:lnTo>
                    <a:lnTo>
                      <a:pt x="53" y="118"/>
                    </a:lnTo>
                    <a:lnTo>
                      <a:pt x="53" y="121"/>
                    </a:lnTo>
                    <a:lnTo>
                      <a:pt x="53" y="121"/>
                    </a:lnTo>
                    <a:lnTo>
                      <a:pt x="51" y="121"/>
                    </a:lnTo>
                    <a:lnTo>
                      <a:pt x="48" y="122"/>
                    </a:lnTo>
                    <a:lnTo>
                      <a:pt x="45" y="124"/>
                    </a:lnTo>
                    <a:lnTo>
                      <a:pt x="42" y="124"/>
                    </a:lnTo>
                    <a:lnTo>
                      <a:pt x="42" y="124"/>
                    </a:lnTo>
                    <a:lnTo>
                      <a:pt x="39" y="125"/>
                    </a:lnTo>
                    <a:lnTo>
                      <a:pt x="36" y="127"/>
                    </a:lnTo>
                    <a:lnTo>
                      <a:pt x="33" y="127"/>
                    </a:lnTo>
                    <a:lnTo>
                      <a:pt x="29" y="128"/>
                    </a:lnTo>
                    <a:lnTo>
                      <a:pt x="26" y="130"/>
                    </a:lnTo>
                    <a:lnTo>
                      <a:pt x="26" y="130"/>
                    </a:lnTo>
                    <a:lnTo>
                      <a:pt x="23" y="132"/>
                    </a:lnTo>
                    <a:lnTo>
                      <a:pt x="20" y="132"/>
                    </a:lnTo>
                    <a:lnTo>
                      <a:pt x="18" y="133"/>
                    </a:lnTo>
                    <a:lnTo>
                      <a:pt x="15" y="135"/>
                    </a:lnTo>
                    <a:lnTo>
                      <a:pt x="15" y="135"/>
                    </a:lnTo>
                    <a:lnTo>
                      <a:pt x="12" y="135"/>
                    </a:lnTo>
                    <a:lnTo>
                      <a:pt x="9" y="136"/>
                    </a:lnTo>
                    <a:lnTo>
                      <a:pt x="6" y="138"/>
                    </a:lnTo>
                    <a:lnTo>
                      <a:pt x="3" y="138"/>
                    </a:lnTo>
                    <a:lnTo>
                      <a:pt x="0" y="139"/>
                    </a:lnTo>
                    <a:lnTo>
                      <a:pt x="0" y="139"/>
                    </a:lnTo>
                    <a:lnTo>
                      <a:pt x="0" y="139"/>
                    </a:lnTo>
                    <a:lnTo>
                      <a:pt x="1" y="141"/>
                    </a:lnTo>
                    <a:lnTo>
                      <a:pt x="1" y="143"/>
                    </a:lnTo>
                    <a:lnTo>
                      <a:pt x="3" y="144"/>
                    </a:lnTo>
                    <a:lnTo>
                      <a:pt x="3" y="147"/>
                    </a:lnTo>
                    <a:lnTo>
                      <a:pt x="4" y="149"/>
                    </a:lnTo>
                    <a:lnTo>
                      <a:pt x="4" y="150"/>
                    </a:lnTo>
                    <a:lnTo>
                      <a:pt x="6" y="152"/>
                    </a:lnTo>
                    <a:lnTo>
                      <a:pt x="6" y="154"/>
                    </a:lnTo>
                    <a:lnTo>
                      <a:pt x="6" y="154"/>
                    </a:lnTo>
                    <a:lnTo>
                      <a:pt x="8" y="155"/>
                    </a:lnTo>
                    <a:lnTo>
                      <a:pt x="8" y="158"/>
                    </a:lnTo>
                    <a:lnTo>
                      <a:pt x="9" y="160"/>
                    </a:lnTo>
                    <a:lnTo>
                      <a:pt x="9" y="161"/>
                    </a:lnTo>
                    <a:lnTo>
                      <a:pt x="11" y="163"/>
                    </a:lnTo>
                    <a:lnTo>
                      <a:pt x="11" y="164"/>
                    </a:lnTo>
                    <a:lnTo>
                      <a:pt x="12" y="166"/>
                    </a:lnTo>
                    <a:lnTo>
                      <a:pt x="12" y="169"/>
                    </a:lnTo>
                    <a:lnTo>
                      <a:pt x="12" y="169"/>
                    </a:lnTo>
                    <a:lnTo>
                      <a:pt x="14" y="171"/>
                    </a:lnTo>
                    <a:lnTo>
                      <a:pt x="14" y="171"/>
                    </a:lnTo>
                    <a:lnTo>
                      <a:pt x="15" y="171"/>
                    </a:lnTo>
                    <a:lnTo>
                      <a:pt x="15" y="172"/>
                    </a:lnTo>
                    <a:lnTo>
                      <a:pt x="17" y="175"/>
                    </a:lnTo>
                    <a:lnTo>
                      <a:pt x="17" y="177"/>
                    </a:lnTo>
                    <a:lnTo>
                      <a:pt x="20" y="182"/>
                    </a:lnTo>
                    <a:lnTo>
                      <a:pt x="23" y="180"/>
                    </a:lnTo>
                    <a:lnTo>
                      <a:pt x="29" y="180"/>
                    </a:lnTo>
                    <a:lnTo>
                      <a:pt x="31" y="179"/>
                    </a:lnTo>
                    <a:lnTo>
                      <a:pt x="36" y="177"/>
                    </a:lnTo>
                    <a:lnTo>
                      <a:pt x="37" y="175"/>
                    </a:lnTo>
                    <a:lnTo>
                      <a:pt x="42" y="175"/>
                    </a:lnTo>
                    <a:lnTo>
                      <a:pt x="45" y="175"/>
                    </a:lnTo>
                    <a:lnTo>
                      <a:pt x="47" y="175"/>
                    </a:lnTo>
                    <a:lnTo>
                      <a:pt x="50" y="177"/>
                    </a:lnTo>
                    <a:lnTo>
                      <a:pt x="54" y="175"/>
                    </a:lnTo>
                    <a:lnTo>
                      <a:pt x="56" y="172"/>
                    </a:lnTo>
                    <a:lnTo>
                      <a:pt x="58" y="169"/>
                    </a:lnTo>
                    <a:lnTo>
                      <a:pt x="59" y="169"/>
                    </a:lnTo>
                    <a:lnTo>
                      <a:pt x="58" y="168"/>
                    </a:lnTo>
                    <a:lnTo>
                      <a:pt x="58" y="166"/>
                    </a:lnTo>
                    <a:lnTo>
                      <a:pt x="58" y="164"/>
                    </a:lnTo>
                    <a:lnTo>
                      <a:pt x="62" y="160"/>
                    </a:lnTo>
                    <a:lnTo>
                      <a:pt x="64" y="160"/>
                    </a:lnTo>
                    <a:lnTo>
                      <a:pt x="70" y="158"/>
                    </a:lnTo>
                    <a:lnTo>
                      <a:pt x="76" y="158"/>
                    </a:lnTo>
                    <a:lnTo>
                      <a:pt x="78" y="158"/>
                    </a:lnTo>
                    <a:lnTo>
                      <a:pt x="81" y="155"/>
                    </a:lnTo>
                    <a:lnTo>
                      <a:pt x="83" y="147"/>
                    </a:lnTo>
                    <a:lnTo>
                      <a:pt x="86" y="144"/>
                    </a:lnTo>
                    <a:lnTo>
                      <a:pt x="87" y="143"/>
                    </a:lnTo>
                    <a:lnTo>
                      <a:pt x="92" y="141"/>
                    </a:lnTo>
                    <a:lnTo>
                      <a:pt x="95" y="139"/>
                    </a:lnTo>
                    <a:lnTo>
                      <a:pt x="100" y="139"/>
                    </a:lnTo>
                    <a:lnTo>
                      <a:pt x="101" y="139"/>
                    </a:lnTo>
                    <a:lnTo>
                      <a:pt x="103" y="139"/>
                    </a:lnTo>
                    <a:lnTo>
                      <a:pt x="103" y="136"/>
                    </a:lnTo>
                    <a:lnTo>
                      <a:pt x="101" y="135"/>
                    </a:lnTo>
                    <a:lnTo>
                      <a:pt x="101" y="132"/>
                    </a:lnTo>
                    <a:lnTo>
                      <a:pt x="101" y="128"/>
                    </a:lnTo>
                    <a:lnTo>
                      <a:pt x="101" y="127"/>
                    </a:lnTo>
                    <a:lnTo>
                      <a:pt x="101" y="124"/>
                    </a:lnTo>
                    <a:lnTo>
                      <a:pt x="103" y="121"/>
                    </a:lnTo>
                    <a:lnTo>
                      <a:pt x="103" y="119"/>
                    </a:lnTo>
                    <a:lnTo>
                      <a:pt x="103" y="116"/>
                    </a:lnTo>
                    <a:lnTo>
                      <a:pt x="104" y="114"/>
                    </a:lnTo>
                    <a:lnTo>
                      <a:pt x="108" y="110"/>
                    </a:lnTo>
                    <a:lnTo>
                      <a:pt x="109" y="110"/>
                    </a:lnTo>
                    <a:lnTo>
                      <a:pt x="111" y="110"/>
                    </a:lnTo>
                    <a:lnTo>
                      <a:pt x="111" y="111"/>
                    </a:lnTo>
                    <a:lnTo>
                      <a:pt x="109" y="113"/>
                    </a:lnTo>
                    <a:lnTo>
                      <a:pt x="111" y="113"/>
                    </a:lnTo>
                    <a:lnTo>
                      <a:pt x="112" y="113"/>
                    </a:lnTo>
                    <a:lnTo>
                      <a:pt x="114" y="113"/>
                    </a:lnTo>
                    <a:lnTo>
                      <a:pt x="115" y="111"/>
                    </a:lnTo>
                    <a:lnTo>
                      <a:pt x="119" y="105"/>
                    </a:lnTo>
                    <a:lnTo>
                      <a:pt x="122" y="100"/>
                    </a:lnTo>
                    <a:lnTo>
                      <a:pt x="125" y="97"/>
                    </a:lnTo>
                    <a:lnTo>
                      <a:pt x="129" y="94"/>
                    </a:lnTo>
                    <a:lnTo>
                      <a:pt x="129" y="92"/>
                    </a:lnTo>
                    <a:lnTo>
                      <a:pt x="133" y="88"/>
                    </a:lnTo>
                    <a:lnTo>
                      <a:pt x="134" y="85"/>
                    </a:lnTo>
                    <a:lnTo>
                      <a:pt x="136" y="82"/>
                    </a:lnTo>
                    <a:lnTo>
                      <a:pt x="137" y="78"/>
                    </a:lnTo>
                    <a:lnTo>
                      <a:pt x="137" y="77"/>
                    </a:lnTo>
                    <a:lnTo>
                      <a:pt x="139" y="75"/>
                    </a:lnTo>
                    <a:lnTo>
                      <a:pt x="137" y="74"/>
                    </a:lnTo>
                    <a:close/>
                    <a:moveTo>
                      <a:pt x="76" y="21"/>
                    </a:moveTo>
                    <a:lnTo>
                      <a:pt x="75" y="21"/>
                    </a:lnTo>
                    <a:lnTo>
                      <a:pt x="75" y="21"/>
                    </a:lnTo>
                    <a:lnTo>
                      <a:pt x="75" y="22"/>
                    </a:lnTo>
                    <a:lnTo>
                      <a:pt x="75" y="22"/>
                    </a:lnTo>
                    <a:lnTo>
                      <a:pt x="76" y="22"/>
                    </a:lnTo>
                    <a:lnTo>
                      <a:pt x="76" y="21"/>
                    </a:lnTo>
                    <a:lnTo>
                      <a:pt x="76" y="21"/>
                    </a:lnTo>
                    <a:close/>
                    <a:moveTo>
                      <a:pt x="78" y="0"/>
                    </a:moveTo>
                    <a:lnTo>
                      <a:pt x="78" y="0"/>
                    </a:lnTo>
                    <a:lnTo>
                      <a:pt x="76" y="0"/>
                    </a:lnTo>
                    <a:lnTo>
                      <a:pt x="76" y="2"/>
                    </a:lnTo>
                    <a:lnTo>
                      <a:pt x="75" y="2"/>
                    </a:lnTo>
                    <a:lnTo>
                      <a:pt x="75" y="2"/>
                    </a:lnTo>
                    <a:lnTo>
                      <a:pt x="73" y="3"/>
                    </a:lnTo>
                    <a:lnTo>
                      <a:pt x="72" y="5"/>
                    </a:lnTo>
                    <a:lnTo>
                      <a:pt x="73" y="5"/>
                    </a:lnTo>
                    <a:lnTo>
                      <a:pt x="73" y="6"/>
                    </a:lnTo>
                    <a:lnTo>
                      <a:pt x="73" y="8"/>
                    </a:lnTo>
                    <a:lnTo>
                      <a:pt x="73" y="10"/>
                    </a:lnTo>
                    <a:lnTo>
                      <a:pt x="73" y="11"/>
                    </a:lnTo>
                    <a:lnTo>
                      <a:pt x="73" y="13"/>
                    </a:lnTo>
                    <a:lnTo>
                      <a:pt x="75" y="14"/>
                    </a:lnTo>
                    <a:lnTo>
                      <a:pt x="75" y="14"/>
                    </a:lnTo>
                    <a:lnTo>
                      <a:pt x="76" y="14"/>
                    </a:lnTo>
                    <a:lnTo>
                      <a:pt x="76" y="13"/>
                    </a:lnTo>
                    <a:lnTo>
                      <a:pt x="76" y="13"/>
                    </a:lnTo>
                    <a:lnTo>
                      <a:pt x="76" y="11"/>
                    </a:lnTo>
                    <a:lnTo>
                      <a:pt x="78" y="11"/>
                    </a:lnTo>
                    <a:lnTo>
                      <a:pt x="78" y="5"/>
                    </a:lnTo>
                    <a:lnTo>
                      <a:pt x="78" y="3"/>
                    </a:lnTo>
                    <a:lnTo>
                      <a:pt x="78" y="0"/>
                    </a:lnTo>
                    <a:lnTo>
                      <a:pt x="7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3" name="Freeform 160">
                <a:extLst>
                  <a:ext uri="{FF2B5EF4-FFF2-40B4-BE49-F238E27FC236}">
                    <a16:creationId xmlns:a16="http://schemas.microsoft.com/office/drawing/2014/main" id="{DCAFA14C-DE1B-716C-A385-4C95D70D4CF4}"/>
                  </a:ext>
                </a:extLst>
              </p:cNvPr>
              <p:cNvSpPr>
                <a:spLocks noEditPoints="1"/>
              </p:cNvSpPr>
              <p:nvPr/>
            </p:nvSpPr>
            <p:spPr bwMode="gray">
              <a:xfrm>
                <a:off x="1218" y="1408"/>
                <a:ext cx="102" cy="43"/>
              </a:xfrm>
              <a:custGeom>
                <a:avLst/>
                <a:gdLst>
                  <a:gd name="T0" fmla="*/ 22 w 102"/>
                  <a:gd name="T1" fmla="*/ 35 h 43"/>
                  <a:gd name="T2" fmla="*/ 20 w 102"/>
                  <a:gd name="T3" fmla="*/ 38 h 43"/>
                  <a:gd name="T4" fmla="*/ 69 w 102"/>
                  <a:gd name="T5" fmla="*/ 24 h 43"/>
                  <a:gd name="T6" fmla="*/ 69 w 102"/>
                  <a:gd name="T7" fmla="*/ 24 h 43"/>
                  <a:gd name="T8" fmla="*/ 70 w 102"/>
                  <a:gd name="T9" fmla="*/ 22 h 43"/>
                  <a:gd name="T10" fmla="*/ 73 w 102"/>
                  <a:gd name="T11" fmla="*/ 22 h 43"/>
                  <a:gd name="T12" fmla="*/ 14 w 102"/>
                  <a:gd name="T13" fmla="*/ 5 h 43"/>
                  <a:gd name="T14" fmla="*/ 100 w 102"/>
                  <a:gd name="T15" fmla="*/ 25 h 43"/>
                  <a:gd name="T16" fmla="*/ 97 w 102"/>
                  <a:gd name="T17" fmla="*/ 21 h 43"/>
                  <a:gd name="T18" fmla="*/ 91 w 102"/>
                  <a:gd name="T19" fmla="*/ 10 h 43"/>
                  <a:gd name="T20" fmla="*/ 70 w 102"/>
                  <a:gd name="T21" fmla="*/ 4 h 43"/>
                  <a:gd name="T22" fmla="*/ 59 w 102"/>
                  <a:gd name="T23" fmla="*/ 0 h 43"/>
                  <a:gd name="T24" fmla="*/ 53 w 102"/>
                  <a:gd name="T25" fmla="*/ 5 h 43"/>
                  <a:gd name="T26" fmla="*/ 34 w 102"/>
                  <a:gd name="T27" fmla="*/ 15 h 43"/>
                  <a:gd name="T28" fmla="*/ 20 w 102"/>
                  <a:gd name="T29" fmla="*/ 10 h 43"/>
                  <a:gd name="T30" fmla="*/ 22 w 102"/>
                  <a:gd name="T31" fmla="*/ 11 h 43"/>
                  <a:gd name="T32" fmla="*/ 14 w 102"/>
                  <a:gd name="T33" fmla="*/ 11 h 43"/>
                  <a:gd name="T34" fmla="*/ 12 w 102"/>
                  <a:gd name="T35" fmla="*/ 8 h 43"/>
                  <a:gd name="T36" fmla="*/ 9 w 102"/>
                  <a:gd name="T37" fmla="*/ 2 h 43"/>
                  <a:gd name="T38" fmla="*/ 6 w 102"/>
                  <a:gd name="T39" fmla="*/ 2 h 43"/>
                  <a:gd name="T40" fmla="*/ 3 w 102"/>
                  <a:gd name="T41" fmla="*/ 2 h 43"/>
                  <a:gd name="T42" fmla="*/ 2 w 102"/>
                  <a:gd name="T43" fmla="*/ 10 h 43"/>
                  <a:gd name="T44" fmla="*/ 3 w 102"/>
                  <a:gd name="T45" fmla="*/ 11 h 43"/>
                  <a:gd name="T46" fmla="*/ 5 w 102"/>
                  <a:gd name="T47" fmla="*/ 13 h 43"/>
                  <a:gd name="T48" fmla="*/ 3 w 102"/>
                  <a:gd name="T49" fmla="*/ 19 h 43"/>
                  <a:gd name="T50" fmla="*/ 0 w 102"/>
                  <a:gd name="T51" fmla="*/ 24 h 43"/>
                  <a:gd name="T52" fmla="*/ 2 w 102"/>
                  <a:gd name="T53" fmla="*/ 27 h 43"/>
                  <a:gd name="T54" fmla="*/ 8 w 102"/>
                  <a:gd name="T55" fmla="*/ 24 h 43"/>
                  <a:gd name="T56" fmla="*/ 16 w 102"/>
                  <a:gd name="T57" fmla="*/ 25 h 43"/>
                  <a:gd name="T58" fmla="*/ 23 w 102"/>
                  <a:gd name="T59" fmla="*/ 29 h 43"/>
                  <a:gd name="T60" fmla="*/ 31 w 102"/>
                  <a:gd name="T61" fmla="*/ 35 h 43"/>
                  <a:gd name="T62" fmla="*/ 34 w 102"/>
                  <a:gd name="T63" fmla="*/ 33 h 43"/>
                  <a:gd name="T64" fmla="*/ 45 w 102"/>
                  <a:gd name="T65" fmla="*/ 41 h 43"/>
                  <a:gd name="T66" fmla="*/ 52 w 102"/>
                  <a:gd name="T67" fmla="*/ 38 h 43"/>
                  <a:gd name="T68" fmla="*/ 47 w 102"/>
                  <a:gd name="T69" fmla="*/ 29 h 43"/>
                  <a:gd name="T70" fmla="*/ 45 w 102"/>
                  <a:gd name="T71" fmla="*/ 24 h 43"/>
                  <a:gd name="T72" fmla="*/ 56 w 102"/>
                  <a:gd name="T73" fmla="*/ 18 h 43"/>
                  <a:gd name="T74" fmla="*/ 61 w 102"/>
                  <a:gd name="T75" fmla="*/ 13 h 43"/>
                  <a:gd name="T76" fmla="*/ 70 w 102"/>
                  <a:gd name="T77" fmla="*/ 13 h 43"/>
                  <a:gd name="T78" fmla="*/ 77 w 102"/>
                  <a:gd name="T79" fmla="*/ 16 h 43"/>
                  <a:gd name="T80" fmla="*/ 81 w 102"/>
                  <a:gd name="T81" fmla="*/ 22 h 43"/>
                  <a:gd name="T82" fmla="*/ 81 w 102"/>
                  <a:gd name="T83" fmla="*/ 21 h 43"/>
                  <a:gd name="T84" fmla="*/ 84 w 102"/>
                  <a:gd name="T85" fmla="*/ 21 h 43"/>
                  <a:gd name="T86" fmla="*/ 92 w 102"/>
                  <a:gd name="T87" fmla="*/ 27 h 43"/>
                  <a:gd name="T88" fmla="*/ 86 w 102"/>
                  <a:gd name="T89" fmla="*/ 22 h 43"/>
                  <a:gd name="T90" fmla="*/ 83 w 102"/>
                  <a:gd name="T91" fmla="*/ 27 h 43"/>
                  <a:gd name="T92" fmla="*/ 89 w 102"/>
                  <a:gd name="T93" fmla="*/ 43 h 43"/>
                  <a:gd name="T94" fmla="*/ 92 w 102"/>
                  <a:gd name="T95" fmla="*/ 36 h 43"/>
                  <a:gd name="T96" fmla="*/ 92 w 102"/>
                  <a:gd name="T97" fmla="*/ 35 h 43"/>
                  <a:gd name="T98" fmla="*/ 94 w 102"/>
                  <a:gd name="T99" fmla="*/ 36 h 43"/>
                  <a:gd name="T100" fmla="*/ 98 w 102"/>
                  <a:gd name="T101" fmla="*/ 33 h 43"/>
                  <a:gd name="T102" fmla="*/ 100 w 102"/>
                  <a:gd name="T103"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43">
                    <a:moveTo>
                      <a:pt x="25" y="40"/>
                    </a:moveTo>
                    <a:lnTo>
                      <a:pt x="23" y="40"/>
                    </a:lnTo>
                    <a:lnTo>
                      <a:pt x="23" y="38"/>
                    </a:lnTo>
                    <a:lnTo>
                      <a:pt x="23" y="38"/>
                    </a:lnTo>
                    <a:lnTo>
                      <a:pt x="22" y="35"/>
                    </a:lnTo>
                    <a:lnTo>
                      <a:pt x="22" y="35"/>
                    </a:lnTo>
                    <a:lnTo>
                      <a:pt x="20" y="36"/>
                    </a:lnTo>
                    <a:lnTo>
                      <a:pt x="20" y="38"/>
                    </a:lnTo>
                    <a:lnTo>
                      <a:pt x="20" y="38"/>
                    </a:lnTo>
                    <a:lnTo>
                      <a:pt x="20" y="38"/>
                    </a:lnTo>
                    <a:lnTo>
                      <a:pt x="22" y="40"/>
                    </a:lnTo>
                    <a:lnTo>
                      <a:pt x="23" y="41"/>
                    </a:lnTo>
                    <a:lnTo>
                      <a:pt x="25" y="41"/>
                    </a:lnTo>
                    <a:lnTo>
                      <a:pt x="25" y="40"/>
                    </a:lnTo>
                    <a:close/>
                    <a:moveTo>
                      <a:pt x="69" y="24"/>
                    </a:moveTo>
                    <a:lnTo>
                      <a:pt x="69" y="24"/>
                    </a:lnTo>
                    <a:lnTo>
                      <a:pt x="69" y="24"/>
                    </a:lnTo>
                    <a:lnTo>
                      <a:pt x="69" y="25"/>
                    </a:lnTo>
                    <a:lnTo>
                      <a:pt x="69" y="24"/>
                    </a:lnTo>
                    <a:lnTo>
                      <a:pt x="69" y="24"/>
                    </a:lnTo>
                    <a:close/>
                    <a:moveTo>
                      <a:pt x="73" y="21"/>
                    </a:moveTo>
                    <a:lnTo>
                      <a:pt x="72" y="21"/>
                    </a:lnTo>
                    <a:lnTo>
                      <a:pt x="72" y="21"/>
                    </a:lnTo>
                    <a:lnTo>
                      <a:pt x="70" y="21"/>
                    </a:lnTo>
                    <a:lnTo>
                      <a:pt x="70" y="22"/>
                    </a:lnTo>
                    <a:lnTo>
                      <a:pt x="70" y="24"/>
                    </a:lnTo>
                    <a:lnTo>
                      <a:pt x="72" y="25"/>
                    </a:lnTo>
                    <a:lnTo>
                      <a:pt x="72" y="24"/>
                    </a:lnTo>
                    <a:lnTo>
                      <a:pt x="73" y="24"/>
                    </a:lnTo>
                    <a:lnTo>
                      <a:pt x="73" y="22"/>
                    </a:lnTo>
                    <a:lnTo>
                      <a:pt x="73" y="21"/>
                    </a:lnTo>
                    <a:close/>
                    <a:moveTo>
                      <a:pt x="12" y="4"/>
                    </a:moveTo>
                    <a:lnTo>
                      <a:pt x="12" y="4"/>
                    </a:lnTo>
                    <a:lnTo>
                      <a:pt x="12" y="4"/>
                    </a:lnTo>
                    <a:lnTo>
                      <a:pt x="14" y="5"/>
                    </a:lnTo>
                    <a:lnTo>
                      <a:pt x="14" y="5"/>
                    </a:lnTo>
                    <a:lnTo>
                      <a:pt x="12" y="4"/>
                    </a:lnTo>
                    <a:close/>
                    <a:moveTo>
                      <a:pt x="102" y="29"/>
                    </a:moveTo>
                    <a:lnTo>
                      <a:pt x="102" y="29"/>
                    </a:lnTo>
                    <a:lnTo>
                      <a:pt x="100" y="25"/>
                    </a:lnTo>
                    <a:lnTo>
                      <a:pt x="100" y="24"/>
                    </a:lnTo>
                    <a:lnTo>
                      <a:pt x="98" y="24"/>
                    </a:lnTo>
                    <a:lnTo>
                      <a:pt x="98" y="22"/>
                    </a:lnTo>
                    <a:lnTo>
                      <a:pt x="98" y="21"/>
                    </a:lnTo>
                    <a:lnTo>
                      <a:pt x="97" y="21"/>
                    </a:lnTo>
                    <a:lnTo>
                      <a:pt x="97" y="19"/>
                    </a:lnTo>
                    <a:lnTo>
                      <a:pt x="98" y="18"/>
                    </a:lnTo>
                    <a:lnTo>
                      <a:pt x="98" y="18"/>
                    </a:lnTo>
                    <a:lnTo>
                      <a:pt x="94" y="13"/>
                    </a:lnTo>
                    <a:lnTo>
                      <a:pt x="91" y="10"/>
                    </a:lnTo>
                    <a:lnTo>
                      <a:pt x="86" y="7"/>
                    </a:lnTo>
                    <a:lnTo>
                      <a:pt x="80" y="4"/>
                    </a:lnTo>
                    <a:lnTo>
                      <a:pt x="75" y="4"/>
                    </a:lnTo>
                    <a:lnTo>
                      <a:pt x="72" y="4"/>
                    </a:lnTo>
                    <a:lnTo>
                      <a:pt x="70" y="4"/>
                    </a:lnTo>
                    <a:lnTo>
                      <a:pt x="70" y="2"/>
                    </a:lnTo>
                    <a:lnTo>
                      <a:pt x="69" y="2"/>
                    </a:lnTo>
                    <a:lnTo>
                      <a:pt x="67" y="2"/>
                    </a:lnTo>
                    <a:lnTo>
                      <a:pt x="64" y="0"/>
                    </a:lnTo>
                    <a:lnTo>
                      <a:pt x="59" y="0"/>
                    </a:lnTo>
                    <a:lnTo>
                      <a:pt x="59" y="2"/>
                    </a:lnTo>
                    <a:lnTo>
                      <a:pt x="58" y="4"/>
                    </a:lnTo>
                    <a:lnTo>
                      <a:pt x="55" y="5"/>
                    </a:lnTo>
                    <a:lnTo>
                      <a:pt x="55" y="5"/>
                    </a:lnTo>
                    <a:lnTo>
                      <a:pt x="53" y="5"/>
                    </a:lnTo>
                    <a:lnTo>
                      <a:pt x="50" y="8"/>
                    </a:lnTo>
                    <a:lnTo>
                      <a:pt x="44" y="10"/>
                    </a:lnTo>
                    <a:lnTo>
                      <a:pt x="41" y="11"/>
                    </a:lnTo>
                    <a:lnTo>
                      <a:pt x="38" y="13"/>
                    </a:lnTo>
                    <a:lnTo>
                      <a:pt x="34" y="15"/>
                    </a:lnTo>
                    <a:lnTo>
                      <a:pt x="31" y="15"/>
                    </a:lnTo>
                    <a:lnTo>
                      <a:pt x="30" y="15"/>
                    </a:lnTo>
                    <a:lnTo>
                      <a:pt x="25" y="15"/>
                    </a:lnTo>
                    <a:lnTo>
                      <a:pt x="23" y="11"/>
                    </a:lnTo>
                    <a:lnTo>
                      <a:pt x="20" y="10"/>
                    </a:lnTo>
                    <a:lnTo>
                      <a:pt x="20" y="10"/>
                    </a:lnTo>
                    <a:lnTo>
                      <a:pt x="19" y="8"/>
                    </a:lnTo>
                    <a:lnTo>
                      <a:pt x="19" y="10"/>
                    </a:lnTo>
                    <a:lnTo>
                      <a:pt x="20" y="10"/>
                    </a:lnTo>
                    <a:lnTo>
                      <a:pt x="22" y="11"/>
                    </a:lnTo>
                    <a:lnTo>
                      <a:pt x="20" y="13"/>
                    </a:lnTo>
                    <a:lnTo>
                      <a:pt x="19" y="11"/>
                    </a:lnTo>
                    <a:lnTo>
                      <a:pt x="16" y="13"/>
                    </a:lnTo>
                    <a:lnTo>
                      <a:pt x="16" y="11"/>
                    </a:lnTo>
                    <a:lnTo>
                      <a:pt x="14" y="11"/>
                    </a:lnTo>
                    <a:lnTo>
                      <a:pt x="14" y="8"/>
                    </a:lnTo>
                    <a:lnTo>
                      <a:pt x="14" y="8"/>
                    </a:lnTo>
                    <a:lnTo>
                      <a:pt x="14" y="8"/>
                    </a:lnTo>
                    <a:lnTo>
                      <a:pt x="14" y="7"/>
                    </a:lnTo>
                    <a:lnTo>
                      <a:pt x="12" y="8"/>
                    </a:lnTo>
                    <a:lnTo>
                      <a:pt x="11" y="8"/>
                    </a:lnTo>
                    <a:lnTo>
                      <a:pt x="11" y="5"/>
                    </a:lnTo>
                    <a:lnTo>
                      <a:pt x="11" y="5"/>
                    </a:lnTo>
                    <a:lnTo>
                      <a:pt x="11" y="4"/>
                    </a:lnTo>
                    <a:lnTo>
                      <a:pt x="9" y="2"/>
                    </a:lnTo>
                    <a:lnTo>
                      <a:pt x="8" y="0"/>
                    </a:lnTo>
                    <a:lnTo>
                      <a:pt x="8" y="2"/>
                    </a:lnTo>
                    <a:lnTo>
                      <a:pt x="8" y="2"/>
                    </a:lnTo>
                    <a:lnTo>
                      <a:pt x="8" y="2"/>
                    </a:lnTo>
                    <a:lnTo>
                      <a:pt x="6" y="2"/>
                    </a:lnTo>
                    <a:lnTo>
                      <a:pt x="6" y="2"/>
                    </a:lnTo>
                    <a:lnTo>
                      <a:pt x="5" y="2"/>
                    </a:lnTo>
                    <a:lnTo>
                      <a:pt x="3" y="0"/>
                    </a:lnTo>
                    <a:lnTo>
                      <a:pt x="3" y="0"/>
                    </a:lnTo>
                    <a:lnTo>
                      <a:pt x="3" y="2"/>
                    </a:lnTo>
                    <a:lnTo>
                      <a:pt x="2" y="2"/>
                    </a:lnTo>
                    <a:lnTo>
                      <a:pt x="2" y="4"/>
                    </a:lnTo>
                    <a:lnTo>
                      <a:pt x="2" y="4"/>
                    </a:lnTo>
                    <a:lnTo>
                      <a:pt x="2" y="7"/>
                    </a:lnTo>
                    <a:lnTo>
                      <a:pt x="2" y="10"/>
                    </a:lnTo>
                    <a:lnTo>
                      <a:pt x="2" y="10"/>
                    </a:lnTo>
                    <a:lnTo>
                      <a:pt x="3" y="11"/>
                    </a:lnTo>
                    <a:lnTo>
                      <a:pt x="3" y="11"/>
                    </a:lnTo>
                    <a:lnTo>
                      <a:pt x="3" y="11"/>
                    </a:lnTo>
                    <a:lnTo>
                      <a:pt x="3" y="11"/>
                    </a:lnTo>
                    <a:lnTo>
                      <a:pt x="5" y="11"/>
                    </a:lnTo>
                    <a:lnTo>
                      <a:pt x="5" y="13"/>
                    </a:lnTo>
                    <a:lnTo>
                      <a:pt x="5" y="13"/>
                    </a:lnTo>
                    <a:lnTo>
                      <a:pt x="5" y="13"/>
                    </a:lnTo>
                    <a:lnTo>
                      <a:pt x="5" y="13"/>
                    </a:lnTo>
                    <a:lnTo>
                      <a:pt x="3" y="15"/>
                    </a:lnTo>
                    <a:lnTo>
                      <a:pt x="2" y="15"/>
                    </a:lnTo>
                    <a:lnTo>
                      <a:pt x="2" y="16"/>
                    </a:lnTo>
                    <a:lnTo>
                      <a:pt x="3" y="18"/>
                    </a:lnTo>
                    <a:lnTo>
                      <a:pt x="3" y="19"/>
                    </a:lnTo>
                    <a:lnTo>
                      <a:pt x="3" y="21"/>
                    </a:lnTo>
                    <a:lnTo>
                      <a:pt x="3" y="21"/>
                    </a:lnTo>
                    <a:lnTo>
                      <a:pt x="0" y="22"/>
                    </a:lnTo>
                    <a:lnTo>
                      <a:pt x="0" y="22"/>
                    </a:lnTo>
                    <a:lnTo>
                      <a:pt x="0" y="24"/>
                    </a:lnTo>
                    <a:lnTo>
                      <a:pt x="0" y="24"/>
                    </a:lnTo>
                    <a:lnTo>
                      <a:pt x="2" y="24"/>
                    </a:lnTo>
                    <a:lnTo>
                      <a:pt x="2" y="25"/>
                    </a:lnTo>
                    <a:lnTo>
                      <a:pt x="2" y="27"/>
                    </a:lnTo>
                    <a:lnTo>
                      <a:pt x="2" y="27"/>
                    </a:lnTo>
                    <a:lnTo>
                      <a:pt x="3" y="27"/>
                    </a:lnTo>
                    <a:lnTo>
                      <a:pt x="3" y="24"/>
                    </a:lnTo>
                    <a:lnTo>
                      <a:pt x="5" y="24"/>
                    </a:lnTo>
                    <a:lnTo>
                      <a:pt x="6" y="24"/>
                    </a:lnTo>
                    <a:lnTo>
                      <a:pt x="8" y="24"/>
                    </a:lnTo>
                    <a:lnTo>
                      <a:pt x="11" y="24"/>
                    </a:lnTo>
                    <a:lnTo>
                      <a:pt x="14" y="24"/>
                    </a:lnTo>
                    <a:lnTo>
                      <a:pt x="14" y="25"/>
                    </a:lnTo>
                    <a:lnTo>
                      <a:pt x="14" y="25"/>
                    </a:lnTo>
                    <a:lnTo>
                      <a:pt x="16" y="25"/>
                    </a:lnTo>
                    <a:lnTo>
                      <a:pt x="19" y="25"/>
                    </a:lnTo>
                    <a:lnTo>
                      <a:pt x="20" y="25"/>
                    </a:lnTo>
                    <a:lnTo>
                      <a:pt x="22" y="27"/>
                    </a:lnTo>
                    <a:lnTo>
                      <a:pt x="23" y="27"/>
                    </a:lnTo>
                    <a:lnTo>
                      <a:pt x="23" y="29"/>
                    </a:lnTo>
                    <a:lnTo>
                      <a:pt x="27" y="33"/>
                    </a:lnTo>
                    <a:lnTo>
                      <a:pt x="28" y="35"/>
                    </a:lnTo>
                    <a:lnTo>
                      <a:pt x="30" y="35"/>
                    </a:lnTo>
                    <a:lnTo>
                      <a:pt x="31" y="35"/>
                    </a:lnTo>
                    <a:lnTo>
                      <a:pt x="31" y="35"/>
                    </a:lnTo>
                    <a:lnTo>
                      <a:pt x="31" y="32"/>
                    </a:lnTo>
                    <a:lnTo>
                      <a:pt x="33" y="32"/>
                    </a:lnTo>
                    <a:lnTo>
                      <a:pt x="33" y="32"/>
                    </a:lnTo>
                    <a:lnTo>
                      <a:pt x="34" y="30"/>
                    </a:lnTo>
                    <a:lnTo>
                      <a:pt x="34" y="33"/>
                    </a:lnTo>
                    <a:lnTo>
                      <a:pt x="36" y="40"/>
                    </a:lnTo>
                    <a:lnTo>
                      <a:pt x="38" y="41"/>
                    </a:lnTo>
                    <a:lnTo>
                      <a:pt x="38" y="43"/>
                    </a:lnTo>
                    <a:lnTo>
                      <a:pt x="41" y="43"/>
                    </a:lnTo>
                    <a:lnTo>
                      <a:pt x="45" y="41"/>
                    </a:lnTo>
                    <a:lnTo>
                      <a:pt x="47" y="41"/>
                    </a:lnTo>
                    <a:lnTo>
                      <a:pt x="47" y="40"/>
                    </a:lnTo>
                    <a:lnTo>
                      <a:pt x="48" y="40"/>
                    </a:lnTo>
                    <a:lnTo>
                      <a:pt x="50" y="40"/>
                    </a:lnTo>
                    <a:lnTo>
                      <a:pt x="52" y="38"/>
                    </a:lnTo>
                    <a:lnTo>
                      <a:pt x="53" y="38"/>
                    </a:lnTo>
                    <a:lnTo>
                      <a:pt x="52" y="36"/>
                    </a:lnTo>
                    <a:lnTo>
                      <a:pt x="52" y="35"/>
                    </a:lnTo>
                    <a:lnTo>
                      <a:pt x="48" y="32"/>
                    </a:lnTo>
                    <a:lnTo>
                      <a:pt x="47" y="29"/>
                    </a:lnTo>
                    <a:lnTo>
                      <a:pt x="45" y="29"/>
                    </a:lnTo>
                    <a:lnTo>
                      <a:pt x="45" y="27"/>
                    </a:lnTo>
                    <a:lnTo>
                      <a:pt x="44" y="27"/>
                    </a:lnTo>
                    <a:lnTo>
                      <a:pt x="45" y="25"/>
                    </a:lnTo>
                    <a:lnTo>
                      <a:pt x="45" y="24"/>
                    </a:lnTo>
                    <a:lnTo>
                      <a:pt x="47" y="24"/>
                    </a:lnTo>
                    <a:lnTo>
                      <a:pt x="48" y="24"/>
                    </a:lnTo>
                    <a:lnTo>
                      <a:pt x="50" y="22"/>
                    </a:lnTo>
                    <a:lnTo>
                      <a:pt x="58" y="18"/>
                    </a:lnTo>
                    <a:lnTo>
                      <a:pt x="56" y="18"/>
                    </a:lnTo>
                    <a:lnTo>
                      <a:pt x="56" y="16"/>
                    </a:lnTo>
                    <a:lnTo>
                      <a:pt x="58" y="15"/>
                    </a:lnTo>
                    <a:lnTo>
                      <a:pt x="58" y="15"/>
                    </a:lnTo>
                    <a:lnTo>
                      <a:pt x="61" y="13"/>
                    </a:lnTo>
                    <a:lnTo>
                      <a:pt x="61" y="13"/>
                    </a:lnTo>
                    <a:lnTo>
                      <a:pt x="61" y="11"/>
                    </a:lnTo>
                    <a:lnTo>
                      <a:pt x="63" y="11"/>
                    </a:lnTo>
                    <a:lnTo>
                      <a:pt x="66" y="11"/>
                    </a:lnTo>
                    <a:lnTo>
                      <a:pt x="69" y="11"/>
                    </a:lnTo>
                    <a:lnTo>
                      <a:pt x="70" y="13"/>
                    </a:lnTo>
                    <a:lnTo>
                      <a:pt x="73" y="15"/>
                    </a:lnTo>
                    <a:lnTo>
                      <a:pt x="75" y="15"/>
                    </a:lnTo>
                    <a:lnTo>
                      <a:pt x="75" y="16"/>
                    </a:lnTo>
                    <a:lnTo>
                      <a:pt x="77" y="16"/>
                    </a:lnTo>
                    <a:lnTo>
                      <a:pt x="77" y="16"/>
                    </a:lnTo>
                    <a:lnTo>
                      <a:pt x="78" y="18"/>
                    </a:lnTo>
                    <a:lnTo>
                      <a:pt x="80" y="21"/>
                    </a:lnTo>
                    <a:lnTo>
                      <a:pt x="80" y="22"/>
                    </a:lnTo>
                    <a:lnTo>
                      <a:pt x="81" y="22"/>
                    </a:lnTo>
                    <a:lnTo>
                      <a:pt x="81" y="22"/>
                    </a:lnTo>
                    <a:lnTo>
                      <a:pt x="81" y="22"/>
                    </a:lnTo>
                    <a:lnTo>
                      <a:pt x="81" y="21"/>
                    </a:lnTo>
                    <a:lnTo>
                      <a:pt x="81" y="19"/>
                    </a:lnTo>
                    <a:lnTo>
                      <a:pt x="81" y="21"/>
                    </a:lnTo>
                    <a:lnTo>
                      <a:pt x="81" y="21"/>
                    </a:lnTo>
                    <a:lnTo>
                      <a:pt x="83" y="21"/>
                    </a:lnTo>
                    <a:lnTo>
                      <a:pt x="83" y="21"/>
                    </a:lnTo>
                    <a:lnTo>
                      <a:pt x="84" y="22"/>
                    </a:lnTo>
                    <a:lnTo>
                      <a:pt x="84" y="21"/>
                    </a:lnTo>
                    <a:lnTo>
                      <a:pt x="84" y="21"/>
                    </a:lnTo>
                    <a:lnTo>
                      <a:pt x="86" y="21"/>
                    </a:lnTo>
                    <a:lnTo>
                      <a:pt x="88" y="22"/>
                    </a:lnTo>
                    <a:lnTo>
                      <a:pt x="88" y="24"/>
                    </a:lnTo>
                    <a:lnTo>
                      <a:pt x="91" y="25"/>
                    </a:lnTo>
                    <a:lnTo>
                      <a:pt x="92" y="27"/>
                    </a:lnTo>
                    <a:lnTo>
                      <a:pt x="91" y="25"/>
                    </a:lnTo>
                    <a:lnTo>
                      <a:pt x="89" y="25"/>
                    </a:lnTo>
                    <a:lnTo>
                      <a:pt x="88" y="24"/>
                    </a:lnTo>
                    <a:lnTo>
                      <a:pt x="86" y="22"/>
                    </a:lnTo>
                    <a:lnTo>
                      <a:pt x="86" y="22"/>
                    </a:lnTo>
                    <a:lnTo>
                      <a:pt x="84" y="22"/>
                    </a:lnTo>
                    <a:lnTo>
                      <a:pt x="83" y="24"/>
                    </a:lnTo>
                    <a:lnTo>
                      <a:pt x="83" y="27"/>
                    </a:lnTo>
                    <a:lnTo>
                      <a:pt x="83" y="27"/>
                    </a:lnTo>
                    <a:lnTo>
                      <a:pt x="83" y="27"/>
                    </a:lnTo>
                    <a:lnTo>
                      <a:pt x="81" y="27"/>
                    </a:lnTo>
                    <a:lnTo>
                      <a:pt x="80" y="27"/>
                    </a:lnTo>
                    <a:lnTo>
                      <a:pt x="81" y="30"/>
                    </a:lnTo>
                    <a:lnTo>
                      <a:pt x="84" y="36"/>
                    </a:lnTo>
                    <a:lnTo>
                      <a:pt x="89" y="43"/>
                    </a:lnTo>
                    <a:lnTo>
                      <a:pt x="89" y="43"/>
                    </a:lnTo>
                    <a:lnTo>
                      <a:pt x="91" y="38"/>
                    </a:lnTo>
                    <a:lnTo>
                      <a:pt x="91" y="38"/>
                    </a:lnTo>
                    <a:lnTo>
                      <a:pt x="92" y="38"/>
                    </a:lnTo>
                    <a:lnTo>
                      <a:pt x="92" y="36"/>
                    </a:lnTo>
                    <a:lnTo>
                      <a:pt x="92" y="35"/>
                    </a:lnTo>
                    <a:lnTo>
                      <a:pt x="92" y="35"/>
                    </a:lnTo>
                    <a:lnTo>
                      <a:pt x="92" y="33"/>
                    </a:lnTo>
                    <a:lnTo>
                      <a:pt x="92" y="33"/>
                    </a:lnTo>
                    <a:lnTo>
                      <a:pt x="92" y="35"/>
                    </a:lnTo>
                    <a:lnTo>
                      <a:pt x="92" y="35"/>
                    </a:lnTo>
                    <a:lnTo>
                      <a:pt x="94" y="35"/>
                    </a:lnTo>
                    <a:lnTo>
                      <a:pt x="94" y="35"/>
                    </a:lnTo>
                    <a:lnTo>
                      <a:pt x="94" y="36"/>
                    </a:lnTo>
                    <a:lnTo>
                      <a:pt x="94" y="36"/>
                    </a:lnTo>
                    <a:lnTo>
                      <a:pt x="95" y="36"/>
                    </a:lnTo>
                    <a:lnTo>
                      <a:pt x="95" y="36"/>
                    </a:lnTo>
                    <a:lnTo>
                      <a:pt x="95" y="36"/>
                    </a:lnTo>
                    <a:lnTo>
                      <a:pt x="98" y="33"/>
                    </a:lnTo>
                    <a:lnTo>
                      <a:pt x="98" y="33"/>
                    </a:lnTo>
                    <a:lnTo>
                      <a:pt x="98" y="33"/>
                    </a:lnTo>
                    <a:lnTo>
                      <a:pt x="100" y="32"/>
                    </a:lnTo>
                    <a:lnTo>
                      <a:pt x="100" y="32"/>
                    </a:lnTo>
                    <a:lnTo>
                      <a:pt x="100" y="30"/>
                    </a:lnTo>
                    <a:lnTo>
                      <a:pt x="100" y="30"/>
                    </a:lnTo>
                    <a:lnTo>
                      <a:pt x="102" y="30"/>
                    </a:lnTo>
                    <a:lnTo>
                      <a:pt x="102" y="30"/>
                    </a:lnTo>
                    <a:lnTo>
                      <a:pt x="102" y="29"/>
                    </a:lnTo>
                    <a:lnTo>
                      <a:pt x="102" y="2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4" name="Freeform 161">
                <a:extLst>
                  <a:ext uri="{FF2B5EF4-FFF2-40B4-BE49-F238E27FC236}">
                    <a16:creationId xmlns:a16="http://schemas.microsoft.com/office/drawing/2014/main" id="{D1CAA9F0-9871-E0E6-4E0D-A1342D94FACB}"/>
                  </a:ext>
                </a:extLst>
              </p:cNvPr>
              <p:cNvSpPr>
                <a:spLocks/>
              </p:cNvSpPr>
              <p:nvPr/>
            </p:nvSpPr>
            <p:spPr bwMode="gray">
              <a:xfrm>
                <a:off x="1248" y="1577"/>
                <a:ext cx="222" cy="326"/>
              </a:xfrm>
              <a:custGeom>
                <a:avLst/>
                <a:gdLst>
                  <a:gd name="T0" fmla="*/ 190 w 222"/>
                  <a:gd name="T1" fmla="*/ 72 h 326"/>
                  <a:gd name="T2" fmla="*/ 175 w 222"/>
                  <a:gd name="T3" fmla="*/ 77 h 326"/>
                  <a:gd name="T4" fmla="*/ 154 w 222"/>
                  <a:gd name="T5" fmla="*/ 85 h 326"/>
                  <a:gd name="T6" fmla="*/ 147 w 222"/>
                  <a:gd name="T7" fmla="*/ 99 h 326"/>
                  <a:gd name="T8" fmla="*/ 142 w 222"/>
                  <a:gd name="T9" fmla="*/ 115 h 326"/>
                  <a:gd name="T10" fmla="*/ 133 w 222"/>
                  <a:gd name="T11" fmla="*/ 127 h 326"/>
                  <a:gd name="T12" fmla="*/ 129 w 222"/>
                  <a:gd name="T13" fmla="*/ 132 h 326"/>
                  <a:gd name="T14" fmla="*/ 133 w 222"/>
                  <a:gd name="T15" fmla="*/ 138 h 326"/>
                  <a:gd name="T16" fmla="*/ 136 w 222"/>
                  <a:gd name="T17" fmla="*/ 146 h 326"/>
                  <a:gd name="T18" fmla="*/ 145 w 222"/>
                  <a:gd name="T19" fmla="*/ 155 h 326"/>
                  <a:gd name="T20" fmla="*/ 158 w 222"/>
                  <a:gd name="T21" fmla="*/ 168 h 326"/>
                  <a:gd name="T22" fmla="*/ 175 w 222"/>
                  <a:gd name="T23" fmla="*/ 176 h 326"/>
                  <a:gd name="T24" fmla="*/ 187 w 222"/>
                  <a:gd name="T25" fmla="*/ 166 h 326"/>
                  <a:gd name="T26" fmla="*/ 187 w 222"/>
                  <a:gd name="T27" fmla="*/ 182 h 326"/>
                  <a:gd name="T28" fmla="*/ 195 w 222"/>
                  <a:gd name="T29" fmla="*/ 194 h 326"/>
                  <a:gd name="T30" fmla="*/ 215 w 222"/>
                  <a:gd name="T31" fmla="*/ 209 h 326"/>
                  <a:gd name="T32" fmla="*/ 215 w 222"/>
                  <a:gd name="T33" fmla="*/ 227 h 326"/>
                  <a:gd name="T34" fmla="*/ 217 w 222"/>
                  <a:gd name="T35" fmla="*/ 248 h 326"/>
                  <a:gd name="T36" fmla="*/ 212 w 222"/>
                  <a:gd name="T37" fmla="*/ 257 h 326"/>
                  <a:gd name="T38" fmla="*/ 211 w 222"/>
                  <a:gd name="T39" fmla="*/ 273 h 326"/>
                  <a:gd name="T40" fmla="*/ 219 w 222"/>
                  <a:gd name="T41" fmla="*/ 288 h 326"/>
                  <a:gd name="T42" fmla="*/ 211 w 222"/>
                  <a:gd name="T43" fmla="*/ 299 h 326"/>
                  <a:gd name="T44" fmla="*/ 206 w 222"/>
                  <a:gd name="T45" fmla="*/ 310 h 326"/>
                  <a:gd name="T46" fmla="*/ 201 w 222"/>
                  <a:gd name="T47" fmla="*/ 321 h 326"/>
                  <a:gd name="T48" fmla="*/ 179 w 222"/>
                  <a:gd name="T49" fmla="*/ 317 h 326"/>
                  <a:gd name="T50" fmla="*/ 159 w 222"/>
                  <a:gd name="T51" fmla="*/ 299 h 326"/>
                  <a:gd name="T52" fmla="*/ 122 w 222"/>
                  <a:gd name="T53" fmla="*/ 281 h 326"/>
                  <a:gd name="T54" fmla="*/ 90 w 222"/>
                  <a:gd name="T55" fmla="*/ 252 h 326"/>
                  <a:gd name="T56" fmla="*/ 84 w 222"/>
                  <a:gd name="T57" fmla="*/ 229 h 326"/>
                  <a:gd name="T58" fmla="*/ 72 w 222"/>
                  <a:gd name="T59" fmla="*/ 205 h 326"/>
                  <a:gd name="T60" fmla="*/ 50 w 222"/>
                  <a:gd name="T61" fmla="*/ 165 h 326"/>
                  <a:gd name="T62" fmla="*/ 29 w 222"/>
                  <a:gd name="T63" fmla="*/ 130 h 326"/>
                  <a:gd name="T64" fmla="*/ 3 w 222"/>
                  <a:gd name="T65" fmla="*/ 102 h 326"/>
                  <a:gd name="T66" fmla="*/ 1 w 222"/>
                  <a:gd name="T67" fmla="*/ 85 h 326"/>
                  <a:gd name="T68" fmla="*/ 17 w 222"/>
                  <a:gd name="T69" fmla="*/ 60 h 326"/>
                  <a:gd name="T70" fmla="*/ 18 w 222"/>
                  <a:gd name="T71" fmla="*/ 66 h 326"/>
                  <a:gd name="T72" fmla="*/ 14 w 222"/>
                  <a:gd name="T73" fmla="*/ 72 h 326"/>
                  <a:gd name="T74" fmla="*/ 18 w 222"/>
                  <a:gd name="T75" fmla="*/ 76 h 326"/>
                  <a:gd name="T76" fmla="*/ 31 w 222"/>
                  <a:gd name="T77" fmla="*/ 79 h 326"/>
                  <a:gd name="T78" fmla="*/ 40 w 222"/>
                  <a:gd name="T79" fmla="*/ 85 h 326"/>
                  <a:gd name="T80" fmla="*/ 47 w 222"/>
                  <a:gd name="T81" fmla="*/ 77 h 326"/>
                  <a:gd name="T82" fmla="*/ 50 w 222"/>
                  <a:gd name="T83" fmla="*/ 66 h 326"/>
                  <a:gd name="T84" fmla="*/ 54 w 222"/>
                  <a:gd name="T85" fmla="*/ 61 h 326"/>
                  <a:gd name="T86" fmla="*/ 61 w 222"/>
                  <a:gd name="T87" fmla="*/ 52 h 326"/>
                  <a:gd name="T88" fmla="*/ 92 w 222"/>
                  <a:gd name="T89" fmla="*/ 36 h 326"/>
                  <a:gd name="T90" fmla="*/ 104 w 222"/>
                  <a:gd name="T91" fmla="*/ 16 h 326"/>
                  <a:gd name="T92" fmla="*/ 103 w 222"/>
                  <a:gd name="T93" fmla="*/ 5 h 326"/>
                  <a:gd name="T94" fmla="*/ 106 w 222"/>
                  <a:gd name="T95" fmla="*/ 0 h 326"/>
                  <a:gd name="T96" fmla="*/ 115 w 222"/>
                  <a:gd name="T97" fmla="*/ 5 h 326"/>
                  <a:gd name="T98" fmla="*/ 122 w 222"/>
                  <a:gd name="T99" fmla="*/ 15 h 326"/>
                  <a:gd name="T100" fmla="*/ 134 w 222"/>
                  <a:gd name="T101" fmla="*/ 22 h 326"/>
                  <a:gd name="T102" fmla="*/ 142 w 222"/>
                  <a:gd name="T103" fmla="*/ 32 h 326"/>
                  <a:gd name="T104" fmla="*/ 147 w 222"/>
                  <a:gd name="T105" fmla="*/ 41 h 326"/>
                  <a:gd name="T106" fmla="*/ 159 w 222"/>
                  <a:gd name="T107" fmla="*/ 41 h 326"/>
                  <a:gd name="T108" fmla="*/ 172 w 222"/>
                  <a:gd name="T109" fmla="*/ 40 h 326"/>
                  <a:gd name="T110" fmla="*/ 187 w 222"/>
                  <a:gd name="T111" fmla="*/ 43 h 326"/>
                  <a:gd name="T112" fmla="*/ 197 w 222"/>
                  <a:gd name="T113" fmla="*/ 47 h 326"/>
                  <a:gd name="T114" fmla="*/ 190 w 222"/>
                  <a:gd name="T115" fmla="*/ 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326">
                    <a:moveTo>
                      <a:pt x="198" y="74"/>
                    </a:moveTo>
                    <a:lnTo>
                      <a:pt x="198" y="76"/>
                    </a:lnTo>
                    <a:lnTo>
                      <a:pt x="198" y="76"/>
                    </a:lnTo>
                    <a:lnTo>
                      <a:pt x="197" y="76"/>
                    </a:lnTo>
                    <a:lnTo>
                      <a:pt x="197" y="76"/>
                    </a:lnTo>
                    <a:lnTo>
                      <a:pt x="195" y="76"/>
                    </a:lnTo>
                    <a:lnTo>
                      <a:pt x="194" y="76"/>
                    </a:lnTo>
                    <a:lnTo>
                      <a:pt x="192" y="74"/>
                    </a:lnTo>
                    <a:lnTo>
                      <a:pt x="192" y="72"/>
                    </a:lnTo>
                    <a:lnTo>
                      <a:pt x="190" y="72"/>
                    </a:lnTo>
                    <a:lnTo>
                      <a:pt x="189" y="72"/>
                    </a:lnTo>
                    <a:lnTo>
                      <a:pt x="187" y="72"/>
                    </a:lnTo>
                    <a:lnTo>
                      <a:pt x="186" y="72"/>
                    </a:lnTo>
                    <a:lnTo>
                      <a:pt x="184" y="72"/>
                    </a:lnTo>
                    <a:lnTo>
                      <a:pt x="183" y="74"/>
                    </a:lnTo>
                    <a:lnTo>
                      <a:pt x="183" y="76"/>
                    </a:lnTo>
                    <a:lnTo>
                      <a:pt x="181" y="76"/>
                    </a:lnTo>
                    <a:lnTo>
                      <a:pt x="178" y="77"/>
                    </a:lnTo>
                    <a:lnTo>
                      <a:pt x="176" y="77"/>
                    </a:lnTo>
                    <a:lnTo>
                      <a:pt x="175" y="77"/>
                    </a:lnTo>
                    <a:lnTo>
                      <a:pt x="173" y="77"/>
                    </a:lnTo>
                    <a:lnTo>
                      <a:pt x="172" y="79"/>
                    </a:lnTo>
                    <a:lnTo>
                      <a:pt x="169" y="79"/>
                    </a:lnTo>
                    <a:lnTo>
                      <a:pt x="165" y="79"/>
                    </a:lnTo>
                    <a:lnTo>
                      <a:pt x="164" y="80"/>
                    </a:lnTo>
                    <a:lnTo>
                      <a:pt x="164" y="80"/>
                    </a:lnTo>
                    <a:lnTo>
                      <a:pt x="162" y="82"/>
                    </a:lnTo>
                    <a:lnTo>
                      <a:pt x="159" y="83"/>
                    </a:lnTo>
                    <a:lnTo>
                      <a:pt x="158" y="83"/>
                    </a:lnTo>
                    <a:lnTo>
                      <a:pt x="154" y="85"/>
                    </a:lnTo>
                    <a:lnTo>
                      <a:pt x="153" y="88"/>
                    </a:lnTo>
                    <a:lnTo>
                      <a:pt x="151" y="88"/>
                    </a:lnTo>
                    <a:lnTo>
                      <a:pt x="148" y="90"/>
                    </a:lnTo>
                    <a:lnTo>
                      <a:pt x="148" y="90"/>
                    </a:lnTo>
                    <a:lnTo>
                      <a:pt x="147" y="90"/>
                    </a:lnTo>
                    <a:lnTo>
                      <a:pt x="147" y="91"/>
                    </a:lnTo>
                    <a:lnTo>
                      <a:pt x="147" y="93"/>
                    </a:lnTo>
                    <a:lnTo>
                      <a:pt x="147" y="96"/>
                    </a:lnTo>
                    <a:lnTo>
                      <a:pt x="147" y="97"/>
                    </a:lnTo>
                    <a:lnTo>
                      <a:pt x="147" y="99"/>
                    </a:lnTo>
                    <a:lnTo>
                      <a:pt x="145" y="101"/>
                    </a:lnTo>
                    <a:lnTo>
                      <a:pt x="142" y="104"/>
                    </a:lnTo>
                    <a:lnTo>
                      <a:pt x="142" y="105"/>
                    </a:lnTo>
                    <a:lnTo>
                      <a:pt x="142" y="107"/>
                    </a:lnTo>
                    <a:lnTo>
                      <a:pt x="142" y="107"/>
                    </a:lnTo>
                    <a:lnTo>
                      <a:pt x="142" y="110"/>
                    </a:lnTo>
                    <a:lnTo>
                      <a:pt x="144" y="112"/>
                    </a:lnTo>
                    <a:lnTo>
                      <a:pt x="144" y="112"/>
                    </a:lnTo>
                    <a:lnTo>
                      <a:pt x="144" y="113"/>
                    </a:lnTo>
                    <a:lnTo>
                      <a:pt x="142" y="115"/>
                    </a:lnTo>
                    <a:lnTo>
                      <a:pt x="142" y="115"/>
                    </a:lnTo>
                    <a:lnTo>
                      <a:pt x="140" y="115"/>
                    </a:lnTo>
                    <a:lnTo>
                      <a:pt x="137" y="116"/>
                    </a:lnTo>
                    <a:lnTo>
                      <a:pt x="134" y="119"/>
                    </a:lnTo>
                    <a:lnTo>
                      <a:pt x="133" y="121"/>
                    </a:lnTo>
                    <a:lnTo>
                      <a:pt x="133" y="123"/>
                    </a:lnTo>
                    <a:lnTo>
                      <a:pt x="131" y="124"/>
                    </a:lnTo>
                    <a:lnTo>
                      <a:pt x="131" y="124"/>
                    </a:lnTo>
                    <a:lnTo>
                      <a:pt x="133" y="126"/>
                    </a:lnTo>
                    <a:lnTo>
                      <a:pt x="133" y="127"/>
                    </a:lnTo>
                    <a:lnTo>
                      <a:pt x="133" y="127"/>
                    </a:lnTo>
                    <a:lnTo>
                      <a:pt x="133" y="129"/>
                    </a:lnTo>
                    <a:lnTo>
                      <a:pt x="131" y="129"/>
                    </a:lnTo>
                    <a:lnTo>
                      <a:pt x="131" y="129"/>
                    </a:lnTo>
                    <a:lnTo>
                      <a:pt x="129" y="129"/>
                    </a:lnTo>
                    <a:lnTo>
                      <a:pt x="129" y="129"/>
                    </a:lnTo>
                    <a:lnTo>
                      <a:pt x="128" y="129"/>
                    </a:lnTo>
                    <a:lnTo>
                      <a:pt x="128" y="130"/>
                    </a:lnTo>
                    <a:lnTo>
                      <a:pt x="129" y="130"/>
                    </a:lnTo>
                    <a:lnTo>
                      <a:pt x="129" y="132"/>
                    </a:lnTo>
                    <a:lnTo>
                      <a:pt x="128" y="132"/>
                    </a:lnTo>
                    <a:lnTo>
                      <a:pt x="128" y="132"/>
                    </a:lnTo>
                    <a:lnTo>
                      <a:pt x="128" y="133"/>
                    </a:lnTo>
                    <a:lnTo>
                      <a:pt x="129" y="133"/>
                    </a:lnTo>
                    <a:lnTo>
                      <a:pt x="129" y="133"/>
                    </a:lnTo>
                    <a:lnTo>
                      <a:pt x="131" y="135"/>
                    </a:lnTo>
                    <a:lnTo>
                      <a:pt x="133" y="135"/>
                    </a:lnTo>
                    <a:lnTo>
                      <a:pt x="133" y="137"/>
                    </a:lnTo>
                    <a:lnTo>
                      <a:pt x="133" y="137"/>
                    </a:lnTo>
                    <a:lnTo>
                      <a:pt x="133" y="138"/>
                    </a:lnTo>
                    <a:lnTo>
                      <a:pt x="133" y="138"/>
                    </a:lnTo>
                    <a:lnTo>
                      <a:pt x="133" y="138"/>
                    </a:lnTo>
                    <a:lnTo>
                      <a:pt x="133" y="140"/>
                    </a:lnTo>
                    <a:lnTo>
                      <a:pt x="134" y="140"/>
                    </a:lnTo>
                    <a:lnTo>
                      <a:pt x="134" y="141"/>
                    </a:lnTo>
                    <a:lnTo>
                      <a:pt x="134" y="143"/>
                    </a:lnTo>
                    <a:lnTo>
                      <a:pt x="134" y="143"/>
                    </a:lnTo>
                    <a:lnTo>
                      <a:pt x="136" y="144"/>
                    </a:lnTo>
                    <a:lnTo>
                      <a:pt x="136" y="146"/>
                    </a:lnTo>
                    <a:lnTo>
                      <a:pt x="136" y="146"/>
                    </a:lnTo>
                    <a:lnTo>
                      <a:pt x="137" y="148"/>
                    </a:lnTo>
                    <a:lnTo>
                      <a:pt x="137" y="148"/>
                    </a:lnTo>
                    <a:lnTo>
                      <a:pt x="139" y="148"/>
                    </a:lnTo>
                    <a:lnTo>
                      <a:pt x="139" y="149"/>
                    </a:lnTo>
                    <a:lnTo>
                      <a:pt x="139" y="149"/>
                    </a:lnTo>
                    <a:lnTo>
                      <a:pt x="139" y="151"/>
                    </a:lnTo>
                    <a:lnTo>
                      <a:pt x="140" y="152"/>
                    </a:lnTo>
                    <a:lnTo>
                      <a:pt x="142" y="152"/>
                    </a:lnTo>
                    <a:lnTo>
                      <a:pt x="144" y="154"/>
                    </a:lnTo>
                    <a:lnTo>
                      <a:pt x="145" y="155"/>
                    </a:lnTo>
                    <a:lnTo>
                      <a:pt x="147" y="157"/>
                    </a:lnTo>
                    <a:lnTo>
                      <a:pt x="147" y="160"/>
                    </a:lnTo>
                    <a:lnTo>
                      <a:pt x="144" y="162"/>
                    </a:lnTo>
                    <a:lnTo>
                      <a:pt x="142" y="165"/>
                    </a:lnTo>
                    <a:lnTo>
                      <a:pt x="145" y="165"/>
                    </a:lnTo>
                    <a:lnTo>
                      <a:pt x="148" y="165"/>
                    </a:lnTo>
                    <a:lnTo>
                      <a:pt x="153" y="166"/>
                    </a:lnTo>
                    <a:lnTo>
                      <a:pt x="154" y="166"/>
                    </a:lnTo>
                    <a:lnTo>
                      <a:pt x="156" y="166"/>
                    </a:lnTo>
                    <a:lnTo>
                      <a:pt x="158" y="168"/>
                    </a:lnTo>
                    <a:lnTo>
                      <a:pt x="158" y="169"/>
                    </a:lnTo>
                    <a:lnTo>
                      <a:pt x="159" y="169"/>
                    </a:lnTo>
                    <a:lnTo>
                      <a:pt x="159" y="171"/>
                    </a:lnTo>
                    <a:lnTo>
                      <a:pt x="161" y="173"/>
                    </a:lnTo>
                    <a:lnTo>
                      <a:pt x="161" y="174"/>
                    </a:lnTo>
                    <a:lnTo>
                      <a:pt x="159" y="176"/>
                    </a:lnTo>
                    <a:lnTo>
                      <a:pt x="161" y="176"/>
                    </a:lnTo>
                    <a:lnTo>
                      <a:pt x="165" y="176"/>
                    </a:lnTo>
                    <a:lnTo>
                      <a:pt x="170" y="176"/>
                    </a:lnTo>
                    <a:lnTo>
                      <a:pt x="175" y="176"/>
                    </a:lnTo>
                    <a:lnTo>
                      <a:pt x="176" y="174"/>
                    </a:lnTo>
                    <a:lnTo>
                      <a:pt x="178" y="173"/>
                    </a:lnTo>
                    <a:lnTo>
                      <a:pt x="179" y="173"/>
                    </a:lnTo>
                    <a:lnTo>
                      <a:pt x="181" y="171"/>
                    </a:lnTo>
                    <a:lnTo>
                      <a:pt x="183" y="169"/>
                    </a:lnTo>
                    <a:lnTo>
                      <a:pt x="184" y="169"/>
                    </a:lnTo>
                    <a:lnTo>
                      <a:pt x="184" y="168"/>
                    </a:lnTo>
                    <a:lnTo>
                      <a:pt x="186" y="166"/>
                    </a:lnTo>
                    <a:lnTo>
                      <a:pt x="187" y="166"/>
                    </a:lnTo>
                    <a:lnTo>
                      <a:pt x="187" y="166"/>
                    </a:lnTo>
                    <a:lnTo>
                      <a:pt x="189" y="165"/>
                    </a:lnTo>
                    <a:lnTo>
                      <a:pt x="189" y="166"/>
                    </a:lnTo>
                    <a:lnTo>
                      <a:pt x="187" y="168"/>
                    </a:lnTo>
                    <a:lnTo>
                      <a:pt x="187" y="168"/>
                    </a:lnTo>
                    <a:lnTo>
                      <a:pt x="189" y="169"/>
                    </a:lnTo>
                    <a:lnTo>
                      <a:pt x="187" y="171"/>
                    </a:lnTo>
                    <a:lnTo>
                      <a:pt x="187" y="173"/>
                    </a:lnTo>
                    <a:lnTo>
                      <a:pt x="187" y="174"/>
                    </a:lnTo>
                    <a:lnTo>
                      <a:pt x="187" y="179"/>
                    </a:lnTo>
                    <a:lnTo>
                      <a:pt x="187" y="182"/>
                    </a:lnTo>
                    <a:lnTo>
                      <a:pt x="187" y="185"/>
                    </a:lnTo>
                    <a:lnTo>
                      <a:pt x="187" y="190"/>
                    </a:lnTo>
                    <a:lnTo>
                      <a:pt x="187" y="193"/>
                    </a:lnTo>
                    <a:lnTo>
                      <a:pt x="187" y="193"/>
                    </a:lnTo>
                    <a:lnTo>
                      <a:pt x="189" y="193"/>
                    </a:lnTo>
                    <a:lnTo>
                      <a:pt x="190" y="193"/>
                    </a:lnTo>
                    <a:lnTo>
                      <a:pt x="192" y="194"/>
                    </a:lnTo>
                    <a:lnTo>
                      <a:pt x="192" y="194"/>
                    </a:lnTo>
                    <a:lnTo>
                      <a:pt x="194" y="194"/>
                    </a:lnTo>
                    <a:lnTo>
                      <a:pt x="195" y="194"/>
                    </a:lnTo>
                    <a:lnTo>
                      <a:pt x="197" y="193"/>
                    </a:lnTo>
                    <a:lnTo>
                      <a:pt x="198" y="191"/>
                    </a:lnTo>
                    <a:lnTo>
                      <a:pt x="201" y="191"/>
                    </a:lnTo>
                    <a:lnTo>
                      <a:pt x="205" y="193"/>
                    </a:lnTo>
                    <a:lnTo>
                      <a:pt x="206" y="193"/>
                    </a:lnTo>
                    <a:lnTo>
                      <a:pt x="208" y="196"/>
                    </a:lnTo>
                    <a:lnTo>
                      <a:pt x="209" y="199"/>
                    </a:lnTo>
                    <a:lnTo>
                      <a:pt x="211" y="202"/>
                    </a:lnTo>
                    <a:lnTo>
                      <a:pt x="212" y="205"/>
                    </a:lnTo>
                    <a:lnTo>
                      <a:pt x="215" y="209"/>
                    </a:lnTo>
                    <a:lnTo>
                      <a:pt x="217" y="212"/>
                    </a:lnTo>
                    <a:lnTo>
                      <a:pt x="219" y="216"/>
                    </a:lnTo>
                    <a:lnTo>
                      <a:pt x="222" y="220"/>
                    </a:lnTo>
                    <a:lnTo>
                      <a:pt x="220" y="221"/>
                    </a:lnTo>
                    <a:lnTo>
                      <a:pt x="220" y="221"/>
                    </a:lnTo>
                    <a:lnTo>
                      <a:pt x="220" y="223"/>
                    </a:lnTo>
                    <a:lnTo>
                      <a:pt x="219" y="224"/>
                    </a:lnTo>
                    <a:lnTo>
                      <a:pt x="219" y="224"/>
                    </a:lnTo>
                    <a:lnTo>
                      <a:pt x="217" y="226"/>
                    </a:lnTo>
                    <a:lnTo>
                      <a:pt x="215" y="227"/>
                    </a:lnTo>
                    <a:lnTo>
                      <a:pt x="215" y="227"/>
                    </a:lnTo>
                    <a:lnTo>
                      <a:pt x="217" y="235"/>
                    </a:lnTo>
                    <a:lnTo>
                      <a:pt x="215" y="238"/>
                    </a:lnTo>
                    <a:lnTo>
                      <a:pt x="215" y="240"/>
                    </a:lnTo>
                    <a:lnTo>
                      <a:pt x="215" y="240"/>
                    </a:lnTo>
                    <a:lnTo>
                      <a:pt x="214" y="241"/>
                    </a:lnTo>
                    <a:lnTo>
                      <a:pt x="215" y="243"/>
                    </a:lnTo>
                    <a:lnTo>
                      <a:pt x="215" y="246"/>
                    </a:lnTo>
                    <a:lnTo>
                      <a:pt x="217" y="248"/>
                    </a:lnTo>
                    <a:lnTo>
                      <a:pt x="217" y="248"/>
                    </a:lnTo>
                    <a:lnTo>
                      <a:pt x="219" y="249"/>
                    </a:lnTo>
                    <a:lnTo>
                      <a:pt x="219" y="251"/>
                    </a:lnTo>
                    <a:lnTo>
                      <a:pt x="217" y="251"/>
                    </a:lnTo>
                    <a:lnTo>
                      <a:pt x="215" y="251"/>
                    </a:lnTo>
                    <a:lnTo>
                      <a:pt x="215" y="254"/>
                    </a:lnTo>
                    <a:lnTo>
                      <a:pt x="215" y="254"/>
                    </a:lnTo>
                    <a:lnTo>
                      <a:pt x="214" y="256"/>
                    </a:lnTo>
                    <a:lnTo>
                      <a:pt x="212" y="256"/>
                    </a:lnTo>
                    <a:lnTo>
                      <a:pt x="212" y="257"/>
                    </a:lnTo>
                    <a:lnTo>
                      <a:pt x="212" y="257"/>
                    </a:lnTo>
                    <a:lnTo>
                      <a:pt x="211" y="259"/>
                    </a:lnTo>
                    <a:lnTo>
                      <a:pt x="211" y="260"/>
                    </a:lnTo>
                    <a:lnTo>
                      <a:pt x="209" y="262"/>
                    </a:lnTo>
                    <a:lnTo>
                      <a:pt x="209" y="263"/>
                    </a:lnTo>
                    <a:lnTo>
                      <a:pt x="209" y="263"/>
                    </a:lnTo>
                    <a:lnTo>
                      <a:pt x="209" y="265"/>
                    </a:lnTo>
                    <a:lnTo>
                      <a:pt x="212" y="268"/>
                    </a:lnTo>
                    <a:lnTo>
                      <a:pt x="212" y="270"/>
                    </a:lnTo>
                    <a:lnTo>
                      <a:pt x="211" y="271"/>
                    </a:lnTo>
                    <a:lnTo>
                      <a:pt x="211" y="273"/>
                    </a:lnTo>
                    <a:lnTo>
                      <a:pt x="209" y="276"/>
                    </a:lnTo>
                    <a:lnTo>
                      <a:pt x="208" y="276"/>
                    </a:lnTo>
                    <a:lnTo>
                      <a:pt x="209" y="277"/>
                    </a:lnTo>
                    <a:lnTo>
                      <a:pt x="212" y="285"/>
                    </a:lnTo>
                    <a:lnTo>
                      <a:pt x="212" y="287"/>
                    </a:lnTo>
                    <a:lnTo>
                      <a:pt x="214" y="287"/>
                    </a:lnTo>
                    <a:lnTo>
                      <a:pt x="215" y="287"/>
                    </a:lnTo>
                    <a:lnTo>
                      <a:pt x="217" y="288"/>
                    </a:lnTo>
                    <a:lnTo>
                      <a:pt x="219" y="288"/>
                    </a:lnTo>
                    <a:lnTo>
                      <a:pt x="219" y="288"/>
                    </a:lnTo>
                    <a:lnTo>
                      <a:pt x="219" y="290"/>
                    </a:lnTo>
                    <a:lnTo>
                      <a:pt x="217" y="290"/>
                    </a:lnTo>
                    <a:lnTo>
                      <a:pt x="215" y="292"/>
                    </a:lnTo>
                    <a:lnTo>
                      <a:pt x="215" y="292"/>
                    </a:lnTo>
                    <a:lnTo>
                      <a:pt x="215" y="293"/>
                    </a:lnTo>
                    <a:lnTo>
                      <a:pt x="215" y="295"/>
                    </a:lnTo>
                    <a:lnTo>
                      <a:pt x="215" y="295"/>
                    </a:lnTo>
                    <a:lnTo>
                      <a:pt x="214" y="296"/>
                    </a:lnTo>
                    <a:lnTo>
                      <a:pt x="212" y="296"/>
                    </a:lnTo>
                    <a:lnTo>
                      <a:pt x="211" y="299"/>
                    </a:lnTo>
                    <a:lnTo>
                      <a:pt x="209" y="301"/>
                    </a:lnTo>
                    <a:lnTo>
                      <a:pt x="208" y="302"/>
                    </a:lnTo>
                    <a:lnTo>
                      <a:pt x="208" y="302"/>
                    </a:lnTo>
                    <a:lnTo>
                      <a:pt x="208" y="302"/>
                    </a:lnTo>
                    <a:lnTo>
                      <a:pt x="205" y="304"/>
                    </a:lnTo>
                    <a:lnTo>
                      <a:pt x="205" y="306"/>
                    </a:lnTo>
                    <a:lnTo>
                      <a:pt x="205" y="307"/>
                    </a:lnTo>
                    <a:lnTo>
                      <a:pt x="206" y="307"/>
                    </a:lnTo>
                    <a:lnTo>
                      <a:pt x="206" y="309"/>
                    </a:lnTo>
                    <a:lnTo>
                      <a:pt x="206" y="310"/>
                    </a:lnTo>
                    <a:lnTo>
                      <a:pt x="206" y="310"/>
                    </a:lnTo>
                    <a:lnTo>
                      <a:pt x="206" y="310"/>
                    </a:lnTo>
                    <a:lnTo>
                      <a:pt x="206" y="312"/>
                    </a:lnTo>
                    <a:lnTo>
                      <a:pt x="205" y="313"/>
                    </a:lnTo>
                    <a:lnTo>
                      <a:pt x="201" y="313"/>
                    </a:lnTo>
                    <a:lnTo>
                      <a:pt x="201" y="313"/>
                    </a:lnTo>
                    <a:lnTo>
                      <a:pt x="201" y="315"/>
                    </a:lnTo>
                    <a:lnTo>
                      <a:pt x="201" y="318"/>
                    </a:lnTo>
                    <a:lnTo>
                      <a:pt x="201" y="320"/>
                    </a:lnTo>
                    <a:lnTo>
                      <a:pt x="201" y="321"/>
                    </a:lnTo>
                    <a:lnTo>
                      <a:pt x="200" y="323"/>
                    </a:lnTo>
                    <a:lnTo>
                      <a:pt x="197" y="324"/>
                    </a:lnTo>
                    <a:lnTo>
                      <a:pt x="195" y="326"/>
                    </a:lnTo>
                    <a:lnTo>
                      <a:pt x="194" y="326"/>
                    </a:lnTo>
                    <a:lnTo>
                      <a:pt x="192" y="326"/>
                    </a:lnTo>
                    <a:lnTo>
                      <a:pt x="190" y="326"/>
                    </a:lnTo>
                    <a:lnTo>
                      <a:pt x="189" y="324"/>
                    </a:lnTo>
                    <a:lnTo>
                      <a:pt x="184" y="320"/>
                    </a:lnTo>
                    <a:lnTo>
                      <a:pt x="181" y="318"/>
                    </a:lnTo>
                    <a:lnTo>
                      <a:pt x="179" y="317"/>
                    </a:lnTo>
                    <a:lnTo>
                      <a:pt x="175" y="313"/>
                    </a:lnTo>
                    <a:lnTo>
                      <a:pt x="175" y="312"/>
                    </a:lnTo>
                    <a:lnTo>
                      <a:pt x="173" y="309"/>
                    </a:lnTo>
                    <a:lnTo>
                      <a:pt x="173" y="307"/>
                    </a:lnTo>
                    <a:lnTo>
                      <a:pt x="172" y="307"/>
                    </a:lnTo>
                    <a:lnTo>
                      <a:pt x="167" y="304"/>
                    </a:lnTo>
                    <a:lnTo>
                      <a:pt x="165" y="304"/>
                    </a:lnTo>
                    <a:lnTo>
                      <a:pt x="164" y="302"/>
                    </a:lnTo>
                    <a:lnTo>
                      <a:pt x="161" y="301"/>
                    </a:lnTo>
                    <a:lnTo>
                      <a:pt x="159" y="299"/>
                    </a:lnTo>
                    <a:lnTo>
                      <a:pt x="156" y="298"/>
                    </a:lnTo>
                    <a:lnTo>
                      <a:pt x="154" y="296"/>
                    </a:lnTo>
                    <a:lnTo>
                      <a:pt x="150" y="295"/>
                    </a:lnTo>
                    <a:lnTo>
                      <a:pt x="147" y="293"/>
                    </a:lnTo>
                    <a:lnTo>
                      <a:pt x="140" y="290"/>
                    </a:lnTo>
                    <a:lnTo>
                      <a:pt x="139" y="288"/>
                    </a:lnTo>
                    <a:lnTo>
                      <a:pt x="133" y="287"/>
                    </a:lnTo>
                    <a:lnTo>
                      <a:pt x="131" y="285"/>
                    </a:lnTo>
                    <a:lnTo>
                      <a:pt x="125" y="281"/>
                    </a:lnTo>
                    <a:lnTo>
                      <a:pt x="122" y="281"/>
                    </a:lnTo>
                    <a:lnTo>
                      <a:pt x="119" y="277"/>
                    </a:lnTo>
                    <a:lnTo>
                      <a:pt x="109" y="273"/>
                    </a:lnTo>
                    <a:lnTo>
                      <a:pt x="108" y="271"/>
                    </a:lnTo>
                    <a:lnTo>
                      <a:pt x="106" y="268"/>
                    </a:lnTo>
                    <a:lnTo>
                      <a:pt x="103" y="266"/>
                    </a:lnTo>
                    <a:lnTo>
                      <a:pt x="101" y="263"/>
                    </a:lnTo>
                    <a:lnTo>
                      <a:pt x="98" y="260"/>
                    </a:lnTo>
                    <a:lnTo>
                      <a:pt x="94" y="259"/>
                    </a:lnTo>
                    <a:lnTo>
                      <a:pt x="94" y="256"/>
                    </a:lnTo>
                    <a:lnTo>
                      <a:pt x="90" y="252"/>
                    </a:lnTo>
                    <a:lnTo>
                      <a:pt x="90" y="251"/>
                    </a:lnTo>
                    <a:lnTo>
                      <a:pt x="87" y="249"/>
                    </a:lnTo>
                    <a:lnTo>
                      <a:pt x="87" y="246"/>
                    </a:lnTo>
                    <a:lnTo>
                      <a:pt x="86" y="245"/>
                    </a:lnTo>
                    <a:lnTo>
                      <a:pt x="87" y="243"/>
                    </a:lnTo>
                    <a:lnTo>
                      <a:pt x="89" y="243"/>
                    </a:lnTo>
                    <a:lnTo>
                      <a:pt x="90" y="238"/>
                    </a:lnTo>
                    <a:lnTo>
                      <a:pt x="89" y="235"/>
                    </a:lnTo>
                    <a:lnTo>
                      <a:pt x="86" y="230"/>
                    </a:lnTo>
                    <a:lnTo>
                      <a:pt x="84" y="229"/>
                    </a:lnTo>
                    <a:lnTo>
                      <a:pt x="83" y="226"/>
                    </a:lnTo>
                    <a:lnTo>
                      <a:pt x="81" y="224"/>
                    </a:lnTo>
                    <a:lnTo>
                      <a:pt x="79" y="221"/>
                    </a:lnTo>
                    <a:lnTo>
                      <a:pt x="78" y="216"/>
                    </a:lnTo>
                    <a:lnTo>
                      <a:pt x="75" y="215"/>
                    </a:lnTo>
                    <a:lnTo>
                      <a:pt x="75" y="213"/>
                    </a:lnTo>
                    <a:lnTo>
                      <a:pt x="75" y="213"/>
                    </a:lnTo>
                    <a:lnTo>
                      <a:pt x="73" y="212"/>
                    </a:lnTo>
                    <a:lnTo>
                      <a:pt x="73" y="210"/>
                    </a:lnTo>
                    <a:lnTo>
                      <a:pt x="72" y="205"/>
                    </a:lnTo>
                    <a:lnTo>
                      <a:pt x="70" y="202"/>
                    </a:lnTo>
                    <a:lnTo>
                      <a:pt x="64" y="198"/>
                    </a:lnTo>
                    <a:lnTo>
                      <a:pt x="64" y="196"/>
                    </a:lnTo>
                    <a:lnTo>
                      <a:pt x="64" y="193"/>
                    </a:lnTo>
                    <a:lnTo>
                      <a:pt x="62" y="190"/>
                    </a:lnTo>
                    <a:lnTo>
                      <a:pt x="56" y="180"/>
                    </a:lnTo>
                    <a:lnTo>
                      <a:pt x="54" y="177"/>
                    </a:lnTo>
                    <a:lnTo>
                      <a:pt x="53" y="173"/>
                    </a:lnTo>
                    <a:lnTo>
                      <a:pt x="51" y="169"/>
                    </a:lnTo>
                    <a:lnTo>
                      <a:pt x="50" y="165"/>
                    </a:lnTo>
                    <a:lnTo>
                      <a:pt x="48" y="160"/>
                    </a:lnTo>
                    <a:lnTo>
                      <a:pt x="47" y="157"/>
                    </a:lnTo>
                    <a:lnTo>
                      <a:pt x="45" y="154"/>
                    </a:lnTo>
                    <a:lnTo>
                      <a:pt x="45" y="151"/>
                    </a:lnTo>
                    <a:lnTo>
                      <a:pt x="42" y="148"/>
                    </a:lnTo>
                    <a:lnTo>
                      <a:pt x="40" y="144"/>
                    </a:lnTo>
                    <a:lnTo>
                      <a:pt x="37" y="141"/>
                    </a:lnTo>
                    <a:lnTo>
                      <a:pt x="34" y="138"/>
                    </a:lnTo>
                    <a:lnTo>
                      <a:pt x="34" y="137"/>
                    </a:lnTo>
                    <a:lnTo>
                      <a:pt x="29" y="130"/>
                    </a:lnTo>
                    <a:lnTo>
                      <a:pt x="29" y="127"/>
                    </a:lnTo>
                    <a:lnTo>
                      <a:pt x="26" y="124"/>
                    </a:lnTo>
                    <a:lnTo>
                      <a:pt x="25" y="121"/>
                    </a:lnTo>
                    <a:lnTo>
                      <a:pt x="23" y="118"/>
                    </a:lnTo>
                    <a:lnTo>
                      <a:pt x="20" y="116"/>
                    </a:lnTo>
                    <a:lnTo>
                      <a:pt x="9" y="110"/>
                    </a:lnTo>
                    <a:lnTo>
                      <a:pt x="4" y="107"/>
                    </a:lnTo>
                    <a:lnTo>
                      <a:pt x="3" y="105"/>
                    </a:lnTo>
                    <a:lnTo>
                      <a:pt x="1" y="104"/>
                    </a:lnTo>
                    <a:lnTo>
                      <a:pt x="3" y="102"/>
                    </a:lnTo>
                    <a:lnTo>
                      <a:pt x="3" y="102"/>
                    </a:lnTo>
                    <a:lnTo>
                      <a:pt x="6" y="102"/>
                    </a:lnTo>
                    <a:lnTo>
                      <a:pt x="6" y="102"/>
                    </a:lnTo>
                    <a:lnTo>
                      <a:pt x="8" y="101"/>
                    </a:lnTo>
                    <a:lnTo>
                      <a:pt x="8" y="99"/>
                    </a:lnTo>
                    <a:lnTo>
                      <a:pt x="6" y="96"/>
                    </a:lnTo>
                    <a:lnTo>
                      <a:pt x="3" y="90"/>
                    </a:lnTo>
                    <a:lnTo>
                      <a:pt x="3" y="90"/>
                    </a:lnTo>
                    <a:lnTo>
                      <a:pt x="3" y="88"/>
                    </a:lnTo>
                    <a:lnTo>
                      <a:pt x="1" y="85"/>
                    </a:lnTo>
                    <a:lnTo>
                      <a:pt x="0" y="83"/>
                    </a:lnTo>
                    <a:lnTo>
                      <a:pt x="0" y="82"/>
                    </a:lnTo>
                    <a:lnTo>
                      <a:pt x="0" y="76"/>
                    </a:lnTo>
                    <a:lnTo>
                      <a:pt x="1" y="74"/>
                    </a:lnTo>
                    <a:lnTo>
                      <a:pt x="8" y="68"/>
                    </a:lnTo>
                    <a:lnTo>
                      <a:pt x="9" y="65"/>
                    </a:lnTo>
                    <a:lnTo>
                      <a:pt x="11" y="63"/>
                    </a:lnTo>
                    <a:lnTo>
                      <a:pt x="14" y="61"/>
                    </a:lnTo>
                    <a:lnTo>
                      <a:pt x="17" y="58"/>
                    </a:lnTo>
                    <a:lnTo>
                      <a:pt x="17" y="60"/>
                    </a:lnTo>
                    <a:lnTo>
                      <a:pt x="18" y="60"/>
                    </a:lnTo>
                    <a:lnTo>
                      <a:pt x="18" y="60"/>
                    </a:lnTo>
                    <a:lnTo>
                      <a:pt x="18" y="61"/>
                    </a:lnTo>
                    <a:lnTo>
                      <a:pt x="18" y="61"/>
                    </a:lnTo>
                    <a:lnTo>
                      <a:pt x="18" y="63"/>
                    </a:lnTo>
                    <a:lnTo>
                      <a:pt x="18" y="63"/>
                    </a:lnTo>
                    <a:lnTo>
                      <a:pt x="18" y="63"/>
                    </a:lnTo>
                    <a:lnTo>
                      <a:pt x="18" y="65"/>
                    </a:lnTo>
                    <a:lnTo>
                      <a:pt x="18" y="65"/>
                    </a:lnTo>
                    <a:lnTo>
                      <a:pt x="18" y="66"/>
                    </a:lnTo>
                    <a:lnTo>
                      <a:pt x="20" y="68"/>
                    </a:lnTo>
                    <a:lnTo>
                      <a:pt x="20" y="68"/>
                    </a:lnTo>
                    <a:lnTo>
                      <a:pt x="18" y="68"/>
                    </a:lnTo>
                    <a:lnTo>
                      <a:pt x="18" y="69"/>
                    </a:lnTo>
                    <a:lnTo>
                      <a:pt x="17" y="69"/>
                    </a:lnTo>
                    <a:lnTo>
                      <a:pt x="17" y="69"/>
                    </a:lnTo>
                    <a:lnTo>
                      <a:pt x="15" y="69"/>
                    </a:lnTo>
                    <a:lnTo>
                      <a:pt x="14" y="69"/>
                    </a:lnTo>
                    <a:lnTo>
                      <a:pt x="14" y="71"/>
                    </a:lnTo>
                    <a:lnTo>
                      <a:pt x="14" y="72"/>
                    </a:lnTo>
                    <a:lnTo>
                      <a:pt x="14" y="72"/>
                    </a:lnTo>
                    <a:lnTo>
                      <a:pt x="15" y="74"/>
                    </a:lnTo>
                    <a:lnTo>
                      <a:pt x="17" y="74"/>
                    </a:lnTo>
                    <a:lnTo>
                      <a:pt x="15" y="76"/>
                    </a:lnTo>
                    <a:lnTo>
                      <a:pt x="14" y="77"/>
                    </a:lnTo>
                    <a:lnTo>
                      <a:pt x="14" y="77"/>
                    </a:lnTo>
                    <a:lnTo>
                      <a:pt x="15" y="77"/>
                    </a:lnTo>
                    <a:lnTo>
                      <a:pt x="15" y="79"/>
                    </a:lnTo>
                    <a:lnTo>
                      <a:pt x="17" y="77"/>
                    </a:lnTo>
                    <a:lnTo>
                      <a:pt x="18" y="76"/>
                    </a:lnTo>
                    <a:lnTo>
                      <a:pt x="20" y="76"/>
                    </a:lnTo>
                    <a:lnTo>
                      <a:pt x="20" y="76"/>
                    </a:lnTo>
                    <a:lnTo>
                      <a:pt x="22" y="76"/>
                    </a:lnTo>
                    <a:lnTo>
                      <a:pt x="23" y="77"/>
                    </a:lnTo>
                    <a:lnTo>
                      <a:pt x="25" y="77"/>
                    </a:lnTo>
                    <a:lnTo>
                      <a:pt x="26" y="79"/>
                    </a:lnTo>
                    <a:lnTo>
                      <a:pt x="28" y="79"/>
                    </a:lnTo>
                    <a:lnTo>
                      <a:pt x="29" y="77"/>
                    </a:lnTo>
                    <a:lnTo>
                      <a:pt x="29" y="79"/>
                    </a:lnTo>
                    <a:lnTo>
                      <a:pt x="31" y="79"/>
                    </a:lnTo>
                    <a:lnTo>
                      <a:pt x="31" y="82"/>
                    </a:lnTo>
                    <a:lnTo>
                      <a:pt x="33" y="83"/>
                    </a:lnTo>
                    <a:lnTo>
                      <a:pt x="33" y="85"/>
                    </a:lnTo>
                    <a:lnTo>
                      <a:pt x="34" y="87"/>
                    </a:lnTo>
                    <a:lnTo>
                      <a:pt x="36" y="87"/>
                    </a:lnTo>
                    <a:lnTo>
                      <a:pt x="37" y="87"/>
                    </a:lnTo>
                    <a:lnTo>
                      <a:pt x="39" y="87"/>
                    </a:lnTo>
                    <a:lnTo>
                      <a:pt x="40" y="87"/>
                    </a:lnTo>
                    <a:lnTo>
                      <a:pt x="40" y="85"/>
                    </a:lnTo>
                    <a:lnTo>
                      <a:pt x="40" y="85"/>
                    </a:lnTo>
                    <a:lnTo>
                      <a:pt x="42" y="85"/>
                    </a:lnTo>
                    <a:lnTo>
                      <a:pt x="42" y="83"/>
                    </a:lnTo>
                    <a:lnTo>
                      <a:pt x="42" y="83"/>
                    </a:lnTo>
                    <a:lnTo>
                      <a:pt x="42" y="82"/>
                    </a:lnTo>
                    <a:lnTo>
                      <a:pt x="43" y="82"/>
                    </a:lnTo>
                    <a:lnTo>
                      <a:pt x="45" y="80"/>
                    </a:lnTo>
                    <a:lnTo>
                      <a:pt x="45" y="80"/>
                    </a:lnTo>
                    <a:lnTo>
                      <a:pt x="47" y="79"/>
                    </a:lnTo>
                    <a:lnTo>
                      <a:pt x="47" y="77"/>
                    </a:lnTo>
                    <a:lnTo>
                      <a:pt x="47" y="77"/>
                    </a:lnTo>
                    <a:lnTo>
                      <a:pt x="45" y="77"/>
                    </a:lnTo>
                    <a:lnTo>
                      <a:pt x="47" y="76"/>
                    </a:lnTo>
                    <a:lnTo>
                      <a:pt x="47" y="74"/>
                    </a:lnTo>
                    <a:lnTo>
                      <a:pt x="47" y="72"/>
                    </a:lnTo>
                    <a:lnTo>
                      <a:pt x="48" y="71"/>
                    </a:lnTo>
                    <a:lnTo>
                      <a:pt x="48" y="69"/>
                    </a:lnTo>
                    <a:lnTo>
                      <a:pt x="48" y="69"/>
                    </a:lnTo>
                    <a:lnTo>
                      <a:pt x="50" y="68"/>
                    </a:lnTo>
                    <a:lnTo>
                      <a:pt x="50" y="68"/>
                    </a:lnTo>
                    <a:lnTo>
                      <a:pt x="50" y="66"/>
                    </a:lnTo>
                    <a:lnTo>
                      <a:pt x="50" y="65"/>
                    </a:lnTo>
                    <a:lnTo>
                      <a:pt x="51" y="65"/>
                    </a:lnTo>
                    <a:lnTo>
                      <a:pt x="51" y="63"/>
                    </a:lnTo>
                    <a:lnTo>
                      <a:pt x="51" y="60"/>
                    </a:lnTo>
                    <a:lnTo>
                      <a:pt x="51" y="60"/>
                    </a:lnTo>
                    <a:lnTo>
                      <a:pt x="53" y="58"/>
                    </a:lnTo>
                    <a:lnTo>
                      <a:pt x="53" y="60"/>
                    </a:lnTo>
                    <a:lnTo>
                      <a:pt x="53" y="60"/>
                    </a:lnTo>
                    <a:lnTo>
                      <a:pt x="53" y="60"/>
                    </a:lnTo>
                    <a:lnTo>
                      <a:pt x="54" y="61"/>
                    </a:lnTo>
                    <a:lnTo>
                      <a:pt x="54" y="61"/>
                    </a:lnTo>
                    <a:lnTo>
                      <a:pt x="54" y="60"/>
                    </a:lnTo>
                    <a:lnTo>
                      <a:pt x="54" y="60"/>
                    </a:lnTo>
                    <a:lnTo>
                      <a:pt x="54" y="60"/>
                    </a:lnTo>
                    <a:lnTo>
                      <a:pt x="54" y="58"/>
                    </a:lnTo>
                    <a:lnTo>
                      <a:pt x="54" y="58"/>
                    </a:lnTo>
                    <a:lnTo>
                      <a:pt x="56" y="57"/>
                    </a:lnTo>
                    <a:lnTo>
                      <a:pt x="56" y="55"/>
                    </a:lnTo>
                    <a:lnTo>
                      <a:pt x="59" y="54"/>
                    </a:lnTo>
                    <a:lnTo>
                      <a:pt x="61" y="52"/>
                    </a:lnTo>
                    <a:lnTo>
                      <a:pt x="64" y="51"/>
                    </a:lnTo>
                    <a:lnTo>
                      <a:pt x="67" y="51"/>
                    </a:lnTo>
                    <a:lnTo>
                      <a:pt x="68" y="49"/>
                    </a:lnTo>
                    <a:lnTo>
                      <a:pt x="73" y="47"/>
                    </a:lnTo>
                    <a:lnTo>
                      <a:pt x="78" y="46"/>
                    </a:lnTo>
                    <a:lnTo>
                      <a:pt x="81" y="44"/>
                    </a:lnTo>
                    <a:lnTo>
                      <a:pt x="84" y="43"/>
                    </a:lnTo>
                    <a:lnTo>
                      <a:pt x="87" y="41"/>
                    </a:lnTo>
                    <a:lnTo>
                      <a:pt x="89" y="40"/>
                    </a:lnTo>
                    <a:lnTo>
                      <a:pt x="92" y="36"/>
                    </a:lnTo>
                    <a:lnTo>
                      <a:pt x="95" y="33"/>
                    </a:lnTo>
                    <a:lnTo>
                      <a:pt x="97" y="30"/>
                    </a:lnTo>
                    <a:lnTo>
                      <a:pt x="100" y="29"/>
                    </a:lnTo>
                    <a:lnTo>
                      <a:pt x="100" y="27"/>
                    </a:lnTo>
                    <a:lnTo>
                      <a:pt x="101" y="22"/>
                    </a:lnTo>
                    <a:lnTo>
                      <a:pt x="103" y="19"/>
                    </a:lnTo>
                    <a:lnTo>
                      <a:pt x="103" y="16"/>
                    </a:lnTo>
                    <a:lnTo>
                      <a:pt x="103" y="16"/>
                    </a:lnTo>
                    <a:lnTo>
                      <a:pt x="104" y="16"/>
                    </a:lnTo>
                    <a:lnTo>
                      <a:pt x="104" y="16"/>
                    </a:lnTo>
                    <a:lnTo>
                      <a:pt x="104" y="16"/>
                    </a:lnTo>
                    <a:lnTo>
                      <a:pt x="106" y="16"/>
                    </a:lnTo>
                    <a:lnTo>
                      <a:pt x="106" y="16"/>
                    </a:lnTo>
                    <a:lnTo>
                      <a:pt x="106" y="13"/>
                    </a:lnTo>
                    <a:lnTo>
                      <a:pt x="106" y="11"/>
                    </a:lnTo>
                    <a:lnTo>
                      <a:pt x="106" y="10"/>
                    </a:lnTo>
                    <a:lnTo>
                      <a:pt x="106" y="10"/>
                    </a:lnTo>
                    <a:lnTo>
                      <a:pt x="104" y="8"/>
                    </a:lnTo>
                    <a:lnTo>
                      <a:pt x="103" y="7"/>
                    </a:lnTo>
                    <a:lnTo>
                      <a:pt x="103" y="5"/>
                    </a:lnTo>
                    <a:lnTo>
                      <a:pt x="101" y="4"/>
                    </a:lnTo>
                    <a:lnTo>
                      <a:pt x="101" y="4"/>
                    </a:lnTo>
                    <a:lnTo>
                      <a:pt x="100" y="2"/>
                    </a:lnTo>
                    <a:lnTo>
                      <a:pt x="100" y="2"/>
                    </a:lnTo>
                    <a:lnTo>
                      <a:pt x="100" y="2"/>
                    </a:lnTo>
                    <a:lnTo>
                      <a:pt x="103" y="2"/>
                    </a:lnTo>
                    <a:lnTo>
                      <a:pt x="103" y="2"/>
                    </a:lnTo>
                    <a:lnTo>
                      <a:pt x="104" y="2"/>
                    </a:lnTo>
                    <a:lnTo>
                      <a:pt x="106" y="2"/>
                    </a:lnTo>
                    <a:lnTo>
                      <a:pt x="106" y="0"/>
                    </a:lnTo>
                    <a:lnTo>
                      <a:pt x="108" y="0"/>
                    </a:lnTo>
                    <a:lnTo>
                      <a:pt x="108" y="0"/>
                    </a:lnTo>
                    <a:lnTo>
                      <a:pt x="109" y="2"/>
                    </a:lnTo>
                    <a:lnTo>
                      <a:pt x="111" y="2"/>
                    </a:lnTo>
                    <a:lnTo>
                      <a:pt x="111" y="4"/>
                    </a:lnTo>
                    <a:lnTo>
                      <a:pt x="112" y="4"/>
                    </a:lnTo>
                    <a:lnTo>
                      <a:pt x="114" y="4"/>
                    </a:lnTo>
                    <a:lnTo>
                      <a:pt x="114" y="4"/>
                    </a:lnTo>
                    <a:lnTo>
                      <a:pt x="114" y="4"/>
                    </a:lnTo>
                    <a:lnTo>
                      <a:pt x="115" y="5"/>
                    </a:lnTo>
                    <a:lnTo>
                      <a:pt x="115" y="5"/>
                    </a:lnTo>
                    <a:lnTo>
                      <a:pt x="117" y="7"/>
                    </a:lnTo>
                    <a:lnTo>
                      <a:pt x="119" y="7"/>
                    </a:lnTo>
                    <a:lnTo>
                      <a:pt x="119" y="8"/>
                    </a:lnTo>
                    <a:lnTo>
                      <a:pt x="120" y="8"/>
                    </a:lnTo>
                    <a:lnTo>
                      <a:pt x="120" y="10"/>
                    </a:lnTo>
                    <a:lnTo>
                      <a:pt x="122" y="11"/>
                    </a:lnTo>
                    <a:lnTo>
                      <a:pt x="122" y="13"/>
                    </a:lnTo>
                    <a:lnTo>
                      <a:pt x="122" y="15"/>
                    </a:lnTo>
                    <a:lnTo>
                      <a:pt x="122" y="15"/>
                    </a:lnTo>
                    <a:lnTo>
                      <a:pt x="123" y="16"/>
                    </a:lnTo>
                    <a:lnTo>
                      <a:pt x="123" y="18"/>
                    </a:lnTo>
                    <a:lnTo>
                      <a:pt x="125" y="18"/>
                    </a:lnTo>
                    <a:lnTo>
                      <a:pt x="126" y="18"/>
                    </a:lnTo>
                    <a:lnTo>
                      <a:pt x="128" y="19"/>
                    </a:lnTo>
                    <a:lnTo>
                      <a:pt x="129" y="19"/>
                    </a:lnTo>
                    <a:lnTo>
                      <a:pt x="131" y="21"/>
                    </a:lnTo>
                    <a:lnTo>
                      <a:pt x="131" y="21"/>
                    </a:lnTo>
                    <a:lnTo>
                      <a:pt x="133" y="21"/>
                    </a:lnTo>
                    <a:lnTo>
                      <a:pt x="134" y="22"/>
                    </a:lnTo>
                    <a:lnTo>
                      <a:pt x="134" y="22"/>
                    </a:lnTo>
                    <a:lnTo>
                      <a:pt x="136" y="24"/>
                    </a:lnTo>
                    <a:lnTo>
                      <a:pt x="136" y="25"/>
                    </a:lnTo>
                    <a:lnTo>
                      <a:pt x="137" y="27"/>
                    </a:lnTo>
                    <a:lnTo>
                      <a:pt x="136" y="29"/>
                    </a:lnTo>
                    <a:lnTo>
                      <a:pt x="137" y="30"/>
                    </a:lnTo>
                    <a:lnTo>
                      <a:pt x="137" y="30"/>
                    </a:lnTo>
                    <a:lnTo>
                      <a:pt x="139" y="32"/>
                    </a:lnTo>
                    <a:lnTo>
                      <a:pt x="140" y="30"/>
                    </a:lnTo>
                    <a:lnTo>
                      <a:pt x="142" y="32"/>
                    </a:lnTo>
                    <a:lnTo>
                      <a:pt x="142" y="32"/>
                    </a:lnTo>
                    <a:lnTo>
                      <a:pt x="142" y="33"/>
                    </a:lnTo>
                    <a:lnTo>
                      <a:pt x="144" y="35"/>
                    </a:lnTo>
                    <a:lnTo>
                      <a:pt x="144" y="36"/>
                    </a:lnTo>
                    <a:lnTo>
                      <a:pt x="144" y="38"/>
                    </a:lnTo>
                    <a:lnTo>
                      <a:pt x="142" y="38"/>
                    </a:lnTo>
                    <a:lnTo>
                      <a:pt x="144" y="40"/>
                    </a:lnTo>
                    <a:lnTo>
                      <a:pt x="145" y="40"/>
                    </a:lnTo>
                    <a:lnTo>
                      <a:pt x="145" y="41"/>
                    </a:lnTo>
                    <a:lnTo>
                      <a:pt x="147" y="41"/>
                    </a:lnTo>
                    <a:lnTo>
                      <a:pt x="148" y="43"/>
                    </a:lnTo>
                    <a:lnTo>
                      <a:pt x="148" y="43"/>
                    </a:lnTo>
                    <a:lnTo>
                      <a:pt x="151" y="41"/>
                    </a:lnTo>
                    <a:lnTo>
                      <a:pt x="151" y="41"/>
                    </a:lnTo>
                    <a:lnTo>
                      <a:pt x="153" y="41"/>
                    </a:lnTo>
                    <a:lnTo>
                      <a:pt x="153" y="41"/>
                    </a:lnTo>
                    <a:lnTo>
                      <a:pt x="154" y="41"/>
                    </a:lnTo>
                    <a:lnTo>
                      <a:pt x="156" y="43"/>
                    </a:lnTo>
                    <a:lnTo>
                      <a:pt x="158" y="43"/>
                    </a:lnTo>
                    <a:lnTo>
                      <a:pt x="159" y="41"/>
                    </a:lnTo>
                    <a:lnTo>
                      <a:pt x="161" y="41"/>
                    </a:lnTo>
                    <a:lnTo>
                      <a:pt x="162" y="41"/>
                    </a:lnTo>
                    <a:lnTo>
                      <a:pt x="164" y="41"/>
                    </a:lnTo>
                    <a:lnTo>
                      <a:pt x="164" y="40"/>
                    </a:lnTo>
                    <a:lnTo>
                      <a:pt x="165" y="40"/>
                    </a:lnTo>
                    <a:lnTo>
                      <a:pt x="167" y="38"/>
                    </a:lnTo>
                    <a:lnTo>
                      <a:pt x="167" y="38"/>
                    </a:lnTo>
                    <a:lnTo>
                      <a:pt x="169" y="38"/>
                    </a:lnTo>
                    <a:lnTo>
                      <a:pt x="170" y="38"/>
                    </a:lnTo>
                    <a:lnTo>
                      <a:pt x="172" y="40"/>
                    </a:lnTo>
                    <a:lnTo>
                      <a:pt x="173" y="40"/>
                    </a:lnTo>
                    <a:lnTo>
                      <a:pt x="173" y="41"/>
                    </a:lnTo>
                    <a:lnTo>
                      <a:pt x="175" y="41"/>
                    </a:lnTo>
                    <a:lnTo>
                      <a:pt x="178" y="40"/>
                    </a:lnTo>
                    <a:lnTo>
                      <a:pt x="178" y="40"/>
                    </a:lnTo>
                    <a:lnTo>
                      <a:pt x="179" y="40"/>
                    </a:lnTo>
                    <a:lnTo>
                      <a:pt x="181" y="38"/>
                    </a:lnTo>
                    <a:lnTo>
                      <a:pt x="183" y="38"/>
                    </a:lnTo>
                    <a:lnTo>
                      <a:pt x="186" y="41"/>
                    </a:lnTo>
                    <a:lnTo>
                      <a:pt x="187" y="43"/>
                    </a:lnTo>
                    <a:lnTo>
                      <a:pt x="189" y="43"/>
                    </a:lnTo>
                    <a:lnTo>
                      <a:pt x="189" y="43"/>
                    </a:lnTo>
                    <a:lnTo>
                      <a:pt x="190" y="43"/>
                    </a:lnTo>
                    <a:lnTo>
                      <a:pt x="192" y="44"/>
                    </a:lnTo>
                    <a:lnTo>
                      <a:pt x="194" y="44"/>
                    </a:lnTo>
                    <a:lnTo>
                      <a:pt x="194" y="46"/>
                    </a:lnTo>
                    <a:lnTo>
                      <a:pt x="195" y="46"/>
                    </a:lnTo>
                    <a:lnTo>
                      <a:pt x="197" y="46"/>
                    </a:lnTo>
                    <a:lnTo>
                      <a:pt x="197" y="47"/>
                    </a:lnTo>
                    <a:lnTo>
                      <a:pt x="197" y="47"/>
                    </a:lnTo>
                    <a:lnTo>
                      <a:pt x="197" y="47"/>
                    </a:lnTo>
                    <a:lnTo>
                      <a:pt x="195" y="51"/>
                    </a:lnTo>
                    <a:lnTo>
                      <a:pt x="194" y="54"/>
                    </a:lnTo>
                    <a:lnTo>
                      <a:pt x="190" y="57"/>
                    </a:lnTo>
                    <a:lnTo>
                      <a:pt x="187" y="63"/>
                    </a:lnTo>
                    <a:lnTo>
                      <a:pt x="186" y="66"/>
                    </a:lnTo>
                    <a:lnTo>
                      <a:pt x="186" y="66"/>
                    </a:lnTo>
                    <a:lnTo>
                      <a:pt x="189" y="68"/>
                    </a:lnTo>
                    <a:lnTo>
                      <a:pt x="190" y="68"/>
                    </a:lnTo>
                    <a:lnTo>
                      <a:pt x="190" y="68"/>
                    </a:lnTo>
                    <a:lnTo>
                      <a:pt x="192" y="66"/>
                    </a:lnTo>
                    <a:lnTo>
                      <a:pt x="192" y="66"/>
                    </a:lnTo>
                    <a:lnTo>
                      <a:pt x="194" y="68"/>
                    </a:lnTo>
                    <a:lnTo>
                      <a:pt x="194" y="68"/>
                    </a:lnTo>
                    <a:lnTo>
                      <a:pt x="195" y="69"/>
                    </a:lnTo>
                    <a:lnTo>
                      <a:pt x="195" y="71"/>
                    </a:lnTo>
                    <a:lnTo>
                      <a:pt x="197" y="71"/>
                    </a:lnTo>
                    <a:lnTo>
                      <a:pt x="198" y="72"/>
                    </a:lnTo>
                    <a:lnTo>
                      <a:pt x="198" y="7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5" name="Freeform 162">
                <a:extLst>
                  <a:ext uri="{FF2B5EF4-FFF2-40B4-BE49-F238E27FC236}">
                    <a16:creationId xmlns:a16="http://schemas.microsoft.com/office/drawing/2014/main" id="{39B223E0-94C2-861B-BF05-97B514AC9D44}"/>
                  </a:ext>
                </a:extLst>
              </p:cNvPr>
              <p:cNvSpPr>
                <a:spLocks noEditPoints="1"/>
              </p:cNvSpPr>
              <p:nvPr/>
            </p:nvSpPr>
            <p:spPr bwMode="gray">
              <a:xfrm>
                <a:off x="5147" y="1601"/>
                <a:ext cx="266" cy="180"/>
              </a:xfrm>
              <a:custGeom>
                <a:avLst/>
                <a:gdLst>
                  <a:gd name="T0" fmla="*/ 116 w 266"/>
                  <a:gd name="T1" fmla="*/ 11 h 180"/>
                  <a:gd name="T2" fmla="*/ 100 w 266"/>
                  <a:gd name="T3" fmla="*/ 14 h 180"/>
                  <a:gd name="T4" fmla="*/ 116 w 266"/>
                  <a:gd name="T5" fmla="*/ 11 h 180"/>
                  <a:gd name="T6" fmla="*/ 163 w 266"/>
                  <a:gd name="T7" fmla="*/ 19 h 180"/>
                  <a:gd name="T8" fmla="*/ 216 w 266"/>
                  <a:gd name="T9" fmla="*/ 50 h 180"/>
                  <a:gd name="T10" fmla="*/ 181 w 266"/>
                  <a:gd name="T11" fmla="*/ 27 h 180"/>
                  <a:gd name="T12" fmla="*/ 188 w 266"/>
                  <a:gd name="T13" fmla="*/ 31 h 180"/>
                  <a:gd name="T14" fmla="*/ 208 w 266"/>
                  <a:gd name="T15" fmla="*/ 52 h 180"/>
                  <a:gd name="T16" fmla="*/ 216 w 266"/>
                  <a:gd name="T17" fmla="*/ 52 h 180"/>
                  <a:gd name="T18" fmla="*/ 160 w 266"/>
                  <a:gd name="T19" fmla="*/ 152 h 180"/>
                  <a:gd name="T20" fmla="*/ 152 w 266"/>
                  <a:gd name="T21" fmla="*/ 144 h 180"/>
                  <a:gd name="T22" fmla="*/ 136 w 266"/>
                  <a:gd name="T23" fmla="*/ 134 h 180"/>
                  <a:gd name="T24" fmla="*/ 121 w 266"/>
                  <a:gd name="T25" fmla="*/ 114 h 180"/>
                  <a:gd name="T26" fmla="*/ 121 w 266"/>
                  <a:gd name="T27" fmla="*/ 94 h 180"/>
                  <a:gd name="T28" fmla="*/ 114 w 266"/>
                  <a:gd name="T29" fmla="*/ 80 h 180"/>
                  <a:gd name="T30" fmla="*/ 78 w 266"/>
                  <a:gd name="T31" fmla="*/ 53 h 180"/>
                  <a:gd name="T32" fmla="*/ 63 w 266"/>
                  <a:gd name="T33" fmla="*/ 42 h 180"/>
                  <a:gd name="T34" fmla="*/ 36 w 266"/>
                  <a:gd name="T35" fmla="*/ 34 h 180"/>
                  <a:gd name="T36" fmla="*/ 2 w 266"/>
                  <a:gd name="T37" fmla="*/ 89 h 180"/>
                  <a:gd name="T38" fmla="*/ 11 w 266"/>
                  <a:gd name="T39" fmla="*/ 138 h 180"/>
                  <a:gd name="T40" fmla="*/ 42 w 266"/>
                  <a:gd name="T41" fmla="*/ 134 h 180"/>
                  <a:gd name="T42" fmla="*/ 28 w 266"/>
                  <a:gd name="T43" fmla="*/ 122 h 180"/>
                  <a:gd name="T44" fmla="*/ 33 w 266"/>
                  <a:gd name="T45" fmla="*/ 120 h 180"/>
                  <a:gd name="T46" fmla="*/ 52 w 266"/>
                  <a:gd name="T47" fmla="*/ 116 h 180"/>
                  <a:gd name="T48" fmla="*/ 55 w 266"/>
                  <a:gd name="T49" fmla="*/ 111 h 180"/>
                  <a:gd name="T50" fmla="*/ 69 w 266"/>
                  <a:gd name="T51" fmla="*/ 109 h 180"/>
                  <a:gd name="T52" fmla="*/ 88 w 266"/>
                  <a:gd name="T53" fmla="*/ 116 h 180"/>
                  <a:gd name="T54" fmla="*/ 105 w 266"/>
                  <a:gd name="T55" fmla="*/ 134 h 180"/>
                  <a:gd name="T56" fmla="*/ 121 w 266"/>
                  <a:gd name="T57" fmla="*/ 152 h 180"/>
                  <a:gd name="T58" fmla="*/ 141 w 266"/>
                  <a:gd name="T59" fmla="*/ 155 h 180"/>
                  <a:gd name="T60" fmla="*/ 167 w 266"/>
                  <a:gd name="T61" fmla="*/ 163 h 180"/>
                  <a:gd name="T62" fmla="*/ 194 w 266"/>
                  <a:gd name="T63" fmla="*/ 25 h 180"/>
                  <a:gd name="T64" fmla="*/ 206 w 266"/>
                  <a:gd name="T65" fmla="*/ 30 h 180"/>
                  <a:gd name="T66" fmla="*/ 225 w 266"/>
                  <a:gd name="T67" fmla="*/ 47 h 180"/>
                  <a:gd name="T68" fmla="*/ 188 w 266"/>
                  <a:gd name="T69" fmla="*/ 50 h 180"/>
                  <a:gd name="T70" fmla="*/ 178 w 266"/>
                  <a:gd name="T71" fmla="*/ 69 h 180"/>
                  <a:gd name="T72" fmla="*/ 163 w 266"/>
                  <a:gd name="T73" fmla="*/ 69 h 180"/>
                  <a:gd name="T74" fmla="*/ 152 w 266"/>
                  <a:gd name="T75" fmla="*/ 73 h 180"/>
                  <a:gd name="T76" fmla="*/ 131 w 266"/>
                  <a:gd name="T77" fmla="*/ 75 h 180"/>
                  <a:gd name="T78" fmla="*/ 155 w 266"/>
                  <a:gd name="T79" fmla="*/ 86 h 180"/>
                  <a:gd name="T80" fmla="*/ 180 w 266"/>
                  <a:gd name="T81" fmla="*/ 81 h 180"/>
                  <a:gd name="T82" fmla="*/ 199 w 266"/>
                  <a:gd name="T83" fmla="*/ 70 h 180"/>
                  <a:gd name="T84" fmla="*/ 202 w 266"/>
                  <a:gd name="T85" fmla="*/ 55 h 180"/>
                  <a:gd name="T86" fmla="*/ 242 w 266"/>
                  <a:gd name="T87" fmla="*/ 64 h 180"/>
                  <a:gd name="T88" fmla="*/ 111 w 266"/>
                  <a:gd name="T89" fmla="*/ 67 h 180"/>
                  <a:gd name="T90" fmla="*/ 261 w 266"/>
                  <a:gd name="T91" fmla="*/ 86 h 180"/>
                  <a:gd name="T92" fmla="*/ 246 w 266"/>
                  <a:gd name="T93" fmla="*/ 72 h 180"/>
                  <a:gd name="T94" fmla="*/ 249 w 266"/>
                  <a:gd name="T95" fmla="*/ 84 h 180"/>
                  <a:gd name="T96" fmla="*/ 264 w 266"/>
                  <a:gd name="T97" fmla="*/ 94 h 180"/>
                  <a:gd name="T98" fmla="*/ 125 w 266"/>
                  <a:gd name="T99" fmla="*/ 78 h 180"/>
                  <a:gd name="T100" fmla="*/ 49 w 266"/>
                  <a:gd name="T101" fmla="*/ 124 h 180"/>
                  <a:gd name="T102" fmla="*/ 180 w 266"/>
                  <a:gd name="T103" fmla="*/ 128 h 180"/>
                  <a:gd name="T104" fmla="*/ 211 w 266"/>
                  <a:gd name="T105" fmla="*/ 134 h 180"/>
                  <a:gd name="T106" fmla="*/ 213 w 266"/>
                  <a:gd name="T107" fmla="*/ 138 h 180"/>
                  <a:gd name="T108" fmla="*/ 166 w 266"/>
                  <a:gd name="T109" fmla="*/ 142 h 180"/>
                  <a:gd name="T110" fmla="*/ 169 w 266"/>
                  <a:gd name="T111" fmla="*/ 141 h 180"/>
                  <a:gd name="T112" fmla="*/ 177 w 266"/>
                  <a:gd name="T113" fmla="*/ 145 h 180"/>
                  <a:gd name="T114" fmla="*/ 175 w 266"/>
                  <a:gd name="T115" fmla="*/ 149 h 180"/>
                  <a:gd name="T116" fmla="*/ 177 w 266"/>
                  <a:gd name="T117" fmla="*/ 163 h 180"/>
                  <a:gd name="T118" fmla="*/ 236 w 266"/>
                  <a:gd name="T119" fmla="*/ 175 h 180"/>
                  <a:gd name="T120" fmla="*/ 222 w 266"/>
                  <a:gd name="T1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180">
                    <a:moveTo>
                      <a:pt x="156" y="1"/>
                    </a:moveTo>
                    <a:lnTo>
                      <a:pt x="155" y="0"/>
                    </a:lnTo>
                    <a:lnTo>
                      <a:pt x="153" y="0"/>
                    </a:lnTo>
                    <a:lnTo>
                      <a:pt x="153" y="0"/>
                    </a:lnTo>
                    <a:lnTo>
                      <a:pt x="153" y="1"/>
                    </a:lnTo>
                    <a:lnTo>
                      <a:pt x="155" y="3"/>
                    </a:lnTo>
                    <a:lnTo>
                      <a:pt x="155" y="3"/>
                    </a:lnTo>
                    <a:lnTo>
                      <a:pt x="156" y="3"/>
                    </a:lnTo>
                    <a:lnTo>
                      <a:pt x="156" y="3"/>
                    </a:lnTo>
                    <a:lnTo>
                      <a:pt x="156" y="1"/>
                    </a:lnTo>
                    <a:close/>
                    <a:moveTo>
                      <a:pt x="116" y="11"/>
                    </a:moveTo>
                    <a:lnTo>
                      <a:pt x="116" y="11"/>
                    </a:lnTo>
                    <a:lnTo>
                      <a:pt x="116" y="11"/>
                    </a:lnTo>
                    <a:lnTo>
                      <a:pt x="116" y="11"/>
                    </a:lnTo>
                    <a:lnTo>
                      <a:pt x="110" y="11"/>
                    </a:lnTo>
                    <a:lnTo>
                      <a:pt x="105" y="9"/>
                    </a:lnTo>
                    <a:lnTo>
                      <a:pt x="103" y="11"/>
                    </a:lnTo>
                    <a:lnTo>
                      <a:pt x="102" y="11"/>
                    </a:lnTo>
                    <a:lnTo>
                      <a:pt x="100" y="11"/>
                    </a:lnTo>
                    <a:lnTo>
                      <a:pt x="102" y="12"/>
                    </a:lnTo>
                    <a:lnTo>
                      <a:pt x="100" y="12"/>
                    </a:lnTo>
                    <a:lnTo>
                      <a:pt x="100" y="14"/>
                    </a:lnTo>
                    <a:lnTo>
                      <a:pt x="100" y="14"/>
                    </a:lnTo>
                    <a:lnTo>
                      <a:pt x="100" y="14"/>
                    </a:lnTo>
                    <a:lnTo>
                      <a:pt x="102" y="14"/>
                    </a:lnTo>
                    <a:lnTo>
                      <a:pt x="103" y="14"/>
                    </a:lnTo>
                    <a:lnTo>
                      <a:pt x="103" y="14"/>
                    </a:lnTo>
                    <a:lnTo>
                      <a:pt x="106" y="14"/>
                    </a:lnTo>
                    <a:lnTo>
                      <a:pt x="110" y="14"/>
                    </a:lnTo>
                    <a:lnTo>
                      <a:pt x="111" y="14"/>
                    </a:lnTo>
                    <a:lnTo>
                      <a:pt x="111" y="14"/>
                    </a:lnTo>
                    <a:lnTo>
                      <a:pt x="113" y="12"/>
                    </a:lnTo>
                    <a:lnTo>
                      <a:pt x="114" y="12"/>
                    </a:lnTo>
                    <a:lnTo>
                      <a:pt x="114" y="12"/>
                    </a:lnTo>
                    <a:lnTo>
                      <a:pt x="116" y="12"/>
                    </a:lnTo>
                    <a:lnTo>
                      <a:pt x="116" y="11"/>
                    </a:lnTo>
                    <a:lnTo>
                      <a:pt x="116" y="11"/>
                    </a:lnTo>
                    <a:close/>
                    <a:moveTo>
                      <a:pt x="122" y="16"/>
                    </a:moveTo>
                    <a:lnTo>
                      <a:pt x="122" y="16"/>
                    </a:lnTo>
                    <a:lnTo>
                      <a:pt x="122" y="16"/>
                    </a:lnTo>
                    <a:lnTo>
                      <a:pt x="121" y="17"/>
                    </a:lnTo>
                    <a:lnTo>
                      <a:pt x="122" y="17"/>
                    </a:lnTo>
                    <a:lnTo>
                      <a:pt x="122" y="17"/>
                    </a:lnTo>
                    <a:lnTo>
                      <a:pt x="124" y="16"/>
                    </a:lnTo>
                    <a:lnTo>
                      <a:pt x="122" y="16"/>
                    </a:lnTo>
                    <a:close/>
                    <a:moveTo>
                      <a:pt x="169" y="19"/>
                    </a:moveTo>
                    <a:lnTo>
                      <a:pt x="164" y="17"/>
                    </a:lnTo>
                    <a:lnTo>
                      <a:pt x="163" y="19"/>
                    </a:lnTo>
                    <a:lnTo>
                      <a:pt x="160" y="19"/>
                    </a:lnTo>
                    <a:lnTo>
                      <a:pt x="161" y="19"/>
                    </a:lnTo>
                    <a:lnTo>
                      <a:pt x="161" y="20"/>
                    </a:lnTo>
                    <a:lnTo>
                      <a:pt x="163" y="22"/>
                    </a:lnTo>
                    <a:lnTo>
                      <a:pt x="164" y="22"/>
                    </a:lnTo>
                    <a:lnTo>
                      <a:pt x="164" y="23"/>
                    </a:lnTo>
                    <a:lnTo>
                      <a:pt x="169" y="22"/>
                    </a:lnTo>
                    <a:lnTo>
                      <a:pt x="169" y="22"/>
                    </a:lnTo>
                    <a:lnTo>
                      <a:pt x="169" y="20"/>
                    </a:lnTo>
                    <a:lnTo>
                      <a:pt x="169" y="20"/>
                    </a:lnTo>
                    <a:lnTo>
                      <a:pt x="169" y="19"/>
                    </a:lnTo>
                    <a:close/>
                    <a:moveTo>
                      <a:pt x="216" y="50"/>
                    </a:moveTo>
                    <a:lnTo>
                      <a:pt x="214" y="48"/>
                    </a:lnTo>
                    <a:lnTo>
                      <a:pt x="202" y="39"/>
                    </a:lnTo>
                    <a:lnTo>
                      <a:pt x="202" y="37"/>
                    </a:lnTo>
                    <a:lnTo>
                      <a:pt x="199" y="36"/>
                    </a:lnTo>
                    <a:lnTo>
                      <a:pt x="197" y="33"/>
                    </a:lnTo>
                    <a:lnTo>
                      <a:pt x="197" y="33"/>
                    </a:lnTo>
                    <a:lnTo>
                      <a:pt x="192" y="31"/>
                    </a:lnTo>
                    <a:lnTo>
                      <a:pt x="191" y="30"/>
                    </a:lnTo>
                    <a:lnTo>
                      <a:pt x="188" y="28"/>
                    </a:lnTo>
                    <a:lnTo>
                      <a:pt x="186" y="28"/>
                    </a:lnTo>
                    <a:lnTo>
                      <a:pt x="183" y="27"/>
                    </a:lnTo>
                    <a:lnTo>
                      <a:pt x="181" y="27"/>
                    </a:lnTo>
                    <a:lnTo>
                      <a:pt x="181" y="25"/>
                    </a:lnTo>
                    <a:lnTo>
                      <a:pt x="178" y="23"/>
                    </a:lnTo>
                    <a:lnTo>
                      <a:pt x="175" y="20"/>
                    </a:lnTo>
                    <a:lnTo>
                      <a:pt x="175" y="22"/>
                    </a:lnTo>
                    <a:lnTo>
                      <a:pt x="175" y="23"/>
                    </a:lnTo>
                    <a:lnTo>
                      <a:pt x="174" y="23"/>
                    </a:lnTo>
                    <a:lnTo>
                      <a:pt x="175" y="25"/>
                    </a:lnTo>
                    <a:lnTo>
                      <a:pt x="178" y="25"/>
                    </a:lnTo>
                    <a:lnTo>
                      <a:pt x="180" y="25"/>
                    </a:lnTo>
                    <a:lnTo>
                      <a:pt x="185" y="30"/>
                    </a:lnTo>
                    <a:lnTo>
                      <a:pt x="186" y="30"/>
                    </a:lnTo>
                    <a:lnTo>
                      <a:pt x="188" y="31"/>
                    </a:lnTo>
                    <a:lnTo>
                      <a:pt x="192" y="34"/>
                    </a:lnTo>
                    <a:lnTo>
                      <a:pt x="194" y="36"/>
                    </a:lnTo>
                    <a:lnTo>
                      <a:pt x="196" y="36"/>
                    </a:lnTo>
                    <a:lnTo>
                      <a:pt x="196" y="36"/>
                    </a:lnTo>
                    <a:lnTo>
                      <a:pt x="199" y="37"/>
                    </a:lnTo>
                    <a:lnTo>
                      <a:pt x="199" y="37"/>
                    </a:lnTo>
                    <a:lnTo>
                      <a:pt x="200" y="39"/>
                    </a:lnTo>
                    <a:lnTo>
                      <a:pt x="202" y="41"/>
                    </a:lnTo>
                    <a:lnTo>
                      <a:pt x="206" y="45"/>
                    </a:lnTo>
                    <a:lnTo>
                      <a:pt x="208" y="48"/>
                    </a:lnTo>
                    <a:lnTo>
                      <a:pt x="208" y="50"/>
                    </a:lnTo>
                    <a:lnTo>
                      <a:pt x="208" y="52"/>
                    </a:lnTo>
                    <a:lnTo>
                      <a:pt x="208" y="53"/>
                    </a:lnTo>
                    <a:lnTo>
                      <a:pt x="208" y="55"/>
                    </a:lnTo>
                    <a:lnTo>
                      <a:pt x="208" y="56"/>
                    </a:lnTo>
                    <a:lnTo>
                      <a:pt x="210" y="58"/>
                    </a:lnTo>
                    <a:lnTo>
                      <a:pt x="211" y="59"/>
                    </a:lnTo>
                    <a:lnTo>
                      <a:pt x="211" y="61"/>
                    </a:lnTo>
                    <a:lnTo>
                      <a:pt x="213" y="59"/>
                    </a:lnTo>
                    <a:lnTo>
                      <a:pt x="214" y="58"/>
                    </a:lnTo>
                    <a:lnTo>
                      <a:pt x="214" y="56"/>
                    </a:lnTo>
                    <a:lnTo>
                      <a:pt x="214" y="55"/>
                    </a:lnTo>
                    <a:lnTo>
                      <a:pt x="216" y="53"/>
                    </a:lnTo>
                    <a:lnTo>
                      <a:pt x="216" y="52"/>
                    </a:lnTo>
                    <a:lnTo>
                      <a:pt x="216" y="50"/>
                    </a:lnTo>
                    <a:close/>
                    <a:moveTo>
                      <a:pt x="172" y="158"/>
                    </a:moveTo>
                    <a:lnTo>
                      <a:pt x="172" y="156"/>
                    </a:lnTo>
                    <a:lnTo>
                      <a:pt x="175" y="155"/>
                    </a:lnTo>
                    <a:lnTo>
                      <a:pt x="172" y="156"/>
                    </a:lnTo>
                    <a:lnTo>
                      <a:pt x="171" y="155"/>
                    </a:lnTo>
                    <a:lnTo>
                      <a:pt x="167" y="155"/>
                    </a:lnTo>
                    <a:lnTo>
                      <a:pt x="166" y="155"/>
                    </a:lnTo>
                    <a:lnTo>
                      <a:pt x="164" y="153"/>
                    </a:lnTo>
                    <a:lnTo>
                      <a:pt x="163" y="153"/>
                    </a:lnTo>
                    <a:lnTo>
                      <a:pt x="160" y="152"/>
                    </a:lnTo>
                    <a:lnTo>
                      <a:pt x="160" y="152"/>
                    </a:lnTo>
                    <a:lnTo>
                      <a:pt x="158" y="152"/>
                    </a:lnTo>
                    <a:lnTo>
                      <a:pt x="158" y="150"/>
                    </a:lnTo>
                    <a:lnTo>
                      <a:pt x="156" y="149"/>
                    </a:lnTo>
                    <a:lnTo>
                      <a:pt x="156" y="149"/>
                    </a:lnTo>
                    <a:lnTo>
                      <a:pt x="158" y="147"/>
                    </a:lnTo>
                    <a:lnTo>
                      <a:pt x="160" y="147"/>
                    </a:lnTo>
                    <a:lnTo>
                      <a:pt x="161" y="147"/>
                    </a:lnTo>
                    <a:lnTo>
                      <a:pt x="161" y="145"/>
                    </a:lnTo>
                    <a:lnTo>
                      <a:pt x="160" y="145"/>
                    </a:lnTo>
                    <a:lnTo>
                      <a:pt x="158" y="145"/>
                    </a:lnTo>
                    <a:lnTo>
                      <a:pt x="156" y="144"/>
                    </a:lnTo>
                    <a:lnTo>
                      <a:pt x="152" y="144"/>
                    </a:lnTo>
                    <a:lnTo>
                      <a:pt x="150" y="144"/>
                    </a:lnTo>
                    <a:lnTo>
                      <a:pt x="147" y="142"/>
                    </a:lnTo>
                    <a:lnTo>
                      <a:pt x="147" y="141"/>
                    </a:lnTo>
                    <a:lnTo>
                      <a:pt x="147" y="139"/>
                    </a:lnTo>
                    <a:lnTo>
                      <a:pt x="147" y="136"/>
                    </a:lnTo>
                    <a:lnTo>
                      <a:pt x="147" y="134"/>
                    </a:lnTo>
                    <a:lnTo>
                      <a:pt x="147" y="134"/>
                    </a:lnTo>
                    <a:lnTo>
                      <a:pt x="146" y="134"/>
                    </a:lnTo>
                    <a:lnTo>
                      <a:pt x="146" y="134"/>
                    </a:lnTo>
                    <a:lnTo>
                      <a:pt x="139" y="134"/>
                    </a:lnTo>
                    <a:lnTo>
                      <a:pt x="138" y="134"/>
                    </a:lnTo>
                    <a:lnTo>
                      <a:pt x="136" y="134"/>
                    </a:lnTo>
                    <a:lnTo>
                      <a:pt x="135" y="133"/>
                    </a:lnTo>
                    <a:lnTo>
                      <a:pt x="133" y="128"/>
                    </a:lnTo>
                    <a:lnTo>
                      <a:pt x="133" y="128"/>
                    </a:lnTo>
                    <a:lnTo>
                      <a:pt x="130" y="125"/>
                    </a:lnTo>
                    <a:lnTo>
                      <a:pt x="130" y="125"/>
                    </a:lnTo>
                    <a:lnTo>
                      <a:pt x="130" y="124"/>
                    </a:lnTo>
                    <a:lnTo>
                      <a:pt x="130" y="122"/>
                    </a:lnTo>
                    <a:lnTo>
                      <a:pt x="128" y="119"/>
                    </a:lnTo>
                    <a:lnTo>
                      <a:pt x="128" y="117"/>
                    </a:lnTo>
                    <a:lnTo>
                      <a:pt x="125" y="116"/>
                    </a:lnTo>
                    <a:lnTo>
                      <a:pt x="122" y="114"/>
                    </a:lnTo>
                    <a:lnTo>
                      <a:pt x="121" y="114"/>
                    </a:lnTo>
                    <a:lnTo>
                      <a:pt x="117" y="111"/>
                    </a:lnTo>
                    <a:lnTo>
                      <a:pt x="116" y="109"/>
                    </a:lnTo>
                    <a:lnTo>
                      <a:pt x="114" y="108"/>
                    </a:lnTo>
                    <a:lnTo>
                      <a:pt x="113" y="106"/>
                    </a:lnTo>
                    <a:lnTo>
                      <a:pt x="111" y="105"/>
                    </a:lnTo>
                    <a:lnTo>
                      <a:pt x="110" y="102"/>
                    </a:lnTo>
                    <a:lnTo>
                      <a:pt x="108" y="97"/>
                    </a:lnTo>
                    <a:lnTo>
                      <a:pt x="106" y="97"/>
                    </a:lnTo>
                    <a:lnTo>
                      <a:pt x="106" y="95"/>
                    </a:lnTo>
                    <a:lnTo>
                      <a:pt x="110" y="94"/>
                    </a:lnTo>
                    <a:lnTo>
                      <a:pt x="114" y="94"/>
                    </a:lnTo>
                    <a:lnTo>
                      <a:pt x="121" y="94"/>
                    </a:lnTo>
                    <a:lnTo>
                      <a:pt x="122" y="94"/>
                    </a:lnTo>
                    <a:lnTo>
                      <a:pt x="124" y="92"/>
                    </a:lnTo>
                    <a:lnTo>
                      <a:pt x="124" y="91"/>
                    </a:lnTo>
                    <a:lnTo>
                      <a:pt x="122" y="88"/>
                    </a:lnTo>
                    <a:lnTo>
                      <a:pt x="122" y="86"/>
                    </a:lnTo>
                    <a:lnTo>
                      <a:pt x="122" y="86"/>
                    </a:lnTo>
                    <a:lnTo>
                      <a:pt x="121" y="86"/>
                    </a:lnTo>
                    <a:lnTo>
                      <a:pt x="119" y="83"/>
                    </a:lnTo>
                    <a:lnTo>
                      <a:pt x="117" y="81"/>
                    </a:lnTo>
                    <a:lnTo>
                      <a:pt x="117" y="81"/>
                    </a:lnTo>
                    <a:lnTo>
                      <a:pt x="116" y="80"/>
                    </a:lnTo>
                    <a:lnTo>
                      <a:pt x="114" y="80"/>
                    </a:lnTo>
                    <a:lnTo>
                      <a:pt x="113" y="80"/>
                    </a:lnTo>
                    <a:lnTo>
                      <a:pt x="110" y="80"/>
                    </a:lnTo>
                    <a:lnTo>
                      <a:pt x="108" y="80"/>
                    </a:lnTo>
                    <a:lnTo>
                      <a:pt x="97" y="73"/>
                    </a:lnTo>
                    <a:lnTo>
                      <a:pt x="94" y="73"/>
                    </a:lnTo>
                    <a:lnTo>
                      <a:pt x="91" y="72"/>
                    </a:lnTo>
                    <a:lnTo>
                      <a:pt x="88" y="72"/>
                    </a:lnTo>
                    <a:lnTo>
                      <a:pt x="86" y="70"/>
                    </a:lnTo>
                    <a:lnTo>
                      <a:pt x="86" y="67"/>
                    </a:lnTo>
                    <a:lnTo>
                      <a:pt x="86" y="61"/>
                    </a:lnTo>
                    <a:lnTo>
                      <a:pt x="86" y="61"/>
                    </a:lnTo>
                    <a:lnTo>
                      <a:pt x="78" y="53"/>
                    </a:lnTo>
                    <a:lnTo>
                      <a:pt x="77" y="53"/>
                    </a:lnTo>
                    <a:lnTo>
                      <a:pt x="75" y="52"/>
                    </a:lnTo>
                    <a:lnTo>
                      <a:pt x="74" y="50"/>
                    </a:lnTo>
                    <a:lnTo>
                      <a:pt x="72" y="48"/>
                    </a:lnTo>
                    <a:lnTo>
                      <a:pt x="70" y="47"/>
                    </a:lnTo>
                    <a:lnTo>
                      <a:pt x="69" y="47"/>
                    </a:lnTo>
                    <a:lnTo>
                      <a:pt x="66" y="45"/>
                    </a:lnTo>
                    <a:lnTo>
                      <a:pt x="64" y="44"/>
                    </a:lnTo>
                    <a:lnTo>
                      <a:pt x="64" y="44"/>
                    </a:lnTo>
                    <a:lnTo>
                      <a:pt x="64" y="42"/>
                    </a:lnTo>
                    <a:lnTo>
                      <a:pt x="63" y="42"/>
                    </a:lnTo>
                    <a:lnTo>
                      <a:pt x="63" y="42"/>
                    </a:lnTo>
                    <a:lnTo>
                      <a:pt x="60" y="42"/>
                    </a:lnTo>
                    <a:lnTo>
                      <a:pt x="58" y="42"/>
                    </a:lnTo>
                    <a:lnTo>
                      <a:pt x="56" y="42"/>
                    </a:lnTo>
                    <a:lnTo>
                      <a:pt x="56" y="42"/>
                    </a:lnTo>
                    <a:lnTo>
                      <a:pt x="53" y="41"/>
                    </a:lnTo>
                    <a:lnTo>
                      <a:pt x="52" y="39"/>
                    </a:lnTo>
                    <a:lnTo>
                      <a:pt x="50" y="39"/>
                    </a:lnTo>
                    <a:lnTo>
                      <a:pt x="47" y="36"/>
                    </a:lnTo>
                    <a:lnTo>
                      <a:pt x="44" y="36"/>
                    </a:lnTo>
                    <a:lnTo>
                      <a:pt x="41" y="34"/>
                    </a:lnTo>
                    <a:lnTo>
                      <a:pt x="38" y="34"/>
                    </a:lnTo>
                    <a:lnTo>
                      <a:pt x="36" y="34"/>
                    </a:lnTo>
                    <a:lnTo>
                      <a:pt x="30" y="31"/>
                    </a:lnTo>
                    <a:lnTo>
                      <a:pt x="24" y="30"/>
                    </a:lnTo>
                    <a:lnTo>
                      <a:pt x="20" y="28"/>
                    </a:lnTo>
                    <a:lnTo>
                      <a:pt x="19" y="28"/>
                    </a:lnTo>
                    <a:lnTo>
                      <a:pt x="19" y="28"/>
                    </a:lnTo>
                    <a:lnTo>
                      <a:pt x="17" y="27"/>
                    </a:lnTo>
                    <a:lnTo>
                      <a:pt x="14" y="25"/>
                    </a:lnTo>
                    <a:lnTo>
                      <a:pt x="6" y="22"/>
                    </a:lnTo>
                    <a:lnTo>
                      <a:pt x="5" y="22"/>
                    </a:lnTo>
                    <a:lnTo>
                      <a:pt x="2" y="22"/>
                    </a:lnTo>
                    <a:lnTo>
                      <a:pt x="2" y="88"/>
                    </a:lnTo>
                    <a:lnTo>
                      <a:pt x="2" y="89"/>
                    </a:lnTo>
                    <a:lnTo>
                      <a:pt x="0" y="92"/>
                    </a:lnTo>
                    <a:lnTo>
                      <a:pt x="0" y="94"/>
                    </a:lnTo>
                    <a:lnTo>
                      <a:pt x="2" y="95"/>
                    </a:lnTo>
                    <a:lnTo>
                      <a:pt x="2" y="97"/>
                    </a:lnTo>
                    <a:lnTo>
                      <a:pt x="2" y="103"/>
                    </a:lnTo>
                    <a:lnTo>
                      <a:pt x="2" y="106"/>
                    </a:lnTo>
                    <a:lnTo>
                      <a:pt x="2" y="136"/>
                    </a:lnTo>
                    <a:lnTo>
                      <a:pt x="5" y="138"/>
                    </a:lnTo>
                    <a:lnTo>
                      <a:pt x="6" y="138"/>
                    </a:lnTo>
                    <a:lnTo>
                      <a:pt x="8" y="136"/>
                    </a:lnTo>
                    <a:lnTo>
                      <a:pt x="9" y="136"/>
                    </a:lnTo>
                    <a:lnTo>
                      <a:pt x="11" y="138"/>
                    </a:lnTo>
                    <a:lnTo>
                      <a:pt x="14" y="138"/>
                    </a:lnTo>
                    <a:lnTo>
                      <a:pt x="16" y="138"/>
                    </a:lnTo>
                    <a:lnTo>
                      <a:pt x="20" y="138"/>
                    </a:lnTo>
                    <a:lnTo>
                      <a:pt x="24" y="136"/>
                    </a:lnTo>
                    <a:lnTo>
                      <a:pt x="25" y="138"/>
                    </a:lnTo>
                    <a:lnTo>
                      <a:pt x="27" y="138"/>
                    </a:lnTo>
                    <a:lnTo>
                      <a:pt x="28" y="138"/>
                    </a:lnTo>
                    <a:lnTo>
                      <a:pt x="30" y="139"/>
                    </a:lnTo>
                    <a:lnTo>
                      <a:pt x="31" y="139"/>
                    </a:lnTo>
                    <a:lnTo>
                      <a:pt x="36" y="138"/>
                    </a:lnTo>
                    <a:lnTo>
                      <a:pt x="39" y="134"/>
                    </a:lnTo>
                    <a:lnTo>
                      <a:pt x="42" y="134"/>
                    </a:lnTo>
                    <a:lnTo>
                      <a:pt x="44" y="133"/>
                    </a:lnTo>
                    <a:lnTo>
                      <a:pt x="44" y="131"/>
                    </a:lnTo>
                    <a:lnTo>
                      <a:pt x="45" y="130"/>
                    </a:lnTo>
                    <a:lnTo>
                      <a:pt x="44" y="130"/>
                    </a:lnTo>
                    <a:lnTo>
                      <a:pt x="44" y="128"/>
                    </a:lnTo>
                    <a:lnTo>
                      <a:pt x="42" y="127"/>
                    </a:lnTo>
                    <a:lnTo>
                      <a:pt x="39" y="125"/>
                    </a:lnTo>
                    <a:lnTo>
                      <a:pt x="39" y="124"/>
                    </a:lnTo>
                    <a:lnTo>
                      <a:pt x="38" y="124"/>
                    </a:lnTo>
                    <a:lnTo>
                      <a:pt x="35" y="122"/>
                    </a:lnTo>
                    <a:lnTo>
                      <a:pt x="30" y="122"/>
                    </a:lnTo>
                    <a:lnTo>
                      <a:pt x="28" y="122"/>
                    </a:lnTo>
                    <a:lnTo>
                      <a:pt x="27" y="122"/>
                    </a:lnTo>
                    <a:lnTo>
                      <a:pt x="27" y="120"/>
                    </a:lnTo>
                    <a:lnTo>
                      <a:pt x="27" y="119"/>
                    </a:lnTo>
                    <a:lnTo>
                      <a:pt x="24" y="119"/>
                    </a:lnTo>
                    <a:lnTo>
                      <a:pt x="25" y="119"/>
                    </a:lnTo>
                    <a:lnTo>
                      <a:pt x="27" y="119"/>
                    </a:lnTo>
                    <a:lnTo>
                      <a:pt x="27" y="120"/>
                    </a:lnTo>
                    <a:lnTo>
                      <a:pt x="27" y="120"/>
                    </a:lnTo>
                    <a:lnTo>
                      <a:pt x="28" y="122"/>
                    </a:lnTo>
                    <a:lnTo>
                      <a:pt x="30" y="122"/>
                    </a:lnTo>
                    <a:lnTo>
                      <a:pt x="31" y="120"/>
                    </a:lnTo>
                    <a:lnTo>
                      <a:pt x="33" y="120"/>
                    </a:lnTo>
                    <a:lnTo>
                      <a:pt x="35" y="120"/>
                    </a:lnTo>
                    <a:lnTo>
                      <a:pt x="36" y="122"/>
                    </a:lnTo>
                    <a:lnTo>
                      <a:pt x="39" y="122"/>
                    </a:lnTo>
                    <a:lnTo>
                      <a:pt x="42" y="120"/>
                    </a:lnTo>
                    <a:lnTo>
                      <a:pt x="45" y="120"/>
                    </a:lnTo>
                    <a:lnTo>
                      <a:pt x="49" y="119"/>
                    </a:lnTo>
                    <a:lnTo>
                      <a:pt x="49" y="117"/>
                    </a:lnTo>
                    <a:lnTo>
                      <a:pt x="47" y="116"/>
                    </a:lnTo>
                    <a:lnTo>
                      <a:pt x="47" y="116"/>
                    </a:lnTo>
                    <a:lnTo>
                      <a:pt x="47" y="116"/>
                    </a:lnTo>
                    <a:lnTo>
                      <a:pt x="50" y="116"/>
                    </a:lnTo>
                    <a:lnTo>
                      <a:pt x="52" y="116"/>
                    </a:lnTo>
                    <a:lnTo>
                      <a:pt x="52" y="116"/>
                    </a:lnTo>
                    <a:lnTo>
                      <a:pt x="53" y="116"/>
                    </a:lnTo>
                    <a:lnTo>
                      <a:pt x="53" y="116"/>
                    </a:lnTo>
                    <a:lnTo>
                      <a:pt x="53" y="116"/>
                    </a:lnTo>
                    <a:lnTo>
                      <a:pt x="55" y="116"/>
                    </a:lnTo>
                    <a:lnTo>
                      <a:pt x="50" y="108"/>
                    </a:lnTo>
                    <a:lnTo>
                      <a:pt x="49" y="106"/>
                    </a:lnTo>
                    <a:lnTo>
                      <a:pt x="50" y="108"/>
                    </a:lnTo>
                    <a:lnTo>
                      <a:pt x="52" y="108"/>
                    </a:lnTo>
                    <a:lnTo>
                      <a:pt x="52" y="109"/>
                    </a:lnTo>
                    <a:lnTo>
                      <a:pt x="53" y="109"/>
                    </a:lnTo>
                    <a:lnTo>
                      <a:pt x="55" y="111"/>
                    </a:lnTo>
                    <a:lnTo>
                      <a:pt x="58" y="111"/>
                    </a:lnTo>
                    <a:lnTo>
                      <a:pt x="60" y="113"/>
                    </a:lnTo>
                    <a:lnTo>
                      <a:pt x="60" y="111"/>
                    </a:lnTo>
                    <a:lnTo>
                      <a:pt x="61" y="111"/>
                    </a:lnTo>
                    <a:lnTo>
                      <a:pt x="61" y="109"/>
                    </a:lnTo>
                    <a:lnTo>
                      <a:pt x="63" y="111"/>
                    </a:lnTo>
                    <a:lnTo>
                      <a:pt x="63" y="111"/>
                    </a:lnTo>
                    <a:lnTo>
                      <a:pt x="63" y="109"/>
                    </a:lnTo>
                    <a:lnTo>
                      <a:pt x="64" y="108"/>
                    </a:lnTo>
                    <a:lnTo>
                      <a:pt x="66" y="109"/>
                    </a:lnTo>
                    <a:lnTo>
                      <a:pt x="67" y="109"/>
                    </a:lnTo>
                    <a:lnTo>
                      <a:pt x="69" y="109"/>
                    </a:lnTo>
                    <a:lnTo>
                      <a:pt x="70" y="109"/>
                    </a:lnTo>
                    <a:lnTo>
                      <a:pt x="70" y="111"/>
                    </a:lnTo>
                    <a:lnTo>
                      <a:pt x="72" y="113"/>
                    </a:lnTo>
                    <a:lnTo>
                      <a:pt x="72" y="113"/>
                    </a:lnTo>
                    <a:lnTo>
                      <a:pt x="74" y="113"/>
                    </a:lnTo>
                    <a:lnTo>
                      <a:pt x="77" y="113"/>
                    </a:lnTo>
                    <a:lnTo>
                      <a:pt x="78" y="114"/>
                    </a:lnTo>
                    <a:lnTo>
                      <a:pt x="81" y="114"/>
                    </a:lnTo>
                    <a:lnTo>
                      <a:pt x="83" y="116"/>
                    </a:lnTo>
                    <a:lnTo>
                      <a:pt x="86" y="116"/>
                    </a:lnTo>
                    <a:lnTo>
                      <a:pt x="86" y="116"/>
                    </a:lnTo>
                    <a:lnTo>
                      <a:pt x="88" y="116"/>
                    </a:lnTo>
                    <a:lnTo>
                      <a:pt x="91" y="117"/>
                    </a:lnTo>
                    <a:lnTo>
                      <a:pt x="92" y="117"/>
                    </a:lnTo>
                    <a:lnTo>
                      <a:pt x="92" y="119"/>
                    </a:lnTo>
                    <a:lnTo>
                      <a:pt x="92" y="120"/>
                    </a:lnTo>
                    <a:lnTo>
                      <a:pt x="94" y="120"/>
                    </a:lnTo>
                    <a:lnTo>
                      <a:pt x="95" y="122"/>
                    </a:lnTo>
                    <a:lnTo>
                      <a:pt x="95" y="124"/>
                    </a:lnTo>
                    <a:lnTo>
                      <a:pt x="99" y="127"/>
                    </a:lnTo>
                    <a:lnTo>
                      <a:pt x="100" y="130"/>
                    </a:lnTo>
                    <a:lnTo>
                      <a:pt x="102" y="133"/>
                    </a:lnTo>
                    <a:lnTo>
                      <a:pt x="103" y="134"/>
                    </a:lnTo>
                    <a:lnTo>
                      <a:pt x="105" y="134"/>
                    </a:lnTo>
                    <a:lnTo>
                      <a:pt x="106" y="134"/>
                    </a:lnTo>
                    <a:lnTo>
                      <a:pt x="108" y="134"/>
                    </a:lnTo>
                    <a:lnTo>
                      <a:pt x="106" y="136"/>
                    </a:lnTo>
                    <a:lnTo>
                      <a:pt x="106" y="138"/>
                    </a:lnTo>
                    <a:lnTo>
                      <a:pt x="108" y="141"/>
                    </a:lnTo>
                    <a:lnTo>
                      <a:pt x="110" y="141"/>
                    </a:lnTo>
                    <a:lnTo>
                      <a:pt x="113" y="144"/>
                    </a:lnTo>
                    <a:lnTo>
                      <a:pt x="116" y="145"/>
                    </a:lnTo>
                    <a:lnTo>
                      <a:pt x="117" y="147"/>
                    </a:lnTo>
                    <a:lnTo>
                      <a:pt x="117" y="150"/>
                    </a:lnTo>
                    <a:lnTo>
                      <a:pt x="119" y="150"/>
                    </a:lnTo>
                    <a:lnTo>
                      <a:pt x="121" y="152"/>
                    </a:lnTo>
                    <a:lnTo>
                      <a:pt x="122" y="153"/>
                    </a:lnTo>
                    <a:lnTo>
                      <a:pt x="124" y="153"/>
                    </a:lnTo>
                    <a:lnTo>
                      <a:pt x="127" y="153"/>
                    </a:lnTo>
                    <a:lnTo>
                      <a:pt x="127" y="153"/>
                    </a:lnTo>
                    <a:lnTo>
                      <a:pt x="128" y="153"/>
                    </a:lnTo>
                    <a:lnTo>
                      <a:pt x="130" y="153"/>
                    </a:lnTo>
                    <a:lnTo>
                      <a:pt x="133" y="155"/>
                    </a:lnTo>
                    <a:lnTo>
                      <a:pt x="133" y="155"/>
                    </a:lnTo>
                    <a:lnTo>
                      <a:pt x="136" y="155"/>
                    </a:lnTo>
                    <a:lnTo>
                      <a:pt x="138" y="155"/>
                    </a:lnTo>
                    <a:lnTo>
                      <a:pt x="138" y="155"/>
                    </a:lnTo>
                    <a:lnTo>
                      <a:pt x="141" y="155"/>
                    </a:lnTo>
                    <a:lnTo>
                      <a:pt x="142" y="156"/>
                    </a:lnTo>
                    <a:lnTo>
                      <a:pt x="149" y="156"/>
                    </a:lnTo>
                    <a:lnTo>
                      <a:pt x="153" y="158"/>
                    </a:lnTo>
                    <a:lnTo>
                      <a:pt x="155" y="158"/>
                    </a:lnTo>
                    <a:lnTo>
                      <a:pt x="156" y="158"/>
                    </a:lnTo>
                    <a:lnTo>
                      <a:pt x="158" y="158"/>
                    </a:lnTo>
                    <a:lnTo>
                      <a:pt x="160" y="160"/>
                    </a:lnTo>
                    <a:lnTo>
                      <a:pt x="160" y="161"/>
                    </a:lnTo>
                    <a:lnTo>
                      <a:pt x="161" y="161"/>
                    </a:lnTo>
                    <a:lnTo>
                      <a:pt x="163" y="163"/>
                    </a:lnTo>
                    <a:lnTo>
                      <a:pt x="166" y="163"/>
                    </a:lnTo>
                    <a:lnTo>
                      <a:pt x="167" y="163"/>
                    </a:lnTo>
                    <a:lnTo>
                      <a:pt x="169" y="163"/>
                    </a:lnTo>
                    <a:lnTo>
                      <a:pt x="172" y="161"/>
                    </a:lnTo>
                    <a:lnTo>
                      <a:pt x="172" y="161"/>
                    </a:lnTo>
                    <a:lnTo>
                      <a:pt x="171" y="160"/>
                    </a:lnTo>
                    <a:lnTo>
                      <a:pt x="169" y="160"/>
                    </a:lnTo>
                    <a:lnTo>
                      <a:pt x="167" y="158"/>
                    </a:lnTo>
                    <a:lnTo>
                      <a:pt x="169" y="156"/>
                    </a:lnTo>
                    <a:lnTo>
                      <a:pt x="172" y="158"/>
                    </a:lnTo>
                    <a:close/>
                    <a:moveTo>
                      <a:pt x="196" y="23"/>
                    </a:moveTo>
                    <a:lnTo>
                      <a:pt x="196" y="23"/>
                    </a:lnTo>
                    <a:lnTo>
                      <a:pt x="194" y="23"/>
                    </a:lnTo>
                    <a:lnTo>
                      <a:pt x="194" y="25"/>
                    </a:lnTo>
                    <a:lnTo>
                      <a:pt x="196" y="25"/>
                    </a:lnTo>
                    <a:lnTo>
                      <a:pt x="196" y="25"/>
                    </a:lnTo>
                    <a:lnTo>
                      <a:pt x="196" y="23"/>
                    </a:lnTo>
                    <a:close/>
                    <a:moveTo>
                      <a:pt x="197" y="27"/>
                    </a:moveTo>
                    <a:lnTo>
                      <a:pt x="196" y="25"/>
                    </a:lnTo>
                    <a:lnTo>
                      <a:pt x="196" y="27"/>
                    </a:lnTo>
                    <a:lnTo>
                      <a:pt x="196" y="27"/>
                    </a:lnTo>
                    <a:lnTo>
                      <a:pt x="197" y="28"/>
                    </a:lnTo>
                    <a:lnTo>
                      <a:pt x="197" y="28"/>
                    </a:lnTo>
                    <a:lnTo>
                      <a:pt x="197" y="28"/>
                    </a:lnTo>
                    <a:lnTo>
                      <a:pt x="197" y="27"/>
                    </a:lnTo>
                    <a:close/>
                    <a:moveTo>
                      <a:pt x="206" y="30"/>
                    </a:moveTo>
                    <a:lnTo>
                      <a:pt x="206" y="30"/>
                    </a:lnTo>
                    <a:lnTo>
                      <a:pt x="205" y="30"/>
                    </a:lnTo>
                    <a:lnTo>
                      <a:pt x="206" y="31"/>
                    </a:lnTo>
                    <a:lnTo>
                      <a:pt x="206" y="33"/>
                    </a:lnTo>
                    <a:lnTo>
                      <a:pt x="208" y="31"/>
                    </a:lnTo>
                    <a:lnTo>
                      <a:pt x="206" y="30"/>
                    </a:lnTo>
                    <a:close/>
                    <a:moveTo>
                      <a:pt x="225" y="47"/>
                    </a:moveTo>
                    <a:lnTo>
                      <a:pt x="224" y="47"/>
                    </a:lnTo>
                    <a:lnTo>
                      <a:pt x="225" y="48"/>
                    </a:lnTo>
                    <a:lnTo>
                      <a:pt x="225" y="47"/>
                    </a:lnTo>
                    <a:lnTo>
                      <a:pt x="225" y="47"/>
                    </a:lnTo>
                    <a:lnTo>
                      <a:pt x="225" y="47"/>
                    </a:lnTo>
                    <a:close/>
                    <a:moveTo>
                      <a:pt x="202" y="55"/>
                    </a:moveTo>
                    <a:lnTo>
                      <a:pt x="203" y="52"/>
                    </a:lnTo>
                    <a:lnTo>
                      <a:pt x="202" y="52"/>
                    </a:lnTo>
                    <a:lnTo>
                      <a:pt x="199" y="52"/>
                    </a:lnTo>
                    <a:lnTo>
                      <a:pt x="197" y="50"/>
                    </a:lnTo>
                    <a:lnTo>
                      <a:pt x="196" y="52"/>
                    </a:lnTo>
                    <a:lnTo>
                      <a:pt x="194" y="52"/>
                    </a:lnTo>
                    <a:lnTo>
                      <a:pt x="194" y="50"/>
                    </a:lnTo>
                    <a:lnTo>
                      <a:pt x="192" y="50"/>
                    </a:lnTo>
                    <a:lnTo>
                      <a:pt x="191" y="50"/>
                    </a:lnTo>
                    <a:lnTo>
                      <a:pt x="189" y="50"/>
                    </a:lnTo>
                    <a:lnTo>
                      <a:pt x="188" y="50"/>
                    </a:lnTo>
                    <a:lnTo>
                      <a:pt x="188" y="52"/>
                    </a:lnTo>
                    <a:lnTo>
                      <a:pt x="188" y="52"/>
                    </a:lnTo>
                    <a:lnTo>
                      <a:pt x="189" y="56"/>
                    </a:lnTo>
                    <a:lnTo>
                      <a:pt x="191" y="59"/>
                    </a:lnTo>
                    <a:lnTo>
                      <a:pt x="189" y="61"/>
                    </a:lnTo>
                    <a:lnTo>
                      <a:pt x="188" y="63"/>
                    </a:lnTo>
                    <a:lnTo>
                      <a:pt x="186" y="63"/>
                    </a:lnTo>
                    <a:lnTo>
                      <a:pt x="185" y="63"/>
                    </a:lnTo>
                    <a:lnTo>
                      <a:pt x="185" y="63"/>
                    </a:lnTo>
                    <a:lnTo>
                      <a:pt x="180" y="66"/>
                    </a:lnTo>
                    <a:lnTo>
                      <a:pt x="180" y="67"/>
                    </a:lnTo>
                    <a:lnTo>
                      <a:pt x="178" y="69"/>
                    </a:lnTo>
                    <a:lnTo>
                      <a:pt x="177" y="70"/>
                    </a:lnTo>
                    <a:lnTo>
                      <a:pt x="177" y="72"/>
                    </a:lnTo>
                    <a:lnTo>
                      <a:pt x="175" y="72"/>
                    </a:lnTo>
                    <a:lnTo>
                      <a:pt x="174" y="72"/>
                    </a:lnTo>
                    <a:lnTo>
                      <a:pt x="174" y="72"/>
                    </a:lnTo>
                    <a:lnTo>
                      <a:pt x="172" y="72"/>
                    </a:lnTo>
                    <a:lnTo>
                      <a:pt x="171" y="72"/>
                    </a:lnTo>
                    <a:lnTo>
                      <a:pt x="167" y="72"/>
                    </a:lnTo>
                    <a:lnTo>
                      <a:pt x="166" y="72"/>
                    </a:lnTo>
                    <a:lnTo>
                      <a:pt x="164" y="72"/>
                    </a:lnTo>
                    <a:lnTo>
                      <a:pt x="163" y="70"/>
                    </a:lnTo>
                    <a:lnTo>
                      <a:pt x="163" y="69"/>
                    </a:lnTo>
                    <a:lnTo>
                      <a:pt x="163" y="67"/>
                    </a:lnTo>
                    <a:lnTo>
                      <a:pt x="163" y="66"/>
                    </a:lnTo>
                    <a:lnTo>
                      <a:pt x="164" y="64"/>
                    </a:lnTo>
                    <a:lnTo>
                      <a:pt x="163" y="64"/>
                    </a:lnTo>
                    <a:lnTo>
                      <a:pt x="163" y="64"/>
                    </a:lnTo>
                    <a:lnTo>
                      <a:pt x="161" y="64"/>
                    </a:lnTo>
                    <a:lnTo>
                      <a:pt x="161" y="66"/>
                    </a:lnTo>
                    <a:lnTo>
                      <a:pt x="160" y="72"/>
                    </a:lnTo>
                    <a:lnTo>
                      <a:pt x="158" y="72"/>
                    </a:lnTo>
                    <a:lnTo>
                      <a:pt x="155" y="72"/>
                    </a:lnTo>
                    <a:lnTo>
                      <a:pt x="155" y="72"/>
                    </a:lnTo>
                    <a:lnTo>
                      <a:pt x="152" y="73"/>
                    </a:lnTo>
                    <a:lnTo>
                      <a:pt x="149" y="73"/>
                    </a:lnTo>
                    <a:lnTo>
                      <a:pt x="147" y="73"/>
                    </a:lnTo>
                    <a:lnTo>
                      <a:pt x="146" y="72"/>
                    </a:lnTo>
                    <a:lnTo>
                      <a:pt x="142" y="72"/>
                    </a:lnTo>
                    <a:lnTo>
                      <a:pt x="139" y="72"/>
                    </a:lnTo>
                    <a:lnTo>
                      <a:pt x="138" y="72"/>
                    </a:lnTo>
                    <a:lnTo>
                      <a:pt x="138" y="72"/>
                    </a:lnTo>
                    <a:lnTo>
                      <a:pt x="136" y="72"/>
                    </a:lnTo>
                    <a:lnTo>
                      <a:pt x="136" y="72"/>
                    </a:lnTo>
                    <a:lnTo>
                      <a:pt x="133" y="72"/>
                    </a:lnTo>
                    <a:lnTo>
                      <a:pt x="131" y="73"/>
                    </a:lnTo>
                    <a:lnTo>
                      <a:pt x="131" y="75"/>
                    </a:lnTo>
                    <a:lnTo>
                      <a:pt x="133" y="77"/>
                    </a:lnTo>
                    <a:lnTo>
                      <a:pt x="135" y="78"/>
                    </a:lnTo>
                    <a:lnTo>
                      <a:pt x="136" y="78"/>
                    </a:lnTo>
                    <a:lnTo>
                      <a:pt x="138" y="78"/>
                    </a:lnTo>
                    <a:lnTo>
                      <a:pt x="139" y="80"/>
                    </a:lnTo>
                    <a:lnTo>
                      <a:pt x="146" y="83"/>
                    </a:lnTo>
                    <a:lnTo>
                      <a:pt x="146" y="83"/>
                    </a:lnTo>
                    <a:lnTo>
                      <a:pt x="149" y="83"/>
                    </a:lnTo>
                    <a:lnTo>
                      <a:pt x="150" y="83"/>
                    </a:lnTo>
                    <a:lnTo>
                      <a:pt x="152" y="83"/>
                    </a:lnTo>
                    <a:lnTo>
                      <a:pt x="153" y="86"/>
                    </a:lnTo>
                    <a:lnTo>
                      <a:pt x="155" y="86"/>
                    </a:lnTo>
                    <a:lnTo>
                      <a:pt x="156" y="86"/>
                    </a:lnTo>
                    <a:lnTo>
                      <a:pt x="158" y="86"/>
                    </a:lnTo>
                    <a:lnTo>
                      <a:pt x="164" y="86"/>
                    </a:lnTo>
                    <a:lnTo>
                      <a:pt x="167" y="86"/>
                    </a:lnTo>
                    <a:lnTo>
                      <a:pt x="169" y="86"/>
                    </a:lnTo>
                    <a:lnTo>
                      <a:pt x="171" y="84"/>
                    </a:lnTo>
                    <a:lnTo>
                      <a:pt x="174" y="83"/>
                    </a:lnTo>
                    <a:lnTo>
                      <a:pt x="174" y="83"/>
                    </a:lnTo>
                    <a:lnTo>
                      <a:pt x="175" y="83"/>
                    </a:lnTo>
                    <a:lnTo>
                      <a:pt x="177" y="81"/>
                    </a:lnTo>
                    <a:lnTo>
                      <a:pt x="178" y="81"/>
                    </a:lnTo>
                    <a:lnTo>
                      <a:pt x="180" y="81"/>
                    </a:lnTo>
                    <a:lnTo>
                      <a:pt x="181" y="80"/>
                    </a:lnTo>
                    <a:lnTo>
                      <a:pt x="185" y="78"/>
                    </a:lnTo>
                    <a:lnTo>
                      <a:pt x="186" y="77"/>
                    </a:lnTo>
                    <a:lnTo>
                      <a:pt x="186" y="75"/>
                    </a:lnTo>
                    <a:lnTo>
                      <a:pt x="186" y="75"/>
                    </a:lnTo>
                    <a:lnTo>
                      <a:pt x="186" y="73"/>
                    </a:lnTo>
                    <a:lnTo>
                      <a:pt x="188" y="73"/>
                    </a:lnTo>
                    <a:lnTo>
                      <a:pt x="191" y="73"/>
                    </a:lnTo>
                    <a:lnTo>
                      <a:pt x="194" y="73"/>
                    </a:lnTo>
                    <a:lnTo>
                      <a:pt x="196" y="72"/>
                    </a:lnTo>
                    <a:lnTo>
                      <a:pt x="197" y="72"/>
                    </a:lnTo>
                    <a:lnTo>
                      <a:pt x="199" y="70"/>
                    </a:lnTo>
                    <a:lnTo>
                      <a:pt x="197" y="67"/>
                    </a:lnTo>
                    <a:lnTo>
                      <a:pt x="196" y="66"/>
                    </a:lnTo>
                    <a:lnTo>
                      <a:pt x="196" y="64"/>
                    </a:lnTo>
                    <a:lnTo>
                      <a:pt x="196" y="64"/>
                    </a:lnTo>
                    <a:lnTo>
                      <a:pt x="199" y="63"/>
                    </a:lnTo>
                    <a:lnTo>
                      <a:pt x="200" y="63"/>
                    </a:lnTo>
                    <a:lnTo>
                      <a:pt x="200" y="63"/>
                    </a:lnTo>
                    <a:lnTo>
                      <a:pt x="202" y="61"/>
                    </a:lnTo>
                    <a:lnTo>
                      <a:pt x="203" y="59"/>
                    </a:lnTo>
                    <a:lnTo>
                      <a:pt x="203" y="56"/>
                    </a:lnTo>
                    <a:lnTo>
                      <a:pt x="202" y="56"/>
                    </a:lnTo>
                    <a:lnTo>
                      <a:pt x="202" y="55"/>
                    </a:lnTo>
                    <a:close/>
                    <a:moveTo>
                      <a:pt x="91" y="56"/>
                    </a:moveTo>
                    <a:lnTo>
                      <a:pt x="91" y="55"/>
                    </a:lnTo>
                    <a:lnTo>
                      <a:pt x="89" y="56"/>
                    </a:lnTo>
                    <a:lnTo>
                      <a:pt x="89" y="56"/>
                    </a:lnTo>
                    <a:lnTo>
                      <a:pt x="88" y="58"/>
                    </a:lnTo>
                    <a:lnTo>
                      <a:pt x="89" y="59"/>
                    </a:lnTo>
                    <a:lnTo>
                      <a:pt x="89" y="59"/>
                    </a:lnTo>
                    <a:lnTo>
                      <a:pt x="91" y="58"/>
                    </a:lnTo>
                    <a:lnTo>
                      <a:pt x="91" y="56"/>
                    </a:lnTo>
                    <a:lnTo>
                      <a:pt x="91" y="56"/>
                    </a:lnTo>
                    <a:close/>
                    <a:moveTo>
                      <a:pt x="242" y="66"/>
                    </a:moveTo>
                    <a:lnTo>
                      <a:pt x="242" y="64"/>
                    </a:lnTo>
                    <a:lnTo>
                      <a:pt x="242" y="64"/>
                    </a:lnTo>
                    <a:lnTo>
                      <a:pt x="241" y="64"/>
                    </a:lnTo>
                    <a:lnTo>
                      <a:pt x="241" y="66"/>
                    </a:lnTo>
                    <a:lnTo>
                      <a:pt x="241" y="66"/>
                    </a:lnTo>
                    <a:lnTo>
                      <a:pt x="241" y="67"/>
                    </a:lnTo>
                    <a:lnTo>
                      <a:pt x="241" y="69"/>
                    </a:lnTo>
                    <a:lnTo>
                      <a:pt x="242" y="70"/>
                    </a:lnTo>
                    <a:lnTo>
                      <a:pt x="242" y="70"/>
                    </a:lnTo>
                    <a:lnTo>
                      <a:pt x="242" y="70"/>
                    </a:lnTo>
                    <a:lnTo>
                      <a:pt x="244" y="67"/>
                    </a:lnTo>
                    <a:lnTo>
                      <a:pt x="242" y="66"/>
                    </a:lnTo>
                    <a:close/>
                    <a:moveTo>
                      <a:pt x="111" y="67"/>
                    </a:moveTo>
                    <a:lnTo>
                      <a:pt x="110" y="67"/>
                    </a:lnTo>
                    <a:lnTo>
                      <a:pt x="108" y="67"/>
                    </a:lnTo>
                    <a:lnTo>
                      <a:pt x="108" y="69"/>
                    </a:lnTo>
                    <a:lnTo>
                      <a:pt x="108" y="69"/>
                    </a:lnTo>
                    <a:lnTo>
                      <a:pt x="110" y="70"/>
                    </a:lnTo>
                    <a:lnTo>
                      <a:pt x="111" y="70"/>
                    </a:lnTo>
                    <a:lnTo>
                      <a:pt x="113" y="70"/>
                    </a:lnTo>
                    <a:lnTo>
                      <a:pt x="111" y="67"/>
                    </a:lnTo>
                    <a:close/>
                    <a:moveTo>
                      <a:pt x="264" y="91"/>
                    </a:moveTo>
                    <a:lnTo>
                      <a:pt x="264" y="89"/>
                    </a:lnTo>
                    <a:lnTo>
                      <a:pt x="263" y="88"/>
                    </a:lnTo>
                    <a:lnTo>
                      <a:pt x="261" y="86"/>
                    </a:lnTo>
                    <a:lnTo>
                      <a:pt x="260" y="84"/>
                    </a:lnTo>
                    <a:lnTo>
                      <a:pt x="258" y="84"/>
                    </a:lnTo>
                    <a:lnTo>
                      <a:pt x="258" y="84"/>
                    </a:lnTo>
                    <a:lnTo>
                      <a:pt x="257" y="83"/>
                    </a:lnTo>
                    <a:lnTo>
                      <a:pt x="255" y="80"/>
                    </a:lnTo>
                    <a:lnTo>
                      <a:pt x="253" y="80"/>
                    </a:lnTo>
                    <a:lnTo>
                      <a:pt x="252" y="78"/>
                    </a:lnTo>
                    <a:lnTo>
                      <a:pt x="252" y="78"/>
                    </a:lnTo>
                    <a:lnTo>
                      <a:pt x="252" y="77"/>
                    </a:lnTo>
                    <a:lnTo>
                      <a:pt x="250" y="73"/>
                    </a:lnTo>
                    <a:lnTo>
                      <a:pt x="249" y="73"/>
                    </a:lnTo>
                    <a:lnTo>
                      <a:pt x="246" y="72"/>
                    </a:lnTo>
                    <a:lnTo>
                      <a:pt x="246" y="72"/>
                    </a:lnTo>
                    <a:lnTo>
                      <a:pt x="244" y="72"/>
                    </a:lnTo>
                    <a:lnTo>
                      <a:pt x="244" y="70"/>
                    </a:lnTo>
                    <a:lnTo>
                      <a:pt x="244" y="73"/>
                    </a:lnTo>
                    <a:lnTo>
                      <a:pt x="244" y="77"/>
                    </a:lnTo>
                    <a:lnTo>
                      <a:pt x="244" y="78"/>
                    </a:lnTo>
                    <a:lnTo>
                      <a:pt x="244" y="80"/>
                    </a:lnTo>
                    <a:lnTo>
                      <a:pt x="244" y="80"/>
                    </a:lnTo>
                    <a:lnTo>
                      <a:pt x="246" y="81"/>
                    </a:lnTo>
                    <a:lnTo>
                      <a:pt x="247" y="83"/>
                    </a:lnTo>
                    <a:lnTo>
                      <a:pt x="249" y="84"/>
                    </a:lnTo>
                    <a:lnTo>
                      <a:pt x="249" y="84"/>
                    </a:lnTo>
                    <a:lnTo>
                      <a:pt x="252" y="86"/>
                    </a:lnTo>
                    <a:lnTo>
                      <a:pt x="252" y="88"/>
                    </a:lnTo>
                    <a:lnTo>
                      <a:pt x="252" y="91"/>
                    </a:lnTo>
                    <a:lnTo>
                      <a:pt x="253" y="92"/>
                    </a:lnTo>
                    <a:lnTo>
                      <a:pt x="255" y="94"/>
                    </a:lnTo>
                    <a:lnTo>
                      <a:pt x="257" y="94"/>
                    </a:lnTo>
                    <a:lnTo>
                      <a:pt x="258" y="95"/>
                    </a:lnTo>
                    <a:lnTo>
                      <a:pt x="260" y="95"/>
                    </a:lnTo>
                    <a:lnTo>
                      <a:pt x="261" y="95"/>
                    </a:lnTo>
                    <a:lnTo>
                      <a:pt x="261" y="95"/>
                    </a:lnTo>
                    <a:lnTo>
                      <a:pt x="263" y="95"/>
                    </a:lnTo>
                    <a:lnTo>
                      <a:pt x="264" y="94"/>
                    </a:lnTo>
                    <a:lnTo>
                      <a:pt x="264" y="95"/>
                    </a:lnTo>
                    <a:lnTo>
                      <a:pt x="264" y="94"/>
                    </a:lnTo>
                    <a:lnTo>
                      <a:pt x="266" y="92"/>
                    </a:lnTo>
                    <a:lnTo>
                      <a:pt x="264" y="91"/>
                    </a:lnTo>
                    <a:close/>
                    <a:moveTo>
                      <a:pt x="127" y="73"/>
                    </a:moveTo>
                    <a:lnTo>
                      <a:pt x="124" y="72"/>
                    </a:lnTo>
                    <a:lnTo>
                      <a:pt x="122" y="72"/>
                    </a:lnTo>
                    <a:lnTo>
                      <a:pt x="122" y="72"/>
                    </a:lnTo>
                    <a:lnTo>
                      <a:pt x="122" y="75"/>
                    </a:lnTo>
                    <a:lnTo>
                      <a:pt x="124" y="77"/>
                    </a:lnTo>
                    <a:lnTo>
                      <a:pt x="125" y="77"/>
                    </a:lnTo>
                    <a:lnTo>
                      <a:pt x="125" y="78"/>
                    </a:lnTo>
                    <a:lnTo>
                      <a:pt x="127" y="78"/>
                    </a:lnTo>
                    <a:lnTo>
                      <a:pt x="127" y="77"/>
                    </a:lnTo>
                    <a:lnTo>
                      <a:pt x="127" y="75"/>
                    </a:lnTo>
                    <a:lnTo>
                      <a:pt x="127" y="73"/>
                    </a:lnTo>
                    <a:close/>
                    <a:moveTo>
                      <a:pt x="49" y="124"/>
                    </a:moveTo>
                    <a:lnTo>
                      <a:pt x="47" y="122"/>
                    </a:lnTo>
                    <a:lnTo>
                      <a:pt x="44" y="122"/>
                    </a:lnTo>
                    <a:lnTo>
                      <a:pt x="44" y="124"/>
                    </a:lnTo>
                    <a:lnTo>
                      <a:pt x="47" y="125"/>
                    </a:lnTo>
                    <a:lnTo>
                      <a:pt x="49" y="125"/>
                    </a:lnTo>
                    <a:lnTo>
                      <a:pt x="49" y="124"/>
                    </a:lnTo>
                    <a:lnTo>
                      <a:pt x="49" y="124"/>
                    </a:lnTo>
                    <a:close/>
                    <a:moveTo>
                      <a:pt x="180" y="127"/>
                    </a:moveTo>
                    <a:lnTo>
                      <a:pt x="180" y="125"/>
                    </a:lnTo>
                    <a:lnTo>
                      <a:pt x="180" y="124"/>
                    </a:lnTo>
                    <a:lnTo>
                      <a:pt x="180" y="124"/>
                    </a:lnTo>
                    <a:lnTo>
                      <a:pt x="178" y="124"/>
                    </a:lnTo>
                    <a:lnTo>
                      <a:pt x="178" y="125"/>
                    </a:lnTo>
                    <a:lnTo>
                      <a:pt x="180" y="127"/>
                    </a:lnTo>
                    <a:lnTo>
                      <a:pt x="180" y="127"/>
                    </a:lnTo>
                    <a:lnTo>
                      <a:pt x="180" y="127"/>
                    </a:lnTo>
                    <a:lnTo>
                      <a:pt x="178" y="128"/>
                    </a:lnTo>
                    <a:lnTo>
                      <a:pt x="180" y="130"/>
                    </a:lnTo>
                    <a:lnTo>
                      <a:pt x="180" y="128"/>
                    </a:lnTo>
                    <a:lnTo>
                      <a:pt x="180" y="127"/>
                    </a:lnTo>
                    <a:close/>
                    <a:moveTo>
                      <a:pt x="49" y="127"/>
                    </a:moveTo>
                    <a:lnTo>
                      <a:pt x="45" y="125"/>
                    </a:lnTo>
                    <a:lnTo>
                      <a:pt x="42" y="125"/>
                    </a:lnTo>
                    <a:lnTo>
                      <a:pt x="41" y="124"/>
                    </a:lnTo>
                    <a:lnTo>
                      <a:pt x="42" y="125"/>
                    </a:lnTo>
                    <a:lnTo>
                      <a:pt x="44" y="125"/>
                    </a:lnTo>
                    <a:lnTo>
                      <a:pt x="45" y="127"/>
                    </a:lnTo>
                    <a:lnTo>
                      <a:pt x="49" y="128"/>
                    </a:lnTo>
                    <a:lnTo>
                      <a:pt x="49" y="127"/>
                    </a:lnTo>
                    <a:close/>
                    <a:moveTo>
                      <a:pt x="213" y="134"/>
                    </a:moveTo>
                    <a:lnTo>
                      <a:pt x="211" y="134"/>
                    </a:lnTo>
                    <a:lnTo>
                      <a:pt x="211" y="134"/>
                    </a:lnTo>
                    <a:lnTo>
                      <a:pt x="210" y="133"/>
                    </a:lnTo>
                    <a:lnTo>
                      <a:pt x="208" y="133"/>
                    </a:lnTo>
                    <a:lnTo>
                      <a:pt x="206" y="133"/>
                    </a:lnTo>
                    <a:lnTo>
                      <a:pt x="206" y="133"/>
                    </a:lnTo>
                    <a:lnTo>
                      <a:pt x="205" y="134"/>
                    </a:lnTo>
                    <a:lnTo>
                      <a:pt x="206" y="134"/>
                    </a:lnTo>
                    <a:lnTo>
                      <a:pt x="208" y="136"/>
                    </a:lnTo>
                    <a:lnTo>
                      <a:pt x="208" y="136"/>
                    </a:lnTo>
                    <a:lnTo>
                      <a:pt x="210" y="136"/>
                    </a:lnTo>
                    <a:lnTo>
                      <a:pt x="211" y="138"/>
                    </a:lnTo>
                    <a:lnTo>
                      <a:pt x="213" y="138"/>
                    </a:lnTo>
                    <a:lnTo>
                      <a:pt x="213" y="138"/>
                    </a:lnTo>
                    <a:lnTo>
                      <a:pt x="213" y="136"/>
                    </a:lnTo>
                    <a:lnTo>
                      <a:pt x="213" y="136"/>
                    </a:lnTo>
                    <a:lnTo>
                      <a:pt x="213" y="136"/>
                    </a:lnTo>
                    <a:lnTo>
                      <a:pt x="213" y="136"/>
                    </a:lnTo>
                    <a:lnTo>
                      <a:pt x="213" y="134"/>
                    </a:lnTo>
                    <a:close/>
                    <a:moveTo>
                      <a:pt x="167" y="139"/>
                    </a:moveTo>
                    <a:lnTo>
                      <a:pt x="166" y="138"/>
                    </a:lnTo>
                    <a:lnTo>
                      <a:pt x="164" y="138"/>
                    </a:lnTo>
                    <a:lnTo>
                      <a:pt x="163" y="138"/>
                    </a:lnTo>
                    <a:lnTo>
                      <a:pt x="163" y="141"/>
                    </a:lnTo>
                    <a:lnTo>
                      <a:pt x="166" y="142"/>
                    </a:lnTo>
                    <a:lnTo>
                      <a:pt x="166" y="142"/>
                    </a:lnTo>
                    <a:lnTo>
                      <a:pt x="167" y="142"/>
                    </a:lnTo>
                    <a:lnTo>
                      <a:pt x="167" y="141"/>
                    </a:lnTo>
                    <a:lnTo>
                      <a:pt x="167" y="139"/>
                    </a:lnTo>
                    <a:close/>
                    <a:moveTo>
                      <a:pt x="177" y="144"/>
                    </a:moveTo>
                    <a:lnTo>
                      <a:pt x="177" y="142"/>
                    </a:lnTo>
                    <a:lnTo>
                      <a:pt x="175" y="141"/>
                    </a:lnTo>
                    <a:lnTo>
                      <a:pt x="174" y="141"/>
                    </a:lnTo>
                    <a:lnTo>
                      <a:pt x="172" y="141"/>
                    </a:lnTo>
                    <a:lnTo>
                      <a:pt x="171" y="139"/>
                    </a:lnTo>
                    <a:lnTo>
                      <a:pt x="169" y="139"/>
                    </a:lnTo>
                    <a:lnTo>
                      <a:pt x="169" y="141"/>
                    </a:lnTo>
                    <a:lnTo>
                      <a:pt x="169" y="141"/>
                    </a:lnTo>
                    <a:lnTo>
                      <a:pt x="169" y="141"/>
                    </a:lnTo>
                    <a:lnTo>
                      <a:pt x="169" y="144"/>
                    </a:lnTo>
                    <a:lnTo>
                      <a:pt x="169" y="144"/>
                    </a:lnTo>
                    <a:lnTo>
                      <a:pt x="169" y="145"/>
                    </a:lnTo>
                    <a:lnTo>
                      <a:pt x="171" y="145"/>
                    </a:lnTo>
                    <a:lnTo>
                      <a:pt x="172" y="145"/>
                    </a:lnTo>
                    <a:lnTo>
                      <a:pt x="175" y="145"/>
                    </a:lnTo>
                    <a:lnTo>
                      <a:pt x="175" y="145"/>
                    </a:lnTo>
                    <a:lnTo>
                      <a:pt x="175" y="145"/>
                    </a:lnTo>
                    <a:lnTo>
                      <a:pt x="177" y="145"/>
                    </a:lnTo>
                    <a:lnTo>
                      <a:pt x="177" y="145"/>
                    </a:lnTo>
                    <a:lnTo>
                      <a:pt x="177" y="144"/>
                    </a:lnTo>
                    <a:close/>
                    <a:moveTo>
                      <a:pt x="183" y="150"/>
                    </a:moveTo>
                    <a:lnTo>
                      <a:pt x="181" y="150"/>
                    </a:lnTo>
                    <a:lnTo>
                      <a:pt x="180" y="152"/>
                    </a:lnTo>
                    <a:lnTo>
                      <a:pt x="180" y="152"/>
                    </a:lnTo>
                    <a:lnTo>
                      <a:pt x="178" y="152"/>
                    </a:lnTo>
                    <a:lnTo>
                      <a:pt x="178" y="150"/>
                    </a:lnTo>
                    <a:lnTo>
                      <a:pt x="175" y="149"/>
                    </a:lnTo>
                    <a:lnTo>
                      <a:pt x="175" y="147"/>
                    </a:lnTo>
                    <a:lnTo>
                      <a:pt x="174" y="145"/>
                    </a:lnTo>
                    <a:lnTo>
                      <a:pt x="175" y="147"/>
                    </a:lnTo>
                    <a:lnTo>
                      <a:pt x="175" y="149"/>
                    </a:lnTo>
                    <a:lnTo>
                      <a:pt x="177" y="150"/>
                    </a:lnTo>
                    <a:lnTo>
                      <a:pt x="177" y="152"/>
                    </a:lnTo>
                    <a:lnTo>
                      <a:pt x="177" y="153"/>
                    </a:lnTo>
                    <a:lnTo>
                      <a:pt x="181" y="155"/>
                    </a:lnTo>
                    <a:lnTo>
                      <a:pt x="183" y="155"/>
                    </a:lnTo>
                    <a:lnTo>
                      <a:pt x="183" y="150"/>
                    </a:lnTo>
                    <a:lnTo>
                      <a:pt x="183" y="150"/>
                    </a:lnTo>
                    <a:close/>
                    <a:moveTo>
                      <a:pt x="175" y="161"/>
                    </a:moveTo>
                    <a:lnTo>
                      <a:pt x="175" y="161"/>
                    </a:lnTo>
                    <a:lnTo>
                      <a:pt x="175" y="163"/>
                    </a:lnTo>
                    <a:lnTo>
                      <a:pt x="175" y="163"/>
                    </a:lnTo>
                    <a:lnTo>
                      <a:pt x="177" y="163"/>
                    </a:lnTo>
                    <a:lnTo>
                      <a:pt x="177" y="161"/>
                    </a:lnTo>
                    <a:lnTo>
                      <a:pt x="175" y="161"/>
                    </a:lnTo>
                    <a:close/>
                    <a:moveTo>
                      <a:pt x="235" y="175"/>
                    </a:moveTo>
                    <a:lnTo>
                      <a:pt x="233" y="175"/>
                    </a:lnTo>
                    <a:lnTo>
                      <a:pt x="233" y="175"/>
                    </a:lnTo>
                    <a:lnTo>
                      <a:pt x="232" y="175"/>
                    </a:lnTo>
                    <a:lnTo>
                      <a:pt x="232" y="175"/>
                    </a:lnTo>
                    <a:lnTo>
                      <a:pt x="232" y="177"/>
                    </a:lnTo>
                    <a:lnTo>
                      <a:pt x="233" y="177"/>
                    </a:lnTo>
                    <a:lnTo>
                      <a:pt x="235" y="177"/>
                    </a:lnTo>
                    <a:lnTo>
                      <a:pt x="236" y="177"/>
                    </a:lnTo>
                    <a:lnTo>
                      <a:pt x="236" y="175"/>
                    </a:lnTo>
                    <a:lnTo>
                      <a:pt x="235" y="175"/>
                    </a:lnTo>
                    <a:close/>
                    <a:moveTo>
                      <a:pt x="225" y="178"/>
                    </a:moveTo>
                    <a:lnTo>
                      <a:pt x="222" y="178"/>
                    </a:lnTo>
                    <a:lnTo>
                      <a:pt x="219" y="175"/>
                    </a:lnTo>
                    <a:lnTo>
                      <a:pt x="217" y="175"/>
                    </a:lnTo>
                    <a:lnTo>
                      <a:pt x="217" y="175"/>
                    </a:lnTo>
                    <a:lnTo>
                      <a:pt x="217" y="177"/>
                    </a:lnTo>
                    <a:lnTo>
                      <a:pt x="219" y="177"/>
                    </a:lnTo>
                    <a:lnTo>
                      <a:pt x="219" y="178"/>
                    </a:lnTo>
                    <a:lnTo>
                      <a:pt x="219" y="178"/>
                    </a:lnTo>
                    <a:lnTo>
                      <a:pt x="221" y="178"/>
                    </a:lnTo>
                    <a:lnTo>
                      <a:pt x="222" y="180"/>
                    </a:lnTo>
                    <a:lnTo>
                      <a:pt x="224" y="180"/>
                    </a:lnTo>
                    <a:lnTo>
                      <a:pt x="225" y="180"/>
                    </a:lnTo>
                    <a:lnTo>
                      <a:pt x="227" y="180"/>
                    </a:lnTo>
                    <a:lnTo>
                      <a:pt x="225" y="17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6" name="Freeform 163">
                <a:extLst>
                  <a:ext uri="{FF2B5EF4-FFF2-40B4-BE49-F238E27FC236}">
                    <a16:creationId xmlns:a16="http://schemas.microsoft.com/office/drawing/2014/main" id="{430532E4-1E96-4E13-E5FB-1479AAF99E7B}"/>
                  </a:ext>
                </a:extLst>
              </p:cNvPr>
              <p:cNvSpPr>
                <a:spLocks noEditPoints="1"/>
              </p:cNvSpPr>
              <p:nvPr/>
            </p:nvSpPr>
            <p:spPr bwMode="gray">
              <a:xfrm>
                <a:off x="4728" y="1205"/>
                <a:ext cx="169" cy="283"/>
              </a:xfrm>
              <a:custGeom>
                <a:avLst/>
                <a:gdLst>
                  <a:gd name="T0" fmla="*/ 75 w 169"/>
                  <a:gd name="T1" fmla="*/ 268 h 283"/>
                  <a:gd name="T2" fmla="*/ 88 w 169"/>
                  <a:gd name="T3" fmla="*/ 260 h 283"/>
                  <a:gd name="T4" fmla="*/ 103 w 169"/>
                  <a:gd name="T5" fmla="*/ 244 h 283"/>
                  <a:gd name="T6" fmla="*/ 136 w 169"/>
                  <a:gd name="T7" fmla="*/ 210 h 283"/>
                  <a:gd name="T8" fmla="*/ 158 w 169"/>
                  <a:gd name="T9" fmla="*/ 203 h 283"/>
                  <a:gd name="T10" fmla="*/ 164 w 169"/>
                  <a:gd name="T11" fmla="*/ 214 h 283"/>
                  <a:gd name="T12" fmla="*/ 142 w 169"/>
                  <a:gd name="T13" fmla="*/ 216 h 283"/>
                  <a:gd name="T14" fmla="*/ 120 w 169"/>
                  <a:gd name="T15" fmla="*/ 230 h 283"/>
                  <a:gd name="T16" fmla="*/ 102 w 169"/>
                  <a:gd name="T17" fmla="*/ 230 h 283"/>
                  <a:gd name="T18" fmla="*/ 95 w 169"/>
                  <a:gd name="T19" fmla="*/ 239 h 283"/>
                  <a:gd name="T20" fmla="*/ 114 w 169"/>
                  <a:gd name="T21" fmla="*/ 236 h 283"/>
                  <a:gd name="T22" fmla="*/ 124 w 169"/>
                  <a:gd name="T23" fmla="*/ 258 h 283"/>
                  <a:gd name="T24" fmla="*/ 153 w 169"/>
                  <a:gd name="T25" fmla="*/ 268 h 283"/>
                  <a:gd name="T26" fmla="*/ 160 w 169"/>
                  <a:gd name="T27" fmla="*/ 254 h 283"/>
                  <a:gd name="T28" fmla="*/ 158 w 169"/>
                  <a:gd name="T29" fmla="*/ 199 h 283"/>
                  <a:gd name="T30" fmla="*/ 130 w 169"/>
                  <a:gd name="T31" fmla="*/ 194 h 283"/>
                  <a:gd name="T32" fmla="*/ 153 w 169"/>
                  <a:gd name="T33" fmla="*/ 189 h 283"/>
                  <a:gd name="T34" fmla="*/ 52 w 169"/>
                  <a:gd name="T35" fmla="*/ 188 h 283"/>
                  <a:gd name="T36" fmla="*/ 99 w 169"/>
                  <a:gd name="T37" fmla="*/ 188 h 283"/>
                  <a:gd name="T38" fmla="*/ 103 w 169"/>
                  <a:gd name="T39" fmla="*/ 196 h 283"/>
                  <a:gd name="T40" fmla="*/ 111 w 169"/>
                  <a:gd name="T41" fmla="*/ 210 h 283"/>
                  <a:gd name="T42" fmla="*/ 122 w 169"/>
                  <a:gd name="T43" fmla="*/ 177 h 283"/>
                  <a:gd name="T44" fmla="*/ 120 w 169"/>
                  <a:gd name="T45" fmla="*/ 192 h 283"/>
                  <a:gd name="T46" fmla="*/ 45 w 169"/>
                  <a:gd name="T47" fmla="*/ 175 h 283"/>
                  <a:gd name="T48" fmla="*/ 24 w 169"/>
                  <a:gd name="T49" fmla="*/ 203 h 283"/>
                  <a:gd name="T50" fmla="*/ 13 w 169"/>
                  <a:gd name="T51" fmla="*/ 221 h 283"/>
                  <a:gd name="T52" fmla="*/ 42 w 169"/>
                  <a:gd name="T53" fmla="*/ 191 h 283"/>
                  <a:gd name="T54" fmla="*/ 142 w 169"/>
                  <a:gd name="T55" fmla="*/ 185 h 283"/>
                  <a:gd name="T56" fmla="*/ 130 w 169"/>
                  <a:gd name="T57" fmla="*/ 172 h 283"/>
                  <a:gd name="T58" fmla="*/ 142 w 169"/>
                  <a:gd name="T59" fmla="*/ 191 h 283"/>
                  <a:gd name="T60" fmla="*/ 136 w 169"/>
                  <a:gd name="T61" fmla="*/ 167 h 283"/>
                  <a:gd name="T62" fmla="*/ 86 w 169"/>
                  <a:gd name="T63" fmla="*/ 164 h 283"/>
                  <a:gd name="T64" fmla="*/ 100 w 169"/>
                  <a:gd name="T65" fmla="*/ 183 h 283"/>
                  <a:gd name="T66" fmla="*/ 52 w 169"/>
                  <a:gd name="T67" fmla="*/ 164 h 283"/>
                  <a:gd name="T68" fmla="*/ 50 w 169"/>
                  <a:gd name="T69" fmla="*/ 156 h 283"/>
                  <a:gd name="T70" fmla="*/ 100 w 169"/>
                  <a:gd name="T71" fmla="*/ 153 h 283"/>
                  <a:gd name="T72" fmla="*/ 147 w 169"/>
                  <a:gd name="T73" fmla="*/ 153 h 283"/>
                  <a:gd name="T74" fmla="*/ 141 w 169"/>
                  <a:gd name="T75" fmla="*/ 167 h 283"/>
                  <a:gd name="T76" fmla="*/ 111 w 169"/>
                  <a:gd name="T77" fmla="*/ 152 h 283"/>
                  <a:gd name="T78" fmla="*/ 124 w 169"/>
                  <a:gd name="T79" fmla="*/ 166 h 283"/>
                  <a:gd name="T80" fmla="*/ 91 w 169"/>
                  <a:gd name="T81" fmla="*/ 152 h 283"/>
                  <a:gd name="T82" fmla="*/ 108 w 169"/>
                  <a:gd name="T83" fmla="*/ 146 h 283"/>
                  <a:gd name="T84" fmla="*/ 61 w 169"/>
                  <a:gd name="T85" fmla="*/ 133 h 283"/>
                  <a:gd name="T86" fmla="*/ 70 w 169"/>
                  <a:gd name="T87" fmla="*/ 153 h 283"/>
                  <a:gd name="T88" fmla="*/ 91 w 169"/>
                  <a:gd name="T89" fmla="*/ 135 h 283"/>
                  <a:gd name="T90" fmla="*/ 56 w 169"/>
                  <a:gd name="T91" fmla="*/ 128 h 283"/>
                  <a:gd name="T92" fmla="*/ 88 w 169"/>
                  <a:gd name="T93" fmla="*/ 122 h 283"/>
                  <a:gd name="T94" fmla="*/ 89 w 169"/>
                  <a:gd name="T95" fmla="*/ 111 h 283"/>
                  <a:gd name="T96" fmla="*/ 117 w 169"/>
                  <a:gd name="T97" fmla="*/ 127 h 283"/>
                  <a:gd name="T98" fmla="*/ 97 w 169"/>
                  <a:gd name="T99" fmla="*/ 119 h 283"/>
                  <a:gd name="T100" fmla="*/ 83 w 169"/>
                  <a:gd name="T101" fmla="*/ 111 h 283"/>
                  <a:gd name="T102" fmla="*/ 92 w 169"/>
                  <a:gd name="T103" fmla="*/ 83 h 283"/>
                  <a:gd name="T104" fmla="*/ 94 w 169"/>
                  <a:gd name="T105" fmla="*/ 45 h 283"/>
                  <a:gd name="T106" fmla="*/ 63 w 169"/>
                  <a:gd name="T107" fmla="*/ 50 h 283"/>
                  <a:gd name="T108" fmla="*/ 53 w 169"/>
                  <a:gd name="T109" fmla="*/ 85 h 283"/>
                  <a:gd name="T110" fmla="*/ 58 w 169"/>
                  <a:gd name="T111" fmla="*/ 111 h 283"/>
                  <a:gd name="T112" fmla="*/ 64 w 169"/>
                  <a:gd name="T113" fmla="*/ 122 h 283"/>
                  <a:gd name="T114" fmla="*/ 95 w 169"/>
                  <a:gd name="T115" fmla="*/ 135 h 283"/>
                  <a:gd name="T116" fmla="*/ 108 w 169"/>
                  <a:gd name="T117" fmla="*/ 135 h 283"/>
                  <a:gd name="T118" fmla="*/ 88 w 169"/>
                  <a:gd name="T119" fmla="*/ 34 h 283"/>
                  <a:gd name="T120" fmla="*/ 77 w 169"/>
                  <a:gd name="T121" fmla="*/ 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283">
                    <a:moveTo>
                      <a:pt x="56" y="280"/>
                    </a:moveTo>
                    <a:lnTo>
                      <a:pt x="56" y="279"/>
                    </a:lnTo>
                    <a:lnTo>
                      <a:pt x="56" y="279"/>
                    </a:lnTo>
                    <a:lnTo>
                      <a:pt x="55" y="280"/>
                    </a:lnTo>
                    <a:lnTo>
                      <a:pt x="53" y="280"/>
                    </a:lnTo>
                    <a:lnTo>
                      <a:pt x="50" y="282"/>
                    </a:lnTo>
                    <a:lnTo>
                      <a:pt x="50" y="283"/>
                    </a:lnTo>
                    <a:lnTo>
                      <a:pt x="52" y="283"/>
                    </a:lnTo>
                    <a:lnTo>
                      <a:pt x="52" y="283"/>
                    </a:lnTo>
                    <a:lnTo>
                      <a:pt x="53" y="282"/>
                    </a:lnTo>
                    <a:lnTo>
                      <a:pt x="55" y="282"/>
                    </a:lnTo>
                    <a:lnTo>
                      <a:pt x="55" y="280"/>
                    </a:lnTo>
                    <a:lnTo>
                      <a:pt x="56" y="282"/>
                    </a:lnTo>
                    <a:lnTo>
                      <a:pt x="56" y="282"/>
                    </a:lnTo>
                    <a:lnTo>
                      <a:pt x="56" y="282"/>
                    </a:lnTo>
                    <a:lnTo>
                      <a:pt x="58" y="280"/>
                    </a:lnTo>
                    <a:lnTo>
                      <a:pt x="56" y="280"/>
                    </a:lnTo>
                    <a:close/>
                    <a:moveTo>
                      <a:pt x="78" y="268"/>
                    </a:moveTo>
                    <a:lnTo>
                      <a:pt x="75" y="266"/>
                    </a:lnTo>
                    <a:lnTo>
                      <a:pt x="75" y="268"/>
                    </a:lnTo>
                    <a:lnTo>
                      <a:pt x="74" y="266"/>
                    </a:lnTo>
                    <a:lnTo>
                      <a:pt x="72" y="266"/>
                    </a:lnTo>
                    <a:lnTo>
                      <a:pt x="69" y="268"/>
                    </a:lnTo>
                    <a:lnTo>
                      <a:pt x="69" y="268"/>
                    </a:lnTo>
                    <a:lnTo>
                      <a:pt x="69" y="269"/>
                    </a:lnTo>
                    <a:lnTo>
                      <a:pt x="70" y="269"/>
                    </a:lnTo>
                    <a:lnTo>
                      <a:pt x="72" y="269"/>
                    </a:lnTo>
                    <a:lnTo>
                      <a:pt x="75" y="268"/>
                    </a:lnTo>
                    <a:lnTo>
                      <a:pt x="75" y="269"/>
                    </a:lnTo>
                    <a:lnTo>
                      <a:pt x="78" y="268"/>
                    </a:lnTo>
                    <a:lnTo>
                      <a:pt x="78" y="268"/>
                    </a:lnTo>
                    <a:lnTo>
                      <a:pt x="78" y="268"/>
                    </a:lnTo>
                    <a:close/>
                    <a:moveTo>
                      <a:pt x="94" y="255"/>
                    </a:moveTo>
                    <a:lnTo>
                      <a:pt x="89" y="254"/>
                    </a:lnTo>
                    <a:lnTo>
                      <a:pt x="86" y="255"/>
                    </a:lnTo>
                    <a:lnTo>
                      <a:pt x="85" y="255"/>
                    </a:lnTo>
                    <a:lnTo>
                      <a:pt x="85" y="257"/>
                    </a:lnTo>
                    <a:lnTo>
                      <a:pt x="86" y="257"/>
                    </a:lnTo>
                    <a:lnTo>
                      <a:pt x="86" y="258"/>
                    </a:lnTo>
                    <a:lnTo>
                      <a:pt x="88" y="260"/>
                    </a:lnTo>
                    <a:lnTo>
                      <a:pt x="88" y="260"/>
                    </a:lnTo>
                    <a:lnTo>
                      <a:pt x="89" y="260"/>
                    </a:lnTo>
                    <a:lnTo>
                      <a:pt x="92" y="258"/>
                    </a:lnTo>
                    <a:lnTo>
                      <a:pt x="92" y="257"/>
                    </a:lnTo>
                    <a:lnTo>
                      <a:pt x="94" y="257"/>
                    </a:lnTo>
                    <a:lnTo>
                      <a:pt x="94" y="255"/>
                    </a:lnTo>
                    <a:close/>
                    <a:moveTo>
                      <a:pt x="153" y="246"/>
                    </a:moveTo>
                    <a:lnTo>
                      <a:pt x="153" y="249"/>
                    </a:lnTo>
                    <a:lnTo>
                      <a:pt x="153" y="249"/>
                    </a:lnTo>
                    <a:lnTo>
                      <a:pt x="155" y="250"/>
                    </a:lnTo>
                    <a:lnTo>
                      <a:pt x="155" y="250"/>
                    </a:lnTo>
                    <a:lnTo>
                      <a:pt x="155" y="247"/>
                    </a:lnTo>
                    <a:lnTo>
                      <a:pt x="153" y="246"/>
                    </a:lnTo>
                    <a:close/>
                    <a:moveTo>
                      <a:pt x="105" y="243"/>
                    </a:moveTo>
                    <a:lnTo>
                      <a:pt x="105" y="243"/>
                    </a:lnTo>
                    <a:lnTo>
                      <a:pt x="103" y="243"/>
                    </a:lnTo>
                    <a:lnTo>
                      <a:pt x="103" y="243"/>
                    </a:lnTo>
                    <a:lnTo>
                      <a:pt x="102" y="243"/>
                    </a:lnTo>
                    <a:lnTo>
                      <a:pt x="102" y="244"/>
                    </a:lnTo>
                    <a:lnTo>
                      <a:pt x="103" y="244"/>
                    </a:lnTo>
                    <a:lnTo>
                      <a:pt x="105" y="243"/>
                    </a:lnTo>
                    <a:lnTo>
                      <a:pt x="105" y="243"/>
                    </a:lnTo>
                    <a:lnTo>
                      <a:pt x="105" y="243"/>
                    </a:lnTo>
                    <a:close/>
                    <a:moveTo>
                      <a:pt x="2" y="230"/>
                    </a:moveTo>
                    <a:lnTo>
                      <a:pt x="0" y="232"/>
                    </a:lnTo>
                    <a:lnTo>
                      <a:pt x="0" y="232"/>
                    </a:lnTo>
                    <a:lnTo>
                      <a:pt x="0" y="233"/>
                    </a:lnTo>
                    <a:lnTo>
                      <a:pt x="2" y="235"/>
                    </a:lnTo>
                    <a:lnTo>
                      <a:pt x="2" y="233"/>
                    </a:lnTo>
                    <a:lnTo>
                      <a:pt x="2" y="230"/>
                    </a:lnTo>
                    <a:close/>
                    <a:moveTo>
                      <a:pt x="6" y="227"/>
                    </a:moveTo>
                    <a:lnTo>
                      <a:pt x="6" y="227"/>
                    </a:lnTo>
                    <a:lnTo>
                      <a:pt x="5" y="227"/>
                    </a:lnTo>
                    <a:lnTo>
                      <a:pt x="5" y="227"/>
                    </a:lnTo>
                    <a:lnTo>
                      <a:pt x="5" y="228"/>
                    </a:lnTo>
                    <a:lnTo>
                      <a:pt x="6" y="228"/>
                    </a:lnTo>
                    <a:lnTo>
                      <a:pt x="6" y="227"/>
                    </a:lnTo>
                    <a:close/>
                    <a:moveTo>
                      <a:pt x="138" y="211"/>
                    </a:moveTo>
                    <a:lnTo>
                      <a:pt x="136" y="210"/>
                    </a:lnTo>
                    <a:lnTo>
                      <a:pt x="136" y="210"/>
                    </a:lnTo>
                    <a:lnTo>
                      <a:pt x="135" y="210"/>
                    </a:lnTo>
                    <a:lnTo>
                      <a:pt x="135" y="211"/>
                    </a:lnTo>
                    <a:lnTo>
                      <a:pt x="135" y="211"/>
                    </a:lnTo>
                    <a:lnTo>
                      <a:pt x="138" y="213"/>
                    </a:lnTo>
                    <a:lnTo>
                      <a:pt x="138" y="211"/>
                    </a:lnTo>
                    <a:lnTo>
                      <a:pt x="138" y="211"/>
                    </a:lnTo>
                    <a:close/>
                    <a:moveTo>
                      <a:pt x="117" y="210"/>
                    </a:moveTo>
                    <a:lnTo>
                      <a:pt x="117" y="210"/>
                    </a:lnTo>
                    <a:lnTo>
                      <a:pt x="117" y="210"/>
                    </a:lnTo>
                    <a:lnTo>
                      <a:pt x="116" y="210"/>
                    </a:lnTo>
                    <a:lnTo>
                      <a:pt x="114" y="210"/>
                    </a:lnTo>
                    <a:lnTo>
                      <a:pt x="114" y="211"/>
                    </a:lnTo>
                    <a:lnTo>
                      <a:pt x="116" y="211"/>
                    </a:lnTo>
                    <a:lnTo>
                      <a:pt x="116" y="213"/>
                    </a:lnTo>
                    <a:lnTo>
                      <a:pt x="119" y="211"/>
                    </a:lnTo>
                    <a:lnTo>
                      <a:pt x="117" y="210"/>
                    </a:lnTo>
                    <a:close/>
                    <a:moveTo>
                      <a:pt x="158" y="200"/>
                    </a:moveTo>
                    <a:lnTo>
                      <a:pt x="158" y="202"/>
                    </a:lnTo>
                    <a:lnTo>
                      <a:pt x="156" y="203"/>
                    </a:lnTo>
                    <a:lnTo>
                      <a:pt x="158" y="203"/>
                    </a:lnTo>
                    <a:lnTo>
                      <a:pt x="158" y="203"/>
                    </a:lnTo>
                    <a:lnTo>
                      <a:pt x="158" y="202"/>
                    </a:lnTo>
                    <a:lnTo>
                      <a:pt x="158" y="200"/>
                    </a:lnTo>
                    <a:close/>
                    <a:moveTo>
                      <a:pt x="169" y="238"/>
                    </a:moveTo>
                    <a:lnTo>
                      <a:pt x="167" y="236"/>
                    </a:lnTo>
                    <a:lnTo>
                      <a:pt x="167" y="236"/>
                    </a:lnTo>
                    <a:lnTo>
                      <a:pt x="166" y="235"/>
                    </a:lnTo>
                    <a:lnTo>
                      <a:pt x="166" y="233"/>
                    </a:lnTo>
                    <a:lnTo>
                      <a:pt x="166" y="230"/>
                    </a:lnTo>
                    <a:lnTo>
                      <a:pt x="166" y="228"/>
                    </a:lnTo>
                    <a:lnTo>
                      <a:pt x="166" y="225"/>
                    </a:lnTo>
                    <a:lnTo>
                      <a:pt x="164" y="224"/>
                    </a:lnTo>
                    <a:lnTo>
                      <a:pt x="163" y="222"/>
                    </a:lnTo>
                    <a:lnTo>
                      <a:pt x="161" y="222"/>
                    </a:lnTo>
                    <a:lnTo>
                      <a:pt x="161" y="221"/>
                    </a:lnTo>
                    <a:lnTo>
                      <a:pt x="161" y="221"/>
                    </a:lnTo>
                    <a:lnTo>
                      <a:pt x="163" y="219"/>
                    </a:lnTo>
                    <a:lnTo>
                      <a:pt x="163" y="219"/>
                    </a:lnTo>
                    <a:lnTo>
                      <a:pt x="164" y="218"/>
                    </a:lnTo>
                    <a:lnTo>
                      <a:pt x="164" y="214"/>
                    </a:lnTo>
                    <a:lnTo>
                      <a:pt x="163" y="213"/>
                    </a:lnTo>
                    <a:lnTo>
                      <a:pt x="161" y="211"/>
                    </a:lnTo>
                    <a:lnTo>
                      <a:pt x="161" y="210"/>
                    </a:lnTo>
                    <a:lnTo>
                      <a:pt x="160" y="210"/>
                    </a:lnTo>
                    <a:lnTo>
                      <a:pt x="158" y="208"/>
                    </a:lnTo>
                    <a:lnTo>
                      <a:pt x="158" y="207"/>
                    </a:lnTo>
                    <a:lnTo>
                      <a:pt x="156" y="205"/>
                    </a:lnTo>
                    <a:lnTo>
                      <a:pt x="152" y="203"/>
                    </a:lnTo>
                    <a:lnTo>
                      <a:pt x="150" y="200"/>
                    </a:lnTo>
                    <a:lnTo>
                      <a:pt x="149" y="200"/>
                    </a:lnTo>
                    <a:lnTo>
                      <a:pt x="149" y="202"/>
                    </a:lnTo>
                    <a:lnTo>
                      <a:pt x="150" y="210"/>
                    </a:lnTo>
                    <a:lnTo>
                      <a:pt x="150" y="211"/>
                    </a:lnTo>
                    <a:lnTo>
                      <a:pt x="150" y="214"/>
                    </a:lnTo>
                    <a:lnTo>
                      <a:pt x="147" y="214"/>
                    </a:lnTo>
                    <a:lnTo>
                      <a:pt x="145" y="214"/>
                    </a:lnTo>
                    <a:lnTo>
                      <a:pt x="144" y="214"/>
                    </a:lnTo>
                    <a:lnTo>
                      <a:pt x="144" y="216"/>
                    </a:lnTo>
                    <a:lnTo>
                      <a:pt x="144" y="216"/>
                    </a:lnTo>
                    <a:lnTo>
                      <a:pt x="142" y="216"/>
                    </a:lnTo>
                    <a:lnTo>
                      <a:pt x="139" y="214"/>
                    </a:lnTo>
                    <a:lnTo>
                      <a:pt x="139" y="214"/>
                    </a:lnTo>
                    <a:lnTo>
                      <a:pt x="138" y="216"/>
                    </a:lnTo>
                    <a:lnTo>
                      <a:pt x="138" y="216"/>
                    </a:lnTo>
                    <a:lnTo>
                      <a:pt x="136" y="219"/>
                    </a:lnTo>
                    <a:lnTo>
                      <a:pt x="136" y="222"/>
                    </a:lnTo>
                    <a:lnTo>
                      <a:pt x="135" y="222"/>
                    </a:lnTo>
                    <a:lnTo>
                      <a:pt x="131" y="221"/>
                    </a:lnTo>
                    <a:lnTo>
                      <a:pt x="130" y="221"/>
                    </a:lnTo>
                    <a:lnTo>
                      <a:pt x="130" y="222"/>
                    </a:lnTo>
                    <a:lnTo>
                      <a:pt x="128" y="222"/>
                    </a:lnTo>
                    <a:lnTo>
                      <a:pt x="128" y="225"/>
                    </a:lnTo>
                    <a:lnTo>
                      <a:pt x="127" y="227"/>
                    </a:lnTo>
                    <a:lnTo>
                      <a:pt x="127" y="228"/>
                    </a:lnTo>
                    <a:lnTo>
                      <a:pt x="127" y="228"/>
                    </a:lnTo>
                    <a:lnTo>
                      <a:pt x="124" y="228"/>
                    </a:lnTo>
                    <a:lnTo>
                      <a:pt x="122" y="230"/>
                    </a:lnTo>
                    <a:lnTo>
                      <a:pt x="120" y="232"/>
                    </a:lnTo>
                    <a:lnTo>
                      <a:pt x="119" y="232"/>
                    </a:lnTo>
                    <a:lnTo>
                      <a:pt x="120" y="230"/>
                    </a:lnTo>
                    <a:lnTo>
                      <a:pt x="120" y="228"/>
                    </a:lnTo>
                    <a:lnTo>
                      <a:pt x="120" y="225"/>
                    </a:lnTo>
                    <a:lnTo>
                      <a:pt x="120" y="224"/>
                    </a:lnTo>
                    <a:lnTo>
                      <a:pt x="119" y="222"/>
                    </a:lnTo>
                    <a:lnTo>
                      <a:pt x="117" y="221"/>
                    </a:lnTo>
                    <a:lnTo>
                      <a:pt x="116" y="221"/>
                    </a:lnTo>
                    <a:lnTo>
                      <a:pt x="114" y="219"/>
                    </a:lnTo>
                    <a:lnTo>
                      <a:pt x="113" y="219"/>
                    </a:lnTo>
                    <a:lnTo>
                      <a:pt x="113" y="221"/>
                    </a:lnTo>
                    <a:lnTo>
                      <a:pt x="111" y="222"/>
                    </a:lnTo>
                    <a:lnTo>
                      <a:pt x="111" y="222"/>
                    </a:lnTo>
                    <a:lnTo>
                      <a:pt x="108" y="222"/>
                    </a:lnTo>
                    <a:lnTo>
                      <a:pt x="108" y="224"/>
                    </a:lnTo>
                    <a:lnTo>
                      <a:pt x="106" y="224"/>
                    </a:lnTo>
                    <a:lnTo>
                      <a:pt x="106" y="225"/>
                    </a:lnTo>
                    <a:lnTo>
                      <a:pt x="106" y="225"/>
                    </a:lnTo>
                    <a:lnTo>
                      <a:pt x="106" y="227"/>
                    </a:lnTo>
                    <a:lnTo>
                      <a:pt x="106" y="228"/>
                    </a:lnTo>
                    <a:lnTo>
                      <a:pt x="105" y="228"/>
                    </a:lnTo>
                    <a:lnTo>
                      <a:pt x="102" y="230"/>
                    </a:lnTo>
                    <a:lnTo>
                      <a:pt x="100" y="230"/>
                    </a:lnTo>
                    <a:lnTo>
                      <a:pt x="99" y="230"/>
                    </a:lnTo>
                    <a:lnTo>
                      <a:pt x="95" y="232"/>
                    </a:lnTo>
                    <a:lnTo>
                      <a:pt x="94" y="232"/>
                    </a:lnTo>
                    <a:lnTo>
                      <a:pt x="92" y="233"/>
                    </a:lnTo>
                    <a:lnTo>
                      <a:pt x="91" y="235"/>
                    </a:lnTo>
                    <a:lnTo>
                      <a:pt x="91" y="236"/>
                    </a:lnTo>
                    <a:lnTo>
                      <a:pt x="91" y="238"/>
                    </a:lnTo>
                    <a:lnTo>
                      <a:pt x="89" y="243"/>
                    </a:lnTo>
                    <a:lnTo>
                      <a:pt x="88" y="244"/>
                    </a:lnTo>
                    <a:lnTo>
                      <a:pt x="88" y="246"/>
                    </a:lnTo>
                    <a:lnTo>
                      <a:pt x="86" y="249"/>
                    </a:lnTo>
                    <a:lnTo>
                      <a:pt x="88" y="250"/>
                    </a:lnTo>
                    <a:lnTo>
                      <a:pt x="89" y="250"/>
                    </a:lnTo>
                    <a:lnTo>
                      <a:pt x="89" y="250"/>
                    </a:lnTo>
                    <a:lnTo>
                      <a:pt x="91" y="250"/>
                    </a:lnTo>
                    <a:lnTo>
                      <a:pt x="91" y="249"/>
                    </a:lnTo>
                    <a:lnTo>
                      <a:pt x="92" y="247"/>
                    </a:lnTo>
                    <a:lnTo>
                      <a:pt x="94" y="244"/>
                    </a:lnTo>
                    <a:lnTo>
                      <a:pt x="95" y="239"/>
                    </a:lnTo>
                    <a:lnTo>
                      <a:pt x="97" y="238"/>
                    </a:lnTo>
                    <a:lnTo>
                      <a:pt x="97" y="238"/>
                    </a:lnTo>
                    <a:lnTo>
                      <a:pt x="99" y="236"/>
                    </a:lnTo>
                    <a:lnTo>
                      <a:pt x="100" y="236"/>
                    </a:lnTo>
                    <a:lnTo>
                      <a:pt x="102" y="236"/>
                    </a:lnTo>
                    <a:lnTo>
                      <a:pt x="103" y="239"/>
                    </a:lnTo>
                    <a:lnTo>
                      <a:pt x="103" y="239"/>
                    </a:lnTo>
                    <a:lnTo>
                      <a:pt x="105" y="239"/>
                    </a:lnTo>
                    <a:lnTo>
                      <a:pt x="105" y="239"/>
                    </a:lnTo>
                    <a:lnTo>
                      <a:pt x="106" y="239"/>
                    </a:lnTo>
                    <a:lnTo>
                      <a:pt x="108" y="238"/>
                    </a:lnTo>
                    <a:lnTo>
                      <a:pt x="108" y="238"/>
                    </a:lnTo>
                    <a:lnTo>
                      <a:pt x="108" y="238"/>
                    </a:lnTo>
                    <a:lnTo>
                      <a:pt x="108" y="239"/>
                    </a:lnTo>
                    <a:lnTo>
                      <a:pt x="110" y="239"/>
                    </a:lnTo>
                    <a:lnTo>
                      <a:pt x="111" y="241"/>
                    </a:lnTo>
                    <a:lnTo>
                      <a:pt x="113" y="243"/>
                    </a:lnTo>
                    <a:lnTo>
                      <a:pt x="114" y="238"/>
                    </a:lnTo>
                    <a:lnTo>
                      <a:pt x="114" y="236"/>
                    </a:lnTo>
                    <a:lnTo>
                      <a:pt x="114" y="236"/>
                    </a:lnTo>
                    <a:lnTo>
                      <a:pt x="114" y="235"/>
                    </a:lnTo>
                    <a:lnTo>
                      <a:pt x="116" y="235"/>
                    </a:lnTo>
                    <a:lnTo>
                      <a:pt x="116" y="235"/>
                    </a:lnTo>
                    <a:lnTo>
                      <a:pt x="117" y="235"/>
                    </a:lnTo>
                    <a:lnTo>
                      <a:pt x="119" y="236"/>
                    </a:lnTo>
                    <a:lnTo>
                      <a:pt x="119" y="236"/>
                    </a:lnTo>
                    <a:lnTo>
                      <a:pt x="122" y="238"/>
                    </a:lnTo>
                    <a:lnTo>
                      <a:pt x="125" y="239"/>
                    </a:lnTo>
                    <a:lnTo>
                      <a:pt x="127" y="243"/>
                    </a:lnTo>
                    <a:lnTo>
                      <a:pt x="127" y="243"/>
                    </a:lnTo>
                    <a:lnTo>
                      <a:pt x="127" y="244"/>
                    </a:lnTo>
                    <a:lnTo>
                      <a:pt x="127" y="244"/>
                    </a:lnTo>
                    <a:lnTo>
                      <a:pt x="127" y="246"/>
                    </a:lnTo>
                    <a:lnTo>
                      <a:pt x="125" y="246"/>
                    </a:lnTo>
                    <a:lnTo>
                      <a:pt x="124" y="247"/>
                    </a:lnTo>
                    <a:lnTo>
                      <a:pt x="124" y="249"/>
                    </a:lnTo>
                    <a:lnTo>
                      <a:pt x="124" y="250"/>
                    </a:lnTo>
                    <a:lnTo>
                      <a:pt x="124" y="252"/>
                    </a:lnTo>
                    <a:lnTo>
                      <a:pt x="124" y="255"/>
                    </a:lnTo>
                    <a:lnTo>
                      <a:pt x="124" y="258"/>
                    </a:lnTo>
                    <a:lnTo>
                      <a:pt x="125" y="260"/>
                    </a:lnTo>
                    <a:lnTo>
                      <a:pt x="127" y="263"/>
                    </a:lnTo>
                    <a:lnTo>
                      <a:pt x="130" y="264"/>
                    </a:lnTo>
                    <a:lnTo>
                      <a:pt x="135" y="268"/>
                    </a:lnTo>
                    <a:lnTo>
                      <a:pt x="139" y="269"/>
                    </a:lnTo>
                    <a:lnTo>
                      <a:pt x="141" y="269"/>
                    </a:lnTo>
                    <a:lnTo>
                      <a:pt x="141" y="269"/>
                    </a:lnTo>
                    <a:lnTo>
                      <a:pt x="142" y="269"/>
                    </a:lnTo>
                    <a:lnTo>
                      <a:pt x="144" y="266"/>
                    </a:lnTo>
                    <a:lnTo>
                      <a:pt x="144" y="266"/>
                    </a:lnTo>
                    <a:lnTo>
                      <a:pt x="145" y="266"/>
                    </a:lnTo>
                    <a:lnTo>
                      <a:pt x="145" y="266"/>
                    </a:lnTo>
                    <a:lnTo>
                      <a:pt x="145" y="268"/>
                    </a:lnTo>
                    <a:lnTo>
                      <a:pt x="145" y="271"/>
                    </a:lnTo>
                    <a:lnTo>
                      <a:pt x="145" y="271"/>
                    </a:lnTo>
                    <a:lnTo>
                      <a:pt x="145" y="274"/>
                    </a:lnTo>
                    <a:lnTo>
                      <a:pt x="147" y="274"/>
                    </a:lnTo>
                    <a:lnTo>
                      <a:pt x="149" y="272"/>
                    </a:lnTo>
                    <a:lnTo>
                      <a:pt x="152" y="269"/>
                    </a:lnTo>
                    <a:lnTo>
                      <a:pt x="153" y="268"/>
                    </a:lnTo>
                    <a:lnTo>
                      <a:pt x="153" y="263"/>
                    </a:lnTo>
                    <a:lnTo>
                      <a:pt x="152" y="258"/>
                    </a:lnTo>
                    <a:lnTo>
                      <a:pt x="150" y="258"/>
                    </a:lnTo>
                    <a:lnTo>
                      <a:pt x="149" y="257"/>
                    </a:lnTo>
                    <a:lnTo>
                      <a:pt x="149" y="257"/>
                    </a:lnTo>
                    <a:lnTo>
                      <a:pt x="147" y="255"/>
                    </a:lnTo>
                    <a:lnTo>
                      <a:pt x="149" y="254"/>
                    </a:lnTo>
                    <a:lnTo>
                      <a:pt x="149" y="250"/>
                    </a:lnTo>
                    <a:lnTo>
                      <a:pt x="150" y="249"/>
                    </a:lnTo>
                    <a:lnTo>
                      <a:pt x="152" y="247"/>
                    </a:lnTo>
                    <a:lnTo>
                      <a:pt x="152" y="247"/>
                    </a:lnTo>
                    <a:lnTo>
                      <a:pt x="153" y="246"/>
                    </a:lnTo>
                    <a:lnTo>
                      <a:pt x="153" y="244"/>
                    </a:lnTo>
                    <a:lnTo>
                      <a:pt x="155" y="244"/>
                    </a:lnTo>
                    <a:lnTo>
                      <a:pt x="155" y="244"/>
                    </a:lnTo>
                    <a:lnTo>
                      <a:pt x="156" y="247"/>
                    </a:lnTo>
                    <a:lnTo>
                      <a:pt x="158" y="249"/>
                    </a:lnTo>
                    <a:lnTo>
                      <a:pt x="158" y="250"/>
                    </a:lnTo>
                    <a:lnTo>
                      <a:pt x="160" y="252"/>
                    </a:lnTo>
                    <a:lnTo>
                      <a:pt x="160" y="254"/>
                    </a:lnTo>
                    <a:lnTo>
                      <a:pt x="160" y="258"/>
                    </a:lnTo>
                    <a:lnTo>
                      <a:pt x="161" y="260"/>
                    </a:lnTo>
                    <a:lnTo>
                      <a:pt x="161" y="261"/>
                    </a:lnTo>
                    <a:lnTo>
                      <a:pt x="163" y="258"/>
                    </a:lnTo>
                    <a:lnTo>
                      <a:pt x="163" y="254"/>
                    </a:lnTo>
                    <a:lnTo>
                      <a:pt x="161" y="252"/>
                    </a:lnTo>
                    <a:lnTo>
                      <a:pt x="163" y="252"/>
                    </a:lnTo>
                    <a:lnTo>
                      <a:pt x="164" y="252"/>
                    </a:lnTo>
                    <a:lnTo>
                      <a:pt x="166" y="249"/>
                    </a:lnTo>
                    <a:lnTo>
                      <a:pt x="167" y="246"/>
                    </a:lnTo>
                    <a:lnTo>
                      <a:pt x="169" y="246"/>
                    </a:lnTo>
                    <a:lnTo>
                      <a:pt x="169" y="244"/>
                    </a:lnTo>
                    <a:lnTo>
                      <a:pt x="169" y="239"/>
                    </a:lnTo>
                    <a:lnTo>
                      <a:pt x="169" y="238"/>
                    </a:lnTo>
                    <a:close/>
                    <a:moveTo>
                      <a:pt x="161" y="199"/>
                    </a:moveTo>
                    <a:lnTo>
                      <a:pt x="161" y="199"/>
                    </a:lnTo>
                    <a:lnTo>
                      <a:pt x="161" y="197"/>
                    </a:lnTo>
                    <a:lnTo>
                      <a:pt x="160" y="196"/>
                    </a:lnTo>
                    <a:lnTo>
                      <a:pt x="158" y="197"/>
                    </a:lnTo>
                    <a:lnTo>
                      <a:pt x="158" y="199"/>
                    </a:lnTo>
                    <a:lnTo>
                      <a:pt x="160" y="200"/>
                    </a:lnTo>
                    <a:lnTo>
                      <a:pt x="160" y="200"/>
                    </a:lnTo>
                    <a:lnTo>
                      <a:pt x="161" y="200"/>
                    </a:lnTo>
                    <a:lnTo>
                      <a:pt x="161" y="200"/>
                    </a:lnTo>
                    <a:lnTo>
                      <a:pt x="161" y="199"/>
                    </a:lnTo>
                    <a:close/>
                    <a:moveTo>
                      <a:pt x="145" y="197"/>
                    </a:moveTo>
                    <a:lnTo>
                      <a:pt x="145" y="194"/>
                    </a:lnTo>
                    <a:lnTo>
                      <a:pt x="144" y="194"/>
                    </a:lnTo>
                    <a:lnTo>
                      <a:pt x="144" y="194"/>
                    </a:lnTo>
                    <a:lnTo>
                      <a:pt x="144" y="196"/>
                    </a:lnTo>
                    <a:lnTo>
                      <a:pt x="145" y="197"/>
                    </a:lnTo>
                    <a:lnTo>
                      <a:pt x="145" y="197"/>
                    </a:lnTo>
                    <a:close/>
                    <a:moveTo>
                      <a:pt x="133" y="200"/>
                    </a:moveTo>
                    <a:lnTo>
                      <a:pt x="133" y="199"/>
                    </a:lnTo>
                    <a:lnTo>
                      <a:pt x="133" y="196"/>
                    </a:lnTo>
                    <a:lnTo>
                      <a:pt x="131" y="196"/>
                    </a:lnTo>
                    <a:lnTo>
                      <a:pt x="130" y="194"/>
                    </a:lnTo>
                    <a:lnTo>
                      <a:pt x="130" y="194"/>
                    </a:lnTo>
                    <a:lnTo>
                      <a:pt x="130" y="194"/>
                    </a:lnTo>
                    <a:lnTo>
                      <a:pt x="130" y="194"/>
                    </a:lnTo>
                    <a:lnTo>
                      <a:pt x="127" y="194"/>
                    </a:lnTo>
                    <a:lnTo>
                      <a:pt x="125" y="196"/>
                    </a:lnTo>
                    <a:lnTo>
                      <a:pt x="124" y="197"/>
                    </a:lnTo>
                    <a:lnTo>
                      <a:pt x="122" y="199"/>
                    </a:lnTo>
                    <a:lnTo>
                      <a:pt x="120" y="199"/>
                    </a:lnTo>
                    <a:lnTo>
                      <a:pt x="120" y="200"/>
                    </a:lnTo>
                    <a:lnTo>
                      <a:pt x="120" y="200"/>
                    </a:lnTo>
                    <a:lnTo>
                      <a:pt x="120" y="202"/>
                    </a:lnTo>
                    <a:lnTo>
                      <a:pt x="122" y="203"/>
                    </a:lnTo>
                    <a:lnTo>
                      <a:pt x="125" y="203"/>
                    </a:lnTo>
                    <a:lnTo>
                      <a:pt x="130" y="203"/>
                    </a:lnTo>
                    <a:lnTo>
                      <a:pt x="130" y="203"/>
                    </a:lnTo>
                    <a:lnTo>
                      <a:pt x="131" y="200"/>
                    </a:lnTo>
                    <a:lnTo>
                      <a:pt x="131" y="200"/>
                    </a:lnTo>
                    <a:lnTo>
                      <a:pt x="133" y="200"/>
                    </a:lnTo>
                    <a:lnTo>
                      <a:pt x="133" y="200"/>
                    </a:lnTo>
                    <a:lnTo>
                      <a:pt x="133" y="200"/>
                    </a:lnTo>
                    <a:close/>
                    <a:moveTo>
                      <a:pt x="153" y="196"/>
                    </a:moveTo>
                    <a:lnTo>
                      <a:pt x="152" y="192"/>
                    </a:lnTo>
                    <a:lnTo>
                      <a:pt x="153" y="189"/>
                    </a:lnTo>
                    <a:lnTo>
                      <a:pt x="153" y="189"/>
                    </a:lnTo>
                    <a:lnTo>
                      <a:pt x="152" y="189"/>
                    </a:lnTo>
                    <a:lnTo>
                      <a:pt x="152" y="189"/>
                    </a:lnTo>
                    <a:lnTo>
                      <a:pt x="152" y="189"/>
                    </a:lnTo>
                    <a:lnTo>
                      <a:pt x="150" y="191"/>
                    </a:lnTo>
                    <a:lnTo>
                      <a:pt x="150" y="192"/>
                    </a:lnTo>
                    <a:lnTo>
                      <a:pt x="150" y="194"/>
                    </a:lnTo>
                    <a:lnTo>
                      <a:pt x="150" y="196"/>
                    </a:lnTo>
                    <a:lnTo>
                      <a:pt x="152" y="197"/>
                    </a:lnTo>
                    <a:lnTo>
                      <a:pt x="152" y="197"/>
                    </a:lnTo>
                    <a:lnTo>
                      <a:pt x="153" y="199"/>
                    </a:lnTo>
                    <a:lnTo>
                      <a:pt x="153" y="199"/>
                    </a:lnTo>
                    <a:lnTo>
                      <a:pt x="153" y="197"/>
                    </a:lnTo>
                    <a:lnTo>
                      <a:pt x="153" y="197"/>
                    </a:lnTo>
                    <a:lnTo>
                      <a:pt x="153" y="196"/>
                    </a:lnTo>
                    <a:close/>
                    <a:moveTo>
                      <a:pt x="52" y="186"/>
                    </a:moveTo>
                    <a:lnTo>
                      <a:pt x="50" y="185"/>
                    </a:lnTo>
                    <a:lnTo>
                      <a:pt x="49" y="186"/>
                    </a:lnTo>
                    <a:lnTo>
                      <a:pt x="50" y="188"/>
                    </a:lnTo>
                    <a:lnTo>
                      <a:pt x="52" y="188"/>
                    </a:lnTo>
                    <a:lnTo>
                      <a:pt x="53" y="186"/>
                    </a:lnTo>
                    <a:lnTo>
                      <a:pt x="53" y="186"/>
                    </a:lnTo>
                    <a:lnTo>
                      <a:pt x="52" y="186"/>
                    </a:lnTo>
                    <a:close/>
                    <a:moveTo>
                      <a:pt x="130" y="185"/>
                    </a:moveTo>
                    <a:lnTo>
                      <a:pt x="130" y="185"/>
                    </a:lnTo>
                    <a:lnTo>
                      <a:pt x="128" y="186"/>
                    </a:lnTo>
                    <a:lnTo>
                      <a:pt x="128" y="186"/>
                    </a:lnTo>
                    <a:lnTo>
                      <a:pt x="130" y="185"/>
                    </a:lnTo>
                    <a:lnTo>
                      <a:pt x="130" y="185"/>
                    </a:lnTo>
                    <a:lnTo>
                      <a:pt x="130" y="185"/>
                    </a:lnTo>
                    <a:close/>
                    <a:moveTo>
                      <a:pt x="102" y="185"/>
                    </a:moveTo>
                    <a:lnTo>
                      <a:pt x="100" y="183"/>
                    </a:lnTo>
                    <a:lnTo>
                      <a:pt x="100" y="183"/>
                    </a:lnTo>
                    <a:lnTo>
                      <a:pt x="100" y="183"/>
                    </a:lnTo>
                    <a:lnTo>
                      <a:pt x="99" y="185"/>
                    </a:lnTo>
                    <a:lnTo>
                      <a:pt x="97" y="186"/>
                    </a:lnTo>
                    <a:lnTo>
                      <a:pt x="97" y="188"/>
                    </a:lnTo>
                    <a:lnTo>
                      <a:pt x="97" y="189"/>
                    </a:lnTo>
                    <a:lnTo>
                      <a:pt x="99" y="188"/>
                    </a:lnTo>
                    <a:lnTo>
                      <a:pt x="99" y="188"/>
                    </a:lnTo>
                    <a:lnTo>
                      <a:pt x="100" y="188"/>
                    </a:lnTo>
                    <a:lnTo>
                      <a:pt x="100" y="188"/>
                    </a:lnTo>
                    <a:lnTo>
                      <a:pt x="102" y="185"/>
                    </a:lnTo>
                    <a:lnTo>
                      <a:pt x="102" y="185"/>
                    </a:lnTo>
                    <a:close/>
                    <a:moveTo>
                      <a:pt x="116" y="182"/>
                    </a:moveTo>
                    <a:lnTo>
                      <a:pt x="114" y="180"/>
                    </a:lnTo>
                    <a:lnTo>
                      <a:pt x="110" y="178"/>
                    </a:lnTo>
                    <a:lnTo>
                      <a:pt x="110" y="178"/>
                    </a:lnTo>
                    <a:lnTo>
                      <a:pt x="106" y="180"/>
                    </a:lnTo>
                    <a:lnTo>
                      <a:pt x="105" y="182"/>
                    </a:lnTo>
                    <a:lnTo>
                      <a:pt x="105" y="182"/>
                    </a:lnTo>
                    <a:lnTo>
                      <a:pt x="105" y="183"/>
                    </a:lnTo>
                    <a:lnTo>
                      <a:pt x="105" y="185"/>
                    </a:lnTo>
                    <a:lnTo>
                      <a:pt x="105" y="186"/>
                    </a:lnTo>
                    <a:lnTo>
                      <a:pt x="103" y="186"/>
                    </a:lnTo>
                    <a:lnTo>
                      <a:pt x="103" y="188"/>
                    </a:lnTo>
                    <a:lnTo>
                      <a:pt x="103" y="189"/>
                    </a:lnTo>
                    <a:lnTo>
                      <a:pt x="103" y="191"/>
                    </a:lnTo>
                    <a:lnTo>
                      <a:pt x="103" y="194"/>
                    </a:lnTo>
                    <a:lnTo>
                      <a:pt x="103" y="196"/>
                    </a:lnTo>
                    <a:lnTo>
                      <a:pt x="100" y="197"/>
                    </a:lnTo>
                    <a:lnTo>
                      <a:pt x="100" y="197"/>
                    </a:lnTo>
                    <a:lnTo>
                      <a:pt x="97" y="197"/>
                    </a:lnTo>
                    <a:lnTo>
                      <a:pt x="97" y="197"/>
                    </a:lnTo>
                    <a:lnTo>
                      <a:pt x="95" y="199"/>
                    </a:lnTo>
                    <a:lnTo>
                      <a:pt x="95" y="200"/>
                    </a:lnTo>
                    <a:lnTo>
                      <a:pt x="95" y="202"/>
                    </a:lnTo>
                    <a:lnTo>
                      <a:pt x="99" y="205"/>
                    </a:lnTo>
                    <a:lnTo>
                      <a:pt x="99" y="207"/>
                    </a:lnTo>
                    <a:lnTo>
                      <a:pt x="100" y="207"/>
                    </a:lnTo>
                    <a:lnTo>
                      <a:pt x="102" y="208"/>
                    </a:lnTo>
                    <a:lnTo>
                      <a:pt x="103" y="208"/>
                    </a:lnTo>
                    <a:lnTo>
                      <a:pt x="105" y="213"/>
                    </a:lnTo>
                    <a:lnTo>
                      <a:pt x="106" y="213"/>
                    </a:lnTo>
                    <a:lnTo>
                      <a:pt x="106" y="213"/>
                    </a:lnTo>
                    <a:lnTo>
                      <a:pt x="108" y="213"/>
                    </a:lnTo>
                    <a:lnTo>
                      <a:pt x="110" y="213"/>
                    </a:lnTo>
                    <a:lnTo>
                      <a:pt x="110" y="213"/>
                    </a:lnTo>
                    <a:lnTo>
                      <a:pt x="111" y="210"/>
                    </a:lnTo>
                    <a:lnTo>
                      <a:pt x="111" y="210"/>
                    </a:lnTo>
                    <a:lnTo>
                      <a:pt x="111" y="208"/>
                    </a:lnTo>
                    <a:lnTo>
                      <a:pt x="111" y="208"/>
                    </a:lnTo>
                    <a:lnTo>
                      <a:pt x="108" y="203"/>
                    </a:lnTo>
                    <a:lnTo>
                      <a:pt x="108" y="202"/>
                    </a:lnTo>
                    <a:lnTo>
                      <a:pt x="108" y="202"/>
                    </a:lnTo>
                    <a:lnTo>
                      <a:pt x="108" y="199"/>
                    </a:lnTo>
                    <a:lnTo>
                      <a:pt x="110" y="197"/>
                    </a:lnTo>
                    <a:lnTo>
                      <a:pt x="111" y="196"/>
                    </a:lnTo>
                    <a:lnTo>
                      <a:pt x="111" y="194"/>
                    </a:lnTo>
                    <a:lnTo>
                      <a:pt x="111" y="191"/>
                    </a:lnTo>
                    <a:lnTo>
                      <a:pt x="113" y="188"/>
                    </a:lnTo>
                    <a:lnTo>
                      <a:pt x="114" y="186"/>
                    </a:lnTo>
                    <a:lnTo>
                      <a:pt x="116" y="185"/>
                    </a:lnTo>
                    <a:lnTo>
                      <a:pt x="116" y="183"/>
                    </a:lnTo>
                    <a:lnTo>
                      <a:pt x="116" y="182"/>
                    </a:lnTo>
                    <a:close/>
                    <a:moveTo>
                      <a:pt x="124" y="177"/>
                    </a:moveTo>
                    <a:lnTo>
                      <a:pt x="124" y="175"/>
                    </a:lnTo>
                    <a:lnTo>
                      <a:pt x="124" y="174"/>
                    </a:lnTo>
                    <a:lnTo>
                      <a:pt x="122" y="175"/>
                    </a:lnTo>
                    <a:lnTo>
                      <a:pt x="122" y="177"/>
                    </a:lnTo>
                    <a:lnTo>
                      <a:pt x="122" y="177"/>
                    </a:lnTo>
                    <a:lnTo>
                      <a:pt x="122" y="178"/>
                    </a:lnTo>
                    <a:lnTo>
                      <a:pt x="122" y="180"/>
                    </a:lnTo>
                    <a:lnTo>
                      <a:pt x="120" y="183"/>
                    </a:lnTo>
                    <a:lnTo>
                      <a:pt x="119" y="186"/>
                    </a:lnTo>
                    <a:lnTo>
                      <a:pt x="119" y="188"/>
                    </a:lnTo>
                    <a:lnTo>
                      <a:pt x="116" y="191"/>
                    </a:lnTo>
                    <a:lnTo>
                      <a:pt x="114" y="194"/>
                    </a:lnTo>
                    <a:lnTo>
                      <a:pt x="113" y="197"/>
                    </a:lnTo>
                    <a:lnTo>
                      <a:pt x="113" y="199"/>
                    </a:lnTo>
                    <a:lnTo>
                      <a:pt x="111" y="203"/>
                    </a:lnTo>
                    <a:lnTo>
                      <a:pt x="111" y="205"/>
                    </a:lnTo>
                    <a:lnTo>
                      <a:pt x="111" y="207"/>
                    </a:lnTo>
                    <a:lnTo>
                      <a:pt x="113" y="207"/>
                    </a:lnTo>
                    <a:lnTo>
                      <a:pt x="114" y="203"/>
                    </a:lnTo>
                    <a:lnTo>
                      <a:pt x="117" y="197"/>
                    </a:lnTo>
                    <a:lnTo>
                      <a:pt x="117" y="196"/>
                    </a:lnTo>
                    <a:lnTo>
                      <a:pt x="117" y="194"/>
                    </a:lnTo>
                    <a:lnTo>
                      <a:pt x="119" y="192"/>
                    </a:lnTo>
                    <a:lnTo>
                      <a:pt x="120" y="192"/>
                    </a:lnTo>
                    <a:lnTo>
                      <a:pt x="122" y="191"/>
                    </a:lnTo>
                    <a:lnTo>
                      <a:pt x="124" y="189"/>
                    </a:lnTo>
                    <a:lnTo>
                      <a:pt x="124" y="186"/>
                    </a:lnTo>
                    <a:lnTo>
                      <a:pt x="124" y="183"/>
                    </a:lnTo>
                    <a:lnTo>
                      <a:pt x="124" y="180"/>
                    </a:lnTo>
                    <a:lnTo>
                      <a:pt x="124" y="178"/>
                    </a:lnTo>
                    <a:lnTo>
                      <a:pt x="124" y="178"/>
                    </a:lnTo>
                    <a:lnTo>
                      <a:pt x="124" y="177"/>
                    </a:lnTo>
                    <a:close/>
                    <a:moveTo>
                      <a:pt x="119" y="174"/>
                    </a:moveTo>
                    <a:lnTo>
                      <a:pt x="119" y="174"/>
                    </a:lnTo>
                    <a:lnTo>
                      <a:pt x="119" y="174"/>
                    </a:lnTo>
                    <a:lnTo>
                      <a:pt x="119" y="177"/>
                    </a:lnTo>
                    <a:lnTo>
                      <a:pt x="120" y="177"/>
                    </a:lnTo>
                    <a:lnTo>
                      <a:pt x="119" y="174"/>
                    </a:lnTo>
                    <a:close/>
                    <a:moveTo>
                      <a:pt x="47" y="186"/>
                    </a:moveTo>
                    <a:lnTo>
                      <a:pt x="47" y="185"/>
                    </a:lnTo>
                    <a:lnTo>
                      <a:pt x="45" y="180"/>
                    </a:lnTo>
                    <a:lnTo>
                      <a:pt x="45" y="178"/>
                    </a:lnTo>
                    <a:lnTo>
                      <a:pt x="45" y="177"/>
                    </a:lnTo>
                    <a:lnTo>
                      <a:pt x="45" y="175"/>
                    </a:lnTo>
                    <a:lnTo>
                      <a:pt x="45" y="174"/>
                    </a:lnTo>
                    <a:lnTo>
                      <a:pt x="45" y="174"/>
                    </a:lnTo>
                    <a:lnTo>
                      <a:pt x="44" y="172"/>
                    </a:lnTo>
                    <a:lnTo>
                      <a:pt x="44" y="174"/>
                    </a:lnTo>
                    <a:lnTo>
                      <a:pt x="42" y="178"/>
                    </a:lnTo>
                    <a:lnTo>
                      <a:pt x="41" y="180"/>
                    </a:lnTo>
                    <a:lnTo>
                      <a:pt x="41" y="182"/>
                    </a:lnTo>
                    <a:lnTo>
                      <a:pt x="41" y="183"/>
                    </a:lnTo>
                    <a:lnTo>
                      <a:pt x="41" y="185"/>
                    </a:lnTo>
                    <a:lnTo>
                      <a:pt x="41" y="186"/>
                    </a:lnTo>
                    <a:lnTo>
                      <a:pt x="39" y="188"/>
                    </a:lnTo>
                    <a:lnTo>
                      <a:pt x="39" y="189"/>
                    </a:lnTo>
                    <a:lnTo>
                      <a:pt x="38" y="189"/>
                    </a:lnTo>
                    <a:lnTo>
                      <a:pt x="38" y="189"/>
                    </a:lnTo>
                    <a:lnTo>
                      <a:pt x="36" y="191"/>
                    </a:lnTo>
                    <a:lnTo>
                      <a:pt x="33" y="194"/>
                    </a:lnTo>
                    <a:lnTo>
                      <a:pt x="33" y="194"/>
                    </a:lnTo>
                    <a:lnTo>
                      <a:pt x="31" y="196"/>
                    </a:lnTo>
                    <a:lnTo>
                      <a:pt x="27" y="200"/>
                    </a:lnTo>
                    <a:lnTo>
                      <a:pt x="24" y="203"/>
                    </a:lnTo>
                    <a:lnTo>
                      <a:pt x="20" y="208"/>
                    </a:lnTo>
                    <a:lnTo>
                      <a:pt x="19" y="210"/>
                    </a:lnTo>
                    <a:lnTo>
                      <a:pt x="17" y="210"/>
                    </a:lnTo>
                    <a:lnTo>
                      <a:pt x="17" y="210"/>
                    </a:lnTo>
                    <a:lnTo>
                      <a:pt x="16" y="210"/>
                    </a:lnTo>
                    <a:lnTo>
                      <a:pt x="14" y="213"/>
                    </a:lnTo>
                    <a:lnTo>
                      <a:pt x="11" y="214"/>
                    </a:lnTo>
                    <a:lnTo>
                      <a:pt x="9" y="216"/>
                    </a:lnTo>
                    <a:lnTo>
                      <a:pt x="8" y="219"/>
                    </a:lnTo>
                    <a:lnTo>
                      <a:pt x="6" y="219"/>
                    </a:lnTo>
                    <a:lnTo>
                      <a:pt x="5" y="222"/>
                    </a:lnTo>
                    <a:lnTo>
                      <a:pt x="5" y="224"/>
                    </a:lnTo>
                    <a:lnTo>
                      <a:pt x="5" y="225"/>
                    </a:lnTo>
                    <a:lnTo>
                      <a:pt x="6" y="224"/>
                    </a:lnTo>
                    <a:lnTo>
                      <a:pt x="8" y="224"/>
                    </a:lnTo>
                    <a:lnTo>
                      <a:pt x="9" y="222"/>
                    </a:lnTo>
                    <a:lnTo>
                      <a:pt x="9" y="222"/>
                    </a:lnTo>
                    <a:lnTo>
                      <a:pt x="9" y="221"/>
                    </a:lnTo>
                    <a:lnTo>
                      <a:pt x="11" y="221"/>
                    </a:lnTo>
                    <a:lnTo>
                      <a:pt x="13" y="221"/>
                    </a:lnTo>
                    <a:lnTo>
                      <a:pt x="14" y="219"/>
                    </a:lnTo>
                    <a:lnTo>
                      <a:pt x="16" y="218"/>
                    </a:lnTo>
                    <a:lnTo>
                      <a:pt x="17" y="216"/>
                    </a:lnTo>
                    <a:lnTo>
                      <a:pt x="19" y="214"/>
                    </a:lnTo>
                    <a:lnTo>
                      <a:pt x="20" y="213"/>
                    </a:lnTo>
                    <a:lnTo>
                      <a:pt x="22" y="211"/>
                    </a:lnTo>
                    <a:lnTo>
                      <a:pt x="24" y="211"/>
                    </a:lnTo>
                    <a:lnTo>
                      <a:pt x="25" y="210"/>
                    </a:lnTo>
                    <a:lnTo>
                      <a:pt x="27" y="208"/>
                    </a:lnTo>
                    <a:lnTo>
                      <a:pt x="28" y="207"/>
                    </a:lnTo>
                    <a:lnTo>
                      <a:pt x="31" y="200"/>
                    </a:lnTo>
                    <a:lnTo>
                      <a:pt x="31" y="199"/>
                    </a:lnTo>
                    <a:lnTo>
                      <a:pt x="31" y="199"/>
                    </a:lnTo>
                    <a:lnTo>
                      <a:pt x="33" y="197"/>
                    </a:lnTo>
                    <a:lnTo>
                      <a:pt x="34" y="197"/>
                    </a:lnTo>
                    <a:lnTo>
                      <a:pt x="39" y="196"/>
                    </a:lnTo>
                    <a:lnTo>
                      <a:pt x="39" y="194"/>
                    </a:lnTo>
                    <a:lnTo>
                      <a:pt x="39" y="194"/>
                    </a:lnTo>
                    <a:lnTo>
                      <a:pt x="41" y="192"/>
                    </a:lnTo>
                    <a:lnTo>
                      <a:pt x="42" y="191"/>
                    </a:lnTo>
                    <a:lnTo>
                      <a:pt x="42" y="191"/>
                    </a:lnTo>
                    <a:lnTo>
                      <a:pt x="45" y="189"/>
                    </a:lnTo>
                    <a:lnTo>
                      <a:pt x="45" y="189"/>
                    </a:lnTo>
                    <a:lnTo>
                      <a:pt x="47" y="188"/>
                    </a:lnTo>
                    <a:lnTo>
                      <a:pt x="47" y="186"/>
                    </a:lnTo>
                    <a:close/>
                    <a:moveTo>
                      <a:pt x="50" y="169"/>
                    </a:moveTo>
                    <a:lnTo>
                      <a:pt x="50" y="169"/>
                    </a:lnTo>
                    <a:lnTo>
                      <a:pt x="49" y="171"/>
                    </a:lnTo>
                    <a:lnTo>
                      <a:pt x="49" y="171"/>
                    </a:lnTo>
                    <a:lnTo>
                      <a:pt x="49" y="171"/>
                    </a:lnTo>
                    <a:lnTo>
                      <a:pt x="50" y="172"/>
                    </a:lnTo>
                    <a:lnTo>
                      <a:pt x="50" y="172"/>
                    </a:lnTo>
                    <a:lnTo>
                      <a:pt x="50" y="172"/>
                    </a:lnTo>
                    <a:lnTo>
                      <a:pt x="52" y="171"/>
                    </a:lnTo>
                    <a:lnTo>
                      <a:pt x="50" y="169"/>
                    </a:lnTo>
                    <a:close/>
                    <a:moveTo>
                      <a:pt x="145" y="191"/>
                    </a:moveTo>
                    <a:lnTo>
                      <a:pt x="144" y="188"/>
                    </a:lnTo>
                    <a:lnTo>
                      <a:pt x="144" y="186"/>
                    </a:lnTo>
                    <a:lnTo>
                      <a:pt x="144" y="185"/>
                    </a:lnTo>
                    <a:lnTo>
                      <a:pt x="142" y="185"/>
                    </a:lnTo>
                    <a:lnTo>
                      <a:pt x="142" y="183"/>
                    </a:lnTo>
                    <a:lnTo>
                      <a:pt x="141" y="183"/>
                    </a:lnTo>
                    <a:lnTo>
                      <a:pt x="141" y="183"/>
                    </a:lnTo>
                    <a:lnTo>
                      <a:pt x="141" y="180"/>
                    </a:lnTo>
                    <a:lnTo>
                      <a:pt x="142" y="177"/>
                    </a:lnTo>
                    <a:lnTo>
                      <a:pt x="141" y="175"/>
                    </a:lnTo>
                    <a:lnTo>
                      <a:pt x="141" y="174"/>
                    </a:lnTo>
                    <a:lnTo>
                      <a:pt x="139" y="172"/>
                    </a:lnTo>
                    <a:lnTo>
                      <a:pt x="138" y="172"/>
                    </a:lnTo>
                    <a:lnTo>
                      <a:pt x="136" y="174"/>
                    </a:lnTo>
                    <a:lnTo>
                      <a:pt x="135" y="174"/>
                    </a:lnTo>
                    <a:lnTo>
                      <a:pt x="133" y="172"/>
                    </a:lnTo>
                    <a:lnTo>
                      <a:pt x="133" y="172"/>
                    </a:lnTo>
                    <a:lnTo>
                      <a:pt x="133" y="171"/>
                    </a:lnTo>
                    <a:lnTo>
                      <a:pt x="131" y="171"/>
                    </a:lnTo>
                    <a:lnTo>
                      <a:pt x="130" y="169"/>
                    </a:lnTo>
                    <a:lnTo>
                      <a:pt x="130" y="169"/>
                    </a:lnTo>
                    <a:lnTo>
                      <a:pt x="128" y="171"/>
                    </a:lnTo>
                    <a:lnTo>
                      <a:pt x="130" y="171"/>
                    </a:lnTo>
                    <a:lnTo>
                      <a:pt x="130" y="172"/>
                    </a:lnTo>
                    <a:lnTo>
                      <a:pt x="130" y="177"/>
                    </a:lnTo>
                    <a:lnTo>
                      <a:pt x="131" y="180"/>
                    </a:lnTo>
                    <a:lnTo>
                      <a:pt x="131" y="180"/>
                    </a:lnTo>
                    <a:lnTo>
                      <a:pt x="135" y="180"/>
                    </a:lnTo>
                    <a:lnTo>
                      <a:pt x="135" y="180"/>
                    </a:lnTo>
                    <a:lnTo>
                      <a:pt x="136" y="182"/>
                    </a:lnTo>
                    <a:lnTo>
                      <a:pt x="138" y="183"/>
                    </a:lnTo>
                    <a:lnTo>
                      <a:pt x="138" y="183"/>
                    </a:lnTo>
                    <a:lnTo>
                      <a:pt x="138" y="185"/>
                    </a:lnTo>
                    <a:lnTo>
                      <a:pt x="136" y="189"/>
                    </a:lnTo>
                    <a:lnTo>
                      <a:pt x="138" y="191"/>
                    </a:lnTo>
                    <a:lnTo>
                      <a:pt x="138" y="191"/>
                    </a:lnTo>
                    <a:lnTo>
                      <a:pt x="138" y="194"/>
                    </a:lnTo>
                    <a:lnTo>
                      <a:pt x="138" y="194"/>
                    </a:lnTo>
                    <a:lnTo>
                      <a:pt x="139" y="196"/>
                    </a:lnTo>
                    <a:lnTo>
                      <a:pt x="141" y="196"/>
                    </a:lnTo>
                    <a:lnTo>
                      <a:pt x="141" y="194"/>
                    </a:lnTo>
                    <a:lnTo>
                      <a:pt x="141" y="192"/>
                    </a:lnTo>
                    <a:lnTo>
                      <a:pt x="141" y="189"/>
                    </a:lnTo>
                    <a:lnTo>
                      <a:pt x="142" y="191"/>
                    </a:lnTo>
                    <a:lnTo>
                      <a:pt x="142" y="192"/>
                    </a:lnTo>
                    <a:lnTo>
                      <a:pt x="144" y="192"/>
                    </a:lnTo>
                    <a:lnTo>
                      <a:pt x="144" y="192"/>
                    </a:lnTo>
                    <a:lnTo>
                      <a:pt x="144" y="192"/>
                    </a:lnTo>
                    <a:lnTo>
                      <a:pt x="145" y="192"/>
                    </a:lnTo>
                    <a:lnTo>
                      <a:pt x="145" y="191"/>
                    </a:lnTo>
                    <a:lnTo>
                      <a:pt x="145" y="191"/>
                    </a:lnTo>
                    <a:close/>
                    <a:moveTo>
                      <a:pt x="133" y="167"/>
                    </a:moveTo>
                    <a:lnTo>
                      <a:pt x="133" y="166"/>
                    </a:lnTo>
                    <a:lnTo>
                      <a:pt x="131" y="166"/>
                    </a:lnTo>
                    <a:lnTo>
                      <a:pt x="130" y="167"/>
                    </a:lnTo>
                    <a:lnTo>
                      <a:pt x="131" y="169"/>
                    </a:lnTo>
                    <a:lnTo>
                      <a:pt x="131" y="171"/>
                    </a:lnTo>
                    <a:lnTo>
                      <a:pt x="135" y="171"/>
                    </a:lnTo>
                    <a:lnTo>
                      <a:pt x="135" y="169"/>
                    </a:lnTo>
                    <a:lnTo>
                      <a:pt x="133" y="167"/>
                    </a:lnTo>
                    <a:close/>
                    <a:moveTo>
                      <a:pt x="138" y="167"/>
                    </a:moveTo>
                    <a:lnTo>
                      <a:pt x="138" y="166"/>
                    </a:lnTo>
                    <a:lnTo>
                      <a:pt x="136" y="166"/>
                    </a:lnTo>
                    <a:lnTo>
                      <a:pt x="136" y="167"/>
                    </a:lnTo>
                    <a:lnTo>
                      <a:pt x="138" y="169"/>
                    </a:lnTo>
                    <a:lnTo>
                      <a:pt x="138" y="169"/>
                    </a:lnTo>
                    <a:lnTo>
                      <a:pt x="138" y="169"/>
                    </a:lnTo>
                    <a:lnTo>
                      <a:pt x="138" y="167"/>
                    </a:lnTo>
                    <a:lnTo>
                      <a:pt x="138" y="167"/>
                    </a:lnTo>
                    <a:close/>
                    <a:moveTo>
                      <a:pt x="108" y="169"/>
                    </a:moveTo>
                    <a:lnTo>
                      <a:pt x="103" y="171"/>
                    </a:lnTo>
                    <a:lnTo>
                      <a:pt x="103" y="171"/>
                    </a:lnTo>
                    <a:lnTo>
                      <a:pt x="105" y="169"/>
                    </a:lnTo>
                    <a:lnTo>
                      <a:pt x="103" y="167"/>
                    </a:lnTo>
                    <a:lnTo>
                      <a:pt x="102" y="167"/>
                    </a:lnTo>
                    <a:lnTo>
                      <a:pt x="99" y="169"/>
                    </a:lnTo>
                    <a:lnTo>
                      <a:pt x="97" y="167"/>
                    </a:lnTo>
                    <a:lnTo>
                      <a:pt x="95" y="166"/>
                    </a:lnTo>
                    <a:lnTo>
                      <a:pt x="94" y="164"/>
                    </a:lnTo>
                    <a:lnTo>
                      <a:pt x="89" y="164"/>
                    </a:lnTo>
                    <a:lnTo>
                      <a:pt x="89" y="163"/>
                    </a:lnTo>
                    <a:lnTo>
                      <a:pt x="88" y="163"/>
                    </a:lnTo>
                    <a:lnTo>
                      <a:pt x="86" y="164"/>
                    </a:lnTo>
                    <a:lnTo>
                      <a:pt x="86" y="164"/>
                    </a:lnTo>
                    <a:lnTo>
                      <a:pt x="88" y="166"/>
                    </a:lnTo>
                    <a:lnTo>
                      <a:pt x="89" y="166"/>
                    </a:lnTo>
                    <a:lnTo>
                      <a:pt x="89" y="167"/>
                    </a:lnTo>
                    <a:lnTo>
                      <a:pt x="91" y="167"/>
                    </a:lnTo>
                    <a:lnTo>
                      <a:pt x="89" y="174"/>
                    </a:lnTo>
                    <a:lnTo>
                      <a:pt x="89" y="177"/>
                    </a:lnTo>
                    <a:lnTo>
                      <a:pt x="89" y="178"/>
                    </a:lnTo>
                    <a:lnTo>
                      <a:pt x="88" y="182"/>
                    </a:lnTo>
                    <a:lnTo>
                      <a:pt x="88" y="183"/>
                    </a:lnTo>
                    <a:lnTo>
                      <a:pt x="88" y="185"/>
                    </a:lnTo>
                    <a:lnTo>
                      <a:pt x="88" y="185"/>
                    </a:lnTo>
                    <a:lnTo>
                      <a:pt x="88" y="188"/>
                    </a:lnTo>
                    <a:lnTo>
                      <a:pt x="88" y="188"/>
                    </a:lnTo>
                    <a:lnTo>
                      <a:pt x="88" y="189"/>
                    </a:lnTo>
                    <a:lnTo>
                      <a:pt x="88" y="188"/>
                    </a:lnTo>
                    <a:lnTo>
                      <a:pt x="89" y="188"/>
                    </a:lnTo>
                    <a:lnTo>
                      <a:pt x="91" y="186"/>
                    </a:lnTo>
                    <a:lnTo>
                      <a:pt x="92" y="186"/>
                    </a:lnTo>
                    <a:lnTo>
                      <a:pt x="97" y="185"/>
                    </a:lnTo>
                    <a:lnTo>
                      <a:pt x="100" y="183"/>
                    </a:lnTo>
                    <a:lnTo>
                      <a:pt x="102" y="182"/>
                    </a:lnTo>
                    <a:lnTo>
                      <a:pt x="102" y="182"/>
                    </a:lnTo>
                    <a:lnTo>
                      <a:pt x="102" y="180"/>
                    </a:lnTo>
                    <a:lnTo>
                      <a:pt x="102" y="178"/>
                    </a:lnTo>
                    <a:lnTo>
                      <a:pt x="103" y="178"/>
                    </a:lnTo>
                    <a:lnTo>
                      <a:pt x="105" y="178"/>
                    </a:lnTo>
                    <a:lnTo>
                      <a:pt x="106" y="177"/>
                    </a:lnTo>
                    <a:lnTo>
                      <a:pt x="106" y="175"/>
                    </a:lnTo>
                    <a:lnTo>
                      <a:pt x="108" y="174"/>
                    </a:lnTo>
                    <a:lnTo>
                      <a:pt x="108" y="172"/>
                    </a:lnTo>
                    <a:lnTo>
                      <a:pt x="108" y="171"/>
                    </a:lnTo>
                    <a:lnTo>
                      <a:pt x="108" y="169"/>
                    </a:lnTo>
                    <a:lnTo>
                      <a:pt x="108" y="169"/>
                    </a:lnTo>
                    <a:close/>
                    <a:moveTo>
                      <a:pt x="55" y="163"/>
                    </a:moveTo>
                    <a:lnTo>
                      <a:pt x="53" y="163"/>
                    </a:lnTo>
                    <a:lnTo>
                      <a:pt x="53" y="163"/>
                    </a:lnTo>
                    <a:lnTo>
                      <a:pt x="52" y="161"/>
                    </a:lnTo>
                    <a:lnTo>
                      <a:pt x="52" y="161"/>
                    </a:lnTo>
                    <a:lnTo>
                      <a:pt x="50" y="161"/>
                    </a:lnTo>
                    <a:lnTo>
                      <a:pt x="52" y="164"/>
                    </a:lnTo>
                    <a:lnTo>
                      <a:pt x="52" y="166"/>
                    </a:lnTo>
                    <a:lnTo>
                      <a:pt x="52" y="166"/>
                    </a:lnTo>
                    <a:lnTo>
                      <a:pt x="53" y="167"/>
                    </a:lnTo>
                    <a:lnTo>
                      <a:pt x="53" y="166"/>
                    </a:lnTo>
                    <a:lnTo>
                      <a:pt x="55" y="164"/>
                    </a:lnTo>
                    <a:lnTo>
                      <a:pt x="55" y="164"/>
                    </a:lnTo>
                    <a:lnTo>
                      <a:pt x="55" y="163"/>
                    </a:lnTo>
                    <a:close/>
                    <a:moveTo>
                      <a:pt x="58" y="158"/>
                    </a:moveTo>
                    <a:lnTo>
                      <a:pt x="56" y="156"/>
                    </a:lnTo>
                    <a:lnTo>
                      <a:pt x="56" y="158"/>
                    </a:lnTo>
                    <a:lnTo>
                      <a:pt x="56" y="158"/>
                    </a:lnTo>
                    <a:lnTo>
                      <a:pt x="55" y="158"/>
                    </a:lnTo>
                    <a:lnTo>
                      <a:pt x="55" y="158"/>
                    </a:lnTo>
                    <a:lnTo>
                      <a:pt x="53" y="156"/>
                    </a:lnTo>
                    <a:lnTo>
                      <a:pt x="52" y="155"/>
                    </a:lnTo>
                    <a:lnTo>
                      <a:pt x="52" y="155"/>
                    </a:lnTo>
                    <a:lnTo>
                      <a:pt x="52" y="155"/>
                    </a:lnTo>
                    <a:lnTo>
                      <a:pt x="52" y="156"/>
                    </a:lnTo>
                    <a:lnTo>
                      <a:pt x="52" y="156"/>
                    </a:lnTo>
                    <a:lnTo>
                      <a:pt x="50" y="156"/>
                    </a:lnTo>
                    <a:lnTo>
                      <a:pt x="50" y="158"/>
                    </a:lnTo>
                    <a:lnTo>
                      <a:pt x="52" y="158"/>
                    </a:lnTo>
                    <a:lnTo>
                      <a:pt x="52" y="160"/>
                    </a:lnTo>
                    <a:lnTo>
                      <a:pt x="53" y="161"/>
                    </a:lnTo>
                    <a:lnTo>
                      <a:pt x="55" y="161"/>
                    </a:lnTo>
                    <a:lnTo>
                      <a:pt x="56" y="161"/>
                    </a:lnTo>
                    <a:lnTo>
                      <a:pt x="58" y="161"/>
                    </a:lnTo>
                    <a:lnTo>
                      <a:pt x="58" y="161"/>
                    </a:lnTo>
                    <a:lnTo>
                      <a:pt x="60" y="160"/>
                    </a:lnTo>
                    <a:lnTo>
                      <a:pt x="58" y="158"/>
                    </a:lnTo>
                    <a:close/>
                    <a:moveTo>
                      <a:pt x="100" y="153"/>
                    </a:moveTo>
                    <a:lnTo>
                      <a:pt x="99" y="152"/>
                    </a:lnTo>
                    <a:lnTo>
                      <a:pt x="97" y="152"/>
                    </a:lnTo>
                    <a:lnTo>
                      <a:pt x="95" y="153"/>
                    </a:lnTo>
                    <a:lnTo>
                      <a:pt x="95" y="153"/>
                    </a:lnTo>
                    <a:lnTo>
                      <a:pt x="97" y="153"/>
                    </a:lnTo>
                    <a:lnTo>
                      <a:pt x="99" y="156"/>
                    </a:lnTo>
                    <a:lnTo>
                      <a:pt x="100" y="155"/>
                    </a:lnTo>
                    <a:lnTo>
                      <a:pt x="100" y="155"/>
                    </a:lnTo>
                    <a:lnTo>
                      <a:pt x="100" y="153"/>
                    </a:lnTo>
                    <a:close/>
                    <a:moveTo>
                      <a:pt x="153" y="175"/>
                    </a:moveTo>
                    <a:lnTo>
                      <a:pt x="152" y="175"/>
                    </a:lnTo>
                    <a:lnTo>
                      <a:pt x="150" y="175"/>
                    </a:lnTo>
                    <a:lnTo>
                      <a:pt x="152" y="174"/>
                    </a:lnTo>
                    <a:lnTo>
                      <a:pt x="152" y="174"/>
                    </a:lnTo>
                    <a:lnTo>
                      <a:pt x="152" y="172"/>
                    </a:lnTo>
                    <a:lnTo>
                      <a:pt x="150" y="169"/>
                    </a:lnTo>
                    <a:lnTo>
                      <a:pt x="150" y="167"/>
                    </a:lnTo>
                    <a:lnTo>
                      <a:pt x="150" y="167"/>
                    </a:lnTo>
                    <a:lnTo>
                      <a:pt x="150" y="166"/>
                    </a:lnTo>
                    <a:lnTo>
                      <a:pt x="149" y="164"/>
                    </a:lnTo>
                    <a:lnTo>
                      <a:pt x="149" y="161"/>
                    </a:lnTo>
                    <a:lnTo>
                      <a:pt x="150" y="160"/>
                    </a:lnTo>
                    <a:lnTo>
                      <a:pt x="150" y="158"/>
                    </a:lnTo>
                    <a:lnTo>
                      <a:pt x="150" y="158"/>
                    </a:lnTo>
                    <a:lnTo>
                      <a:pt x="149" y="156"/>
                    </a:lnTo>
                    <a:lnTo>
                      <a:pt x="149" y="156"/>
                    </a:lnTo>
                    <a:lnTo>
                      <a:pt x="147" y="156"/>
                    </a:lnTo>
                    <a:lnTo>
                      <a:pt x="147" y="155"/>
                    </a:lnTo>
                    <a:lnTo>
                      <a:pt x="147" y="153"/>
                    </a:lnTo>
                    <a:lnTo>
                      <a:pt x="147" y="153"/>
                    </a:lnTo>
                    <a:lnTo>
                      <a:pt x="145" y="152"/>
                    </a:lnTo>
                    <a:lnTo>
                      <a:pt x="144" y="150"/>
                    </a:lnTo>
                    <a:lnTo>
                      <a:pt x="138" y="152"/>
                    </a:lnTo>
                    <a:lnTo>
                      <a:pt x="133" y="152"/>
                    </a:lnTo>
                    <a:lnTo>
                      <a:pt x="128" y="150"/>
                    </a:lnTo>
                    <a:lnTo>
                      <a:pt x="128" y="153"/>
                    </a:lnTo>
                    <a:lnTo>
                      <a:pt x="130" y="156"/>
                    </a:lnTo>
                    <a:lnTo>
                      <a:pt x="131" y="158"/>
                    </a:lnTo>
                    <a:lnTo>
                      <a:pt x="133" y="160"/>
                    </a:lnTo>
                    <a:lnTo>
                      <a:pt x="133" y="160"/>
                    </a:lnTo>
                    <a:lnTo>
                      <a:pt x="135" y="161"/>
                    </a:lnTo>
                    <a:lnTo>
                      <a:pt x="136" y="163"/>
                    </a:lnTo>
                    <a:lnTo>
                      <a:pt x="138" y="163"/>
                    </a:lnTo>
                    <a:lnTo>
                      <a:pt x="138" y="164"/>
                    </a:lnTo>
                    <a:lnTo>
                      <a:pt x="139" y="164"/>
                    </a:lnTo>
                    <a:lnTo>
                      <a:pt x="139" y="166"/>
                    </a:lnTo>
                    <a:lnTo>
                      <a:pt x="141" y="166"/>
                    </a:lnTo>
                    <a:lnTo>
                      <a:pt x="141" y="166"/>
                    </a:lnTo>
                    <a:lnTo>
                      <a:pt x="141" y="167"/>
                    </a:lnTo>
                    <a:lnTo>
                      <a:pt x="139" y="169"/>
                    </a:lnTo>
                    <a:lnTo>
                      <a:pt x="139" y="171"/>
                    </a:lnTo>
                    <a:lnTo>
                      <a:pt x="141" y="172"/>
                    </a:lnTo>
                    <a:lnTo>
                      <a:pt x="142" y="174"/>
                    </a:lnTo>
                    <a:lnTo>
                      <a:pt x="144" y="174"/>
                    </a:lnTo>
                    <a:lnTo>
                      <a:pt x="145" y="177"/>
                    </a:lnTo>
                    <a:lnTo>
                      <a:pt x="147" y="177"/>
                    </a:lnTo>
                    <a:lnTo>
                      <a:pt x="149" y="177"/>
                    </a:lnTo>
                    <a:lnTo>
                      <a:pt x="152" y="177"/>
                    </a:lnTo>
                    <a:lnTo>
                      <a:pt x="153" y="177"/>
                    </a:lnTo>
                    <a:lnTo>
                      <a:pt x="153" y="178"/>
                    </a:lnTo>
                    <a:lnTo>
                      <a:pt x="153" y="177"/>
                    </a:lnTo>
                    <a:lnTo>
                      <a:pt x="153" y="175"/>
                    </a:lnTo>
                    <a:close/>
                    <a:moveTo>
                      <a:pt x="124" y="161"/>
                    </a:moveTo>
                    <a:lnTo>
                      <a:pt x="122" y="158"/>
                    </a:lnTo>
                    <a:lnTo>
                      <a:pt x="119" y="156"/>
                    </a:lnTo>
                    <a:lnTo>
                      <a:pt x="116" y="153"/>
                    </a:lnTo>
                    <a:lnTo>
                      <a:pt x="116" y="153"/>
                    </a:lnTo>
                    <a:lnTo>
                      <a:pt x="114" y="152"/>
                    </a:lnTo>
                    <a:lnTo>
                      <a:pt x="111" y="152"/>
                    </a:lnTo>
                    <a:lnTo>
                      <a:pt x="110" y="150"/>
                    </a:lnTo>
                    <a:lnTo>
                      <a:pt x="110" y="152"/>
                    </a:lnTo>
                    <a:lnTo>
                      <a:pt x="111" y="153"/>
                    </a:lnTo>
                    <a:lnTo>
                      <a:pt x="110" y="155"/>
                    </a:lnTo>
                    <a:lnTo>
                      <a:pt x="110" y="160"/>
                    </a:lnTo>
                    <a:lnTo>
                      <a:pt x="108" y="161"/>
                    </a:lnTo>
                    <a:lnTo>
                      <a:pt x="108" y="163"/>
                    </a:lnTo>
                    <a:lnTo>
                      <a:pt x="111" y="160"/>
                    </a:lnTo>
                    <a:lnTo>
                      <a:pt x="113" y="158"/>
                    </a:lnTo>
                    <a:lnTo>
                      <a:pt x="114" y="156"/>
                    </a:lnTo>
                    <a:lnTo>
                      <a:pt x="116" y="158"/>
                    </a:lnTo>
                    <a:lnTo>
                      <a:pt x="116" y="160"/>
                    </a:lnTo>
                    <a:lnTo>
                      <a:pt x="117" y="160"/>
                    </a:lnTo>
                    <a:lnTo>
                      <a:pt x="117" y="160"/>
                    </a:lnTo>
                    <a:lnTo>
                      <a:pt x="119" y="161"/>
                    </a:lnTo>
                    <a:lnTo>
                      <a:pt x="119" y="161"/>
                    </a:lnTo>
                    <a:lnTo>
                      <a:pt x="119" y="163"/>
                    </a:lnTo>
                    <a:lnTo>
                      <a:pt x="120" y="163"/>
                    </a:lnTo>
                    <a:lnTo>
                      <a:pt x="124" y="164"/>
                    </a:lnTo>
                    <a:lnTo>
                      <a:pt x="124" y="166"/>
                    </a:lnTo>
                    <a:lnTo>
                      <a:pt x="124" y="164"/>
                    </a:lnTo>
                    <a:lnTo>
                      <a:pt x="124" y="161"/>
                    </a:lnTo>
                    <a:close/>
                    <a:moveTo>
                      <a:pt x="94" y="150"/>
                    </a:moveTo>
                    <a:lnTo>
                      <a:pt x="92" y="150"/>
                    </a:lnTo>
                    <a:lnTo>
                      <a:pt x="92" y="152"/>
                    </a:lnTo>
                    <a:lnTo>
                      <a:pt x="92" y="152"/>
                    </a:lnTo>
                    <a:lnTo>
                      <a:pt x="94" y="152"/>
                    </a:lnTo>
                    <a:lnTo>
                      <a:pt x="94" y="152"/>
                    </a:lnTo>
                    <a:lnTo>
                      <a:pt x="94" y="150"/>
                    </a:lnTo>
                    <a:close/>
                    <a:moveTo>
                      <a:pt x="91" y="149"/>
                    </a:moveTo>
                    <a:lnTo>
                      <a:pt x="88" y="150"/>
                    </a:lnTo>
                    <a:lnTo>
                      <a:pt x="88" y="153"/>
                    </a:lnTo>
                    <a:lnTo>
                      <a:pt x="88" y="153"/>
                    </a:lnTo>
                    <a:lnTo>
                      <a:pt x="88" y="155"/>
                    </a:lnTo>
                    <a:lnTo>
                      <a:pt x="88" y="156"/>
                    </a:lnTo>
                    <a:lnTo>
                      <a:pt x="88" y="156"/>
                    </a:lnTo>
                    <a:lnTo>
                      <a:pt x="88" y="158"/>
                    </a:lnTo>
                    <a:lnTo>
                      <a:pt x="89" y="160"/>
                    </a:lnTo>
                    <a:lnTo>
                      <a:pt x="89" y="155"/>
                    </a:lnTo>
                    <a:lnTo>
                      <a:pt x="91" y="152"/>
                    </a:lnTo>
                    <a:lnTo>
                      <a:pt x="91" y="150"/>
                    </a:lnTo>
                    <a:lnTo>
                      <a:pt x="91" y="149"/>
                    </a:lnTo>
                    <a:lnTo>
                      <a:pt x="91" y="149"/>
                    </a:lnTo>
                    <a:close/>
                    <a:moveTo>
                      <a:pt x="119" y="153"/>
                    </a:moveTo>
                    <a:lnTo>
                      <a:pt x="119" y="150"/>
                    </a:lnTo>
                    <a:lnTo>
                      <a:pt x="117" y="149"/>
                    </a:lnTo>
                    <a:lnTo>
                      <a:pt x="116" y="150"/>
                    </a:lnTo>
                    <a:lnTo>
                      <a:pt x="117" y="150"/>
                    </a:lnTo>
                    <a:lnTo>
                      <a:pt x="119" y="153"/>
                    </a:lnTo>
                    <a:lnTo>
                      <a:pt x="119" y="155"/>
                    </a:lnTo>
                    <a:lnTo>
                      <a:pt x="119" y="153"/>
                    </a:lnTo>
                    <a:close/>
                    <a:moveTo>
                      <a:pt x="111" y="146"/>
                    </a:moveTo>
                    <a:lnTo>
                      <a:pt x="110" y="146"/>
                    </a:lnTo>
                    <a:lnTo>
                      <a:pt x="106" y="141"/>
                    </a:lnTo>
                    <a:lnTo>
                      <a:pt x="106" y="141"/>
                    </a:lnTo>
                    <a:lnTo>
                      <a:pt x="105" y="141"/>
                    </a:lnTo>
                    <a:lnTo>
                      <a:pt x="105" y="142"/>
                    </a:lnTo>
                    <a:lnTo>
                      <a:pt x="105" y="142"/>
                    </a:lnTo>
                    <a:lnTo>
                      <a:pt x="106" y="144"/>
                    </a:lnTo>
                    <a:lnTo>
                      <a:pt x="108" y="146"/>
                    </a:lnTo>
                    <a:lnTo>
                      <a:pt x="111" y="147"/>
                    </a:lnTo>
                    <a:lnTo>
                      <a:pt x="113" y="149"/>
                    </a:lnTo>
                    <a:lnTo>
                      <a:pt x="111" y="146"/>
                    </a:lnTo>
                    <a:close/>
                    <a:moveTo>
                      <a:pt x="78" y="144"/>
                    </a:moveTo>
                    <a:lnTo>
                      <a:pt x="80" y="142"/>
                    </a:lnTo>
                    <a:lnTo>
                      <a:pt x="80" y="141"/>
                    </a:lnTo>
                    <a:lnTo>
                      <a:pt x="80" y="141"/>
                    </a:lnTo>
                    <a:lnTo>
                      <a:pt x="78" y="139"/>
                    </a:lnTo>
                    <a:lnTo>
                      <a:pt x="77" y="138"/>
                    </a:lnTo>
                    <a:lnTo>
                      <a:pt x="75" y="136"/>
                    </a:lnTo>
                    <a:lnTo>
                      <a:pt x="74" y="135"/>
                    </a:lnTo>
                    <a:lnTo>
                      <a:pt x="74" y="136"/>
                    </a:lnTo>
                    <a:lnTo>
                      <a:pt x="72" y="136"/>
                    </a:lnTo>
                    <a:lnTo>
                      <a:pt x="70" y="136"/>
                    </a:lnTo>
                    <a:lnTo>
                      <a:pt x="70" y="135"/>
                    </a:lnTo>
                    <a:lnTo>
                      <a:pt x="69" y="135"/>
                    </a:lnTo>
                    <a:lnTo>
                      <a:pt x="66" y="135"/>
                    </a:lnTo>
                    <a:lnTo>
                      <a:pt x="66" y="135"/>
                    </a:lnTo>
                    <a:lnTo>
                      <a:pt x="64" y="135"/>
                    </a:lnTo>
                    <a:lnTo>
                      <a:pt x="61" y="133"/>
                    </a:lnTo>
                    <a:lnTo>
                      <a:pt x="60" y="135"/>
                    </a:lnTo>
                    <a:lnTo>
                      <a:pt x="60" y="135"/>
                    </a:lnTo>
                    <a:lnTo>
                      <a:pt x="60" y="136"/>
                    </a:lnTo>
                    <a:lnTo>
                      <a:pt x="60" y="136"/>
                    </a:lnTo>
                    <a:lnTo>
                      <a:pt x="61" y="136"/>
                    </a:lnTo>
                    <a:lnTo>
                      <a:pt x="61" y="136"/>
                    </a:lnTo>
                    <a:lnTo>
                      <a:pt x="61" y="138"/>
                    </a:lnTo>
                    <a:lnTo>
                      <a:pt x="63" y="138"/>
                    </a:lnTo>
                    <a:lnTo>
                      <a:pt x="63" y="139"/>
                    </a:lnTo>
                    <a:lnTo>
                      <a:pt x="64" y="141"/>
                    </a:lnTo>
                    <a:lnTo>
                      <a:pt x="66" y="141"/>
                    </a:lnTo>
                    <a:lnTo>
                      <a:pt x="66" y="144"/>
                    </a:lnTo>
                    <a:lnTo>
                      <a:pt x="67" y="146"/>
                    </a:lnTo>
                    <a:lnTo>
                      <a:pt x="67" y="147"/>
                    </a:lnTo>
                    <a:lnTo>
                      <a:pt x="67" y="147"/>
                    </a:lnTo>
                    <a:lnTo>
                      <a:pt x="69" y="149"/>
                    </a:lnTo>
                    <a:lnTo>
                      <a:pt x="69" y="149"/>
                    </a:lnTo>
                    <a:lnTo>
                      <a:pt x="69" y="150"/>
                    </a:lnTo>
                    <a:lnTo>
                      <a:pt x="69" y="152"/>
                    </a:lnTo>
                    <a:lnTo>
                      <a:pt x="70" y="153"/>
                    </a:lnTo>
                    <a:lnTo>
                      <a:pt x="72" y="155"/>
                    </a:lnTo>
                    <a:lnTo>
                      <a:pt x="72" y="155"/>
                    </a:lnTo>
                    <a:lnTo>
                      <a:pt x="72" y="155"/>
                    </a:lnTo>
                    <a:lnTo>
                      <a:pt x="72" y="156"/>
                    </a:lnTo>
                    <a:lnTo>
                      <a:pt x="74" y="156"/>
                    </a:lnTo>
                    <a:lnTo>
                      <a:pt x="75" y="156"/>
                    </a:lnTo>
                    <a:lnTo>
                      <a:pt x="75" y="156"/>
                    </a:lnTo>
                    <a:lnTo>
                      <a:pt x="77" y="155"/>
                    </a:lnTo>
                    <a:lnTo>
                      <a:pt x="77" y="155"/>
                    </a:lnTo>
                    <a:lnTo>
                      <a:pt x="78" y="155"/>
                    </a:lnTo>
                    <a:lnTo>
                      <a:pt x="78" y="155"/>
                    </a:lnTo>
                    <a:lnTo>
                      <a:pt x="78" y="153"/>
                    </a:lnTo>
                    <a:lnTo>
                      <a:pt x="78" y="153"/>
                    </a:lnTo>
                    <a:lnTo>
                      <a:pt x="78" y="152"/>
                    </a:lnTo>
                    <a:lnTo>
                      <a:pt x="80" y="150"/>
                    </a:lnTo>
                    <a:lnTo>
                      <a:pt x="80" y="150"/>
                    </a:lnTo>
                    <a:lnTo>
                      <a:pt x="80" y="146"/>
                    </a:lnTo>
                    <a:lnTo>
                      <a:pt x="78" y="144"/>
                    </a:lnTo>
                    <a:close/>
                    <a:moveTo>
                      <a:pt x="91" y="136"/>
                    </a:moveTo>
                    <a:lnTo>
                      <a:pt x="91" y="135"/>
                    </a:lnTo>
                    <a:lnTo>
                      <a:pt x="88" y="133"/>
                    </a:lnTo>
                    <a:lnTo>
                      <a:pt x="88" y="133"/>
                    </a:lnTo>
                    <a:lnTo>
                      <a:pt x="86" y="133"/>
                    </a:lnTo>
                    <a:lnTo>
                      <a:pt x="86" y="133"/>
                    </a:lnTo>
                    <a:lnTo>
                      <a:pt x="85" y="136"/>
                    </a:lnTo>
                    <a:lnTo>
                      <a:pt x="85" y="138"/>
                    </a:lnTo>
                    <a:lnTo>
                      <a:pt x="86" y="138"/>
                    </a:lnTo>
                    <a:lnTo>
                      <a:pt x="88" y="139"/>
                    </a:lnTo>
                    <a:lnTo>
                      <a:pt x="89" y="139"/>
                    </a:lnTo>
                    <a:lnTo>
                      <a:pt x="89" y="138"/>
                    </a:lnTo>
                    <a:lnTo>
                      <a:pt x="91" y="136"/>
                    </a:lnTo>
                    <a:lnTo>
                      <a:pt x="91" y="136"/>
                    </a:lnTo>
                    <a:close/>
                    <a:moveTo>
                      <a:pt x="56" y="128"/>
                    </a:moveTo>
                    <a:lnTo>
                      <a:pt x="55" y="128"/>
                    </a:lnTo>
                    <a:lnTo>
                      <a:pt x="55" y="128"/>
                    </a:lnTo>
                    <a:lnTo>
                      <a:pt x="55" y="128"/>
                    </a:lnTo>
                    <a:lnTo>
                      <a:pt x="55" y="128"/>
                    </a:lnTo>
                    <a:lnTo>
                      <a:pt x="58" y="131"/>
                    </a:lnTo>
                    <a:lnTo>
                      <a:pt x="58" y="130"/>
                    </a:lnTo>
                    <a:lnTo>
                      <a:pt x="56" y="128"/>
                    </a:lnTo>
                    <a:close/>
                    <a:moveTo>
                      <a:pt x="130" y="127"/>
                    </a:moveTo>
                    <a:lnTo>
                      <a:pt x="130" y="127"/>
                    </a:lnTo>
                    <a:lnTo>
                      <a:pt x="128" y="127"/>
                    </a:lnTo>
                    <a:lnTo>
                      <a:pt x="127" y="124"/>
                    </a:lnTo>
                    <a:lnTo>
                      <a:pt x="127" y="124"/>
                    </a:lnTo>
                    <a:lnTo>
                      <a:pt x="127" y="125"/>
                    </a:lnTo>
                    <a:lnTo>
                      <a:pt x="125" y="125"/>
                    </a:lnTo>
                    <a:lnTo>
                      <a:pt x="125" y="128"/>
                    </a:lnTo>
                    <a:lnTo>
                      <a:pt x="124" y="131"/>
                    </a:lnTo>
                    <a:lnTo>
                      <a:pt x="124" y="133"/>
                    </a:lnTo>
                    <a:lnTo>
                      <a:pt x="127" y="133"/>
                    </a:lnTo>
                    <a:lnTo>
                      <a:pt x="128" y="133"/>
                    </a:lnTo>
                    <a:lnTo>
                      <a:pt x="128" y="133"/>
                    </a:lnTo>
                    <a:lnTo>
                      <a:pt x="128" y="133"/>
                    </a:lnTo>
                    <a:lnTo>
                      <a:pt x="130" y="131"/>
                    </a:lnTo>
                    <a:lnTo>
                      <a:pt x="130" y="131"/>
                    </a:lnTo>
                    <a:lnTo>
                      <a:pt x="130" y="130"/>
                    </a:lnTo>
                    <a:lnTo>
                      <a:pt x="130" y="127"/>
                    </a:lnTo>
                    <a:close/>
                    <a:moveTo>
                      <a:pt x="88" y="121"/>
                    </a:moveTo>
                    <a:lnTo>
                      <a:pt x="88" y="122"/>
                    </a:lnTo>
                    <a:lnTo>
                      <a:pt x="88" y="122"/>
                    </a:lnTo>
                    <a:lnTo>
                      <a:pt x="88" y="122"/>
                    </a:lnTo>
                    <a:lnTo>
                      <a:pt x="91" y="125"/>
                    </a:lnTo>
                    <a:lnTo>
                      <a:pt x="91" y="124"/>
                    </a:lnTo>
                    <a:lnTo>
                      <a:pt x="88" y="121"/>
                    </a:lnTo>
                    <a:close/>
                    <a:moveTo>
                      <a:pt x="89" y="108"/>
                    </a:moveTo>
                    <a:lnTo>
                      <a:pt x="89" y="108"/>
                    </a:lnTo>
                    <a:lnTo>
                      <a:pt x="89" y="106"/>
                    </a:lnTo>
                    <a:lnTo>
                      <a:pt x="88" y="106"/>
                    </a:lnTo>
                    <a:lnTo>
                      <a:pt x="86" y="106"/>
                    </a:lnTo>
                    <a:lnTo>
                      <a:pt x="85" y="108"/>
                    </a:lnTo>
                    <a:lnTo>
                      <a:pt x="86" y="108"/>
                    </a:lnTo>
                    <a:lnTo>
                      <a:pt x="86" y="110"/>
                    </a:lnTo>
                    <a:lnTo>
                      <a:pt x="88" y="111"/>
                    </a:lnTo>
                    <a:lnTo>
                      <a:pt x="88" y="111"/>
                    </a:lnTo>
                    <a:lnTo>
                      <a:pt x="86" y="113"/>
                    </a:lnTo>
                    <a:lnTo>
                      <a:pt x="86" y="113"/>
                    </a:lnTo>
                    <a:lnTo>
                      <a:pt x="88" y="113"/>
                    </a:lnTo>
                    <a:lnTo>
                      <a:pt x="88" y="113"/>
                    </a:lnTo>
                    <a:lnTo>
                      <a:pt x="89" y="111"/>
                    </a:lnTo>
                    <a:lnTo>
                      <a:pt x="88" y="110"/>
                    </a:lnTo>
                    <a:lnTo>
                      <a:pt x="89" y="108"/>
                    </a:lnTo>
                    <a:lnTo>
                      <a:pt x="89" y="108"/>
                    </a:lnTo>
                    <a:close/>
                    <a:moveTo>
                      <a:pt x="125" y="142"/>
                    </a:moveTo>
                    <a:lnTo>
                      <a:pt x="125" y="142"/>
                    </a:lnTo>
                    <a:lnTo>
                      <a:pt x="122" y="141"/>
                    </a:lnTo>
                    <a:lnTo>
                      <a:pt x="120" y="141"/>
                    </a:lnTo>
                    <a:lnTo>
                      <a:pt x="119" y="141"/>
                    </a:lnTo>
                    <a:lnTo>
                      <a:pt x="120" y="139"/>
                    </a:lnTo>
                    <a:lnTo>
                      <a:pt x="120" y="138"/>
                    </a:lnTo>
                    <a:lnTo>
                      <a:pt x="119" y="136"/>
                    </a:lnTo>
                    <a:lnTo>
                      <a:pt x="117" y="136"/>
                    </a:lnTo>
                    <a:lnTo>
                      <a:pt x="116" y="133"/>
                    </a:lnTo>
                    <a:lnTo>
                      <a:pt x="116" y="131"/>
                    </a:lnTo>
                    <a:lnTo>
                      <a:pt x="116" y="130"/>
                    </a:lnTo>
                    <a:lnTo>
                      <a:pt x="120" y="130"/>
                    </a:lnTo>
                    <a:lnTo>
                      <a:pt x="120" y="128"/>
                    </a:lnTo>
                    <a:lnTo>
                      <a:pt x="120" y="128"/>
                    </a:lnTo>
                    <a:lnTo>
                      <a:pt x="119" y="127"/>
                    </a:lnTo>
                    <a:lnTo>
                      <a:pt x="117" y="127"/>
                    </a:lnTo>
                    <a:lnTo>
                      <a:pt x="117" y="127"/>
                    </a:lnTo>
                    <a:lnTo>
                      <a:pt x="113" y="125"/>
                    </a:lnTo>
                    <a:lnTo>
                      <a:pt x="113" y="125"/>
                    </a:lnTo>
                    <a:lnTo>
                      <a:pt x="111" y="124"/>
                    </a:lnTo>
                    <a:lnTo>
                      <a:pt x="111" y="125"/>
                    </a:lnTo>
                    <a:lnTo>
                      <a:pt x="111" y="125"/>
                    </a:lnTo>
                    <a:lnTo>
                      <a:pt x="111" y="127"/>
                    </a:lnTo>
                    <a:lnTo>
                      <a:pt x="111" y="128"/>
                    </a:lnTo>
                    <a:lnTo>
                      <a:pt x="110" y="130"/>
                    </a:lnTo>
                    <a:lnTo>
                      <a:pt x="108" y="130"/>
                    </a:lnTo>
                    <a:lnTo>
                      <a:pt x="106" y="128"/>
                    </a:lnTo>
                    <a:lnTo>
                      <a:pt x="106" y="128"/>
                    </a:lnTo>
                    <a:lnTo>
                      <a:pt x="106" y="127"/>
                    </a:lnTo>
                    <a:lnTo>
                      <a:pt x="106" y="125"/>
                    </a:lnTo>
                    <a:lnTo>
                      <a:pt x="106" y="124"/>
                    </a:lnTo>
                    <a:lnTo>
                      <a:pt x="105" y="122"/>
                    </a:lnTo>
                    <a:lnTo>
                      <a:pt x="103" y="121"/>
                    </a:lnTo>
                    <a:lnTo>
                      <a:pt x="102" y="121"/>
                    </a:lnTo>
                    <a:lnTo>
                      <a:pt x="99" y="119"/>
                    </a:lnTo>
                    <a:lnTo>
                      <a:pt x="97" y="119"/>
                    </a:lnTo>
                    <a:lnTo>
                      <a:pt x="95" y="121"/>
                    </a:lnTo>
                    <a:lnTo>
                      <a:pt x="94" y="122"/>
                    </a:lnTo>
                    <a:lnTo>
                      <a:pt x="92" y="122"/>
                    </a:lnTo>
                    <a:lnTo>
                      <a:pt x="92" y="122"/>
                    </a:lnTo>
                    <a:lnTo>
                      <a:pt x="92" y="124"/>
                    </a:lnTo>
                    <a:lnTo>
                      <a:pt x="92" y="124"/>
                    </a:lnTo>
                    <a:lnTo>
                      <a:pt x="94" y="125"/>
                    </a:lnTo>
                    <a:lnTo>
                      <a:pt x="92" y="125"/>
                    </a:lnTo>
                    <a:lnTo>
                      <a:pt x="92" y="127"/>
                    </a:lnTo>
                    <a:lnTo>
                      <a:pt x="91" y="127"/>
                    </a:lnTo>
                    <a:lnTo>
                      <a:pt x="89" y="127"/>
                    </a:lnTo>
                    <a:lnTo>
                      <a:pt x="86" y="125"/>
                    </a:lnTo>
                    <a:lnTo>
                      <a:pt x="86" y="124"/>
                    </a:lnTo>
                    <a:lnTo>
                      <a:pt x="85" y="124"/>
                    </a:lnTo>
                    <a:lnTo>
                      <a:pt x="85" y="122"/>
                    </a:lnTo>
                    <a:lnTo>
                      <a:pt x="85" y="121"/>
                    </a:lnTo>
                    <a:lnTo>
                      <a:pt x="81" y="116"/>
                    </a:lnTo>
                    <a:lnTo>
                      <a:pt x="81" y="114"/>
                    </a:lnTo>
                    <a:lnTo>
                      <a:pt x="81" y="113"/>
                    </a:lnTo>
                    <a:lnTo>
                      <a:pt x="83" y="111"/>
                    </a:lnTo>
                    <a:lnTo>
                      <a:pt x="83" y="111"/>
                    </a:lnTo>
                    <a:lnTo>
                      <a:pt x="83" y="111"/>
                    </a:lnTo>
                    <a:lnTo>
                      <a:pt x="80" y="106"/>
                    </a:lnTo>
                    <a:lnTo>
                      <a:pt x="78" y="103"/>
                    </a:lnTo>
                    <a:lnTo>
                      <a:pt x="78" y="102"/>
                    </a:lnTo>
                    <a:lnTo>
                      <a:pt x="78" y="102"/>
                    </a:lnTo>
                    <a:lnTo>
                      <a:pt x="78" y="100"/>
                    </a:lnTo>
                    <a:lnTo>
                      <a:pt x="78" y="100"/>
                    </a:lnTo>
                    <a:lnTo>
                      <a:pt x="80" y="99"/>
                    </a:lnTo>
                    <a:lnTo>
                      <a:pt x="81" y="95"/>
                    </a:lnTo>
                    <a:lnTo>
                      <a:pt x="81" y="95"/>
                    </a:lnTo>
                    <a:lnTo>
                      <a:pt x="81" y="94"/>
                    </a:lnTo>
                    <a:lnTo>
                      <a:pt x="81" y="92"/>
                    </a:lnTo>
                    <a:lnTo>
                      <a:pt x="80" y="92"/>
                    </a:lnTo>
                    <a:lnTo>
                      <a:pt x="81" y="91"/>
                    </a:lnTo>
                    <a:lnTo>
                      <a:pt x="83" y="89"/>
                    </a:lnTo>
                    <a:lnTo>
                      <a:pt x="85" y="88"/>
                    </a:lnTo>
                    <a:lnTo>
                      <a:pt x="88" y="86"/>
                    </a:lnTo>
                    <a:lnTo>
                      <a:pt x="91" y="86"/>
                    </a:lnTo>
                    <a:lnTo>
                      <a:pt x="92" y="83"/>
                    </a:lnTo>
                    <a:lnTo>
                      <a:pt x="92" y="81"/>
                    </a:lnTo>
                    <a:lnTo>
                      <a:pt x="95" y="74"/>
                    </a:lnTo>
                    <a:lnTo>
                      <a:pt x="97" y="70"/>
                    </a:lnTo>
                    <a:lnTo>
                      <a:pt x="97" y="70"/>
                    </a:lnTo>
                    <a:lnTo>
                      <a:pt x="97" y="69"/>
                    </a:lnTo>
                    <a:lnTo>
                      <a:pt x="97" y="67"/>
                    </a:lnTo>
                    <a:lnTo>
                      <a:pt x="95" y="67"/>
                    </a:lnTo>
                    <a:lnTo>
                      <a:pt x="95" y="66"/>
                    </a:lnTo>
                    <a:lnTo>
                      <a:pt x="95" y="66"/>
                    </a:lnTo>
                    <a:lnTo>
                      <a:pt x="94" y="64"/>
                    </a:lnTo>
                    <a:lnTo>
                      <a:pt x="92" y="64"/>
                    </a:lnTo>
                    <a:lnTo>
                      <a:pt x="92" y="63"/>
                    </a:lnTo>
                    <a:lnTo>
                      <a:pt x="91" y="61"/>
                    </a:lnTo>
                    <a:lnTo>
                      <a:pt x="91" y="58"/>
                    </a:lnTo>
                    <a:lnTo>
                      <a:pt x="91" y="56"/>
                    </a:lnTo>
                    <a:lnTo>
                      <a:pt x="91" y="52"/>
                    </a:lnTo>
                    <a:lnTo>
                      <a:pt x="92" y="50"/>
                    </a:lnTo>
                    <a:lnTo>
                      <a:pt x="94" y="49"/>
                    </a:lnTo>
                    <a:lnTo>
                      <a:pt x="94" y="47"/>
                    </a:lnTo>
                    <a:lnTo>
                      <a:pt x="94" y="45"/>
                    </a:lnTo>
                    <a:lnTo>
                      <a:pt x="92" y="44"/>
                    </a:lnTo>
                    <a:lnTo>
                      <a:pt x="92" y="44"/>
                    </a:lnTo>
                    <a:lnTo>
                      <a:pt x="91" y="44"/>
                    </a:lnTo>
                    <a:lnTo>
                      <a:pt x="89" y="45"/>
                    </a:lnTo>
                    <a:lnTo>
                      <a:pt x="89" y="47"/>
                    </a:lnTo>
                    <a:lnTo>
                      <a:pt x="88" y="47"/>
                    </a:lnTo>
                    <a:lnTo>
                      <a:pt x="86" y="47"/>
                    </a:lnTo>
                    <a:lnTo>
                      <a:pt x="83" y="47"/>
                    </a:lnTo>
                    <a:lnTo>
                      <a:pt x="81" y="45"/>
                    </a:lnTo>
                    <a:lnTo>
                      <a:pt x="75" y="42"/>
                    </a:lnTo>
                    <a:lnTo>
                      <a:pt x="72" y="41"/>
                    </a:lnTo>
                    <a:lnTo>
                      <a:pt x="72" y="41"/>
                    </a:lnTo>
                    <a:lnTo>
                      <a:pt x="69" y="42"/>
                    </a:lnTo>
                    <a:lnTo>
                      <a:pt x="69" y="41"/>
                    </a:lnTo>
                    <a:lnTo>
                      <a:pt x="67" y="41"/>
                    </a:lnTo>
                    <a:lnTo>
                      <a:pt x="66" y="42"/>
                    </a:lnTo>
                    <a:lnTo>
                      <a:pt x="64" y="44"/>
                    </a:lnTo>
                    <a:lnTo>
                      <a:pt x="63" y="45"/>
                    </a:lnTo>
                    <a:lnTo>
                      <a:pt x="63" y="47"/>
                    </a:lnTo>
                    <a:lnTo>
                      <a:pt x="63" y="50"/>
                    </a:lnTo>
                    <a:lnTo>
                      <a:pt x="60" y="59"/>
                    </a:lnTo>
                    <a:lnTo>
                      <a:pt x="60" y="61"/>
                    </a:lnTo>
                    <a:lnTo>
                      <a:pt x="61" y="63"/>
                    </a:lnTo>
                    <a:lnTo>
                      <a:pt x="61" y="64"/>
                    </a:lnTo>
                    <a:lnTo>
                      <a:pt x="61" y="66"/>
                    </a:lnTo>
                    <a:lnTo>
                      <a:pt x="61" y="69"/>
                    </a:lnTo>
                    <a:lnTo>
                      <a:pt x="60" y="72"/>
                    </a:lnTo>
                    <a:lnTo>
                      <a:pt x="60" y="75"/>
                    </a:lnTo>
                    <a:lnTo>
                      <a:pt x="58" y="77"/>
                    </a:lnTo>
                    <a:lnTo>
                      <a:pt x="58" y="80"/>
                    </a:lnTo>
                    <a:lnTo>
                      <a:pt x="60" y="81"/>
                    </a:lnTo>
                    <a:lnTo>
                      <a:pt x="60" y="85"/>
                    </a:lnTo>
                    <a:lnTo>
                      <a:pt x="60" y="86"/>
                    </a:lnTo>
                    <a:lnTo>
                      <a:pt x="60" y="88"/>
                    </a:lnTo>
                    <a:lnTo>
                      <a:pt x="60" y="88"/>
                    </a:lnTo>
                    <a:lnTo>
                      <a:pt x="58" y="88"/>
                    </a:lnTo>
                    <a:lnTo>
                      <a:pt x="56" y="88"/>
                    </a:lnTo>
                    <a:lnTo>
                      <a:pt x="55" y="88"/>
                    </a:lnTo>
                    <a:lnTo>
                      <a:pt x="53" y="86"/>
                    </a:lnTo>
                    <a:lnTo>
                      <a:pt x="53" y="85"/>
                    </a:lnTo>
                    <a:lnTo>
                      <a:pt x="52" y="85"/>
                    </a:lnTo>
                    <a:lnTo>
                      <a:pt x="52" y="85"/>
                    </a:lnTo>
                    <a:lnTo>
                      <a:pt x="50" y="83"/>
                    </a:lnTo>
                    <a:lnTo>
                      <a:pt x="50" y="83"/>
                    </a:lnTo>
                    <a:lnTo>
                      <a:pt x="49" y="85"/>
                    </a:lnTo>
                    <a:lnTo>
                      <a:pt x="49" y="88"/>
                    </a:lnTo>
                    <a:lnTo>
                      <a:pt x="49" y="89"/>
                    </a:lnTo>
                    <a:lnTo>
                      <a:pt x="50" y="89"/>
                    </a:lnTo>
                    <a:lnTo>
                      <a:pt x="50" y="91"/>
                    </a:lnTo>
                    <a:lnTo>
                      <a:pt x="52" y="91"/>
                    </a:lnTo>
                    <a:lnTo>
                      <a:pt x="52" y="92"/>
                    </a:lnTo>
                    <a:lnTo>
                      <a:pt x="52" y="99"/>
                    </a:lnTo>
                    <a:lnTo>
                      <a:pt x="52" y="102"/>
                    </a:lnTo>
                    <a:lnTo>
                      <a:pt x="53" y="103"/>
                    </a:lnTo>
                    <a:lnTo>
                      <a:pt x="53" y="105"/>
                    </a:lnTo>
                    <a:lnTo>
                      <a:pt x="53" y="108"/>
                    </a:lnTo>
                    <a:lnTo>
                      <a:pt x="55" y="110"/>
                    </a:lnTo>
                    <a:lnTo>
                      <a:pt x="55" y="111"/>
                    </a:lnTo>
                    <a:lnTo>
                      <a:pt x="56" y="111"/>
                    </a:lnTo>
                    <a:lnTo>
                      <a:pt x="58" y="111"/>
                    </a:lnTo>
                    <a:lnTo>
                      <a:pt x="58" y="113"/>
                    </a:lnTo>
                    <a:lnTo>
                      <a:pt x="60" y="114"/>
                    </a:lnTo>
                    <a:lnTo>
                      <a:pt x="60" y="116"/>
                    </a:lnTo>
                    <a:lnTo>
                      <a:pt x="61" y="117"/>
                    </a:lnTo>
                    <a:lnTo>
                      <a:pt x="61" y="117"/>
                    </a:lnTo>
                    <a:lnTo>
                      <a:pt x="63" y="117"/>
                    </a:lnTo>
                    <a:lnTo>
                      <a:pt x="64" y="116"/>
                    </a:lnTo>
                    <a:lnTo>
                      <a:pt x="63" y="114"/>
                    </a:lnTo>
                    <a:lnTo>
                      <a:pt x="63" y="111"/>
                    </a:lnTo>
                    <a:lnTo>
                      <a:pt x="63" y="110"/>
                    </a:lnTo>
                    <a:lnTo>
                      <a:pt x="64" y="111"/>
                    </a:lnTo>
                    <a:lnTo>
                      <a:pt x="66" y="111"/>
                    </a:lnTo>
                    <a:lnTo>
                      <a:pt x="67" y="111"/>
                    </a:lnTo>
                    <a:lnTo>
                      <a:pt x="69" y="113"/>
                    </a:lnTo>
                    <a:lnTo>
                      <a:pt x="69" y="114"/>
                    </a:lnTo>
                    <a:lnTo>
                      <a:pt x="70" y="116"/>
                    </a:lnTo>
                    <a:lnTo>
                      <a:pt x="69" y="116"/>
                    </a:lnTo>
                    <a:lnTo>
                      <a:pt x="66" y="121"/>
                    </a:lnTo>
                    <a:lnTo>
                      <a:pt x="64" y="121"/>
                    </a:lnTo>
                    <a:lnTo>
                      <a:pt x="64" y="122"/>
                    </a:lnTo>
                    <a:lnTo>
                      <a:pt x="64" y="125"/>
                    </a:lnTo>
                    <a:lnTo>
                      <a:pt x="64" y="128"/>
                    </a:lnTo>
                    <a:lnTo>
                      <a:pt x="66" y="127"/>
                    </a:lnTo>
                    <a:lnTo>
                      <a:pt x="67" y="127"/>
                    </a:lnTo>
                    <a:lnTo>
                      <a:pt x="69" y="130"/>
                    </a:lnTo>
                    <a:lnTo>
                      <a:pt x="70" y="130"/>
                    </a:lnTo>
                    <a:lnTo>
                      <a:pt x="72" y="131"/>
                    </a:lnTo>
                    <a:lnTo>
                      <a:pt x="74" y="131"/>
                    </a:lnTo>
                    <a:lnTo>
                      <a:pt x="77" y="131"/>
                    </a:lnTo>
                    <a:lnTo>
                      <a:pt x="78" y="130"/>
                    </a:lnTo>
                    <a:lnTo>
                      <a:pt x="78" y="128"/>
                    </a:lnTo>
                    <a:lnTo>
                      <a:pt x="80" y="128"/>
                    </a:lnTo>
                    <a:lnTo>
                      <a:pt x="81" y="127"/>
                    </a:lnTo>
                    <a:lnTo>
                      <a:pt x="83" y="127"/>
                    </a:lnTo>
                    <a:lnTo>
                      <a:pt x="83" y="127"/>
                    </a:lnTo>
                    <a:lnTo>
                      <a:pt x="85" y="127"/>
                    </a:lnTo>
                    <a:lnTo>
                      <a:pt x="89" y="128"/>
                    </a:lnTo>
                    <a:lnTo>
                      <a:pt x="92" y="131"/>
                    </a:lnTo>
                    <a:lnTo>
                      <a:pt x="95" y="133"/>
                    </a:lnTo>
                    <a:lnTo>
                      <a:pt x="95" y="135"/>
                    </a:lnTo>
                    <a:lnTo>
                      <a:pt x="97" y="136"/>
                    </a:lnTo>
                    <a:lnTo>
                      <a:pt x="97" y="138"/>
                    </a:lnTo>
                    <a:lnTo>
                      <a:pt x="97" y="138"/>
                    </a:lnTo>
                    <a:lnTo>
                      <a:pt x="99" y="139"/>
                    </a:lnTo>
                    <a:lnTo>
                      <a:pt x="100" y="139"/>
                    </a:lnTo>
                    <a:lnTo>
                      <a:pt x="100" y="136"/>
                    </a:lnTo>
                    <a:lnTo>
                      <a:pt x="99" y="135"/>
                    </a:lnTo>
                    <a:lnTo>
                      <a:pt x="99" y="133"/>
                    </a:lnTo>
                    <a:lnTo>
                      <a:pt x="97" y="131"/>
                    </a:lnTo>
                    <a:lnTo>
                      <a:pt x="97" y="130"/>
                    </a:lnTo>
                    <a:lnTo>
                      <a:pt x="97" y="130"/>
                    </a:lnTo>
                    <a:lnTo>
                      <a:pt x="97" y="128"/>
                    </a:lnTo>
                    <a:lnTo>
                      <a:pt x="97" y="127"/>
                    </a:lnTo>
                    <a:lnTo>
                      <a:pt x="97" y="127"/>
                    </a:lnTo>
                    <a:lnTo>
                      <a:pt x="97" y="127"/>
                    </a:lnTo>
                    <a:lnTo>
                      <a:pt x="99" y="127"/>
                    </a:lnTo>
                    <a:lnTo>
                      <a:pt x="102" y="130"/>
                    </a:lnTo>
                    <a:lnTo>
                      <a:pt x="103" y="131"/>
                    </a:lnTo>
                    <a:lnTo>
                      <a:pt x="103" y="133"/>
                    </a:lnTo>
                    <a:lnTo>
                      <a:pt x="108" y="135"/>
                    </a:lnTo>
                    <a:lnTo>
                      <a:pt x="110" y="136"/>
                    </a:lnTo>
                    <a:lnTo>
                      <a:pt x="110" y="136"/>
                    </a:lnTo>
                    <a:lnTo>
                      <a:pt x="111" y="139"/>
                    </a:lnTo>
                    <a:lnTo>
                      <a:pt x="111" y="141"/>
                    </a:lnTo>
                    <a:lnTo>
                      <a:pt x="111" y="142"/>
                    </a:lnTo>
                    <a:lnTo>
                      <a:pt x="113" y="142"/>
                    </a:lnTo>
                    <a:lnTo>
                      <a:pt x="117" y="144"/>
                    </a:lnTo>
                    <a:lnTo>
                      <a:pt x="119" y="146"/>
                    </a:lnTo>
                    <a:lnTo>
                      <a:pt x="120" y="146"/>
                    </a:lnTo>
                    <a:lnTo>
                      <a:pt x="120" y="144"/>
                    </a:lnTo>
                    <a:lnTo>
                      <a:pt x="122" y="144"/>
                    </a:lnTo>
                    <a:lnTo>
                      <a:pt x="122" y="144"/>
                    </a:lnTo>
                    <a:lnTo>
                      <a:pt x="122" y="147"/>
                    </a:lnTo>
                    <a:lnTo>
                      <a:pt x="120" y="149"/>
                    </a:lnTo>
                    <a:lnTo>
                      <a:pt x="122" y="150"/>
                    </a:lnTo>
                    <a:lnTo>
                      <a:pt x="124" y="150"/>
                    </a:lnTo>
                    <a:lnTo>
                      <a:pt x="125" y="147"/>
                    </a:lnTo>
                    <a:lnTo>
                      <a:pt x="125" y="142"/>
                    </a:lnTo>
                    <a:lnTo>
                      <a:pt x="125" y="142"/>
                    </a:lnTo>
                    <a:close/>
                    <a:moveTo>
                      <a:pt x="88" y="34"/>
                    </a:moveTo>
                    <a:lnTo>
                      <a:pt x="86" y="34"/>
                    </a:lnTo>
                    <a:lnTo>
                      <a:pt x="86" y="36"/>
                    </a:lnTo>
                    <a:lnTo>
                      <a:pt x="86" y="36"/>
                    </a:lnTo>
                    <a:lnTo>
                      <a:pt x="85" y="38"/>
                    </a:lnTo>
                    <a:lnTo>
                      <a:pt x="86" y="38"/>
                    </a:lnTo>
                    <a:lnTo>
                      <a:pt x="86" y="36"/>
                    </a:lnTo>
                    <a:lnTo>
                      <a:pt x="88" y="34"/>
                    </a:lnTo>
                    <a:lnTo>
                      <a:pt x="88" y="34"/>
                    </a:lnTo>
                    <a:close/>
                    <a:moveTo>
                      <a:pt x="75" y="31"/>
                    </a:moveTo>
                    <a:lnTo>
                      <a:pt x="75" y="31"/>
                    </a:lnTo>
                    <a:lnTo>
                      <a:pt x="74" y="31"/>
                    </a:lnTo>
                    <a:lnTo>
                      <a:pt x="74" y="33"/>
                    </a:lnTo>
                    <a:lnTo>
                      <a:pt x="74" y="33"/>
                    </a:lnTo>
                    <a:lnTo>
                      <a:pt x="75" y="34"/>
                    </a:lnTo>
                    <a:lnTo>
                      <a:pt x="75" y="33"/>
                    </a:lnTo>
                    <a:lnTo>
                      <a:pt x="75" y="31"/>
                    </a:lnTo>
                    <a:close/>
                    <a:moveTo>
                      <a:pt x="80" y="27"/>
                    </a:moveTo>
                    <a:lnTo>
                      <a:pt x="78" y="27"/>
                    </a:lnTo>
                    <a:lnTo>
                      <a:pt x="77" y="27"/>
                    </a:lnTo>
                    <a:lnTo>
                      <a:pt x="77" y="28"/>
                    </a:lnTo>
                    <a:lnTo>
                      <a:pt x="77" y="28"/>
                    </a:lnTo>
                    <a:lnTo>
                      <a:pt x="78" y="30"/>
                    </a:lnTo>
                    <a:lnTo>
                      <a:pt x="80" y="30"/>
                    </a:lnTo>
                    <a:lnTo>
                      <a:pt x="80" y="27"/>
                    </a:lnTo>
                    <a:close/>
                    <a:moveTo>
                      <a:pt x="88" y="6"/>
                    </a:moveTo>
                    <a:lnTo>
                      <a:pt x="88" y="8"/>
                    </a:lnTo>
                    <a:lnTo>
                      <a:pt x="86" y="9"/>
                    </a:lnTo>
                    <a:lnTo>
                      <a:pt x="88" y="9"/>
                    </a:lnTo>
                    <a:lnTo>
                      <a:pt x="88" y="9"/>
                    </a:lnTo>
                    <a:lnTo>
                      <a:pt x="89" y="6"/>
                    </a:lnTo>
                    <a:lnTo>
                      <a:pt x="88" y="6"/>
                    </a:lnTo>
                    <a:close/>
                    <a:moveTo>
                      <a:pt x="86" y="0"/>
                    </a:moveTo>
                    <a:lnTo>
                      <a:pt x="86" y="0"/>
                    </a:lnTo>
                    <a:lnTo>
                      <a:pt x="85" y="2"/>
                    </a:lnTo>
                    <a:lnTo>
                      <a:pt x="85" y="3"/>
                    </a:lnTo>
                    <a:lnTo>
                      <a:pt x="85" y="3"/>
                    </a:lnTo>
                    <a:lnTo>
                      <a:pt x="86" y="2"/>
                    </a:lnTo>
                    <a:lnTo>
                      <a:pt x="86"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7" name="Freeform 164">
                <a:extLst>
                  <a:ext uri="{FF2B5EF4-FFF2-40B4-BE49-F238E27FC236}">
                    <a16:creationId xmlns:a16="http://schemas.microsoft.com/office/drawing/2014/main" id="{44BE86DE-A4EC-CCD0-E234-A7E8981F5852}"/>
                  </a:ext>
                </a:extLst>
              </p:cNvPr>
              <p:cNvSpPr>
                <a:spLocks/>
              </p:cNvSpPr>
              <p:nvPr/>
            </p:nvSpPr>
            <p:spPr bwMode="gray">
              <a:xfrm>
                <a:off x="3743" y="880"/>
                <a:ext cx="297" cy="270"/>
              </a:xfrm>
              <a:custGeom>
                <a:avLst/>
                <a:gdLst>
                  <a:gd name="T0" fmla="*/ 258 w 297"/>
                  <a:gd name="T1" fmla="*/ 6 h 270"/>
                  <a:gd name="T2" fmla="*/ 264 w 297"/>
                  <a:gd name="T3" fmla="*/ 20 h 270"/>
                  <a:gd name="T4" fmla="*/ 275 w 297"/>
                  <a:gd name="T5" fmla="*/ 25 h 270"/>
                  <a:gd name="T6" fmla="*/ 292 w 297"/>
                  <a:gd name="T7" fmla="*/ 34 h 270"/>
                  <a:gd name="T8" fmla="*/ 285 w 297"/>
                  <a:gd name="T9" fmla="*/ 42 h 270"/>
                  <a:gd name="T10" fmla="*/ 269 w 297"/>
                  <a:gd name="T11" fmla="*/ 51 h 270"/>
                  <a:gd name="T12" fmla="*/ 247 w 297"/>
                  <a:gd name="T13" fmla="*/ 51 h 270"/>
                  <a:gd name="T14" fmla="*/ 227 w 297"/>
                  <a:gd name="T15" fmla="*/ 56 h 270"/>
                  <a:gd name="T16" fmla="*/ 230 w 297"/>
                  <a:gd name="T17" fmla="*/ 65 h 270"/>
                  <a:gd name="T18" fmla="*/ 231 w 297"/>
                  <a:gd name="T19" fmla="*/ 73 h 270"/>
                  <a:gd name="T20" fmla="*/ 231 w 297"/>
                  <a:gd name="T21" fmla="*/ 82 h 270"/>
                  <a:gd name="T22" fmla="*/ 241 w 297"/>
                  <a:gd name="T23" fmla="*/ 90 h 270"/>
                  <a:gd name="T24" fmla="*/ 253 w 297"/>
                  <a:gd name="T25" fmla="*/ 100 h 270"/>
                  <a:gd name="T26" fmla="*/ 239 w 297"/>
                  <a:gd name="T27" fmla="*/ 112 h 270"/>
                  <a:gd name="T28" fmla="*/ 238 w 297"/>
                  <a:gd name="T29" fmla="*/ 129 h 270"/>
                  <a:gd name="T30" fmla="*/ 227 w 297"/>
                  <a:gd name="T31" fmla="*/ 145 h 270"/>
                  <a:gd name="T32" fmla="*/ 206 w 297"/>
                  <a:gd name="T33" fmla="*/ 170 h 270"/>
                  <a:gd name="T34" fmla="*/ 188 w 297"/>
                  <a:gd name="T35" fmla="*/ 190 h 270"/>
                  <a:gd name="T36" fmla="*/ 169 w 297"/>
                  <a:gd name="T37" fmla="*/ 187 h 270"/>
                  <a:gd name="T38" fmla="*/ 153 w 297"/>
                  <a:gd name="T39" fmla="*/ 203 h 270"/>
                  <a:gd name="T40" fmla="*/ 161 w 297"/>
                  <a:gd name="T41" fmla="*/ 215 h 270"/>
                  <a:gd name="T42" fmla="*/ 166 w 297"/>
                  <a:gd name="T43" fmla="*/ 233 h 270"/>
                  <a:gd name="T44" fmla="*/ 175 w 297"/>
                  <a:gd name="T45" fmla="*/ 245 h 270"/>
                  <a:gd name="T46" fmla="*/ 178 w 297"/>
                  <a:gd name="T47" fmla="*/ 258 h 270"/>
                  <a:gd name="T48" fmla="*/ 170 w 297"/>
                  <a:gd name="T49" fmla="*/ 259 h 270"/>
                  <a:gd name="T50" fmla="*/ 155 w 297"/>
                  <a:gd name="T51" fmla="*/ 262 h 270"/>
                  <a:gd name="T52" fmla="*/ 139 w 297"/>
                  <a:gd name="T53" fmla="*/ 261 h 270"/>
                  <a:gd name="T54" fmla="*/ 130 w 297"/>
                  <a:gd name="T55" fmla="*/ 267 h 270"/>
                  <a:gd name="T56" fmla="*/ 122 w 297"/>
                  <a:gd name="T57" fmla="*/ 269 h 270"/>
                  <a:gd name="T58" fmla="*/ 113 w 297"/>
                  <a:gd name="T59" fmla="*/ 262 h 270"/>
                  <a:gd name="T60" fmla="*/ 100 w 297"/>
                  <a:gd name="T61" fmla="*/ 237 h 270"/>
                  <a:gd name="T62" fmla="*/ 95 w 297"/>
                  <a:gd name="T63" fmla="*/ 237 h 270"/>
                  <a:gd name="T64" fmla="*/ 58 w 297"/>
                  <a:gd name="T65" fmla="*/ 239 h 270"/>
                  <a:gd name="T66" fmla="*/ 41 w 297"/>
                  <a:gd name="T67" fmla="*/ 241 h 270"/>
                  <a:gd name="T68" fmla="*/ 22 w 297"/>
                  <a:gd name="T69" fmla="*/ 244 h 270"/>
                  <a:gd name="T70" fmla="*/ 16 w 297"/>
                  <a:gd name="T71" fmla="*/ 230 h 270"/>
                  <a:gd name="T72" fmla="*/ 25 w 297"/>
                  <a:gd name="T73" fmla="*/ 219 h 270"/>
                  <a:gd name="T74" fmla="*/ 41 w 297"/>
                  <a:gd name="T75" fmla="*/ 211 h 270"/>
                  <a:gd name="T76" fmla="*/ 36 w 297"/>
                  <a:gd name="T77" fmla="*/ 203 h 270"/>
                  <a:gd name="T78" fmla="*/ 33 w 297"/>
                  <a:gd name="T79" fmla="*/ 184 h 270"/>
                  <a:gd name="T80" fmla="*/ 16 w 297"/>
                  <a:gd name="T81" fmla="*/ 175 h 270"/>
                  <a:gd name="T82" fmla="*/ 6 w 297"/>
                  <a:gd name="T83" fmla="*/ 153 h 270"/>
                  <a:gd name="T84" fmla="*/ 59 w 297"/>
                  <a:gd name="T85" fmla="*/ 158 h 270"/>
                  <a:gd name="T86" fmla="*/ 89 w 297"/>
                  <a:gd name="T87" fmla="*/ 151 h 270"/>
                  <a:gd name="T88" fmla="*/ 95 w 297"/>
                  <a:gd name="T89" fmla="*/ 136 h 270"/>
                  <a:gd name="T90" fmla="*/ 108 w 297"/>
                  <a:gd name="T91" fmla="*/ 122 h 270"/>
                  <a:gd name="T92" fmla="*/ 117 w 297"/>
                  <a:gd name="T93" fmla="*/ 117 h 270"/>
                  <a:gd name="T94" fmla="*/ 136 w 297"/>
                  <a:gd name="T95" fmla="*/ 111 h 270"/>
                  <a:gd name="T96" fmla="*/ 147 w 297"/>
                  <a:gd name="T97" fmla="*/ 98 h 270"/>
                  <a:gd name="T98" fmla="*/ 163 w 297"/>
                  <a:gd name="T99" fmla="*/ 82 h 270"/>
                  <a:gd name="T100" fmla="*/ 166 w 297"/>
                  <a:gd name="T101" fmla="*/ 65 h 270"/>
                  <a:gd name="T102" fmla="*/ 178 w 297"/>
                  <a:gd name="T103" fmla="*/ 54 h 270"/>
                  <a:gd name="T104" fmla="*/ 188 w 297"/>
                  <a:gd name="T105" fmla="*/ 42 h 270"/>
                  <a:gd name="T106" fmla="*/ 188 w 297"/>
                  <a:gd name="T107" fmla="*/ 32 h 270"/>
                  <a:gd name="T108" fmla="*/ 186 w 297"/>
                  <a:gd name="T109" fmla="*/ 15 h 270"/>
                  <a:gd name="T110" fmla="*/ 202 w 297"/>
                  <a:gd name="T111" fmla="*/ 6 h 270"/>
                  <a:gd name="T112" fmla="*/ 228 w 297"/>
                  <a:gd name="T113" fmla="*/ 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7" h="270">
                    <a:moveTo>
                      <a:pt x="246" y="1"/>
                    </a:moveTo>
                    <a:lnTo>
                      <a:pt x="247" y="1"/>
                    </a:lnTo>
                    <a:lnTo>
                      <a:pt x="247" y="1"/>
                    </a:lnTo>
                    <a:lnTo>
                      <a:pt x="249" y="1"/>
                    </a:lnTo>
                    <a:lnTo>
                      <a:pt x="250" y="1"/>
                    </a:lnTo>
                    <a:lnTo>
                      <a:pt x="255" y="3"/>
                    </a:lnTo>
                    <a:lnTo>
                      <a:pt x="255" y="3"/>
                    </a:lnTo>
                    <a:lnTo>
                      <a:pt x="256" y="6"/>
                    </a:lnTo>
                    <a:lnTo>
                      <a:pt x="256" y="6"/>
                    </a:lnTo>
                    <a:lnTo>
                      <a:pt x="258" y="6"/>
                    </a:lnTo>
                    <a:lnTo>
                      <a:pt x="260" y="6"/>
                    </a:lnTo>
                    <a:lnTo>
                      <a:pt x="261" y="7"/>
                    </a:lnTo>
                    <a:lnTo>
                      <a:pt x="263" y="9"/>
                    </a:lnTo>
                    <a:lnTo>
                      <a:pt x="264" y="9"/>
                    </a:lnTo>
                    <a:lnTo>
                      <a:pt x="264" y="10"/>
                    </a:lnTo>
                    <a:lnTo>
                      <a:pt x="264" y="12"/>
                    </a:lnTo>
                    <a:lnTo>
                      <a:pt x="266" y="14"/>
                    </a:lnTo>
                    <a:lnTo>
                      <a:pt x="266" y="18"/>
                    </a:lnTo>
                    <a:lnTo>
                      <a:pt x="264" y="20"/>
                    </a:lnTo>
                    <a:lnTo>
                      <a:pt x="264" y="20"/>
                    </a:lnTo>
                    <a:lnTo>
                      <a:pt x="264" y="21"/>
                    </a:lnTo>
                    <a:lnTo>
                      <a:pt x="264" y="21"/>
                    </a:lnTo>
                    <a:lnTo>
                      <a:pt x="266" y="23"/>
                    </a:lnTo>
                    <a:lnTo>
                      <a:pt x="267" y="23"/>
                    </a:lnTo>
                    <a:lnTo>
                      <a:pt x="267" y="23"/>
                    </a:lnTo>
                    <a:lnTo>
                      <a:pt x="269" y="26"/>
                    </a:lnTo>
                    <a:lnTo>
                      <a:pt x="269" y="26"/>
                    </a:lnTo>
                    <a:lnTo>
                      <a:pt x="271" y="26"/>
                    </a:lnTo>
                    <a:lnTo>
                      <a:pt x="272" y="26"/>
                    </a:lnTo>
                    <a:lnTo>
                      <a:pt x="275" y="25"/>
                    </a:lnTo>
                    <a:lnTo>
                      <a:pt x="275" y="25"/>
                    </a:lnTo>
                    <a:lnTo>
                      <a:pt x="275" y="28"/>
                    </a:lnTo>
                    <a:lnTo>
                      <a:pt x="277" y="28"/>
                    </a:lnTo>
                    <a:lnTo>
                      <a:pt x="278" y="29"/>
                    </a:lnTo>
                    <a:lnTo>
                      <a:pt x="280" y="29"/>
                    </a:lnTo>
                    <a:lnTo>
                      <a:pt x="282" y="31"/>
                    </a:lnTo>
                    <a:lnTo>
                      <a:pt x="285" y="32"/>
                    </a:lnTo>
                    <a:lnTo>
                      <a:pt x="289" y="32"/>
                    </a:lnTo>
                    <a:lnTo>
                      <a:pt x="291" y="34"/>
                    </a:lnTo>
                    <a:lnTo>
                      <a:pt x="292" y="34"/>
                    </a:lnTo>
                    <a:lnTo>
                      <a:pt x="294" y="34"/>
                    </a:lnTo>
                    <a:lnTo>
                      <a:pt x="296" y="34"/>
                    </a:lnTo>
                    <a:lnTo>
                      <a:pt x="297" y="32"/>
                    </a:lnTo>
                    <a:lnTo>
                      <a:pt x="296" y="34"/>
                    </a:lnTo>
                    <a:lnTo>
                      <a:pt x="294" y="36"/>
                    </a:lnTo>
                    <a:lnTo>
                      <a:pt x="291" y="37"/>
                    </a:lnTo>
                    <a:lnTo>
                      <a:pt x="288" y="39"/>
                    </a:lnTo>
                    <a:lnTo>
                      <a:pt x="286" y="40"/>
                    </a:lnTo>
                    <a:lnTo>
                      <a:pt x="285" y="42"/>
                    </a:lnTo>
                    <a:lnTo>
                      <a:pt x="285" y="42"/>
                    </a:lnTo>
                    <a:lnTo>
                      <a:pt x="283" y="43"/>
                    </a:lnTo>
                    <a:lnTo>
                      <a:pt x="282" y="45"/>
                    </a:lnTo>
                    <a:lnTo>
                      <a:pt x="280" y="46"/>
                    </a:lnTo>
                    <a:lnTo>
                      <a:pt x="278" y="46"/>
                    </a:lnTo>
                    <a:lnTo>
                      <a:pt x="278" y="46"/>
                    </a:lnTo>
                    <a:lnTo>
                      <a:pt x="278" y="48"/>
                    </a:lnTo>
                    <a:lnTo>
                      <a:pt x="277" y="50"/>
                    </a:lnTo>
                    <a:lnTo>
                      <a:pt x="275" y="50"/>
                    </a:lnTo>
                    <a:lnTo>
                      <a:pt x="274" y="50"/>
                    </a:lnTo>
                    <a:lnTo>
                      <a:pt x="269" y="51"/>
                    </a:lnTo>
                    <a:lnTo>
                      <a:pt x="266" y="51"/>
                    </a:lnTo>
                    <a:lnTo>
                      <a:pt x="264" y="53"/>
                    </a:lnTo>
                    <a:lnTo>
                      <a:pt x="263" y="53"/>
                    </a:lnTo>
                    <a:lnTo>
                      <a:pt x="261" y="54"/>
                    </a:lnTo>
                    <a:lnTo>
                      <a:pt x="260" y="54"/>
                    </a:lnTo>
                    <a:lnTo>
                      <a:pt x="256" y="54"/>
                    </a:lnTo>
                    <a:lnTo>
                      <a:pt x="253" y="53"/>
                    </a:lnTo>
                    <a:lnTo>
                      <a:pt x="252" y="51"/>
                    </a:lnTo>
                    <a:lnTo>
                      <a:pt x="250" y="51"/>
                    </a:lnTo>
                    <a:lnTo>
                      <a:pt x="247" y="51"/>
                    </a:lnTo>
                    <a:lnTo>
                      <a:pt x="244" y="51"/>
                    </a:lnTo>
                    <a:lnTo>
                      <a:pt x="241" y="50"/>
                    </a:lnTo>
                    <a:lnTo>
                      <a:pt x="239" y="50"/>
                    </a:lnTo>
                    <a:lnTo>
                      <a:pt x="236" y="48"/>
                    </a:lnTo>
                    <a:lnTo>
                      <a:pt x="233" y="50"/>
                    </a:lnTo>
                    <a:lnTo>
                      <a:pt x="231" y="51"/>
                    </a:lnTo>
                    <a:lnTo>
                      <a:pt x="230" y="51"/>
                    </a:lnTo>
                    <a:lnTo>
                      <a:pt x="228" y="54"/>
                    </a:lnTo>
                    <a:lnTo>
                      <a:pt x="228" y="54"/>
                    </a:lnTo>
                    <a:lnTo>
                      <a:pt x="227" y="56"/>
                    </a:lnTo>
                    <a:lnTo>
                      <a:pt x="227" y="57"/>
                    </a:lnTo>
                    <a:lnTo>
                      <a:pt x="227" y="57"/>
                    </a:lnTo>
                    <a:lnTo>
                      <a:pt x="230" y="59"/>
                    </a:lnTo>
                    <a:lnTo>
                      <a:pt x="230" y="61"/>
                    </a:lnTo>
                    <a:lnTo>
                      <a:pt x="230" y="61"/>
                    </a:lnTo>
                    <a:lnTo>
                      <a:pt x="230" y="62"/>
                    </a:lnTo>
                    <a:lnTo>
                      <a:pt x="228" y="62"/>
                    </a:lnTo>
                    <a:lnTo>
                      <a:pt x="228" y="64"/>
                    </a:lnTo>
                    <a:lnTo>
                      <a:pt x="230" y="64"/>
                    </a:lnTo>
                    <a:lnTo>
                      <a:pt x="230" y="65"/>
                    </a:lnTo>
                    <a:lnTo>
                      <a:pt x="233" y="65"/>
                    </a:lnTo>
                    <a:lnTo>
                      <a:pt x="235" y="65"/>
                    </a:lnTo>
                    <a:lnTo>
                      <a:pt x="235" y="65"/>
                    </a:lnTo>
                    <a:lnTo>
                      <a:pt x="235" y="67"/>
                    </a:lnTo>
                    <a:lnTo>
                      <a:pt x="235" y="67"/>
                    </a:lnTo>
                    <a:lnTo>
                      <a:pt x="231" y="68"/>
                    </a:lnTo>
                    <a:lnTo>
                      <a:pt x="231" y="70"/>
                    </a:lnTo>
                    <a:lnTo>
                      <a:pt x="230" y="72"/>
                    </a:lnTo>
                    <a:lnTo>
                      <a:pt x="230" y="72"/>
                    </a:lnTo>
                    <a:lnTo>
                      <a:pt x="231" y="73"/>
                    </a:lnTo>
                    <a:lnTo>
                      <a:pt x="231" y="73"/>
                    </a:lnTo>
                    <a:lnTo>
                      <a:pt x="233" y="75"/>
                    </a:lnTo>
                    <a:lnTo>
                      <a:pt x="233" y="75"/>
                    </a:lnTo>
                    <a:lnTo>
                      <a:pt x="233" y="76"/>
                    </a:lnTo>
                    <a:lnTo>
                      <a:pt x="233" y="78"/>
                    </a:lnTo>
                    <a:lnTo>
                      <a:pt x="231" y="79"/>
                    </a:lnTo>
                    <a:lnTo>
                      <a:pt x="230" y="81"/>
                    </a:lnTo>
                    <a:lnTo>
                      <a:pt x="230" y="81"/>
                    </a:lnTo>
                    <a:lnTo>
                      <a:pt x="231" y="82"/>
                    </a:lnTo>
                    <a:lnTo>
                      <a:pt x="231" y="82"/>
                    </a:lnTo>
                    <a:lnTo>
                      <a:pt x="233" y="84"/>
                    </a:lnTo>
                    <a:lnTo>
                      <a:pt x="235" y="86"/>
                    </a:lnTo>
                    <a:lnTo>
                      <a:pt x="236" y="86"/>
                    </a:lnTo>
                    <a:lnTo>
                      <a:pt x="236" y="86"/>
                    </a:lnTo>
                    <a:lnTo>
                      <a:pt x="236" y="87"/>
                    </a:lnTo>
                    <a:lnTo>
                      <a:pt x="236" y="89"/>
                    </a:lnTo>
                    <a:lnTo>
                      <a:pt x="236" y="90"/>
                    </a:lnTo>
                    <a:lnTo>
                      <a:pt x="238" y="90"/>
                    </a:lnTo>
                    <a:lnTo>
                      <a:pt x="239" y="90"/>
                    </a:lnTo>
                    <a:lnTo>
                      <a:pt x="241" y="90"/>
                    </a:lnTo>
                    <a:lnTo>
                      <a:pt x="242" y="90"/>
                    </a:lnTo>
                    <a:lnTo>
                      <a:pt x="242" y="90"/>
                    </a:lnTo>
                    <a:lnTo>
                      <a:pt x="242" y="93"/>
                    </a:lnTo>
                    <a:lnTo>
                      <a:pt x="242" y="97"/>
                    </a:lnTo>
                    <a:lnTo>
                      <a:pt x="242" y="97"/>
                    </a:lnTo>
                    <a:lnTo>
                      <a:pt x="244" y="97"/>
                    </a:lnTo>
                    <a:lnTo>
                      <a:pt x="249" y="97"/>
                    </a:lnTo>
                    <a:lnTo>
                      <a:pt x="250" y="98"/>
                    </a:lnTo>
                    <a:lnTo>
                      <a:pt x="252" y="100"/>
                    </a:lnTo>
                    <a:lnTo>
                      <a:pt x="253" y="100"/>
                    </a:lnTo>
                    <a:lnTo>
                      <a:pt x="253" y="101"/>
                    </a:lnTo>
                    <a:lnTo>
                      <a:pt x="253" y="103"/>
                    </a:lnTo>
                    <a:lnTo>
                      <a:pt x="253" y="104"/>
                    </a:lnTo>
                    <a:lnTo>
                      <a:pt x="250" y="104"/>
                    </a:lnTo>
                    <a:lnTo>
                      <a:pt x="250" y="104"/>
                    </a:lnTo>
                    <a:lnTo>
                      <a:pt x="244" y="108"/>
                    </a:lnTo>
                    <a:lnTo>
                      <a:pt x="242" y="109"/>
                    </a:lnTo>
                    <a:lnTo>
                      <a:pt x="241" y="111"/>
                    </a:lnTo>
                    <a:lnTo>
                      <a:pt x="239" y="112"/>
                    </a:lnTo>
                    <a:lnTo>
                      <a:pt x="239" y="112"/>
                    </a:lnTo>
                    <a:lnTo>
                      <a:pt x="241" y="117"/>
                    </a:lnTo>
                    <a:lnTo>
                      <a:pt x="241" y="117"/>
                    </a:lnTo>
                    <a:lnTo>
                      <a:pt x="241" y="122"/>
                    </a:lnTo>
                    <a:lnTo>
                      <a:pt x="239" y="123"/>
                    </a:lnTo>
                    <a:lnTo>
                      <a:pt x="241" y="125"/>
                    </a:lnTo>
                    <a:lnTo>
                      <a:pt x="241" y="125"/>
                    </a:lnTo>
                    <a:lnTo>
                      <a:pt x="242" y="126"/>
                    </a:lnTo>
                    <a:lnTo>
                      <a:pt x="242" y="126"/>
                    </a:lnTo>
                    <a:lnTo>
                      <a:pt x="239" y="128"/>
                    </a:lnTo>
                    <a:lnTo>
                      <a:pt x="238" y="129"/>
                    </a:lnTo>
                    <a:lnTo>
                      <a:pt x="236" y="129"/>
                    </a:lnTo>
                    <a:lnTo>
                      <a:pt x="235" y="133"/>
                    </a:lnTo>
                    <a:lnTo>
                      <a:pt x="231" y="137"/>
                    </a:lnTo>
                    <a:lnTo>
                      <a:pt x="228" y="139"/>
                    </a:lnTo>
                    <a:lnTo>
                      <a:pt x="228" y="139"/>
                    </a:lnTo>
                    <a:lnTo>
                      <a:pt x="228" y="140"/>
                    </a:lnTo>
                    <a:lnTo>
                      <a:pt x="230" y="142"/>
                    </a:lnTo>
                    <a:lnTo>
                      <a:pt x="230" y="143"/>
                    </a:lnTo>
                    <a:lnTo>
                      <a:pt x="228" y="143"/>
                    </a:lnTo>
                    <a:lnTo>
                      <a:pt x="227" y="145"/>
                    </a:lnTo>
                    <a:lnTo>
                      <a:pt x="225" y="147"/>
                    </a:lnTo>
                    <a:lnTo>
                      <a:pt x="222" y="148"/>
                    </a:lnTo>
                    <a:lnTo>
                      <a:pt x="221" y="148"/>
                    </a:lnTo>
                    <a:lnTo>
                      <a:pt x="219" y="151"/>
                    </a:lnTo>
                    <a:lnTo>
                      <a:pt x="217" y="156"/>
                    </a:lnTo>
                    <a:lnTo>
                      <a:pt x="217" y="156"/>
                    </a:lnTo>
                    <a:lnTo>
                      <a:pt x="216" y="161"/>
                    </a:lnTo>
                    <a:lnTo>
                      <a:pt x="213" y="165"/>
                    </a:lnTo>
                    <a:lnTo>
                      <a:pt x="211" y="167"/>
                    </a:lnTo>
                    <a:lnTo>
                      <a:pt x="206" y="170"/>
                    </a:lnTo>
                    <a:lnTo>
                      <a:pt x="202" y="173"/>
                    </a:lnTo>
                    <a:lnTo>
                      <a:pt x="200" y="173"/>
                    </a:lnTo>
                    <a:lnTo>
                      <a:pt x="200" y="176"/>
                    </a:lnTo>
                    <a:lnTo>
                      <a:pt x="199" y="179"/>
                    </a:lnTo>
                    <a:lnTo>
                      <a:pt x="199" y="181"/>
                    </a:lnTo>
                    <a:lnTo>
                      <a:pt x="194" y="184"/>
                    </a:lnTo>
                    <a:lnTo>
                      <a:pt x="194" y="186"/>
                    </a:lnTo>
                    <a:lnTo>
                      <a:pt x="194" y="189"/>
                    </a:lnTo>
                    <a:lnTo>
                      <a:pt x="191" y="189"/>
                    </a:lnTo>
                    <a:lnTo>
                      <a:pt x="188" y="190"/>
                    </a:lnTo>
                    <a:lnTo>
                      <a:pt x="183" y="190"/>
                    </a:lnTo>
                    <a:lnTo>
                      <a:pt x="181" y="190"/>
                    </a:lnTo>
                    <a:lnTo>
                      <a:pt x="175" y="194"/>
                    </a:lnTo>
                    <a:lnTo>
                      <a:pt x="175" y="194"/>
                    </a:lnTo>
                    <a:lnTo>
                      <a:pt x="174" y="192"/>
                    </a:lnTo>
                    <a:lnTo>
                      <a:pt x="172" y="192"/>
                    </a:lnTo>
                    <a:lnTo>
                      <a:pt x="172" y="190"/>
                    </a:lnTo>
                    <a:lnTo>
                      <a:pt x="172" y="189"/>
                    </a:lnTo>
                    <a:lnTo>
                      <a:pt x="170" y="187"/>
                    </a:lnTo>
                    <a:lnTo>
                      <a:pt x="169" y="187"/>
                    </a:lnTo>
                    <a:lnTo>
                      <a:pt x="167" y="187"/>
                    </a:lnTo>
                    <a:lnTo>
                      <a:pt x="166" y="187"/>
                    </a:lnTo>
                    <a:lnTo>
                      <a:pt x="164" y="189"/>
                    </a:lnTo>
                    <a:lnTo>
                      <a:pt x="164" y="189"/>
                    </a:lnTo>
                    <a:lnTo>
                      <a:pt x="163" y="190"/>
                    </a:lnTo>
                    <a:lnTo>
                      <a:pt x="161" y="194"/>
                    </a:lnTo>
                    <a:lnTo>
                      <a:pt x="158" y="198"/>
                    </a:lnTo>
                    <a:lnTo>
                      <a:pt x="156" y="201"/>
                    </a:lnTo>
                    <a:lnTo>
                      <a:pt x="155" y="201"/>
                    </a:lnTo>
                    <a:lnTo>
                      <a:pt x="153" y="203"/>
                    </a:lnTo>
                    <a:lnTo>
                      <a:pt x="153" y="203"/>
                    </a:lnTo>
                    <a:lnTo>
                      <a:pt x="152" y="205"/>
                    </a:lnTo>
                    <a:lnTo>
                      <a:pt x="152" y="208"/>
                    </a:lnTo>
                    <a:lnTo>
                      <a:pt x="152" y="211"/>
                    </a:lnTo>
                    <a:lnTo>
                      <a:pt x="152" y="212"/>
                    </a:lnTo>
                    <a:lnTo>
                      <a:pt x="152" y="212"/>
                    </a:lnTo>
                    <a:lnTo>
                      <a:pt x="153" y="212"/>
                    </a:lnTo>
                    <a:lnTo>
                      <a:pt x="156" y="214"/>
                    </a:lnTo>
                    <a:lnTo>
                      <a:pt x="160" y="215"/>
                    </a:lnTo>
                    <a:lnTo>
                      <a:pt x="161" y="215"/>
                    </a:lnTo>
                    <a:lnTo>
                      <a:pt x="163" y="215"/>
                    </a:lnTo>
                    <a:lnTo>
                      <a:pt x="163" y="217"/>
                    </a:lnTo>
                    <a:lnTo>
                      <a:pt x="163" y="217"/>
                    </a:lnTo>
                    <a:lnTo>
                      <a:pt x="163" y="220"/>
                    </a:lnTo>
                    <a:lnTo>
                      <a:pt x="163" y="222"/>
                    </a:lnTo>
                    <a:lnTo>
                      <a:pt x="161" y="225"/>
                    </a:lnTo>
                    <a:lnTo>
                      <a:pt x="161" y="226"/>
                    </a:lnTo>
                    <a:lnTo>
                      <a:pt x="163" y="228"/>
                    </a:lnTo>
                    <a:lnTo>
                      <a:pt x="166" y="233"/>
                    </a:lnTo>
                    <a:lnTo>
                      <a:pt x="166" y="233"/>
                    </a:lnTo>
                    <a:lnTo>
                      <a:pt x="169" y="233"/>
                    </a:lnTo>
                    <a:lnTo>
                      <a:pt x="169" y="233"/>
                    </a:lnTo>
                    <a:lnTo>
                      <a:pt x="170" y="233"/>
                    </a:lnTo>
                    <a:lnTo>
                      <a:pt x="172" y="233"/>
                    </a:lnTo>
                    <a:lnTo>
                      <a:pt x="172" y="233"/>
                    </a:lnTo>
                    <a:lnTo>
                      <a:pt x="172" y="234"/>
                    </a:lnTo>
                    <a:lnTo>
                      <a:pt x="172" y="237"/>
                    </a:lnTo>
                    <a:lnTo>
                      <a:pt x="174" y="239"/>
                    </a:lnTo>
                    <a:lnTo>
                      <a:pt x="175" y="242"/>
                    </a:lnTo>
                    <a:lnTo>
                      <a:pt x="175" y="245"/>
                    </a:lnTo>
                    <a:lnTo>
                      <a:pt x="177" y="248"/>
                    </a:lnTo>
                    <a:lnTo>
                      <a:pt x="178" y="250"/>
                    </a:lnTo>
                    <a:lnTo>
                      <a:pt x="178" y="251"/>
                    </a:lnTo>
                    <a:lnTo>
                      <a:pt x="178" y="253"/>
                    </a:lnTo>
                    <a:lnTo>
                      <a:pt x="178" y="253"/>
                    </a:lnTo>
                    <a:lnTo>
                      <a:pt x="178" y="255"/>
                    </a:lnTo>
                    <a:lnTo>
                      <a:pt x="178" y="255"/>
                    </a:lnTo>
                    <a:lnTo>
                      <a:pt x="178" y="256"/>
                    </a:lnTo>
                    <a:lnTo>
                      <a:pt x="178" y="256"/>
                    </a:lnTo>
                    <a:lnTo>
                      <a:pt x="178" y="258"/>
                    </a:lnTo>
                    <a:lnTo>
                      <a:pt x="178" y="258"/>
                    </a:lnTo>
                    <a:lnTo>
                      <a:pt x="178" y="258"/>
                    </a:lnTo>
                    <a:lnTo>
                      <a:pt x="177" y="258"/>
                    </a:lnTo>
                    <a:lnTo>
                      <a:pt x="177" y="259"/>
                    </a:lnTo>
                    <a:lnTo>
                      <a:pt x="175" y="261"/>
                    </a:lnTo>
                    <a:lnTo>
                      <a:pt x="174" y="261"/>
                    </a:lnTo>
                    <a:lnTo>
                      <a:pt x="174" y="261"/>
                    </a:lnTo>
                    <a:lnTo>
                      <a:pt x="172" y="261"/>
                    </a:lnTo>
                    <a:lnTo>
                      <a:pt x="170" y="259"/>
                    </a:lnTo>
                    <a:lnTo>
                      <a:pt x="170" y="259"/>
                    </a:lnTo>
                    <a:lnTo>
                      <a:pt x="170" y="258"/>
                    </a:lnTo>
                    <a:lnTo>
                      <a:pt x="170" y="258"/>
                    </a:lnTo>
                    <a:lnTo>
                      <a:pt x="169" y="258"/>
                    </a:lnTo>
                    <a:lnTo>
                      <a:pt x="166" y="258"/>
                    </a:lnTo>
                    <a:lnTo>
                      <a:pt x="163" y="259"/>
                    </a:lnTo>
                    <a:lnTo>
                      <a:pt x="161" y="261"/>
                    </a:lnTo>
                    <a:lnTo>
                      <a:pt x="161" y="261"/>
                    </a:lnTo>
                    <a:lnTo>
                      <a:pt x="160" y="262"/>
                    </a:lnTo>
                    <a:lnTo>
                      <a:pt x="156" y="262"/>
                    </a:lnTo>
                    <a:lnTo>
                      <a:pt x="155" y="262"/>
                    </a:lnTo>
                    <a:lnTo>
                      <a:pt x="155" y="261"/>
                    </a:lnTo>
                    <a:lnTo>
                      <a:pt x="153" y="259"/>
                    </a:lnTo>
                    <a:lnTo>
                      <a:pt x="150" y="259"/>
                    </a:lnTo>
                    <a:lnTo>
                      <a:pt x="147" y="259"/>
                    </a:lnTo>
                    <a:lnTo>
                      <a:pt x="145" y="259"/>
                    </a:lnTo>
                    <a:lnTo>
                      <a:pt x="144" y="259"/>
                    </a:lnTo>
                    <a:lnTo>
                      <a:pt x="142" y="259"/>
                    </a:lnTo>
                    <a:lnTo>
                      <a:pt x="141" y="259"/>
                    </a:lnTo>
                    <a:lnTo>
                      <a:pt x="141" y="261"/>
                    </a:lnTo>
                    <a:lnTo>
                      <a:pt x="139" y="261"/>
                    </a:lnTo>
                    <a:lnTo>
                      <a:pt x="139" y="259"/>
                    </a:lnTo>
                    <a:lnTo>
                      <a:pt x="139" y="259"/>
                    </a:lnTo>
                    <a:lnTo>
                      <a:pt x="139" y="259"/>
                    </a:lnTo>
                    <a:lnTo>
                      <a:pt x="138" y="259"/>
                    </a:lnTo>
                    <a:lnTo>
                      <a:pt x="138" y="261"/>
                    </a:lnTo>
                    <a:lnTo>
                      <a:pt x="138" y="266"/>
                    </a:lnTo>
                    <a:lnTo>
                      <a:pt x="136" y="266"/>
                    </a:lnTo>
                    <a:lnTo>
                      <a:pt x="135" y="266"/>
                    </a:lnTo>
                    <a:lnTo>
                      <a:pt x="131" y="266"/>
                    </a:lnTo>
                    <a:lnTo>
                      <a:pt x="130" y="267"/>
                    </a:lnTo>
                    <a:lnTo>
                      <a:pt x="130" y="267"/>
                    </a:lnTo>
                    <a:lnTo>
                      <a:pt x="128" y="269"/>
                    </a:lnTo>
                    <a:lnTo>
                      <a:pt x="128" y="269"/>
                    </a:lnTo>
                    <a:lnTo>
                      <a:pt x="127" y="270"/>
                    </a:lnTo>
                    <a:lnTo>
                      <a:pt x="127" y="269"/>
                    </a:lnTo>
                    <a:lnTo>
                      <a:pt x="127" y="269"/>
                    </a:lnTo>
                    <a:lnTo>
                      <a:pt x="125" y="269"/>
                    </a:lnTo>
                    <a:lnTo>
                      <a:pt x="125" y="269"/>
                    </a:lnTo>
                    <a:lnTo>
                      <a:pt x="124" y="267"/>
                    </a:lnTo>
                    <a:lnTo>
                      <a:pt x="122" y="269"/>
                    </a:lnTo>
                    <a:lnTo>
                      <a:pt x="119" y="269"/>
                    </a:lnTo>
                    <a:lnTo>
                      <a:pt x="119" y="267"/>
                    </a:lnTo>
                    <a:lnTo>
                      <a:pt x="119" y="267"/>
                    </a:lnTo>
                    <a:lnTo>
                      <a:pt x="117" y="267"/>
                    </a:lnTo>
                    <a:lnTo>
                      <a:pt x="117" y="266"/>
                    </a:lnTo>
                    <a:lnTo>
                      <a:pt x="116" y="266"/>
                    </a:lnTo>
                    <a:lnTo>
                      <a:pt x="116" y="264"/>
                    </a:lnTo>
                    <a:lnTo>
                      <a:pt x="116" y="264"/>
                    </a:lnTo>
                    <a:lnTo>
                      <a:pt x="114" y="264"/>
                    </a:lnTo>
                    <a:lnTo>
                      <a:pt x="113" y="262"/>
                    </a:lnTo>
                    <a:lnTo>
                      <a:pt x="113" y="261"/>
                    </a:lnTo>
                    <a:lnTo>
                      <a:pt x="113" y="258"/>
                    </a:lnTo>
                    <a:lnTo>
                      <a:pt x="111" y="250"/>
                    </a:lnTo>
                    <a:lnTo>
                      <a:pt x="110" y="250"/>
                    </a:lnTo>
                    <a:lnTo>
                      <a:pt x="103" y="248"/>
                    </a:lnTo>
                    <a:lnTo>
                      <a:pt x="102" y="247"/>
                    </a:lnTo>
                    <a:lnTo>
                      <a:pt x="103" y="244"/>
                    </a:lnTo>
                    <a:lnTo>
                      <a:pt x="103" y="242"/>
                    </a:lnTo>
                    <a:lnTo>
                      <a:pt x="100" y="239"/>
                    </a:lnTo>
                    <a:lnTo>
                      <a:pt x="100" y="237"/>
                    </a:lnTo>
                    <a:lnTo>
                      <a:pt x="99" y="234"/>
                    </a:lnTo>
                    <a:lnTo>
                      <a:pt x="95" y="234"/>
                    </a:lnTo>
                    <a:lnTo>
                      <a:pt x="94" y="234"/>
                    </a:lnTo>
                    <a:lnTo>
                      <a:pt x="94" y="236"/>
                    </a:lnTo>
                    <a:lnTo>
                      <a:pt x="92" y="236"/>
                    </a:lnTo>
                    <a:lnTo>
                      <a:pt x="97" y="236"/>
                    </a:lnTo>
                    <a:lnTo>
                      <a:pt x="97" y="237"/>
                    </a:lnTo>
                    <a:lnTo>
                      <a:pt x="99" y="237"/>
                    </a:lnTo>
                    <a:lnTo>
                      <a:pt x="97" y="237"/>
                    </a:lnTo>
                    <a:lnTo>
                      <a:pt x="95" y="237"/>
                    </a:lnTo>
                    <a:lnTo>
                      <a:pt x="94" y="237"/>
                    </a:lnTo>
                    <a:lnTo>
                      <a:pt x="88" y="237"/>
                    </a:lnTo>
                    <a:lnTo>
                      <a:pt x="85" y="239"/>
                    </a:lnTo>
                    <a:lnTo>
                      <a:pt x="80" y="239"/>
                    </a:lnTo>
                    <a:lnTo>
                      <a:pt x="74" y="241"/>
                    </a:lnTo>
                    <a:lnTo>
                      <a:pt x="69" y="241"/>
                    </a:lnTo>
                    <a:lnTo>
                      <a:pt x="67" y="242"/>
                    </a:lnTo>
                    <a:lnTo>
                      <a:pt x="66" y="242"/>
                    </a:lnTo>
                    <a:lnTo>
                      <a:pt x="64" y="242"/>
                    </a:lnTo>
                    <a:lnTo>
                      <a:pt x="58" y="239"/>
                    </a:lnTo>
                    <a:lnTo>
                      <a:pt x="58" y="239"/>
                    </a:lnTo>
                    <a:lnTo>
                      <a:pt x="56" y="239"/>
                    </a:lnTo>
                    <a:lnTo>
                      <a:pt x="55" y="239"/>
                    </a:lnTo>
                    <a:lnTo>
                      <a:pt x="55" y="239"/>
                    </a:lnTo>
                    <a:lnTo>
                      <a:pt x="50" y="239"/>
                    </a:lnTo>
                    <a:lnTo>
                      <a:pt x="47" y="239"/>
                    </a:lnTo>
                    <a:lnTo>
                      <a:pt x="47" y="241"/>
                    </a:lnTo>
                    <a:lnTo>
                      <a:pt x="47" y="242"/>
                    </a:lnTo>
                    <a:lnTo>
                      <a:pt x="42" y="242"/>
                    </a:lnTo>
                    <a:lnTo>
                      <a:pt x="41" y="241"/>
                    </a:lnTo>
                    <a:lnTo>
                      <a:pt x="38" y="242"/>
                    </a:lnTo>
                    <a:lnTo>
                      <a:pt x="31" y="241"/>
                    </a:lnTo>
                    <a:lnTo>
                      <a:pt x="30" y="241"/>
                    </a:lnTo>
                    <a:lnTo>
                      <a:pt x="28" y="242"/>
                    </a:lnTo>
                    <a:lnTo>
                      <a:pt x="27" y="244"/>
                    </a:lnTo>
                    <a:lnTo>
                      <a:pt x="25" y="244"/>
                    </a:lnTo>
                    <a:lnTo>
                      <a:pt x="25" y="242"/>
                    </a:lnTo>
                    <a:lnTo>
                      <a:pt x="24" y="242"/>
                    </a:lnTo>
                    <a:lnTo>
                      <a:pt x="24" y="242"/>
                    </a:lnTo>
                    <a:lnTo>
                      <a:pt x="22" y="244"/>
                    </a:lnTo>
                    <a:lnTo>
                      <a:pt x="19" y="244"/>
                    </a:lnTo>
                    <a:lnTo>
                      <a:pt x="16" y="244"/>
                    </a:lnTo>
                    <a:lnTo>
                      <a:pt x="13" y="242"/>
                    </a:lnTo>
                    <a:lnTo>
                      <a:pt x="13" y="242"/>
                    </a:lnTo>
                    <a:lnTo>
                      <a:pt x="13" y="241"/>
                    </a:lnTo>
                    <a:lnTo>
                      <a:pt x="14" y="234"/>
                    </a:lnTo>
                    <a:lnTo>
                      <a:pt x="14" y="233"/>
                    </a:lnTo>
                    <a:lnTo>
                      <a:pt x="14" y="231"/>
                    </a:lnTo>
                    <a:lnTo>
                      <a:pt x="14" y="231"/>
                    </a:lnTo>
                    <a:lnTo>
                      <a:pt x="16" y="230"/>
                    </a:lnTo>
                    <a:lnTo>
                      <a:pt x="16" y="230"/>
                    </a:lnTo>
                    <a:lnTo>
                      <a:pt x="16" y="226"/>
                    </a:lnTo>
                    <a:lnTo>
                      <a:pt x="17" y="223"/>
                    </a:lnTo>
                    <a:lnTo>
                      <a:pt x="17" y="222"/>
                    </a:lnTo>
                    <a:lnTo>
                      <a:pt x="17" y="222"/>
                    </a:lnTo>
                    <a:lnTo>
                      <a:pt x="22" y="220"/>
                    </a:lnTo>
                    <a:lnTo>
                      <a:pt x="22" y="220"/>
                    </a:lnTo>
                    <a:lnTo>
                      <a:pt x="24" y="220"/>
                    </a:lnTo>
                    <a:lnTo>
                      <a:pt x="25" y="220"/>
                    </a:lnTo>
                    <a:lnTo>
                      <a:pt x="25" y="219"/>
                    </a:lnTo>
                    <a:lnTo>
                      <a:pt x="25" y="217"/>
                    </a:lnTo>
                    <a:lnTo>
                      <a:pt x="27" y="215"/>
                    </a:lnTo>
                    <a:lnTo>
                      <a:pt x="28" y="215"/>
                    </a:lnTo>
                    <a:lnTo>
                      <a:pt x="31" y="215"/>
                    </a:lnTo>
                    <a:lnTo>
                      <a:pt x="33" y="214"/>
                    </a:lnTo>
                    <a:lnTo>
                      <a:pt x="34" y="214"/>
                    </a:lnTo>
                    <a:lnTo>
                      <a:pt x="39" y="214"/>
                    </a:lnTo>
                    <a:lnTo>
                      <a:pt x="41" y="214"/>
                    </a:lnTo>
                    <a:lnTo>
                      <a:pt x="41" y="214"/>
                    </a:lnTo>
                    <a:lnTo>
                      <a:pt x="41" y="211"/>
                    </a:lnTo>
                    <a:lnTo>
                      <a:pt x="42" y="209"/>
                    </a:lnTo>
                    <a:lnTo>
                      <a:pt x="42" y="209"/>
                    </a:lnTo>
                    <a:lnTo>
                      <a:pt x="42" y="208"/>
                    </a:lnTo>
                    <a:lnTo>
                      <a:pt x="42" y="206"/>
                    </a:lnTo>
                    <a:lnTo>
                      <a:pt x="42" y="205"/>
                    </a:lnTo>
                    <a:lnTo>
                      <a:pt x="42" y="205"/>
                    </a:lnTo>
                    <a:lnTo>
                      <a:pt x="42" y="203"/>
                    </a:lnTo>
                    <a:lnTo>
                      <a:pt x="41" y="203"/>
                    </a:lnTo>
                    <a:lnTo>
                      <a:pt x="41" y="201"/>
                    </a:lnTo>
                    <a:lnTo>
                      <a:pt x="36" y="203"/>
                    </a:lnTo>
                    <a:lnTo>
                      <a:pt x="34" y="203"/>
                    </a:lnTo>
                    <a:lnTo>
                      <a:pt x="33" y="203"/>
                    </a:lnTo>
                    <a:lnTo>
                      <a:pt x="33" y="201"/>
                    </a:lnTo>
                    <a:lnTo>
                      <a:pt x="33" y="201"/>
                    </a:lnTo>
                    <a:lnTo>
                      <a:pt x="33" y="200"/>
                    </a:lnTo>
                    <a:lnTo>
                      <a:pt x="34" y="198"/>
                    </a:lnTo>
                    <a:lnTo>
                      <a:pt x="34" y="197"/>
                    </a:lnTo>
                    <a:lnTo>
                      <a:pt x="34" y="192"/>
                    </a:lnTo>
                    <a:lnTo>
                      <a:pt x="33" y="187"/>
                    </a:lnTo>
                    <a:lnTo>
                      <a:pt x="33" y="184"/>
                    </a:lnTo>
                    <a:lnTo>
                      <a:pt x="33" y="183"/>
                    </a:lnTo>
                    <a:lnTo>
                      <a:pt x="33" y="183"/>
                    </a:lnTo>
                    <a:lnTo>
                      <a:pt x="33" y="183"/>
                    </a:lnTo>
                    <a:lnTo>
                      <a:pt x="30" y="183"/>
                    </a:lnTo>
                    <a:lnTo>
                      <a:pt x="28" y="179"/>
                    </a:lnTo>
                    <a:lnTo>
                      <a:pt x="27" y="179"/>
                    </a:lnTo>
                    <a:lnTo>
                      <a:pt x="22" y="178"/>
                    </a:lnTo>
                    <a:lnTo>
                      <a:pt x="20" y="178"/>
                    </a:lnTo>
                    <a:lnTo>
                      <a:pt x="19" y="176"/>
                    </a:lnTo>
                    <a:lnTo>
                      <a:pt x="16" y="175"/>
                    </a:lnTo>
                    <a:lnTo>
                      <a:pt x="14" y="172"/>
                    </a:lnTo>
                    <a:lnTo>
                      <a:pt x="13" y="170"/>
                    </a:lnTo>
                    <a:lnTo>
                      <a:pt x="11" y="167"/>
                    </a:lnTo>
                    <a:lnTo>
                      <a:pt x="8" y="162"/>
                    </a:lnTo>
                    <a:lnTo>
                      <a:pt x="8" y="161"/>
                    </a:lnTo>
                    <a:lnTo>
                      <a:pt x="8" y="161"/>
                    </a:lnTo>
                    <a:lnTo>
                      <a:pt x="5" y="156"/>
                    </a:lnTo>
                    <a:lnTo>
                      <a:pt x="3" y="154"/>
                    </a:lnTo>
                    <a:lnTo>
                      <a:pt x="0" y="150"/>
                    </a:lnTo>
                    <a:lnTo>
                      <a:pt x="6" y="153"/>
                    </a:lnTo>
                    <a:lnTo>
                      <a:pt x="11" y="154"/>
                    </a:lnTo>
                    <a:lnTo>
                      <a:pt x="20" y="158"/>
                    </a:lnTo>
                    <a:lnTo>
                      <a:pt x="27" y="159"/>
                    </a:lnTo>
                    <a:lnTo>
                      <a:pt x="28" y="159"/>
                    </a:lnTo>
                    <a:lnTo>
                      <a:pt x="47" y="158"/>
                    </a:lnTo>
                    <a:lnTo>
                      <a:pt x="55" y="159"/>
                    </a:lnTo>
                    <a:lnTo>
                      <a:pt x="56" y="159"/>
                    </a:lnTo>
                    <a:lnTo>
                      <a:pt x="58" y="159"/>
                    </a:lnTo>
                    <a:lnTo>
                      <a:pt x="58" y="158"/>
                    </a:lnTo>
                    <a:lnTo>
                      <a:pt x="59" y="158"/>
                    </a:lnTo>
                    <a:lnTo>
                      <a:pt x="63" y="156"/>
                    </a:lnTo>
                    <a:lnTo>
                      <a:pt x="64" y="156"/>
                    </a:lnTo>
                    <a:lnTo>
                      <a:pt x="67" y="156"/>
                    </a:lnTo>
                    <a:lnTo>
                      <a:pt x="70" y="156"/>
                    </a:lnTo>
                    <a:lnTo>
                      <a:pt x="72" y="156"/>
                    </a:lnTo>
                    <a:lnTo>
                      <a:pt x="75" y="156"/>
                    </a:lnTo>
                    <a:lnTo>
                      <a:pt x="77" y="156"/>
                    </a:lnTo>
                    <a:lnTo>
                      <a:pt x="81" y="154"/>
                    </a:lnTo>
                    <a:lnTo>
                      <a:pt x="85" y="153"/>
                    </a:lnTo>
                    <a:lnTo>
                      <a:pt x="89" y="151"/>
                    </a:lnTo>
                    <a:lnTo>
                      <a:pt x="94" y="151"/>
                    </a:lnTo>
                    <a:lnTo>
                      <a:pt x="94" y="150"/>
                    </a:lnTo>
                    <a:lnTo>
                      <a:pt x="95" y="150"/>
                    </a:lnTo>
                    <a:lnTo>
                      <a:pt x="95" y="148"/>
                    </a:lnTo>
                    <a:lnTo>
                      <a:pt x="94" y="147"/>
                    </a:lnTo>
                    <a:lnTo>
                      <a:pt x="94" y="145"/>
                    </a:lnTo>
                    <a:lnTo>
                      <a:pt x="95" y="143"/>
                    </a:lnTo>
                    <a:lnTo>
                      <a:pt x="95" y="140"/>
                    </a:lnTo>
                    <a:lnTo>
                      <a:pt x="95" y="137"/>
                    </a:lnTo>
                    <a:lnTo>
                      <a:pt x="95" y="136"/>
                    </a:lnTo>
                    <a:lnTo>
                      <a:pt x="97" y="131"/>
                    </a:lnTo>
                    <a:lnTo>
                      <a:pt x="97" y="129"/>
                    </a:lnTo>
                    <a:lnTo>
                      <a:pt x="99" y="128"/>
                    </a:lnTo>
                    <a:lnTo>
                      <a:pt x="100" y="128"/>
                    </a:lnTo>
                    <a:lnTo>
                      <a:pt x="100" y="126"/>
                    </a:lnTo>
                    <a:lnTo>
                      <a:pt x="102" y="126"/>
                    </a:lnTo>
                    <a:lnTo>
                      <a:pt x="103" y="123"/>
                    </a:lnTo>
                    <a:lnTo>
                      <a:pt x="105" y="122"/>
                    </a:lnTo>
                    <a:lnTo>
                      <a:pt x="106" y="122"/>
                    </a:lnTo>
                    <a:lnTo>
                      <a:pt x="108" y="122"/>
                    </a:lnTo>
                    <a:lnTo>
                      <a:pt x="110" y="122"/>
                    </a:lnTo>
                    <a:lnTo>
                      <a:pt x="113" y="123"/>
                    </a:lnTo>
                    <a:lnTo>
                      <a:pt x="116" y="122"/>
                    </a:lnTo>
                    <a:lnTo>
                      <a:pt x="119" y="122"/>
                    </a:lnTo>
                    <a:lnTo>
                      <a:pt x="119" y="120"/>
                    </a:lnTo>
                    <a:lnTo>
                      <a:pt x="120" y="120"/>
                    </a:lnTo>
                    <a:lnTo>
                      <a:pt x="120" y="120"/>
                    </a:lnTo>
                    <a:lnTo>
                      <a:pt x="119" y="118"/>
                    </a:lnTo>
                    <a:lnTo>
                      <a:pt x="119" y="118"/>
                    </a:lnTo>
                    <a:lnTo>
                      <a:pt x="117" y="117"/>
                    </a:lnTo>
                    <a:lnTo>
                      <a:pt x="119" y="117"/>
                    </a:lnTo>
                    <a:lnTo>
                      <a:pt x="120" y="115"/>
                    </a:lnTo>
                    <a:lnTo>
                      <a:pt x="125" y="114"/>
                    </a:lnTo>
                    <a:lnTo>
                      <a:pt x="128" y="112"/>
                    </a:lnTo>
                    <a:lnTo>
                      <a:pt x="128" y="111"/>
                    </a:lnTo>
                    <a:lnTo>
                      <a:pt x="130" y="111"/>
                    </a:lnTo>
                    <a:lnTo>
                      <a:pt x="131" y="112"/>
                    </a:lnTo>
                    <a:lnTo>
                      <a:pt x="133" y="112"/>
                    </a:lnTo>
                    <a:lnTo>
                      <a:pt x="135" y="111"/>
                    </a:lnTo>
                    <a:lnTo>
                      <a:pt x="136" y="111"/>
                    </a:lnTo>
                    <a:lnTo>
                      <a:pt x="138" y="112"/>
                    </a:lnTo>
                    <a:lnTo>
                      <a:pt x="138" y="112"/>
                    </a:lnTo>
                    <a:lnTo>
                      <a:pt x="139" y="114"/>
                    </a:lnTo>
                    <a:lnTo>
                      <a:pt x="141" y="114"/>
                    </a:lnTo>
                    <a:lnTo>
                      <a:pt x="142" y="114"/>
                    </a:lnTo>
                    <a:lnTo>
                      <a:pt x="144" y="112"/>
                    </a:lnTo>
                    <a:lnTo>
                      <a:pt x="145" y="111"/>
                    </a:lnTo>
                    <a:lnTo>
                      <a:pt x="149" y="108"/>
                    </a:lnTo>
                    <a:lnTo>
                      <a:pt x="147" y="101"/>
                    </a:lnTo>
                    <a:lnTo>
                      <a:pt x="147" y="98"/>
                    </a:lnTo>
                    <a:lnTo>
                      <a:pt x="149" y="95"/>
                    </a:lnTo>
                    <a:lnTo>
                      <a:pt x="149" y="95"/>
                    </a:lnTo>
                    <a:lnTo>
                      <a:pt x="150" y="92"/>
                    </a:lnTo>
                    <a:lnTo>
                      <a:pt x="150" y="90"/>
                    </a:lnTo>
                    <a:lnTo>
                      <a:pt x="150" y="89"/>
                    </a:lnTo>
                    <a:lnTo>
                      <a:pt x="152" y="86"/>
                    </a:lnTo>
                    <a:lnTo>
                      <a:pt x="153" y="84"/>
                    </a:lnTo>
                    <a:lnTo>
                      <a:pt x="155" y="84"/>
                    </a:lnTo>
                    <a:lnTo>
                      <a:pt x="160" y="84"/>
                    </a:lnTo>
                    <a:lnTo>
                      <a:pt x="163" y="82"/>
                    </a:lnTo>
                    <a:lnTo>
                      <a:pt x="166" y="79"/>
                    </a:lnTo>
                    <a:lnTo>
                      <a:pt x="166" y="78"/>
                    </a:lnTo>
                    <a:lnTo>
                      <a:pt x="164" y="76"/>
                    </a:lnTo>
                    <a:lnTo>
                      <a:pt x="163" y="73"/>
                    </a:lnTo>
                    <a:lnTo>
                      <a:pt x="161" y="72"/>
                    </a:lnTo>
                    <a:lnTo>
                      <a:pt x="158" y="67"/>
                    </a:lnTo>
                    <a:lnTo>
                      <a:pt x="158" y="65"/>
                    </a:lnTo>
                    <a:lnTo>
                      <a:pt x="161" y="64"/>
                    </a:lnTo>
                    <a:lnTo>
                      <a:pt x="164" y="65"/>
                    </a:lnTo>
                    <a:lnTo>
                      <a:pt x="166" y="65"/>
                    </a:lnTo>
                    <a:lnTo>
                      <a:pt x="167" y="65"/>
                    </a:lnTo>
                    <a:lnTo>
                      <a:pt x="172" y="65"/>
                    </a:lnTo>
                    <a:lnTo>
                      <a:pt x="175" y="65"/>
                    </a:lnTo>
                    <a:lnTo>
                      <a:pt x="178" y="64"/>
                    </a:lnTo>
                    <a:lnTo>
                      <a:pt x="180" y="62"/>
                    </a:lnTo>
                    <a:lnTo>
                      <a:pt x="180" y="61"/>
                    </a:lnTo>
                    <a:lnTo>
                      <a:pt x="180" y="59"/>
                    </a:lnTo>
                    <a:lnTo>
                      <a:pt x="180" y="57"/>
                    </a:lnTo>
                    <a:lnTo>
                      <a:pt x="178" y="56"/>
                    </a:lnTo>
                    <a:lnTo>
                      <a:pt x="178" y="54"/>
                    </a:lnTo>
                    <a:lnTo>
                      <a:pt x="177" y="54"/>
                    </a:lnTo>
                    <a:lnTo>
                      <a:pt x="178" y="53"/>
                    </a:lnTo>
                    <a:lnTo>
                      <a:pt x="180" y="53"/>
                    </a:lnTo>
                    <a:lnTo>
                      <a:pt x="180" y="51"/>
                    </a:lnTo>
                    <a:lnTo>
                      <a:pt x="181" y="48"/>
                    </a:lnTo>
                    <a:lnTo>
                      <a:pt x="183" y="46"/>
                    </a:lnTo>
                    <a:lnTo>
                      <a:pt x="185" y="45"/>
                    </a:lnTo>
                    <a:lnTo>
                      <a:pt x="186" y="45"/>
                    </a:lnTo>
                    <a:lnTo>
                      <a:pt x="188" y="43"/>
                    </a:lnTo>
                    <a:lnTo>
                      <a:pt x="188" y="42"/>
                    </a:lnTo>
                    <a:lnTo>
                      <a:pt x="189" y="40"/>
                    </a:lnTo>
                    <a:lnTo>
                      <a:pt x="189" y="40"/>
                    </a:lnTo>
                    <a:lnTo>
                      <a:pt x="189" y="39"/>
                    </a:lnTo>
                    <a:lnTo>
                      <a:pt x="188" y="39"/>
                    </a:lnTo>
                    <a:lnTo>
                      <a:pt x="188" y="37"/>
                    </a:lnTo>
                    <a:lnTo>
                      <a:pt x="188" y="37"/>
                    </a:lnTo>
                    <a:lnTo>
                      <a:pt x="188" y="36"/>
                    </a:lnTo>
                    <a:lnTo>
                      <a:pt x="189" y="36"/>
                    </a:lnTo>
                    <a:lnTo>
                      <a:pt x="188" y="34"/>
                    </a:lnTo>
                    <a:lnTo>
                      <a:pt x="188" y="32"/>
                    </a:lnTo>
                    <a:lnTo>
                      <a:pt x="188" y="31"/>
                    </a:lnTo>
                    <a:lnTo>
                      <a:pt x="186" y="28"/>
                    </a:lnTo>
                    <a:lnTo>
                      <a:pt x="186" y="26"/>
                    </a:lnTo>
                    <a:lnTo>
                      <a:pt x="185" y="25"/>
                    </a:lnTo>
                    <a:lnTo>
                      <a:pt x="185" y="23"/>
                    </a:lnTo>
                    <a:lnTo>
                      <a:pt x="181" y="23"/>
                    </a:lnTo>
                    <a:lnTo>
                      <a:pt x="181" y="21"/>
                    </a:lnTo>
                    <a:lnTo>
                      <a:pt x="181" y="20"/>
                    </a:lnTo>
                    <a:lnTo>
                      <a:pt x="183" y="18"/>
                    </a:lnTo>
                    <a:lnTo>
                      <a:pt x="186" y="15"/>
                    </a:lnTo>
                    <a:lnTo>
                      <a:pt x="188" y="14"/>
                    </a:lnTo>
                    <a:lnTo>
                      <a:pt x="189" y="12"/>
                    </a:lnTo>
                    <a:lnTo>
                      <a:pt x="191" y="14"/>
                    </a:lnTo>
                    <a:lnTo>
                      <a:pt x="192" y="14"/>
                    </a:lnTo>
                    <a:lnTo>
                      <a:pt x="192" y="12"/>
                    </a:lnTo>
                    <a:lnTo>
                      <a:pt x="194" y="10"/>
                    </a:lnTo>
                    <a:lnTo>
                      <a:pt x="197" y="9"/>
                    </a:lnTo>
                    <a:lnTo>
                      <a:pt x="199" y="7"/>
                    </a:lnTo>
                    <a:lnTo>
                      <a:pt x="200" y="6"/>
                    </a:lnTo>
                    <a:lnTo>
                      <a:pt x="202" y="6"/>
                    </a:lnTo>
                    <a:lnTo>
                      <a:pt x="203" y="6"/>
                    </a:lnTo>
                    <a:lnTo>
                      <a:pt x="205" y="4"/>
                    </a:lnTo>
                    <a:lnTo>
                      <a:pt x="206" y="4"/>
                    </a:lnTo>
                    <a:lnTo>
                      <a:pt x="210" y="4"/>
                    </a:lnTo>
                    <a:lnTo>
                      <a:pt x="213" y="4"/>
                    </a:lnTo>
                    <a:lnTo>
                      <a:pt x="216" y="3"/>
                    </a:lnTo>
                    <a:lnTo>
                      <a:pt x="221" y="3"/>
                    </a:lnTo>
                    <a:lnTo>
                      <a:pt x="227" y="3"/>
                    </a:lnTo>
                    <a:lnTo>
                      <a:pt x="227" y="3"/>
                    </a:lnTo>
                    <a:lnTo>
                      <a:pt x="228" y="4"/>
                    </a:lnTo>
                    <a:lnTo>
                      <a:pt x="231" y="4"/>
                    </a:lnTo>
                    <a:lnTo>
                      <a:pt x="231" y="4"/>
                    </a:lnTo>
                    <a:lnTo>
                      <a:pt x="235" y="3"/>
                    </a:lnTo>
                    <a:lnTo>
                      <a:pt x="238" y="1"/>
                    </a:lnTo>
                    <a:lnTo>
                      <a:pt x="241" y="0"/>
                    </a:lnTo>
                    <a:lnTo>
                      <a:pt x="241" y="0"/>
                    </a:lnTo>
                    <a:lnTo>
                      <a:pt x="242" y="0"/>
                    </a:lnTo>
                    <a:lnTo>
                      <a:pt x="244" y="0"/>
                    </a:lnTo>
                    <a:lnTo>
                      <a:pt x="246"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8" name="Freeform 165">
                <a:extLst>
                  <a:ext uri="{FF2B5EF4-FFF2-40B4-BE49-F238E27FC236}">
                    <a16:creationId xmlns:a16="http://schemas.microsoft.com/office/drawing/2014/main" id="{C4F14329-99D1-9154-5E8D-FF4157F1CBD8}"/>
                  </a:ext>
                </a:extLst>
              </p:cNvPr>
              <p:cNvSpPr>
                <a:spLocks/>
              </p:cNvSpPr>
              <p:nvPr/>
            </p:nvSpPr>
            <p:spPr bwMode="gray">
              <a:xfrm>
                <a:off x="2922" y="426"/>
                <a:ext cx="175" cy="166"/>
              </a:xfrm>
              <a:custGeom>
                <a:avLst/>
                <a:gdLst>
                  <a:gd name="T0" fmla="*/ 116 w 175"/>
                  <a:gd name="T1" fmla="*/ 12 h 166"/>
                  <a:gd name="T2" fmla="*/ 152 w 175"/>
                  <a:gd name="T3" fmla="*/ 14 h 166"/>
                  <a:gd name="T4" fmla="*/ 157 w 175"/>
                  <a:gd name="T5" fmla="*/ 15 h 166"/>
                  <a:gd name="T6" fmla="*/ 163 w 175"/>
                  <a:gd name="T7" fmla="*/ 19 h 166"/>
                  <a:gd name="T8" fmla="*/ 164 w 175"/>
                  <a:gd name="T9" fmla="*/ 26 h 166"/>
                  <a:gd name="T10" fmla="*/ 172 w 175"/>
                  <a:gd name="T11" fmla="*/ 58 h 166"/>
                  <a:gd name="T12" fmla="*/ 164 w 175"/>
                  <a:gd name="T13" fmla="*/ 67 h 166"/>
                  <a:gd name="T14" fmla="*/ 160 w 175"/>
                  <a:gd name="T15" fmla="*/ 75 h 166"/>
                  <a:gd name="T16" fmla="*/ 168 w 175"/>
                  <a:gd name="T17" fmla="*/ 80 h 166"/>
                  <a:gd name="T18" fmla="*/ 168 w 175"/>
                  <a:gd name="T19" fmla="*/ 89 h 166"/>
                  <a:gd name="T20" fmla="*/ 168 w 175"/>
                  <a:gd name="T21" fmla="*/ 98 h 166"/>
                  <a:gd name="T22" fmla="*/ 172 w 175"/>
                  <a:gd name="T23" fmla="*/ 108 h 166"/>
                  <a:gd name="T24" fmla="*/ 175 w 175"/>
                  <a:gd name="T25" fmla="*/ 117 h 166"/>
                  <a:gd name="T26" fmla="*/ 175 w 175"/>
                  <a:gd name="T27" fmla="*/ 119 h 166"/>
                  <a:gd name="T28" fmla="*/ 174 w 175"/>
                  <a:gd name="T29" fmla="*/ 128 h 166"/>
                  <a:gd name="T30" fmla="*/ 161 w 175"/>
                  <a:gd name="T31" fmla="*/ 137 h 166"/>
                  <a:gd name="T32" fmla="*/ 150 w 175"/>
                  <a:gd name="T33" fmla="*/ 152 h 166"/>
                  <a:gd name="T34" fmla="*/ 152 w 175"/>
                  <a:gd name="T35" fmla="*/ 161 h 166"/>
                  <a:gd name="T36" fmla="*/ 153 w 175"/>
                  <a:gd name="T37" fmla="*/ 164 h 166"/>
                  <a:gd name="T38" fmla="*/ 147 w 175"/>
                  <a:gd name="T39" fmla="*/ 164 h 166"/>
                  <a:gd name="T40" fmla="*/ 138 w 175"/>
                  <a:gd name="T41" fmla="*/ 156 h 166"/>
                  <a:gd name="T42" fmla="*/ 124 w 175"/>
                  <a:gd name="T43" fmla="*/ 155 h 166"/>
                  <a:gd name="T44" fmla="*/ 117 w 175"/>
                  <a:gd name="T45" fmla="*/ 158 h 166"/>
                  <a:gd name="T46" fmla="*/ 111 w 175"/>
                  <a:gd name="T47" fmla="*/ 155 h 166"/>
                  <a:gd name="T48" fmla="*/ 107 w 175"/>
                  <a:gd name="T49" fmla="*/ 158 h 166"/>
                  <a:gd name="T50" fmla="*/ 100 w 175"/>
                  <a:gd name="T51" fmla="*/ 161 h 166"/>
                  <a:gd name="T52" fmla="*/ 100 w 175"/>
                  <a:gd name="T53" fmla="*/ 156 h 166"/>
                  <a:gd name="T54" fmla="*/ 97 w 175"/>
                  <a:gd name="T55" fmla="*/ 153 h 166"/>
                  <a:gd name="T56" fmla="*/ 91 w 175"/>
                  <a:gd name="T57" fmla="*/ 152 h 166"/>
                  <a:gd name="T58" fmla="*/ 85 w 175"/>
                  <a:gd name="T59" fmla="*/ 153 h 166"/>
                  <a:gd name="T60" fmla="*/ 78 w 175"/>
                  <a:gd name="T61" fmla="*/ 144 h 166"/>
                  <a:gd name="T62" fmla="*/ 74 w 175"/>
                  <a:gd name="T63" fmla="*/ 141 h 166"/>
                  <a:gd name="T64" fmla="*/ 69 w 175"/>
                  <a:gd name="T65" fmla="*/ 137 h 166"/>
                  <a:gd name="T66" fmla="*/ 66 w 175"/>
                  <a:gd name="T67" fmla="*/ 139 h 166"/>
                  <a:gd name="T68" fmla="*/ 61 w 175"/>
                  <a:gd name="T69" fmla="*/ 134 h 166"/>
                  <a:gd name="T70" fmla="*/ 64 w 175"/>
                  <a:gd name="T71" fmla="*/ 131 h 166"/>
                  <a:gd name="T72" fmla="*/ 53 w 175"/>
                  <a:gd name="T73" fmla="*/ 128 h 166"/>
                  <a:gd name="T74" fmla="*/ 52 w 175"/>
                  <a:gd name="T75" fmla="*/ 131 h 166"/>
                  <a:gd name="T76" fmla="*/ 47 w 175"/>
                  <a:gd name="T77" fmla="*/ 136 h 166"/>
                  <a:gd name="T78" fmla="*/ 39 w 175"/>
                  <a:gd name="T79" fmla="*/ 130 h 166"/>
                  <a:gd name="T80" fmla="*/ 38 w 175"/>
                  <a:gd name="T81" fmla="*/ 126 h 166"/>
                  <a:gd name="T82" fmla="*/ 41 w 175"/>
                  <a:gd name="T83" fmla="*/ 123 h 166"/>
                  <a:gd name="T84" fmla="*/ 33 w 175"/>
                  <a:gd name="T85" fmla="*/ 122 h 166"/>
                  <a:gd name="T86" fmla="*/ 28 w 175"/>
                  <a:gd name="T87" fmla="*/ 119 h 166"/>
                  <a:gd name="T88" fmla="*/ 22 w 175"/>
                  <a:gd name="T89" fmla="*/ 116 h 166"/>
                  <a:gd name="T90" fmla="*/ 16 w 175"/>
                  <a:gd name="T91" fmla="*/ 111 h 166"/>
                  <a:gd name="T92" fmla="*/ 13 w 175"/>
                  <a:gd name="T93" fmla="*/ 116 h 166"/>
                  <a:gd name="T94" fmla="*/ 14 w 175"/>
                  <a:gd name="T95" fmla="*/ 100 h 166"/>
                  <a:gd name="T96" fmla="*/ 11 w 175"/>
                  <a:gd name="T97" fmla="*/ 92 h 166"/>
                  <a:gd name="T98" fmla="*/ 11 w 175"/>
                  <a:gd name="T99" fmla="*/ 84 h 166"/>
                  <a:gd name="T100" fmla="*/ 11 w 175"/>
                  <a:gd name="T101" fmla="*/ 80 h 166"/>
                  <a:gd name="T102" fmla="*/ 8 w 175"/>
                  <a:gd name="T103" fmla="*/ 73 h 166"/>
                  <a:gd name="T104" fmla="*/ 0 w 175"/>
                  <a:gd name="T105" fmla="*/ 58 h 166"/>
                  <a:gd name="T106" fmla="*/ 6 w 175"/>
                  <a:gd name="T107" fmla="*/ 48 h 166"/>
                  <a:gd name="T108" fmla="*/ 3 w 175"/>
                  <a:gd name="T109" fmla="*/ 34 h 166"/>
                  <a:gd name="T110" fmla="*/ 8 w 175"/>
                  <a:gd name="T111" fmla="*/ 34 h 166"/>
                  <a:gd name="T112" fmla="*/ 2 w 175"/>
                  <a:gd name="T113" fmla="*/ 28 h 166"/>
                  <a:gd name="T114" fmla="*/ 21 w 175"/>
                  <a:gd name="T115" fmla="*/ 20 h 166"/>
                  <a:gd name="T116" fmla="*/ 39 w 175"/>
                  <a:gd name="T117" fmla="*/ 14 h 166"/>
                  <a:gd name="T118" fmla="*/ 57 w 175"/>
                  <a:gd name="T119" fmla="*/ 3 h 166"/>
                  <a:gd name="T120" fmla="*/ 82 w 175"/>
                  <a:gd name="T121" fmla="*/ 4 h 166"/>
                  <a:gd name="T122" fmla="*/ 78 w 175"/>
                  <a:gd name="T123" fmla="*/ 9 h 166"/>
                  <a:gd name="T124" fmla="*/ 96 w 175"/>
                  <a:gd name="T125" fmla="*/ 1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 h="166">
                    <a:moveTo>
                      <a:pt x="97" y="11"/>
                    </a:moveTo>
                    <a:lnTo>
                      <a:pt x="97" y="12"/>
                    </a:lnTo>
                    <a:lnTo>
                      <a:pt x="102" y="12"/>
                    </a:lnTo>
                    <a:lnTo>
                      <a:pt x="108" y="12"/>
                    </a:lnTo>
                    <a:lnTo>
                      <a:pt x="116" y="12"/>
                    </a:lnTo>
                    <a:lnTo>
                      <a:pt x="124" y="14"/>
                    </a:lnTo>
                    <a:lnTo>
                      <a:pt x="133" y="14"/>
                    </a:lnTo>
                    <a:lnTo>
                      <a:pt x="143" y="14"/>
                    </a:lnTo>
                    <a:lnTo>
                      <a:pt x="152" y="14"/>
                    </a:lnTo>
                    <a:lnTo>
                      <a:pt x="152" y="14"/>
                    </a:lnTo>
                    <a:lnTo>
                      <a:pt x="153" y="14"/>
                    </a:lnTo>
                    <a:lnTo>
                      <a:pt x="155" y="14"/>
                    </a:lnTo>
                    <a:lnTo>
                      <a:pt x="157" y="14"/>
                    </a:lnTo>
                    <a:lnTo>
                      <a:pt x="157" y="14"/>
                    </a:lnTo>
                    <a:lnTo>
                      <a:pt x="157" y="15"/>
                    </a:lnTo>
                    <a:lnTo>
                      <a:pt x="157" y="15"/>
                    </a:lnTo>
                    <a:lnTo>
                      <a:pt x="158" y="15"/>
                    </a:lnTo>
                    <a:lnTo>
                      <a:pt x="160" y="17"/>
                    </a:lnTo>
                    <a:lnTo>
                      <a:pt x="161" y="19"/>
                    </a:lnTo>
                    <a:lnTo>
                      <a:pt x="163" y="19"/>
                    </a:lnTo>
                    <a:lnTo>
                      <a:pt x="164" y="20"/>
                    </a:lnTo>
                    <a:lnTo>
                      <a:pt x="164" y="23"/>
                    </a:lnTo>
                    <a:lnTo>
                      <a:pt x="164" y="25"/>
                    </a:lnTo>
                    <a:lnTo>
                      <a:pt x="164" y="26"/>
                    </a:lnTo>
                    <a:lnTo>
                      <a:pt x="164" y="26"/>
                    </a:lnTo>
                    <a:lnTo>
                      <a:pt x="168" y="37"/>
                    </a:lnTo>
                    <a:lnTo>
                      <a:pt x="171" y="47"/>
                    </a:lnTo>
                    <a:lnTo>
                      <a:pt x="172" y="51"/>
                    </a:lnTo>
                    <a:lnTo>
                      <a:pt x="172" y="53"/>
                    </a:lnTo>
                    <a:lnTo>
                      <a:pt x="172" y="58"/>
                    </a:lnTo>
                    <a:lnTo>
                      <a:pt x="172" y="59"/>
                    </a:lnTo>
                    <a:lnTo>
                      <a:pt x="172" y="61"/>
                    </a:lnTo>
                    <a:lnTo>
                      <a:pt x="172" y="62"/>
                    </a:lnTo>
                    <a:lnTo>
                      <a:pt x="171" y="64"/>
                    </a:lnTo>
                    <a:lnTo>
                      <a:pt x="164" y="67"/>
                    </a:lnTo>
                    <a:lnTo>
                      <a:pt x="164" y="69"/>
                    </a:lnTo>
                    <a:lnTo>
                      <a:pt x="161" y="70"/>
                    </a:lnTo>
                    <a:lnTo>
                      <a:pt x="160" y="73"/>
                    </a:lnTo>
                    <a:lnTo>
                      <a:pt x="160" y="75"/>
                    </a:lnTo>
                    <a:lnTo>
                      <a:pt x="160" y="75"/>
                    </a:lnTo>
                    <a:lnTo>
                      <a:pt x="160" y="76"/>
                    </a:lnTo>
                    <a:lnTo>
                      <a:pt x="163" y="78"/>
                    </a:lnTo>
                    <a:lnTo>
                      <a:pt x="164" y="78"/>
                    </a:lnTo>
                    <a:lnTo>
                      <a:pt x="166" y="80"/>
                    </a:lnTo>
                    <a:lnTo>
                      <a:pt x="168" y="80"/>
                    </a:lnTo>
                    <a:lnTo>
                      <a:pt x="168" y="81"/>
                    </a:lnTo>
                    <a:lnTo>
                      <a:pt x="168" y="83"/>
                    </a:lnTo>
                    <a:lnTo>
                      <a:pt x="168" y="84"/>
                    </a:lnTo>
                    <a:lnTo>
                      <a:pt x="168" y="87"/>
                    </a:lnTo>
                    <a:lnTo>
                      <a:pt x="168" y="89"/>
                    </a:lnTo>
                    <a:lnTo>
                      <a:pt x="168" y="90"/>
                    </a:lnTo>
                    <a:lnTo>
                      <a:pt x="166" y="92"/>
                    </a:lnTo>
                    <a:lnTo>
                      <a:pt x="166" y="94"/>
                    </a:lnTo>
                    <a:lnTo>
                      <a:pt x="168" y="97"/>
                    </a:lnTo>
                    <a:lnTo>
                      <a:pt x="168" y="98"/>
                    </a:lnTo>
                    <a:lnTo>
                      <a:pt x="169" y="100"/>
                    </a:lnTo>
                    <a:lnTo>
                      <a:pt x="168" y="101"/>
                    </a:lnTo>
                    <a:lnTo>
                      <a:pt x="168" y="103"/>
                    </a:lnTo>
                    <a:lnTo>
                      <a:pt x="169" y="105"/>
                    </a:lnTo>
                    <a:lnTo>
                      <a:pt x="172" y="108"/>
                    </a:lnTo>
                    <a:lnTo>
                      <a:pt x="174" y="111"/>
                    </a:lnTo>
                    <a:lnTo>
                      <a:pt x="174" y="112"/>
                    </a:lnTo>
                    <a:lnTo>
                      <a:pt x="175" y="116"/>
                    </a:lnTo>
                    <a:lnTo>
                      <a:pt x="175" y="116"/>
                    </a:lnTo>
                    <a:lnTo>
                      <a:pt x="175" y="117"/>
                    </a:lnTo>
                    <a:lnTo>
                      <a:pt x="175" y="117"/>
                    </a:lnTo>
                    <a:lnTo>
                      <a:pt x="174" y="117"/>
                    </a:lnTo>
                    <a:lnTo>
                      <a:pt x="174" y="117"/>
                    </a:lnTo>
                    <a:lnTo>
                      <a:pt x="174" y="119"/>
                    </a:lnTo>
                    <a:lnTo>
                      <a:pt x="175" y="119"/>
                    </a:lnTo>
                    <a:lnTo>
                      <a:pt x="175" y="122"/>
                    </a:lnTo>
                    <a:lnTo>
                      <a:pt x="175" y="125"/>
                    </a:lnTo>
                    <a:lnTo>
                      <a:pt x="175" y="125"/>
                    </a:lnTo>
                    <a:lnTo>
                      <a:pt x="174" y="126"/>
                    </a:lnTo>
                    <a:lnTo>
                      <a:pt x="174" y="128"/>
                    </a:lnTo>
                    <a:lnTo>
                      <a:pt x="169" y="128"/>
                    </a:lnTo>
                    <a:lnTo>
                      <a:pt x="168" y="130"/>
                    </a:lnTo>
                    <a:lnTo>
                      <a:pt x="166" y="133"/>
                    </a:lnTo>
                    <a:lnTo>
                      <a:pt x="164" y="134"/>
                    </a:lnTo>
                    <a:lnTo>
                      <a:pt x="161" y="137"/>
                    </a:lnTo>
                    <a:lnTo>
                      <a:pt x="157" y="142"/>
                    </a:lnTo>
                    <a:lnTo>
                      <a:pt x="155" y="144"/>
                    </a:lnTo>
                    <a:lnTo>
                      <a:pt x="155" y="145"/>
                    </a:lnTo>
                    <a:lnTo>
                      <a:pt x="152" y="150"/>
                    </a:lnTo>
                    <a:lnTo>
                      <a:pt x="150" y="152"/>
                    </a:lnTo>
                    <a:lnTo>
                      <a:pt x="150" y="153"/>
                    </a:lnTo>
                    <a:lnTo>
                      <a:pt x="152" y="156"/>
                    </a:lnTo>
                    <a:lnTo>
                      <a:pt x="152" y="158"/>
                    </a:lnTo>
                    <a:lnTo>
                      <a:pt x="152" y="159"/>
                    </a:lnTo>
                    <a:lnTo>
                      <a:pt x="152" y="161"/>
                    </a:lnTo>
                    <a:lnTo>
                      <a:pt x="152" y="161"/>
                    </a:lnTo>
                    <a:lnTo>
                      <a:pt x="152" y="162"/>
                    </a:lnTo>
                    <a:lnTo>
                      <a:pt x="153" y="164"/>
                    </a:lnTo>
                    <a:lnTo>
                      <a:pt x="153" y="164"/>
                    </a:lnTo>
                    <a:lnTo>
                      <a:pt x="153" y="164"/>
                    </a:lnTo>
                    <a:lnTo>
                      <a:pt x="153" y="166"/>
                    </a:lnTo>
                    <a:lnTo>
                      <a:pt x="152" y="164"/>
                    </a:lnTo>
                    <a:lnTo>
                      <a:pt x="149" y="164"/>
                    </a:lnTo>
                    <a:lnTo>
                      <a:pt x="149" y="164"/>
                    </a:lnTo>
                    <a:lnTo>
                      <a:pt x="147" y="164"/>
                    </a:lnTo>
                    <a:lnTo>
                      <a:pt x="143" y="162"/>
                    </a:lnTo>
                    <a:lnTo>
                      <a:pt x="139" y="161"/>
                    </a:lnTo>
                    <a:lnTo>
                      <a:pt x="139" y="159"/>
                    </a:lnTo>
                    <a:lnTo>
                      <a:pt x="138" y="158"/>
                    </a:lnTo>
                    <a:lnTo>
                      <a:pt x="138" y="156"/>
                    </a:lnTo>
                    <a:lnTo>
                      <a:pt x="135" y="156"/>
                    </a:lnTo>
                    <a:lnTo>
                      <a:pt x="133" y="155"/>
                    </a:lnTo>
                    <a:lnTo>
                      <a:pt x="127" y="155"/>
                    </a:lnTo>
                    <a:lnTo>
                      <a:pt x="125" y="155"/>
                    </a:lnTo>
                    <a:lnTo>
                      <a:pt x="124" y="155"/>
                    </a:lnTo>
                    <a:lnTo>
                      <a:pt x="122" y="155"/>
                    </a:lnTo>
                    <a:lnTo>
                      <a:pt x="122" y="156"/>
                    </a:lnTo>
                    <a:lnTo>
                      <a:pt x="121" y="158"/>
                    </a:lnTo>
                    <a:lnTo>
                      <a:pt x="119" y="158"/>
                    </a:lnTo>
                    <a:lnTo>
                      <a:pt x="117" y="158"/>
                    </a:lnTo>
                    <a:lnTo>
                      <a:pt x="117" y="156"/>
                    </a:lnTo>
                    <a:lnTo>
                      <a:pt x="114" y="155"/>
                    </a:lnTo>
                    <a:lnTo>
                      <a:pt x="113" y="156"/>
                    </a:lnTo>
                    <a:lnTo>
                      <a:pt x="113" y="155"/>
                    </a:lnTo>
                    <a:lnTo>
                      <a:pt x="111" y="155"/>
                    </a:lnTo>
                    <a:lnTo>
                      <a:pt x="111" y="156"/>
                    </a:lnTo>
                    <a:lnTo>
                      <a:pt x="110" y="156"/>
                    </a:lnTo>
                    <a:lnTo>
                      <a:pt x="110" y="156"/>
                    </a:lnTo>
                    <a:lnTo>
                      <a:pt x="108" y="156"/>
                    </a:lnTo>
                    <a:lnTo>
                      <a:pt x="107" y="158"/>
                    </a:lnTo>
                    <a:lnTo>
                      <a:pt x="107" y="159"/>
                    </a:lnTo>
                    <a:lnTo>
                      <a:pt x="105" y="161"/>
                    </a:lnTo>
                    <a:lnTo>
                      <a:pt x="102" y="159"/>
                    </a:lnTo>
                    <a:lnTo>
                      <a:pt x="102" y="161"/>
                    </a:lnTo>
                    <a:lnTo>
                      <a:pt x="100" y="161"/>
                    </a:lnTo>
                    <a:lnTo>
                      <a:pt x="100" y="161"/>
                    </a:lnTo>
                    <a:lnTo>
                      <a:pt x="100" y="159"/>
                    </a:lnTo>
                    <a:lnTo>
                      <a:pt x="100" y="159"/>
                    </a:lnTo>
                    <a:lnTo>
                      <a:pt x="100" y="158"/>
                    </a:lnTo>
                    <a:lnTo>
                      <a:pt x="100" y="156"/>
                    </a:lnTo>
                    <a:lnTo>
                      <a:pt x="99" y="155"/>
                    </a:lnTo>
                    <a:lnTo>
                      <a:pt x="99" y="155"/>
                    </a:lnTo>
                    <a:lnTo>
                      <a:pt x="97" y="155"/>
                    </a:lnTo>
                    <a:lnTo>
                      <a:pt x="97" y="155"/>
                    </a:lnTo>
                    <a:lnTo>
                      <a:pt x="97" y="153"/>
                    </a:lnTo>
                    <a:lnTo>
                      <a:pt x="96" y="152"/>
                    </a:lnTo>
                    <a:lnTo>
                      <a:pt x="94" y="150"/>
                    </a:lnTo>
                    <a:lnTo>
                      <a:pt x="94" y="150"/>
                    </a:lnTo>
                    <a:lnTo>
                      <a:pt x="92" y="150"/>
                    </a:lnTo>
                    <a:lnTo>
                      <a:pt x="91" y="152"/>
                    </a:lnTo>
                    <a:lnTo>
                      <a:pt x="91" y="152"/>
                    </a:lnTo>
                    <a:lnTo>
                      <a:pt x="89" y="155"/>
                    </a:lnTo>
                    <a:lnTo>
                      <a:pt x="86" y="155"/>
                    </a:lnTo>
                    <a:lnTo>
                      <a:pt x="86" y="153"/>
                    </a:lnTo>
                    <a:lnTo>
                      <a:pt x="85" y="153"/>
                    </a:lnTo>
                    <a:lnTo>
                      <a:pt x="83" y="152"/>
                    </a:lnTo>
                    <a:lnTo>
                      <a:pt x="83" y="152"/>
                    </a:lnTo>
                    <a:lnTo>
                      <a:pt x="83" y="150"/>
                    </a:lnTo>
                    <a:lnTo>
                      <a:pt x="80" y="145"/>
                    </a:lnTo>
                    <a:lnTo>
                      <a:pt x="78" y="144"/>
                    </a:lnTo>
                    <a:lnTo>
                      <a:pt x="78" y="144"/>
                    </a:lnTo>
                    <a:lnTo>
                      <a:pt x="78" y="142"/>
                    </a:lnTo>
                    <a:lnTo>
                      <a:pt x="78" y="142"/>
                    </a:lnTo>
                    <a:lnTo>
                      <a:pt x="75" y="141"/>
                    </a:lnTo>
                    <a:lnTo>
                      <a:pt x="74" y="141"/>
                    </a:lnTo>
                    <a:lnTo>
                      <a:pt x="74" y="141"/>
                    </a:lnTo>
                    <a:lnTo>
                      <a:pt x="72" y="141"/>
                    </a:lnTo>
                    <a:lnTo>
                      <a:pt x="71" y="139"/>
                    </a:lnTo>
                    <a:lnTo>
                      <a:pt x="71" y="139"/>
                    </a:lnTo>
                    <a:lnTo>
                      <a:pt x="69" y="137"/>
                    </a:lnTo>
                    <a:lnTo>
                      <a:pt x="69" y="137"/>
                    </a:lnTo>
                    <a:lnTo>
                      <a:pt x="69" y="139"/>
                    </a:lnTo>
                    <a:lnTo>
                      <a:pt x="69" y="139"/>
                    </a:lnTo>
                    <a:lnTo>
                      <a:pt x="66" y="139"/>
                    </a:lnTo>
                    <a:lnTo>
                      <a:pt x="66" y="139"/>
                    </a:lnTo>
                    <a:lnTo>
                      <a:pt x="66" y="139"/>
                    </a:lnTo>
                    <a:lnTo>
                      <a:pt x="64" y="137"/>
                    </a:lnTo>
                    <a:lnTo>
                      <a:pt x="63" y="136"/>
                    </a:lnTo>
                    <a:lnTo>
                      <a:pt x="63" y="136"/>
                    </a:lnTo>
                    <a:lnTo>
                      <a:pt x="61" y="134"/>
                    </a:lnTo>
                    <a:lnTo>
                      <a:pt x="61" y="134"/>
                    </a:lnTo>
                    <a:lnTo>
                      <a:pt x="64" y="134"/>
                    </a:lnTo>
                    <a:lnTo>
                      <a:pt x="64" y="133"/>
                    </a:lnTo>
                    <a:lnTo>
                      <a:pt x="64" y="131"/>
                    </a:lnTo>
                    <a:lnTo>
                      <a:pt x="64" y="131"/>
                    </a:lnTo>
                    <a:lnTo>
                      <a:pt x="63" y="131"/>
                    </a:lnTo>
                    <a:lnTo>
                      <a:pt x="61" y="131"/>
                    </a:lnTo>
                    <a:lnTo>
                      <a:pt x="60" y="131"/>
                    </a:lnTo>
                    <a:lnTo>
                      <a:pt x="58" y="131"/>
                    </a:lnTo>
                    <a:lnTo>
                      <a:pt x="53" y="128"/>
                    </a:lnTo>
                    <a:lnTo>
                      <a:pt x="50" y="128"/>
                    </a:lnTo>
                    <a:lnTo>
                      <a:pt x="49" y="126"/>
                    </a:lnTo>
                    <a:lnTo>
                      <a:pt x="49" y="128"/>
                    </a:lnTo>
                    <a:lnTo>
                      <a:pt x="50" y="130"/>
                    </a:lnTo>
                    <a:lnTo>
                      <a:pt x="52" y="131"/>
                    </a:lnTo>
                    <a:lnTo>
                      <a:pt x="52" y="133"/>
                    </a:lnTo>
                    <a:lnTo>
                      <a:pt x="49" y="133"/>
                    </a:lnTo>
                    <a:lnTo>
                      <a:pt x="49" y="134"/>
                    </a:lnTo>
                    <a:lnTo>
                      <a:pt x="47" y="134"/>
                    </a:lnTo>
                    <a:lnTo>
                      <a:pt x="47" y="136"/>
                    </a:lnTo>
                    <a:lnTo>
                      <a:pt x="46" y="136"/>
                    </a:lnTo>
                    <a:lnTo>
                      <a:pt x="46" y="136"/>
                    </a:lnTo>
                    <a:lnTo>
                      <a:pt x="44" y="136"/>
                    </a:lnTo>
                    <a:lnTo>
                      <a:pt x="42" y="133"/>
                    </a:lnTo>
                    <a:lnTo>
                      <a:pt x="39" y="130"/>
                    </a:lnTo>
                    <a:lnTo>
                      <a:pt x="39" y="128"/>
                    </a:lnTo>
                    <a:lnTo>
                      <a:pt x="39" y="128"/>
                    </a:lnTo>
                    <a:lnTo>
                      <a:pt x="38" y="128"/>
                    </a:lnTo>
                    <a:lnTo>
                      <a:pt x="38" y="126"/>
                    </a:lnTo>
                    <a:lnTo>
                      <a:pt x="38" y="126"/>
                    </a:lnTo>
                    <a:lnTo>
                      <a:pt x="39" y="125"/>
                    </a:lnTo>
                    <a:lnTo>
                      <a:pt x="39" y="125"/>
                    </a:lnTo>
                    <a:lnTo>
                      <a:pt x="41" y="125"/>
                    </a:lnTo>
                    <a:lnTo>
                      <a:pt x="41" y="123"/>
                    </a:lnTo>
                    <a:lnTo>
                      <a:pt x="41" y="123"/>
                    </a:lnTo>
                    <a:lnTo>
                      <a:pt x="41" y="123"/>
                    </a:lnTo>
                    <a:lnTo>
                      <a:pt x="39" y="122"/>
                    </a:lnTo>
                    <a:lnTo>
                      <a:pt x="39" y="120"/>
                    </a:lnTo>
                    <a:lnTo>
                      <a:pt x="35" y="122"/>
                    </a:lnTo>
                    <a:lnTo>
                      <a:pt x="33" y="122"/>
                    </a:lnTo>
                    <a:lnTo>
                      <a:pt x="33" y="122"/>
                    </a:lnTo>
                    <a:lnTo>
                      <a:pt x="33" y="120"/>
                    </a:lnTo>
                    <a:lnTo>
                      <a:pt x="31" y="120"/>
                    </a:lnTo>
                    <a:lnTo>
                      <a:pt x="30" y="119"/>
                    </a:lnTo>
                    <a:lnTo>
                      <a:pt x="28" y="119"/>
                    </a:lnTo>
                    <a:lnTo>
                      <a:pt x="27" y="119"/>
                    </a:lnTo>
                    <a:lnTo>
                      <a:pt x="24" y="117"/>
                    </a:lnTo>
                    <a:lnTo>
                      <a:pt x="24" y="117"/>
                    </a:lnTo>
                    <a:lnTo>
                      <a:pt x="22" y="117"/>
                    </a:lnTo>
                    <a:lnTo>
                      <a:pt x="22" y="116"/>
                    </a:lnTo>
                    <a:lnTo>
                      <a:pt x="21" y="114"/>
                    </a:lnTo>
                    <a:lnTo>
                      <a:pt x="21" y="112"/>
                    </a:lnTo>
                    <a:lnTo>
                      <a:pt x="19" y="111"/>
                    </a:lnTo>
                    <a:lnTo>
                      <a:pt x="16" y="111"/>
                    </a:lnTo>
                    <a:lnTo>
                      <a:pt x="16" y="111"/>
                    </a:lnTo>
                    <a:lnTo>
                      <a:pt x="16" y="114"/>
                    </a:lnTo>
                    <a:lnTo>
                      <a:pt x="16" y="114"/>
                    </a:lnTo>
                    <a:lnTo>
                      <a:pt x="14" y="116"/>
                    </a:lnTo>
                    <a:lnTo>
                      <a:pt x="13" y="116"/>
                    </a:lnTo>
                    <a:lnTo>
                      <a:pt x="13" y="116"/>
                    </a:lnTo>
                    <a:lnTo>
                      <a:pt x="14" y="111"/>
                    </a:lnTo>
                    <a:lnTo>
                      <a:pt x="16" y="109"/>
                    </a:lnTo>
                    <a:lnTo>
                      <a:pt x="16" y="105"/>
                    </a:lnTo>
                    <a:lnTo>
                      <a:pt x="16" y="101"/>
                    </a:lnTo>
                    <a:lnTo>
                      <a:pt x="14" y="100"/>
                    </a:lnTo>
                    <a:lnTo>
                      <a:pt x="14" y="98"/>
                    </a:lnTo>
                    <a:lnTo>
                      <a:pt x="11" y="97"/>
                    </a:lnTo>
                    <a:lnTo>
                      <a:pt x="11" y="97"/>
                    </a:lnTo>
                    <a:lnTo>
                      <a:pt x="11" y="94"/>
                    </a:lnTo>
                    <a:lnTo>
                      <a:pt x="11" y="92"/>
                    </a:lnTo>
                    <a:lnTo>
                      <a:pt x="11" y="92"/>
                    </a:lnTo>
                    <a:lnTo>
                      <a:pt x="10" y="89"/>
                    </a:lnTo>
                    <a:lnTo>
                      <a:pt x="10" y="87"/>
                    </a:lnTo>
                    <a:lnTo>
                      <a:pt x="11" y="86"/>
                    </a:lnTo>
                    <a:lnTo>
                      <a:pt x="11" y="84"/>
                    </a:lnTo>
                    <a:lnTo>
                      <a:pt x="11" y="83"/>
                    </a:lnTo>
                    <a:lnTo>
                      <a:pt x="11" y="81"/>
                    </a:lnTo>
                    <a:lnTo>
                      <a:pt x="11" y="81"/>
                    </a:lnTo>
                    <a:lnTo>
                      <a:pt x="11" y="80"/>
                    </a:lnTo>
                    <a:lnTo>
                      <a:pt x="11" y="80"/>
                    </a:lnTo>
                    <a:lnTo>
                      <a:pt x="11" y="78"/>
                    </a:lnTo>
                    <a:lnTo>
                      <a:pt x="11" y="76"/>
                    </a:lnTo>
                    <a:lnTo>
                      <a:pt x="10" y="75"/>
                    </a:lnTo>
                    <a:lnTo>
                      <a:pt x="8" y="75"/>
                    </a:lnTo>
                    <a:lnTo>
                      <a:pt x="8" y="73"/>
                    </a:lnTo>
                    <a:lnTo>
                      <a:pt x="8" y="70"/>
                    </a:lnTo>
                    <a:lnTo>
                      <a:pt x="10" y="69"/>
                    </a:lnTo>
                    <a:lnTo>
                      <a:pt x="8" y="64"/>
                    </a:lnTo>
                    <a:lnTo>
                      <a:pt x="3" y="61"/>
                    </a:lnTo>
                    <a:lnTo>
                      <a:pt x="0" y="58"/>
                    </a:lnTo>
                    <a:lnTo>
                      <a:pt x="2" y="56"/>
                    </a:lnTo>
                    <a:lnTo>
                      <a:pt x="2" y="55"/>
                    </a:lnTo>
                    <a:lnTo>
                      <a:pt x="3" y="53"/>
                    </a:lnTo>
                    <a:lnTo>
                      <a:pt x="5" y="51"/>
                    </a:lnTo>
                    <a:lnTo>
                      <a:pt x="6" y="48"/>
                    </a:lnTo>
                    <a:lnTo>
                      <a:pt x="6" y="48"/>
                    </a:lnTo>
                    <a:lnTo>
                      <a:pt x="6" y="47"/>
                    </a:lnTo>
                    <a:lnTo>
                      <a:pt x="3" y="39"/>
                    </a:lnTo>
                    <a:lnTo>
                      <a:pt x="3" y="36"/>
                    </a:lnTo>
                    <a:lnTo>
                      <a:pt x="3" y="34"/>
                    </a:lnTo>
                    <a:lnTo>
                      <a:pt x="3" y="33"/>
                    </a:lnTo>
                    <a:lnTo>
                      <a:pt x="6" y="34"/>
                    </a:lnTo>
                    <a:lnTo>
                      <a:pt x="10" y="36"/>
                    </a:lnTo>
                    <a:lnTo>
                      <a:pt x="8" y="34"/>
                    </a:lnTo>
                    <a:lnTo>
                      <a:pt x="8" y="34"/>
                    </a:lnTo>
                    <a:lnTo>
                      <a:pt x="8" y="33"/>
                    </a:lnTo>
                    <a:lnTo>
                      <a:pt x="8" y="29"/>
                    </a:lnTo>
                    <a:lnTo>
                      <a:pt x="5" y="29"/>
                    </a:lnTo>
                    <a:lnTo>
                      <a:pt x="2" y="29"/>
                    </a:lnTo>
                    <a:lnTo>
                      <a:pt x="2" y="28"/>
                    </a:lnTo>
                    <a:lnTo>
                      <a:pt x="2" y="26"/>
                    </a:lnTo>
                    <a:lnTo>
                      <a:pt x="3" y="26"/>
                    </a:lnTo>
                    <a:lnTo>
                      <a:pt x="5" y="28"/>
                    </a:lnTo>
                    <a:lnTo>
                      <a:pt x="11" y="25"/>
                    </a:lnTo>
                    <a:lnTo>
                      <a:pt x="21" y="20"/>
                    </a:lnTo>
                    <a:lnTo>
                      <a:pt x="31" y="17"/>
                    </a:lnTo>
                    <a:lnTo>
                      <a:pt x="35" y="17"/>
                    </a:lnTo>
                    <a:lnTo>
                      <a:pt x="38" y="17"/>
                    </a:lnTo>
                    <a:lnTo>
                      <a:pt x="38" y="15"/>
                    </a:lnTo>
                    <a:lnTo>
                      <a:pt x="39" y="14"/>
                    </a:lnTo>
                    <a:lnTo>
                      <a:pt x="41" y="12"/>
                    </a:lnTo>
                    <a:lnTo>
                      <a:pt x="44" y="8"/>
                    </a:lnTo>
                    <a:lnTo>
                      <a:pt x="49" y="8"/>
                    </a:lnTo>
                    <a:lnTo>
                      <a:pt x="52" y="6"/>
                    </a:lnTo>
                    <a:lnTo>
                      <a:pt x="57" y="3"/>
                    </a:lnTo>
                    <a:lnTo>
                      <a:pt x="66" y="0"/>
                    </a:lnTo>
                    <a:lnTo>
                      <a:pt x="71" y="0"/>
                    </a:lnTo>
                    <a:lnTo>
                      <a:pt x="74" y="0"/>
                    </a:lnTo>
                    <a:lnTo>
                      <a:pt x="78" y="1"/>
                    </a:lnTo>
                    <a:lnTo>
                      <a:pt x="82" y="4"/>
                    </a:lnTo>
                    <a:lnTo>
                      <a:pt x="83" y="6"/>
                    </a:lnTo>
                    <a:lnTo>
                      <a:pt x="80" y="4"/>
                    </a:lnTo>
                    <a:lnTo>
                      <a:pt x="77" y="3"/>
                    </a:lnTo>
                    <a:lnTo>
                      <a:pt x="77" y="3"/>
                    </a:lnTo>
                    <a:lnTo>
                      <a:pt x="78" y="9"/>
                    </a:lnTo>
                    <a:lnTo>
                      <a:pt x="80" y="12"/>
                    </a:lnTo>
                    <a:lnTo>
                      <a:pt x="83" y="14"/>
                    </a:lnTo>
                    <a:lnTo>
                      <a:pt x="86" y="14"/>
                    </a:lnTo>
                    <a:lnTo>
                      <a:pt x="94" y="14"/>
                    </a:lnTo>
                    <a:lnTo>
                      <a:pt x="96" y="12"/>
                    </a:lnTo>
                    <a:lnTo>
                      <a:pt x="97"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39" name="Freeform 166">
                <a:extLst>
                  <a:ext uri="{FF2B5EF4-FFF2-40B4-BE49-F238E27FC236}">
                    <a16:creationId xmlns:a16="http://schemas.microsoft.com/office/drawing/2014/main" id="{E9E663AD-A448-AD13-6C57-E09D35A13035}"/>
                  </a:ext>
                </a:extLst>
              </p:cNvPr>
              <p:cNvSpPr>
                <a:spLocks noEditPoints="1"/>
              </p:cNvSpPr>
              <p:nvPr/>
            </p:nvSpPr>
            <p:spPr bwMode="gray">
              <a:xfrm>
                <a:off x="1685" y="642"/>
                <a:ext cx="5" cy="9"/>
              </a:xfrm>
              <a:custGeom>
                <a:avLst/>
                <a:gdLst>
                  <a:gd name="T0" fmla="*/ 4 w 5"/>
                  <a:gd name="T1" fmla="*/ 8 h 9"/>
                  <a:gd name="T2" fmla="*/ 4 w 5"/>
                  <a:gd name="T3" fmla="*/ 8 h 9"/>
                  <a:gd name="T4" fmla="*/ 4 w 5"/>
                  <a:gd name="T5" fmla="*/ 8 h 9"/>
                  <a:gd name="T6" fmla="*/ 2 w 5"/>
                  <a:gd name="T7" fmla="*/ 8 h 9"/>
                  <a:gd name="T8" fmla="*/ 4 w 5"/>
                  <a:gd name="T9" fmla="*/ 9 h 9"/>
                  <a:gd name="T10" fmla="*/ 4 w 5"/>
                  <a:gd name="T11" fmla="*/ 8 h 9"/>
                  <a:gd name="T12" fmla="*/ 5 w 5"/>
                  <a:gd name="T13" fmla="*/ 8 h 9"/>
                  <a:gd name="T14" fmla="*/ 5 w 5"/>
                  <a:gd name="T15" fmla="*/ 8 h 9"/>
                  <a:gd name="T16" fmla="*/ 4 w 5"/>
                  <a:gd name="T17" fmla="*/ 8 h 9"/>
                  <a:gd name="T18" fmla="*/ 2 w 5"/>
                  <a:gd name="T19" fmla="*/ 4 h 9"/>
                  <a:gd name="T20" fmla="*/ 2 w 5"/>
                  <a:gd name="T21" fmla="*/ 3 h 9"/>
                  <a:gd name="T22" fmla="*/ 2 w 5"/>
                  <a:gd name="T23" fmla="*/ 1 h 9"/>
                  <a:gd name="T24" fmla="*/ 2 w 5"/>
                  <a:gd name="T25" fmla="*/ 0 h 9"/>
                  <a:gd name="T26" fmla="*/ 0 w 5"/>
                  <a:gd name="T27" fmla="*/ 0 h 9"/>
                  <a:gd name="T28" fmla="*/ 0 w 5"/>
                  <a:gd name="T29" fmla="*/ 0 h 9"/>
                  <a:gd name="T30" fmla="*/ 0 w 5"/>
                  <a:gd name="T31" fmla="*/ 0 h 9"/>
                  <a:gd name="T32" fmla="*/ 0 w 5"/>
                  <a:gd name="T33" fmla="*/ 4 h 9"/>
                  <a:gd name="T34" fmla="*/ 0 w 5"/>
                  <a:gd name="T35" fmla="*/ 4 h 9"/>
                  <a:gd name="T36" fmla="*/ 0 w 5"/>
                  <a:gd name="T37" fmla="*/ 6 h 9"/>
                  <a:gd name="T38" fmla="*/ 0 w 5"/>
                  <a:gd name="T39" fmla="*/ 8 h 9"/>
                  <a:gd name="T40" fmla="*/ 0 w 5"/>
                  <a:gd name="T41" fmla="*/ 8 h 9"/>
                  <a:gd name="T42" fmla="*/ 2 w 5"/>
                  <a:gd name="T43" fmla="*/ 6 h 9"/>
                  <a:gd name="T44" fmla="*/ 2 w 5"/>
                  <a:gd name="T45" fmla="*/ 6 h 9"/>
                  <a:gd name="T46" fmla="*/ 2 w 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9">
                    <a:moveTo>
                      <a:pt x="4" y="8"/>
                    </a:moveTo>
                    <a:lnTo>
                      <a:pt x="4" y="8"/>
                    </a:lnTo>
                    <a:lnTo>
                      <a:pt x="4" y="8"/>
                    </a:lnTo>
                    <a:lnTo>
                      <a:pt x="2" y="8"/>
                    </a:lnTo>
                    <a:lnTo>
                      <a:pt x="4" y="9"/>
                    </a:lnTo>
                    <a:lnTo>
                      <a:pt x="4" y="8"/>
                    </a:lnTo>
                    <a:lnTo>
                      <a:pt x="5" y="8"/>
                    </a:lnTo>
                    <a:lnTo>
                      <a:pt x="5" y="8"/>
                    </a:lnTo>
                    <a:lnTo>
                      <a:pt x="4" y="8"/>
                    </a:lnTo>
                    <a:close/>
                    <a:moveTo>
                      <a:pt x="2" y="4"/>
                    </a:moveTo>
                    <a:lnTo>
                      <a:pt x="2" y="3"/>
                    </a:lnTo>
                    <a:lnTo>
                      <a:pt x="2" y="1"/>
                    </a:lnTo>
                    <a:lnTo>
                      <a:pt x="2" y="0"/>
                    </a:lnTo>
                    <a:lnTo>
                      <a:pt x="0" y="0"/>
                    </a:lnTo>
                    <a:lnTo>
                      <a:pt x="0" y="0"/>
                    </a:lnTo>
                    <a:lnTo>
                      <a:pt x="0" y="0"/>
                    </a:lnTo>
                    <a:lnTo>
                      <a:pt x="0" y="4"/>
                    </a:lnTo>
                    <a:lnTo>
                      <a:pt x="0" y="4"/>
                    </a:lnTo>
                    <a:lnTo>
                      <a:pt x="0" y="6"/>
                    </a:lnTo>
                    <a:lnTo>
                      <a:pt x="0" y="8"/>
                    </a:lnTo>
                    <a:lnTo>
                      <a:pt x="0" y="8"/>
                    </a:lnTo>
                    <a:lnTo>
                      <a:pt x="2" y="6"/>
                    </a:lnTo>
                    <a:lnTo>
                      <a:pt x="2" y="6"/>
                    </a:lnTo>
                    <a:lnTo>
                      <a:pt x="2" y="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0" name="Freeform 167">
                <a:extLst>
                  <a:ext uri="{FF2B5EF4-FFF2-40B4-BE49-F238E27FC236}">
                    <a16:creationId xmlns:a16="http://schemas.microsoft.com/office/drawing/2014/main" id="{E00AB1E5-F6CB-B0AC-85C5-EC8A23921526}"/>
                  </a:ext>
                </a:extLst>
              </p:cNvPr>
              <p:cNvSpPr>
                <a:spLocks noEditPoints="1"/>
              </p:cNvSpPr>
              <p:nvPr/>
            </p:nvSpPr>
            <p:spPr bwMode="gray">
              <a:xfrm>
                <a:off x="1482" y="1247"/>
                <a:ext cx="47" cy="11"/>
              </a:xfrm>
              <a:custGeom>
                <a:avLst/>
                <a:gdLst>
                  <a:gd name="T0" fmla="*/ 0 w 47"/>
                  <a:gd name="T1" fmla="*/ 8 h 11"/>
                  <a:gd name="T2" fmla="*/ 0 w 47"/>
                  <a:gd name="T3" fmla="*/ 8 h 11"/>
                  <a:gd name="T4" fmla="*/ 2 w 47"/>
                  <a:gd name="T5" fmla="*/ 10 h 11"/>
                  <a:gd name="T6" fmla="*/ 2 w 47"/>
                  <a:gd name="T7" fmla="*/ 10 h 11"/>
                  <a:gd name="T8" fmla="*/ 2 w 47"/>
                  <a:gd name="T9" fmla="*/ 10 h 11"/>
                  <a:gd name="T10" fmla="*/ 2 w 47"/>
                  <a:gd name="T11" fmla="*/ 10 h 11"/>
                  <a:gd name="T12" fmla="*/ 2 w 47"/>
                  <a:gd name="T13" fmla="*/ 8 h 11"/>
                  <a:gd name="T14" fmla="*/ 2 w 47"/>
                  <a:gd name="T15" fmla="*/ 8 h 11"/>
                  <a:gd name="T16" fmla="*/ 47 w 47"/>
                  <a:gd name="T17" fmla="*/ 8 h 11"/>
                  <a:gd name="T18" fmla="*/ 44 w 47"/>
                  <a:gd name="T19" fmla="*/ 8 h 11"/>
                  <a:gd name="T20" fmla="*/ 42 w 47"/>
                  <a:gd name="T21" fmla="*/ 8 h 11"/>
                  <a:gd name="T22" fmla="*/ 44 w 47"/>
                  <a:gd name="T23" fmla="*/ 8 h 11"/>
                  <a:gd name="T24" fmla="*/ 47 w 47"/>
                  <a:gd name="T25" fmla="*/ 8 h 11"/>
                  <a:gd name="T26" fmla="*/ 39 w 47"/>
                  <a:gd name="T27" fmla="*/ 3 h 11"/>
                  <a:gd name="T28" fmla="*/ 33 w 47"/>
                  <a:gd name="T29" fmla="*/ 2 h 11"/>
                  <a:gd name="T30" fmla="*/ 33 w 47"/>
                  <a:gd name="T31" fmla="*/ 3 h 11"/>
                  <a:gd name="T32" fmla="*/ 31 w 47"/>
                  <a:gd name="T33" fmla="*/ 2 h 11"/>
                  <a:gd name="T34" fmla="*/ 31 w 47"/>
                  <a:gd name="T35" fmla="*/ 2 h 11"/>
                  <a:gd name="T36" fmla="*/ 16 w 47"/>
                  <a:gd name="T37" fmla="*/ 0 h 11"/>
                  <a:gd name="T38" fmla="*/ 14 w 47"/>
                  <a:gd name="T39" fmla="*/ 2 h 11"/>
                  <a:gd name="T40" fmla="*/ 13 w 47"/>
                  <a:gd name="T41" fmla="*/ 3 h 11"/>
                  <a:gd name="T42" fmla="*/ 13 w 47"/>
                  <a:gd name="T43" fmla="*/ 5 h 11"/>
                  <a:gd name="T44" fmla="*/ 14 w 47"/>
                  <a:gd name="T45" fmla="*/ 7 h 11"/>
                  <a:gd name="T46" fmla="*/ 13 w 47"/>
                  <a:gd name="T47" fmla="*/ 11 h 11"/>
                  <a:gd name="T48" fmla="*/ 17 w 47"/>
                  <a:gd name="T49" fmla="*/ 11 h 11"/>
                  <a:gd name="T50" fmla="*/ 19 w 47"/>
                  <a:gd name="T51" fmla="*/ 11 h 11"/>
                  <a:gd name="T52" fmla="*/ 21 w 47"/>
                  <a:gd name="T53" fmla="*/ 11 h 11"/>
                  <a:gd name="T54" fmla="*/ 25 w 47"/>
                  <a:gd name="T55" fmla="*/ 11 h 11"/>
                  <a:gd name="T56" fmla="*/ 28 w 47"/>
                  <a:gd name="T57" fmla="*/ 11 h 11"/>
                  <a:gd name="T58" fmla="*/ 30 w 47"/>
                  <a:gd name="T59" fmla="*/ 11 h 11"/>
                  <a:gd name="T60" fmla="*/ 35 w 47"/>
                  <a:gd name="T61" fmla="*/ 11 h 11"/>
                  <a:gd name="T62" fmla="*/ 38 w 47"/>
                  <a:gd name="T63" fmla="*/ 8 h 11"/>
                  <a:gd name="T64" fmla="*/ 41 w 47"/>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11">
                    <a:moveTo>
                      <a:pt x="2" y="8"/>
                    </a:moveTo>
                    <a:lnTo>
                      <a:pt x="0" y="8"/>
                    </a:lnTo>
                    <a:lnTo>
                      <a:pt x="0" y="8"/>
                    </a:lnTo>
                    <a:lnTo>
                      <a:pt x="0" y="8"/>
                    </a:lnTo>
                    <a:lnTo>
                      <a:pt x="0" y="10"/>
                    </a:lnTo>
                    <a:lnTo>
                      <a:pt x="2" y="10"/>
                    </a:lnTo>
                    <a:lnTo>
                      <a:pt x="2" y="10"/>
                    </a:lnTo>
                    <a:lnTo>
                      <a:pt x="2" y="10"/>
                    </a:lnTo>
                    <a:lnTo>
                      <a:pt x="2" y="10"/>
                    </a:lnTo>
                    <a:lnTo>
                      <a:pt x="2" y="10"/>
                    </a:lnTo>
                    <a:lnTo>
                      <a:pt x="2" y="10"/>
                    </a:lnTo>
                    <a:lnTo>
                      <a:pt x="2" y="10"/>
                    </a:lnTo>
                    <a:lnTo>
                      <a:pt x="2" y="10"/>
                    </a:lnTo>
                    <a:lnTo>
                      <a:pt x="2" y="8"/>
                    </a:lnTo>
                    <a:lnTo>
                      <a:pt x="2" y="8"/>
                    </a:lnTo>
                    <a:lnTo>
                      <a:pt x="2" y="8"/>
                    </a:lnTo>
                    <a:lnTo>
                      <a:pt x="2" y="8"/>
                    </a:lnTo>
                    <a:close/>
                    <a:moveTo>
                      <a:pt x="47" y="8"/>
                    </a:moveTo>
                    <a:lnTo>
                      <a:pt x="46" y="8"/>
                    </a:lnTo>
                    <a:lnTo>
                      <a:pt x="44" y="8"/>
                    </a:lnTo>
                    <a:lnTo>
                      <a:pt x="42" y="8"/>
                    </a:lnTo>
                    <a:lnTo>
                      <a:pt x="42" y="8"/>
                    </a:lnTo>
                    <a:lnTo>
                      <a:pt x="42" y="8"/>
                    </a:lnTo>
                    <a:lnTo>
                      <a:pt x="44" y="8"/>
                    </a:lnTo>
                    <a:lnTo>
                      <a:pt x="47" y="8"/>
                    </a:lnTo>
                    <a:lnTo>
                      <a:pt x="47" y="8"/>
                    </a:lnTo>
                    <a:close/>
                    <a:moveTo>
                      <a:pt x="41" y="3"/>
                    </a:moveTo>
                    <a:lnTo>
                      <a:pt x="39" y="3"/>
                    </a:lnTo>
                    <a:lnTo>
                      <a:pt x="36" y="2"/>
                    </a:lnTo>
                    <a:lnTo>
                      <a:pt x="33" y="2"/>
                    </a:lnTo>
                    <a:lnTo>
                      <a:pt x="33" y="2"/>
                    </a:lnTo>
                    <a:lnTo>
                      <a:pt x="33" y="3"/>
                    </a:lnTo>
                    <a:lnTo>
                      <a:pt x="33" y="3"/>
                    </a:lnTo>
                    <a:lnTo>
                      <a:pt x="31" y="2"/>
                    </a:lnTo>
                    <a:lnTo>
                      <a:pt x="31" y="2"/>
                    </a:lnTo>
                    <a:lnTo>
                      <a:pt x="31" y="2"/>
                    </a:lnTo>
                    <a:lnTo>
                      <a:pt x="21" y="2"/>
                    </a:lnTo>
                    <a:lnTo>
                      <a:pt x="16" y="0"/>
                    </a:lnTo>
                    <a:lnTo>
                      <a:pt x="14" y="0"/>
                    </a:lnTo>
                    <a:lnTo>
                      <a:pt x="14" y="2"/>
                    </a:lnTo>
                    <a:lnTo>
                      <a:pt x="14" y="2"/>
                    </a:lnTo>
                    <a:lnTo>
                      <a:pt x="13" y="3"/>
                    </a:lnTo>
                    <a:lnTo>
                      <a:pt x="13" y="3"/>
                    </a:lnTo>
                    <a:lnTo>
                      <a:pt x="13" y="5"/>
                    </a:lnTo>
                    <a:lnTo>
                      <a:pt x="13" y="5"/>
                    </a:lnTo>
                    <a:lnTo>
                      <a:pt x="14" y="7"/>
                    </a:lnTo>
                    <a:lnTo>
                      <a:pt x="14" y="8"/>
                    </a:lnTo>
                    <a:lnTo>
                      <a:pt x="13" y="11"/>
                    </a:lnTo>
                    <a:lnTo>
                      <a:pt x="14" y="11"/>
                    </a:lnTo>
                    <a:lnTo>
                      <a:pt x="17" y="11"/>
                    </a:lnTo>
                    <a:lnTo>
                      <a:pt x="17" y="11"/>
                    </a:lnTo>
                    <a:lnTo>
                      <a:pt x="19" y="11"/>
                    </a:lnTo>
                    <a:lnTo>
                      <a:pt x="19" y="11"/>
                    </a:lnTo>
                    <a:lnTo>
                      <a:pt x="21" y="11"/>
                    </a:lnTo>
                    <a:lnTo>
                      <a:pt x="24" y="11"/>
                    </a:lnTo>
                    <a:lnTo>
                      <a:pt x="25" y="11"/>
                    </a:lnTo>
                    <a:lnTo>
                      <a:pt x="27" y="11"/>
                    </a:lnTo>
                    <a:lnTo>
                      <a:pt x="28" y="11"/>
                    </a:lnTo>
                    <a:lnTo>
                      <a:pt x="30" y="11"/>
                    </a:lnTo>
                    <a:lnTo>
                      <a:pt x="30" y="11"/>
                    </a:lnTo>
                    <a:lnTo>
                      <a:pt x="31" y="11"/>
                    </a:lnTo>
                    <a:lnTo>
                      <a:pt x="35" y="11"/>
                    </a:lnTo>
                    <a:lnTo>
                      <a:pt x="38" y="10"/>
                    </a:lnTo>
                    <a:lnTo>
                      <a:pt x="38" y="8"/>
                    </a:lnTo>
                    <a:lnTo>
                      <a:pt x="39" y="7"/>
                    </a:lnTo>
                    <a:lnTo>
                      <a:pt x="41" y="7"/>
                    </a:lnTo>
                    <a:lnTo>
                      <a:pt x="41"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1" name="Freeform 168">
                <a:extLst>
                  <a:ext uri="{FF2B5EF4-FFF2-40B4-BE49-F238E27FC236}">
                    <a16:creationId xmlns:a16="http://schemas.microsoft.com/office/drawing/2014/main" id="{239B2943-C9E5-DBCD-9F5E-3E4561163855}"/>
                  </a:ext>
                </a:extLst>
              </p:cNvPr>
              <p:cNvSpPr>
                <a:spLocks noEditPoints="1"/>
              </p:cNvSpPr>
              <p:nvPr/>
            </p:nvSpPr>
            <p:spPr bwMode="gray">
              <a:xfrm>
                <a:off x="3276" y="975"/>
                <a:ext cx="23" cy="28"/>
              </a:xfrm>
              <a:custGeom>
                <a:avLst/>
                <a:gdLst>
                  <a:gd name="T0" fmla="*/ 23 w 23"/>
                  <a:gd name="T1" fmla="*/ 9 h 28"/>
                  <a:gd name="T2" fmla="*/ 23 w 23"/>
                  <a:gd name="T3" fmla="*/ 6 h 28"/>
                  <a:gd name="T4" fmla="*/ 23 w 23"/>
                  <a:gd name="T5" fmla="*/ 3 h 28"/>
                  <a:gd name="T6" fmla="*/ 21 w 23"/>
                  <a:gd name="T7" fmla="*/ 3 h 28"/>
                  <a:gd name="T8" fmla="*/ 20 w 23"/>
                  <a:gd name="T9" fmla="*/ 3 h 28"/>
                  <a:gd name="T10" fmla="*/ 20 w 23"/>
                  <a:gd name="T11" fmla="*/ 2 h 28"/>
                  <a:gd name="T12" fmla="*/ 20 w 23"/>
                  <a:gd name="T13" fmla="*/ 2 h 28"/>
                  <a:gd name="T14" fmla="*/ 18 w 23"/>
                  <a:gd name="T15" fmla="*/ 2 h 28"/>
                  <a:gd name="T16" fmla="*/ 17 w 23"/>
                  <a:gd name="T17" fmla="*/ 0 h 28"/>
                  <a:gd name="T18" fmla="*/ 14 w 23"/>
                  <a:gd name="T19" fmla="*/ 2 h 28"/>
                  <a:gd name="T20" fmla="*/ 14 w 23"/>
                  <a:gd name="T21" fmla="*/ 5 h 28"/>
                  <a:gd name="T22" fmla="*/ 14 w 23"/>
                  <a:gd name="T23" fmla="*/ 6 h 28"/>
                  <a:gd name="T24" fmla="*/ 12 w 23"/>
                  <a:gd name="T25" fmla="*/ 8 h 28"/>
                  <a:gd name="T26" fmla="*/ 12 w 23"/>
                  <a:gd name="T27" fmla="*/ 9 h 28"/>
                  <a:gd name="T28" fmla="*/ 12 w 23"/>
                  <a:gd name="T29" fmla="*/ 13 h 28"/>
                  <a:gd name="T30" fmla="*/ 14 w 23"/>
                  <a:gd name="T31" fmla="*/ 14 h 28"/>
                  <a:gd name="T32" fmla="*/ 12 w 23"/>
                  <a:gd name="T33" fmla="*/ 14 h 28"/>
                  <a:gd name="T34" fmla="*/ 12 w 23"/>
                  <a:gd name="T35" fmla="*/ 16 h 28"/>
                  <a:gd name="T36" fmla="*/ 12 w 23"/>
                  <a:gd name="T37" fmla="*/ 16 h 28"/>
                  <a:gd name="T38" fmla="*/ 14 w 23"/>
                  <a:gd name="T39" fmla="*/ 16 h 28"/>
                  <a:gd name="T40" fmla="*/ 14 w 23"/>
                  <a:gd name="T41" fmla="*/ 16 h 28"/>
                  <a:gd name="T42" fmla="*/ 15 w 23"/>
                  <a:gd name="T43" fmla="*/ 16 h 28"/>
                  <a:gd name="T44" fmla="*/ 17 w 23"/>
                  <a:gd name="T45" fmla="*/ 16 h 28"/>
                  <a:gd name="T46" fmla="*/ 17 w 23"/>
                  <a:gd name="T47" fmla="*/ 17 h 28"/>
                  <a:gd name="T48" fmla="*/ 15 w 23"/>
                  <a:gd name="T49" fmla="*/ 17 h 28"/>
                  <a:gd name="T50" fmla="*/ 14 w 23"/>
                  <a:gd name="T51" fmla="*/ 19 h 28"/>
                  <a:gd name="T52" fmla="*/ 12 w 23"/>
                  <a:gd name="T53" fmla="*/ 20 h 28"/>
                  <a:gd name="T54" fmla="*/ 12 w 23"/>
                  <a:gd name="T55" fmla="*/ 22 h 28"/>
                  <a:gd name="T56" fmla="*/ 11 w 23"/>
                  <a:gd name="T57" fmla="*/ 23 h 28"/>
                  <a:gd name="T58" fmla="*/ 11 w 23"/>
                  <a:gd name="T59" fmla="*/ 25 h 28"/>
                  <a:gd name="T60" fmla="*/ 12 w 23"/>
                  <a:gd name="T61" fmla="*/ 25 h 28"/>
                  <a:gd name="T62" fmla="*/ 15 w 23"/>
                  <a:gd name="T63" fmla="*/ 25 h 28"/>
                  <a:gd name="T64" fmla="*/ 18 w 23"/>
                  <a:gd name="T65" fmla="*/ 23 h 28"/>
                  <a:gd name="T66" fmla="*/ 20 w 23"/>
                  <a:gd name="T67" fmla="*/ 22 h 28"/>
                  <a:gd name="T68" fmla="*/ 21 w 23"/>
                  <a:gd name="T69" fmla="*/ 22 h 28"/>
                  <a:gd name="T70" fmla="*/ 21 w 23"/>
                  <a:gd name="T71" fmla="*/ 20 h 28"/>
                  <a:gd name="T72" fmla="*/ 21 w 23"/>
                  <a:gd name="T73" fmla="*/ 19 h 28"/>
                  <a:gd name="T74" fmla="*/ 23 w 23"/>
                  <a:gd name="T75" fmla="*/ 17 h 28"/>
                  <a:gd name="T76" fmla="*/ 23 w 23"/>
                  <a:gd name="T77" fmla="*/ 13 h 28"/>
                  <a:gd name="T78" fmla="*/ 23 w 23"/>
                  <a:gd name="T79" fmla="*/ 9 h 28"/>
                  <a:gd name="T80" fmla="*/ 4 w 23"/>
                  <a:gd name="T81" fmla="*/ 20 h 28"/>
                  <a:gd name="T82" fmla="*/ 4 w 23"/>
                  <a:gd name="T83" fmla="*/ 20 h 28"/>
                  <a:gd name="T84" fmla="*/ 3 w 23"/>
                  <a:gd name="T85" fmla="*/ 22 h 28"/>
                  <a:gd name="T86" fmla="*/ 0 w 23"/>
                  <a:gd name="T87" fmla="*/ 25 h 28"/>
                  <a:gd name="T88" fmla="*/ 0 w 23"/>
                  <a:gd name="T89" fmla="*/ 27 h 28"/>
                  <a:gd name="T90" fmla="*/ 0 w 23"/>
                  <a:gd name="T91" fmla="*/ 28 h 28"/>
                  <a:gd name="T92" fmla="*/ 1 w 23"/>
                  <a:gd name="T93" fmla="*/ 27 h 28"/>
                  <a:gd name="T94" fmla="*/ 1 w 23"/>
                  <a:gd name="T95" fmla="*/ 25 h 28"/>
                  <a:gd name="T96" fmla="*/ 4 w 23"/>
                  <a:gd name="T97" fmla="*/ 22 h 28"/>
                  <a:gd name="T98" fmla="*/ 4 w 23"/>
                  <a:gd name="T9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28">
                    <a:moveTo>
                      <a:pt x="23" y="9"/>
                    </a:moveTo>
                    <a:lnTo>
                      <a:pt x="23" y="6"/>
                    </a:lnTo>
                    <a:lnTo>
                      <a:pt x="23" y="3"/>
                    </a:lnTo>
                    <a:lnTo>
                      <a:pt x="21" y="3"/>
                    </a:lnTo>
                    <a:lnTo>
                      <a:pt x="20" y="3"/>
                    </a:lnTo>
                    <a:lnTo>
                      <a:pt x="20" y="2"/>
                    </a:lnTo>
                    <a:lnTo>
                      <a:pt x="20" y="2"/>
                    </a:lnTo>
                    <a:lnTo>
                      <a:pt x="18" y="2"/>
                    </a:lnTo>
                    <a:lnTo>
                      <a:pt x="17" y="0"/>
                    </a:lnTo>
                    <a:lnTo>
                      <a:pt x="14" y="2"/>
                    </a:lnTo>
                    <a:lnTo>
                      <a:pt x="14" y="5"/>
                    </a:lnTo>
                    <a:lnTo>
                      <a:pt x="14" y="6"/>
                    </a:lnTo>
                    <a:lnTo>
                      <a:pt x="12" y="8"/>
                    </a:lnTo>
                    <a:lnTo>
                      <a:pt x="12" y="9"/>
                    </a:lnTo>
                    <a:lnTo>
                      <a:pt x="12" y="13"/>
                    </a:lnTo>
                    <a:lnTo>
                      <a:pt x="14" y="14"/>
                    </a:lnTo>
                    <a:lnTo>
                      <a:pt x="12" y="14"/>
                    </a:lnTo>
                    <a:lnTo>
                      <a:pt x="12" y="16"/>
                    </a:lnTo>
                    <a:lnTo>
                      <a:pt x="12" y="16"/>
                    </a:lnTo>
                    <a:lnTo>
                      <a:pt x="14" y="16"/>
                    </a:lnTo>
                    <a:lnTo>
                      <a:pt x="14" y="16"/>
                    </a:lnTo>
                    <a:lnTo>
                      <a:pt x="15" y="16"/>
                    </a:lnTo>
                    <a:lnTo>
                      <a:pt x="17" y="16"/>
                    </a:lnTo>
                    <a:lnTo>
                      <a:pt x="17" y="17"/>
                    </a:lnTo>
                    <a:lnTo>
                      <a:pt x="15" y="17"/>
                    </a:lnTo>
                    <a:lnTo>
                      <a:pt x="14" y="19"/>
                    </a:lnTo>
                    <a:lnTo>
                      <a:pt x="12" y="20"/>
                    </a:lnTo>
                    <a:lnTo>
                      <a:pt x="12" y="22"/>
                    </a:lnTo>
                    <a:lnTo>
                      <a:pt x="11" y="23"/>
                    </a:lnTo>
                    <a:lnTo>
                      <a:pt x="11" y="25"/>
                    </a:lnTo>
                    <a:lnTo>
                      <a:pt x="12" y="25"/>
                    </a:lnTo>
                    <a:lnTo>
                      <a:pt x="15" y="25"/>
                    </a:lnTo>
                    <a:lnTo>
                      <a:pt x="18" y="23"/>
                    </a:lnTo>
                    <a:lnTo>
                      <a:pt x="20" y="22"/>
                    </a:lnTo>
                    <a:lnTo>
                      <a:pt x="21" y="22"/>
                    </a:lnTo>
                    <a:lnTo>
                      <a:pt x="21" y="20"/>
                    </a:lnTo>
                    <a:lnTo>
                      <a:pt x="21" y="19"/>
                    </a:lnTo>
                    <a:lnTo>
                      <a:pt x="23" y="17"/>
                    </a:lnTo>
                    <a:lnTo>
                      <a:pt x="23" y="13"/>
                    </a:lnTo>
                    <a:lnTo>
                      <a:pt x="23" y="9"/>
                    </a:lnTo>
                    <a:close/>
                    <a:moveTo>
                      <a:pt x="4" y="20"/>
                    </a:moveTo>
                    <a:lnTo>
                      <a:pt x="4" y="20"/>
                    </a:lnTo>
                    <a:lnTo>
                      <a:pt x="3" y="22"/>
                    </a:lnTo>
                    <a:lnTo>
                      <a:pt x="0" y="25"/>
                    </a:lnTo>
                    <a:lnTo>
                      <a:pt x="0" y="27"/>
                    </a:lnTo>
                    <a:lnTo>
                      <a:pt x="0" y="28"/>
                    </a:lnTo>
                    <a:lnTo>
                      <a:pt x="1" y="27"/>
                    </a:lnTo>
                    <a:lnTo>
                      <a:pt x="1" y="25"/>
                    </a:lnTo>
                    <a:lnTo>
                      <a:pt x="4" y="22"/>
                    </a:lnTo>
                    <a:lnTo>
                      <a:pt x="4" y="2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2" name="Freeform 169">
                <a:extLst>
                  <a:ext uri="{FF2B5EF4-FFF2-40B4-BE49-F238E27FC236}">
                    <a16:creationId xmlns:a16="http://schemas.microsoft.com/office/drawing/2014/main" id="{E5E71486-3FA7-8C53-8B3B-4098ADB1837A}"/>
                  </a:ext>
                </a:extLst>
              </p:cNvPr>
              <p:cNvSpPr>
                <a:spLocks/>
              </p:cNvSpPr>
              <p:nvPr/>
            </p:nvSpPr>
            <p:spPr bwMode="gray">
              <a:xfrm>
                <a:off x="2508" y="764"/>
                <a:ext cx="58" cy="117"/>
              </a:xfrm>
              <a:custGeom>
                <a:avLst/>
                <a:gdLst>
                  <a:gd name="T0" fmla="*/ 56 w 58"/>
                  <a:gd name="T1" fmla="*/ 11 h 117"/>
                  <a:gd name="T2" fmla="*/ 51 w 58"/>
                  <a:gd name="T3" fmla="*/ 11 h 117"/>
                  <a:gd name="T4" fmla="*/ 51 w 58"/>
                  <a:gd name="T5" fmla="*/ 8 h 117"/>
                  <a:gd name="T6" fmla="*/ 51 w 58"/>
                  <a:gd name="T7" fmla="*/ 4 h 117"/>
                  <a:gd name="T8" fmla="*/ 48 w 58"/>
                  <a:gd name="T9" fmla="*/ 4 h 117"/>
                  <a:gd name="T10" fmla="*/ 42 w 58"/>
                  <a:gd name="T11" fmla="*/ 4 h 117"/>
                  <a:gd name="T12" fmla="*/ 41 w 58"/>
                  <a:gd name="T13" fmla="*/ 4 h 117"/>
                  <a:gd name="T14" fmla="*/ 41 w 58"/>
                  <a:gd name="T15" fmla="*/ 6 h 117"/>
                  <a:gd name="T16" fmla="*/ 33 w 58"/>
                  <a:gd name="T17" fmla="*/ 6 h 117"/>
                  <a:gd name="T18" fmla="*/ 28 w 58"/>
                  <a:gd name="T19" fmla="*/ 6 h 117"/>
                  <a:gd name="T20" fmla="*/ 25 w 58"/>
                  <a:gd name="T21" fmla="*/ 8 h 117"/>
                  <a:gd name="T22" fmla="*/ 22 w 58"/>
                  <a:gd name="T23" fmla="*/ 6 h 117"/>
                  <a:gd name="T24" fmla="*/ 25 w 58"/>
                  <a:gd name="T25" fmla="*/ 3 h 117"/>
                  <a:gd name="T26" fmla="*/ 23 w 58"/>
                  <a:gd name="T27" fmla="*/ 0 h 117"/>
                  <a:gd name="T28" fmla="*/ 17 w 58"/>
                  <a:gd name="T29" fmla="*/ 1 h 117"/>
                  <a:gd name="T30" fmla="*/ 12 w 58"/>
                  <a:gd name="T31" fmla="*/ 4 h 117"/>
                  <a:gd name="T32" fmla="*/ 14 w 58"/>
                  <a:gd name="T33" fmla="*/ 11 h 117"/>
                  <a:gd name="T34" fmla="*/ 14 w 58"/>
                  <a:gd name="T35" fmla="*/ 23 h 117"/>
                  <a:gd name="T36" fmla="*/ 14 w 58"/>
                  <a:gd name="T37" fmla="*/ 33 h 117"/>
                  <a:gd name="T38" fmla="*/ 11 w 58"/>
                  <a:gd name="T39" fmla="*/ 45 h 117"/>
                  <a:gd name="T40" fmla="*/ 6 w 58"/>
                  <a:gd name="T41" fmla="*/ 59 h 117"/>
                  <a:gd name="T42" fmla="*/ 3 w 58"/>
                  <a:gd name="T43" fmla="*/ 65 h 117"/>
                  <a:gd name="T44" fmla="*/ 0 w 58"/>
                  <a:gd name="T45" fmla="*/ 75 h 117"/>
                  <a:gd name="T46" fmla="*/ 3 w 58"/>
                  <a:gd name="T47" fmla="*/ 80 h 117"/>
                  <a:gd name="T48" fmla="*/ 9 w 58"/>
                  <a:gd name="T49" fmla="*/ 72 h 117"/>
                  <a:gd name="T50" fmla="*/ 9 w 58"/>
                  <a:gd name="T51" fmla="*/ 75 h 117"/>
                  <a:gd name="T52" fmla="*/ 6 w 58"/>
                  <a:gd name="T53" fmla="*/ 80 h 117"/>
                  <a:gd name="T54" fmla="*/ 6 w 58"/>
                  <a:gd name="T55" fmla="*/ 84 h 117"/>
                  <a:gd name="T56" fmla="*/ 12 w 58"/>
                  <a:gd name="T57" fmla="*/ 83 h 117"/>
                  <a:gd name="T58" fmla="*/ 12 w 58"/>
                  <a:gd name="T59" fmla="*/ 87 h 117"/>
                  <a:gd name="T60" fmla="*/ 12 w 58"/>
                  <a:gd name="T61" fmla="*/ 100 h 117"/>
                  <a:gd name="T62" fmla="*/ 9 w 58"/>
                  <a:gd name="T63" fmla="*/ 116 h 117"/>
                  <a:gd name="T64" fmla="*/ 16 w 58"/>
                  <a:gd name="T65" fmla="*/ 114 h 117"/>
                  <a:gd name="T66" fmla="*/ 30 w 58"/>
                  <a:gd name="T67" fmla="*/ 117 h 117"/>
                  <a:gd name="T68" fmla="*/ 36 w 58"/>
                  <a:gd name="T69" fmla="*/ 106 h 117"/>
                  <a:gd name="T70" fmla="*/ 37 w 58"/>
                  <a:gd name="T71" fmla="*/ 100 h 117"/>
                  <a:gd name="T72" fmla="*/ 41 w 58"/>
                  <a:gd name="T73" fmla="*/ 94 h 117"/>
                  <a:gd name="T74" fmla="*/ 45 w 58"/>
                  <a:gd name="T75" fmla="*/ 90 h 117"/>
                  <a:gd name="T76" fmla="*/ 42 w 58"/>
                  <a:gd name="T77" fmla="*/ 90 h 117"/>
                  <a:gd name="T78" fmla="*/ 39 w 58"/>
                  <a:gd name="T79" fmla="*/ 80 h 117"/>
                  <a:gd name="T80" fmla="*/ 42 w 58"/>
                  <a:gd name="T81" fmla="*/ 76 h 117"/>
                  <a:gd name="T82" fmla="*/ 44 w 58"/>
                  <a:gd name="T83" fmla="*/ 70 h 117"/>
                  <a:gd name="T84" fmla="*/ 39 w 58"/>
                  <a:gd name="T85" fmla="*/ 64 h 117"/>
                  <a:gd name="T86" fmla="*/ 37 w 58"/>
                  <a:gd name="T87" fmla="*/ 61 h 117"/>
                  <a:gd name="T88" fmla="*/ 34 w 58"/>
                  <a:gd name="T89" fmla="*/ 58 h 117"/>
                  <a:gd name="T90" fmla="*/ 44 w 58"/>
                  <a:gd name="T91" fmla="*/ 56 h 117"/>
                  <a:gd name="T92" fmla="*/ 45 w 58"/>
                  <a:gd name="T93" fmla="*/ 51 h 117"/>
                  <a:gd name="T94" fmla="*/ 44 w 58"/>
                  <a:gd name="T95" fmla="*/ 47 h 117"/>
                  <a:gd name="T96" fmla="*/ 47 w 58"/>
                  <a:gd name="T97" fmla="*/ 42 h 117"/>
                  <a:gd name="T98" fmla="*/ 47 w 58"/>
                  <a:gd name="T99" fmla="*/ 40 h 117"/>
                  <a:gd name="T100" fmla="*/ 47 w 58"/>
                  <a:gd name="T101" fmla="*/ 36 h 117"/>
                  <a:gd name="T102" fmla="*/ 47 w 58"/>
                  <a:gd name="T103" fmla="*/ 29 h 117"/>
                  <a:gd name="T104" fmla="*/ 48 w 58"/>
                  <a:gd name="T105" fmla="*/ 23 h 117"/>
                  <a:gd name="T106" fmla="*/ 56 w 58"/>
                  <a:gd name="T107" fmla="*/ 15 h 117"/>
                  <a:gd name="T108" fmla="*/ 58 w 58"/>
                  <a:gd name="T109" fmla="*/ 1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117">
                    <a:moveTo>
                      <a:pt x="58" y="14"/>
                    </a:moveTo>
                    <a:lnTo>
                      <a:pt x="58" y="14"/>
                    </a:lnTo>
                    <a:lnTo>
                      <a:pt x="58" y="12"/>
                    </a:lnTo>
                    <a:lnTo>
                      <a:pt x="56" y="11"/>
                    </a:lnTo>
                    <a:lnTo>
                      <a:pt x="55" y="11"/>
                    </a:lnTo>
                    <a:lnTo>
                      <a:pt x="55" y="11"/>
                    </a:lnTo>
                    <a:lnTo>
                      <a:pt x="53" y="11"/>
                    </a:lnTo>
                    <a:lnTo>
                      <a:pt x="51" y="11"/>
                    </a:lnTo>
                    <a:lnTo>
                      <a:pt x="51" y="11"/>
                    </a:lnTo>
                    <a:lnTo>
                      <a:pt x="51" y="11"/>
                    </a:lnTo>
                    <a:lnTo>
                      <a:pt x="51" y="11"/>
                    </a:lnTo>
                    <a:lnTo>
                      <a:pt x="51" y="8"/>
                    </a:lnTo>
                    <a:lnTo>
                      <a:pt x="51" y="6"/>
                    </a:lnTo>
                    <a:lnTo>
                      <a:pt x="51" y="6"/>
                    </a:lnTo>
                    <a:lnTo>
                      <a:pt x="51" y="4"/>
                    </a:lnTo>
                    <a:lnTo>
                      <a:pt x="51" y="4"/>
                    </a:lnTo>
                    <a:lnTo>
                      <a:pt x="51" y="4"/>
                    </a:lnTo>
                    <a:lnTo>
                      <a:pt x="50" y="4"/>
                    </a:lnTo>
                    <a:lnTo>
                      <a:pt x="48" y="4"/>
                    </a:lnTo>
                    <a:lnTo>
                      <a:pt x="48" y="4"/>
                    </a:lnTo>
                    <a:lnTo>
                      <a:pt x="47" y="4"/>
                    </a:lnTo>
                    <a:lnTo>
                      <a:pt x="47" y="4"/>
                    </a:lnTo>
                    <a:lnTo>
                      <a:pt x="44" y="4"/>
                    </a:lnTo>
                    <a:lnTo>
                      <a:pt x="42" y="4"/>
                    </a:lnTo>
                    <a:lnTo>
                      <a:pt x="42" y="3"/>
                    </a:lnTo>
                    <a:lnTo>
                      <a:pt x="42" y="3"/>
                    </a:lnTo>
                    <a:lnTo>
                      <a:pt x="41" y="4"/>
                    </a:lnTo>
                    <a:lnTo>
                      <a:pt x="41" y="4"/>
                    </a:lnTo>
                    <a:lnTo>
                      <a:pt x="41" y="4"/>
                    </a:lnTo>
                    <a:lnTo>
                      <a:pt x="41" y="4"/>
                    </a:lnTo>
                    <a:lnTo>
                      <a:pt x="41" y="4"/>
                    </a:lnTo>
                    <a:lnTo>
                      <a:pt x="41" y="6"/>
                    </a:lnTo>
                    <a:lnTo>
                      <a:pt x="39" y="6"/>
                    </a:lnTo>
                    <a:lnTo>
                      <a:pt x="37" y="8"/>
                    </a:lnTo>
                    <a:lnTo>
                      <a:pt x="34" y="8"/>
                    </a:lnTo>
                    <a:lnTo>
                      <a:pt x="33" y="6"/>
                    </a:lnTo>
                    <a:lnTo>
                      <a:pt x="33" y="6"/>
                    </a:lnTo>
                    <a:lnTo>
                      <a:pt x="31" y="6"/>
                    </a:lnTo>
                    <a:lnTo>
                      <a:pt x="31" y="6"/>
                    </a:lnTo>
                    <a:lnTo>
                      <a:pt x="28" y="6"/>
                    </a:lnTo>
                    <a:lnTo>
                      <a:pt x="28" y="6"/>
                    </a:lnTo>
                    <a:lnTo>
                      <a:pt x="28" y="6"/>
                    </a:lnTo>
                    <a:lnTo>
                      <a:pt x="26" y="6"/>
                    </a:lnTo>
                    <a:lnTo>
                      <a:pt x="25" y="8"/>
                    </a:lnTo>
                    <a:lnTo>
                      <a:pt x="23" y="8"/>
                    </a:lnTo>
                    <a:lnTo>
                      <a:pt x="23" y="8"/>
                    </a:lnTo>
                    <a:lnTo>
                      <a:pt x="23" y="8"/>
                    </a:lnTo>
                    <a:lnTo>
                      <a:pt x="22" y="6"/>
                    </a:lnTo>
                    <a:lnTo>
                      <a:pt x="22" y="6"/>
                    </a:lnTo>
                    <a:lnTo>
                      <a:pt x="23" y="4"/>
                    </a:lnTo>
                    <a:lnTo>
                      <a:pt x="25" y="3"/>
                    </a:lnTo>
                    <a:lnTo>
                      <a:pt x="25" y="3"/>
                    </a:lnTo>
                    <a:lnTo>
                      <a:pt x="23" y="1"/>
                    </a:lnTo>
                    <a:lnTo>
                      <a:pt x="23" y="1"/>
                    </a:lnTo>
                    <a:lnTo>
                      <a:pt x="23" y="0"/>
                    </a:lnTo>
                    <a:lnTo>
                      <a:pt x="23" y="0"/>
                    </a:lnTo>
                    <a:lnTo>
                      <a:pt x="23" y="0"/>
                    </a:lnTo>
                    <a:lnTo>
                      <a:pt x="22" y="0"/>
                    </a:lnTo>
                    <a:lnTo>
                      <a:pt x="20" y="0"/>
                    </a:lnTo>
                    <a:lnTo>
                      <a:pt x="17" y="1"/>
                    </a:lnTo>
                    <a:lnTo>
                      <a:pt x="16" y="1"/>
                    </a:lnTo>
                    <a:lnTo>
                      <a:pt x="14" y="3"/>
                    </a:lnTo>
                    <a:lnTo>
                      <a:pt x="12" y="4"/>
                    </a:lnTo>
                    <a:lnTo>
                      <a:pt x="12" y="4"/>
                    </a:lnTo>
                    <a:lnTo>
                      <a:pt x="11" y="8"/>
                    </a:lnTo>
                    <a:lnTo>
                      <a:pt x="11" y="9"/>
                    </a:lnTo>
                    <a:lnTo>
                      <a:pt x="12" y="11"/>
                    </a:lnTo>
                    <a:lnTo>
                      <a:pt x="14" y="11"/>
                    </a:lnTo>
                    <a:lnTo>
                      <a:pt x="12" y="11"/>
                    </a:lnTo>
                    <a:lnTo>
                      <a:pt x="12" y="14"/>
                    </a:lnTo>
                    <a:lnTo>
                      <a:pt x="14" y="20"/>
                    </a:lnTo>
                    <a:lnTo>
                      <a:pt x="14" y="23"/>
                    </a:lnTo>
                    <a:lnTo>
                      <a:pt x="16" y="25"/>
                    </a:lnTo>
                    <a:lnTo>
                      <a:pt x="16" y="26"/>
                    </a:lnTo>
                    <a:lnTo>
                      <a:pt x="14" y="28"/>
                    </a:lnTo>
                    <a:lnTo>
                      <a:pt x="14" y="33"/>
                    </a:lnTo>
                    <a:lnTo>
                      <a:pt x="14" y="34"/>
                    </a:lnTo>
                    <a:lnTo>
                      <a:pt x="12" y="36"/>
                    </a:lnTo>
                    <a:lnTo>
                      <a:pt x="11" y="44"/>
                    </a:lnTo>
                    <a:lnTo>
                      <a:pt x="11" y="45"/>
                    </a:lnTo>
                    <a:lnTo>
                      <a:pt x="11" y="47"/>
                    </a:lnTo>
                    <a:lnTo>
                      <a:pt x="12" y="47"/>
                    </a:lnTo>
                    <a:lnTo>
                      <a:pt x="9" y="53"/>
                    </a:lnTo>
                    <a:lnTo>
                      <a:pt x="6" y="59"/>
                    </a:lnTo>
                    <a:lnTo>
                      <a:pt x="5" y="62"/>
                    </a:lnTo>
                    <a:lnTo>
                      <a:pt x="3" y="64"/>
                    </a:lnTo>
                    <a:lnTo>
                      <a:pt x="3" y="64"/>
                    </a:lnTo>
                    <a:lnTo>
                      <a:pt x="3" y="65"/>
                    </a:lnTo>
                    <a:lnTo>
                      <a:pt x="3" y="67"/>
                    </a:lnTo>
                    <a:lnTo>
                      <a:pt x="1" y="70"/>
                    </a:lnTo>
                    <a:lnTo>
                      <a:pt x="1" y="73"/>
                    </a:lnTo>
                    <a:lnTo>
                      <a:pt x="0" y="75"/>
                    </a:lnTo>
                    <a:lnTo>
                      <a:pt x="0" y="76"/>
                    </a:lnTo>
                    <a:lnTo>
                      <a:pt x="0" y="78"/>
                    </a:lnTo>
                    <a:lnTo>
                      <a:pt x="1" y="78"/>
                    </a:lnTo>
                    <a:lnTo>
                      <a:pt x="3" y="80"/>
                    </a:lnTo>
                    <a:lnTo>
                      <a:pt x="5" y="78"/>
                    </a:lnTo>
                    <a:lnTo>
                      <a:pt x="6" y="78"/>
                    </a:lnTo>
                    <a:lnTo>
                      <a:pt x="8" y="76"/>
                    </a:lnTo>
                    <a:lnTo>
                      <a:pt x="9" y="72"/>
                    </a:lnTo>
                    <a:lnTo>
                      <a:pt x="11" y="70"/>
                    </a:lnTo>
                    <a:lnTo>
                      <a:pt x="12" y="70"/>
                    </a:lnTo>
                    <a:lnTo>
                      <a:pt x="9" y="72"/>
                    </a:lnTo>
                    <a:lnTo>
                      <a:pt x="9" y="75"/>
                    </a:lnTo>
                    <a:lnTo>
                      <a:pt x="9" y="76"/>
                    </a:lnTo>
                    <a:lnTo>
                      <a:pt x="9" y="78"/>
                    </a:lnTo>
                    <a:lnTo>
                      <a:pt x="8" y="80"/>
                    </a:lnTo>
                    <a:lnTo>
                      <a:pt x="6" y="80"/>
                    </a:lnTo>
                    <a:lnTo>
                      <a:pt x="5" y="80"/>
                    </a:lnTo>
                    <a:lnTo>
                      <a:pt x="5" y="83"/>
                    </a:lnTo>
                    <a:lnTo>
                      <a:pt x="5" y="84"/>
                    </a:lnTo>
                    <a:lnTo>
                      <a:pt x="6" y="84"/>
                    </a:lnTo>
                    <a:lnTo>
                      <a:pt x="8" y="84"/>
                    </a:lnTo>
                    <a:lnTo>
                      <a:pt x="11" y="83"/>
                    </a:lnTo>
                    <a:lnTo>
                      <a:pt x="11" y="83"/>
                    </a:lnTo>
                    <a:lnTo>
                      <a:pt x="12" y="83"/>
                    </a:lnTo>
                    <a:lnTo>
                      <a:pt x="14" y="84"/>
                    </a:lnTo>
                    <a:lnTo>
                      <a:pt x="14" y="84"/>
                    </a:lnTo>
                    <a:lnTo>
                      <a:pt x="11" y="84"/>
                    </a:lnTo>
                    <a:lnTo>
                      <a:pt x="12" y="87"/>
                    </a:lnTo>
                    <a:lnTo>
                      <a:pt x="12" y="90"/>
                    </a:lnTo>
                    <a:lnTo>
                      <a:pt x="11" y="95"/>
                    </a:lnTo>
                    <a:lnTo>
                      <a:pt x="12" y="97"/>
                    </a:lnTo>
                    <a:lnTo>
                      <a:pt x="12" y="100"/>
                    </a:lnTo>
                    <a:lnTo>
                      <a:pt x="12" y="103"/>
                    </a:lnTo>
                    <a:lnTo>
                      <a:pt x="12" y="108"/>
                    </a:lnTo>
                    <a:lnTo>
                      <a:pt x="11" y="112"/>
                    </a:lnTo>
                    <a:lnTo>
                      <a:pt x="9" y="116"/>
                    </a:lnTo>
                    <a:lnTo>
                      <a:pt x="9" y="116"/>
                    </a:lnTo>
                    <a:lnTo>
                      <a:pt x="11" y="116"/>
                    </a:lnTo>
                    <a:lnTo>
                      <a:pt x="14" y="116"/>
                    </a:lnTo>
                    <a:lnTo>
                      <a:pt x="16" y="114"/>
                    </a:lnTo>
                    <a:lnTo>
                      <a:pt x="19" y="114"/>
                    </a:lnTo>
                    <a:lnTo>
                      <a:pt x="23" y="116"/>
                    </a:lnTo>
                    <a:lnTo>
                      <a:pt x="28" y="117"/>
                    </a:lnTo>
                    <a:lnTo>
                      <a:pt x="30" y="117"/>
                    </a:lnTo>
                    <a:lnTo>
                      <a:pt x="36" y="112"/>
                    </a:lnTo>
                    <a:lnTo>
                      <a:pt x="37" y="112"/>
                    </a:lnTo>
                    <a:lnTo>
                      <a:pt x="36" y="108"/>
                    </a:lnTo>
                    <a:lnTo>
                      <a:pt x="36" y="106"/>
                    </a:lnTo>
                    <a:lnTo>
                      <a:pt x="36" y="105"/>
                    </a:lnTo>
                    <a:lnTo>
                      <a:pt x="36" y="103"/>
                    </a:lnTo>
                    <a:lnTo>
                      <a:pt x="36" y="100"/>
                    </a:lnTo>
                    <a:lnTo>
                      <a:pt x="37" y="100"/>
                    </a:lnTo>
                    <a:lnTo>
                      <a:pt x="39" y="97"/>
                    </a:lnTo>
                    <a:lnTo>
                      <a:pt x="39" y="97"/>
                    </a:lnTo>
                    <a:lnTo>
                      <a:pt x="41" y="94"/>
                    </a:lnTo>
                    <a:lnTo>
                      <a:pt x="41" y="94"/>
                    </a:lnTo>
                    <a:lnTo>
                      <a:pt x="42" y="94"/>
                    </a:lnTo>
                    <a:lnTo>
                      <a:pt x="44" y="94"/>
                    </a:lnTo>
                    <a:lnTo>
                      <a:pt x="44" y="92"/>
                    </a:lnTo>
                    <a:lnTo>
                      <a:pt x="45" y="90"/>
                    </a:lnTo>
                    <a:lnTo>
                      <a:pt x="45" y="90"/>
                    </a:lnTo>
                    <a:lnTo>
                      <a:pt x="45" y="90"/>
                    </a:lnTo>
                    <a:lnTo>
                      <a:pt x="45" y="90"/>
                    </a:lnTo>
                    <a:lnTo>
                      <a:pt x="42" y="90"/>
                    </a:lnTo>
                    <a:lnTo>
                      <a:pt x="37" y="84"/>
                    </a:lnTo>
                    <a:lnTo>
                      <a:pt x="37" y="83"/>
                    </a:lnTo>
                    <a:lnTo>
                      <a:pt x="39" y="81"/>
                    </a:lnTo>
                    <a:lnTo>
                      <a:pt x="39" y="80"/>
                    </a:lnTo>
                    <a:lnTo>
                      <a:pt x="39" y="78"/>
                    </a:lnTo>
                    <a:lnTo>
                      <a:pt x="39" y="78"/>
                    </a:lnTo>
                    <a:lnTo>
                      <a:pt x="41" y="78"/>
                    </a:lnTo>
                    <a:lnTo>
                      <a:pt x="42" y="76"/>
                    </a:lnTo>
                    <a:lnTo>
                      <a:pt x="44" y="75"/>
                    </a:lnTo>
                    <a:lnTo>
                      <a:pt x="44" y="72"/>
                    </a:lnTo>
                    <a:lnTo>
                      <a:pt x="44" y="70"/>
                    </a:lnTo>
                    <a:lnTo>
                      <a:pt x="44" y="70"/>
                    </a:lnTo>
                    <a:lnTo>
                      <a:pt x="44" y="70"/>
                    </a:lnTo>
                    <a:lnTo>
                      <a:pt x="41" y="69"/>
                    </a:lnTo>
                    <a:lnTo>
                      <a:pt x="39" y="64"/>
                    </a:lnTo>
                    <a:lnTo>
                      <a:pt x="39" y="64"/>
                    </a:lnTo>
                    <a:lnTo>
                      <a:pt x="39" y="62"/>
                    </a:lnTo>
                    <a:lnTo>
                      <a:pt x="37" y="62"/>
                    </a:lnTo>
                    <a:lnTo>
                      <a:pt x="37" y="62"/>
                    </a:lnTo>
                    <a:lnTo>
                      <a:pt x="37" y="61"/>
                    </a:lnTo>
                    <a:lnTo>
                      <a:pt x="37" y="61"/>
                    </a:lnTo>
                    <a:lnTo>
                      <a:pt x="36" y="59"/>
                    </a:lnTo>
                    <a:lnTo>
                      <a:pt x="34" y="58"/>
                    </a:lnTo>
                    <a:lnTo>
                      <a:pt x="34" y="58"/>
                    </a:lnTo>
                    <a:lnTo>
                      <a:pt x="34" y="58"/>
                    </a:lnTo>
                    <a:lnTo>
                      <a:pt x="36" y="56"/>
                    </a:lnTo>
                    <a:lnTo>
                      <a:pt x="42" y="56"/>
                    </a:lnTo>
                    <a:lnTo>
                      <a:pt x="44" y="56"/>
                    </a:lnTo>
                    <a:lnTo>
                      <a:pt x="44" y="56"/>
                    </a:lnTo>
                    <a:lnTo>
                      <a:pt x="44" y="56"/>
                    </a:lnTo>
                    <a:lnTo>
                      <a:pt x="45" y="55"/>
                    </a:lnTo>
                    <a:lnTo>
                      <a:pt x="45" y="51"/>
                    </a:lnTo>
                    <a:lnTo>
                      <a:pt x="45" y="48"/>
                    </a:lnTo>
                    <a:lnTo>
                      <a:pt x="45" y="48"/>
                    </a:lnTo>
                    <a:lnTo>
                      <a:pt x="44" y="47"/>
                    </a:lnTo>
                    <a:lnTo>
                      <a:pt x="44" y="47"/>
                    </a:lnTo>
                    <a:lnTo>
                      <a:pt x="44" y="45"/>
                    </a:lnTo>
                    <a:lnTo>
                      <a:pt x="44" y="45"/>
                    </a:lnTo>
                    <a:lnTo>
                      <a:pt x="45" y="44"/>
                    </a:lnTo>
                    <a:lnTo>
                      <a:pt x="47" y="42"/>
                    </a:lnTo>
                    <a:lnTo>
                      <a:pt x="47" y="42"/>
                    </a:lnTo>
                    <a:lnTo>
                      <a:pt x="47" y="40"/>
                    </a:lnTo>
                    <a:lnTo>
                      <a:pt x="47" y="40"/>
                    </a:lnTo>
                    <a:lnTo>
                      <a:pt x="47" y="40"/>
                    </a:lnTo>
                    <a:lnTo>
                      <a:pt x="47" y="39"/>
                    </a:lnTo>
                    <a:lnTo>
                      <a:pt x="47" y="39"/>
                    </a:lnTo>
                    <a:lnTo>
                      <a:pt x="47" y="39"/>
                    </a:lnTo>
                    <a:lnTo>
                      <a:pt x="47" y="36"/>
                    </a:lnTo>
                    <a:lnTo>
                      <a:pt x="47" y="34"/>
                    </a:lnTo>
                    <a:lnTo>
                      <a:pt x="47" y="34"/>
                    </a:lnTo>
                    <a:lnTo>
                      <a:pt x="47" y="31"/>
                    </a:lnTo>
                    <a:lnTo>
                      <a:pt x="47" y="29"/>
                    </a:lnTo>
                    <a:lnTo>
                      <a:pt x="45" y="26"/>
                    </a:lnTo>
                    <a:lnTo>
                      <a:pt x="45" y="25"/>
                    </a:lnTo>
                    <a:lnTo>
                      <a:pt x="47" y="25"/>
                    </a:lnTo>
                    <a:lnTo>
                      <a:pt x="48" y="23"/>
                    </a:lnTo>
                    <a:lnTo>
                      <a:pt x="50" y="22"/>
                    </a:lnTo>
                    <a:lnTo>
                      <a:pt x="51" y="20"/>
                    </a:lnTo>
                    <a:lnTo>
                      <a:pt x="55" y="17"/>
                    </a:lnTo>
                    <a:lnTo>
                      <a:pt x="56" y="15"/>
                    </a:lnTo>
                    <a:lnTo>
                      <a:pt x="58" y="14"/>
                    </a:lnTo>
                    <a:lnTo>
                      <a:pt x="58" y="14"/>
                    </a:lnTo>
                    <a:lnTo>
                      <a:pt x="58" y="14"/>
                    </a:lnTo>
                    <a:lnTo>
                      <a:pt x="58" y="1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3" name="Freeform 170">
                <a:extLst>
                  <a:ext uri="{FF2B5EF4-FFF2-40B4-BE49-F238E27FC236}">
                    <a16:creationId xmlns:a16="http://schemas.microsoft.com/office/drawing/2014/main" id="{0E7B4D7B-A174-12D1-E537-DF67D6F923EF}"/>
                  </a:ext>
                </a:extLst>
              </p:cNvPr>
              <p:cNvSpPr>
                <a:spLocks/>
              </p:cNvSpPr>
              <p:nvPr/>
            </p:nvSpPr>
            <p:spPr bwMode="gray">
              <a:xfrm>
                <a:off x="1574" y="1920"/>
                <a:ext cx="149" cy="158"/>
              </a:xfrm>
              <a:custGeom>
                <a:avLst/>
                <a:gdLst>
                  <a:gd name="T0" fmla="*/ 82 w 149"/>
                  <a:gd name="T1" fmla="*/ 20 h 158"/>
                  <a:gd name="T2" fmla="*/ 83 w 149"/>
                  <a:gd name="T3" fmla="*/ 25 h 158"/>
                  <a:gd name="T4" fmla="*/ 85 w 149"/>
                  <a:gd name="T5" fmla="*/ 28 h 158"/>
                  <a:gd name="T6" fmla="*/ 86 w 149"/>
                  <a:gd name="T7" fmla="*/ 31 h 158"/>
                  <a:gd name="T8" fmla="*/ 85 w 149"/>
                  <a:gd name="T9" fmla="*/ 39 h 158"/>
                  <a:gd name="T10" fmla="*/ 85 w 149"/>
                  <a:gd name="T11" fmla="*/ 44 h 158"/>
                  <a:gd name="T12" fmla="*/ 83 w 149"/>
                  <a:gd name="T13" fmla="*/ 49 h 158"/>
                  <a:gd name="T14" fmla="*/ 85 w 149"/>
                  <a:gd name="T15" fmla="*/ 53 h 158"/>
                  <a:gd name="T16" fmla="*/ 91 w 149"/>
                  <a:gd name="T17" fmla="*/ 55 h 158"/>
                  <a:gd name="T18" fmla="*/ 97 w 149"/>
                  <a:gd name="T19" fmla="*/ 55 h 158"/>
                  <a:gd name="T20" fmla="*/ 105 w 149"/>
                  <a:gd name="T21" fmla="*/ 55 h 158"/>
                  <a:gd name="T22" fmla="*/ 110 w 149"/>
                  <a:gd name="T23" fmla="*/ 52 h 158"/>
                  <a:gd name="T24" fmla="*/ 115 w 149"/>
                  <a:gd name="T25" fmla="*/ 56 h 158"/>
                  <a:gd name="T26" fmla="*/ 121 w 149"/>
                  <a:gd name="T27" fmla="*/ 58 h 158"/>
                  <a:gd name="T28" fmla="*/ 124 w 149"/>
                  <a:gd name="T29" fmla="*/ 63 h 158"/>
                  <a:gd name="T30" fmla="*/ 124 w 149"/>
                  <a:gd name="T31" fmla="*/ 71 h 158"/>
                  <a:gd name="T32" fmla="*/ 126 w 149"/>
                  <a:gd name="T33" fmla="*/ 77 h 158"/>
                  <a:gd name="T34" fmla="*/ 127 w 149"/>
                  <a:gd name="T35" fmla="*/ 82 h 158"/>
                  <a:gd name="T36" fmla="*/ 129 w 149"/>
                  <a:gd name="T37" fmla="*/ 88 h 158"/>
                  <a:gd name="T38" fmla="*/ 136 w 149"/>
                  <a:gd name="T39" fmla="*/ 88 h 158"/>
                  <a:gd name="T40" fmla="*/ 144 w 149"/>
                  <a:gd name="T41" fmla="*/ 86 h 158"/>
                  <a:gd name="T42" fmla="*/ 147 w 149"/>
                  <a:gd name="T43" fmla="*/ 91 h 158"/>
                  <a:gd name="T44" fmla="*/ 146 w 149"/>
                  <a:gd name="T45" fmla="*/ 110 h 158"/>
                  <a:gd name="T46" fmla="*/ 143 w 149"/>
                  <a:gd name="T47" fmla="*/ 127 h 158"/>
                  <a:gd name="T48" fmla="*/ 136 w 149"/>
                  <a:gd name="T49" fmla="*/ 141 h 158"/>
                  <a:gd name="T50" fmla="*/ 133 w 149"/>
                  <a:gd name="T51" fmla="*/ 146 h 158"/>
                  <a:gd name="T52" fmla="*/ 127 w 149"/>
                  <a:gd name="T53" fmla="*/ 149 h 158"/>
                  <a:gd name="T54" fmla="*/ 122 w 149"/>
                  <a:gd name="T55" fmla="*/ 155 h 158"/>
                  <a:gd name="T56" fmla="*/ 115 w 149"/>
                  <a:gd name="T57" fmla="*/ 153 h 158"/>
                  <a:gd name="T58" fmla="*/ 108 w 149"/>
                  <a:gd name="T59" fmla="*/ 157 h 158"/>
                  <a:gd name="T60" fmla="*/ 101 w 149"/>
                  <a:gd name="T61" fmla="*/ 155 h 158"/>
                  <a:gd name="T62" fmla="*/ 72 w 149"/>
                  <a:gd name="T63" fmla="*/ 153 h 158"/>
                  <a:gd name="T64" fmla="*/ 74 w 149"/>
                  <a:gd name="T65" fmla="*/ 146 h 158"/>
                  <a:gd name="T66" fmla="*/ 77 w 149"/>
                  <a:gd name="T67" fmla="*/ 143 h 158"/>
                  <a:gd name="T68" fmla="*/ 80 w 149"/>
                  <a:gd name="T69" fmla="*/ 139 h 158"/>
                  <a:gd name="T70" fmla="*/ 80 w 149"/>
                  <a:gd name="T71" fmla="*/ 132 h 158"/>
                  <a:gd name="T72" fmla="*/ 83 w 149"/>
                  <a:gd name="T73" fmla="*/ 128 h 158"/>
                  <a:gd name="T74" fmla="*/ 86 w 149"/>
                  <a:gd name="T75" fmla="*/ 122 h 158"/>
                  <a:gd name="T76" fmla="*/ 91 w 149"/>
                  <a:gd name="T77" fmla="*/ 118 h 158"/>
                  <a:gd name="T78" fmla="*/ 80 w 149"/>
                  <a:gd name="T79" fmla="*/ 108 h 158"/>
                  <a:gd name="T80" fmla="*/ 74 w 149"/>
                  <a:gd name="T81" fmla="*/ 105 h 158"/>
                  <a:gd name="T82" fmla="*/ 55 w 149"/>
                  <a:gd name="T83" fmla="*/ 94 h 158"/>
                  <a:gd name="T84" fmla="*/ 33 w 149"/>
                  <a:gd name="T85" fmla="*/ 86 h 158"/>
                  <a:gd name="T86" fmla="*/ 21 w 149"/>
                  <a:gd name="T87" fmla="*/ 77 h 158"/>
                  <a:gd name="T88" fmla="*/ 15 w 149"/>
                  <a:gd name="T89" fmla="*/ 71 h 158"/>
                  <a:gd name="T90" fmla="*/ 2 w 149"/>
                  <a:gd name="T91" fmla="*/ 56 h 158"/>
                  <a:gd name="T92" fmla="*/ 4 w 149"/>
                  <a:gd name="T93" fmla="*/ 46 h 158"/>
                  <a:gd name="T94" fmla="*/ 10 w 149"/>
                  <a:gd name="T95" fmla="*/ 20 h 158"/>
                  <a:gd name="T96" fmla="*/ 21 w 149"/>
                  <a:gd name="T97" fmla="*/ 6 h 158"/>
                  <a:gd name="T98" fmla="*/ 55 w 149"/>
                  <a:gd name="T99" fmla="*/ 0 h 158"/>
                  <a:gd name="T100" fmla="*/ 80 w 149"/>
                  <a:gd name="T101"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 h="158">
                    <a:moveTo>
                      <a:pt x="80" y="16"/>
                    </a:moveTo>
                    <a:lnTo>
                      <a:pt x="80" y="17"/>
                    </a:lnTo>
                    <a:lnTo>
                      <a:pt x="80" y="19"/>
                    </a:lnTo>
                    <a:lnTo>
                      <a:pt x="82" y="19"/>
                    </a:lnTo>
                    <a:lnTo>
                      <a:pt x="82" y="20"/>
                    </a:lnTo>
                    <a:lnTo>
                      <a:pt x="82" y="20"/>
                    </a:lnTo>
                    <a:lnTo>
                      <a:pt x="83" y="22"/>
                    </a:lnTo>
                    <a:lnTo>
                      <a:pt x="83" y="24"/>
                    </a:lnTo>
                    <a:lnTo>
                      <a:pt x="83" y="25"/>
                    </a:lnTo>
                    <a:lnTo>
                      <a:pt x="83" y="25"/>
                    </a:lnTo>
                    <a:lnTo>
                      <a:pt x="83" y="25"/>
                    </a:lnTo>
                    <a:lnTo>
                      <a:pt x="85" y="27"/>
                    </a:lnTo>
                    <a:lnTo>
                      <a:pt x="85" y="27"/>
                    </a:lnTo>
                    <a:lnTo>
                      <a:pt x="85" y="28"/>
                    </a:lnTo>
                    <a:lnTo>
                      <a:pt x="85" y="28"/>
                    </a:lnTo>
                    <a:lnTo>
                      <a:pt x="85" y="28"/>
                    </a:lnTo>
                    <a:lnTo>
                      <a:pt x="85" y="30"/>
                    </a:lnTo>
                    <a:lnTo>
                      <a:pt x="85" y="30"/>
                    </a:lnTo>
                    <a:lnTo>
                      <a:pt x="85" y="30"/>
                    </a:lnTo>
                    <a:lnTo>
                      <a:pt x="86" y="31"/>
                    </a:lnTo>
                    <a:lnTo>
                      <a:pt x="86" y="35"/>
                    </a:lnTo>
                    <a:lnTo>
                      <a:pt x="85" y="36"/>
                    </a:lnTo>
                    <a:lnTo>
                      <a:pt x="85" y="38"/>
                    </a:lnTo>
                    <a:lnTo>
                      <a:pt x="85" y="38"/>
                    </a:lnTo>
                    <a:lnTo>
                      <a:pt x="85" y="39"/>
                    </a:lnTo>
                    <a:lnTo>
                      <a:pt x="85" y="39"/>
                    </a:lnTo>
                    <a:lnTo>
                      <a:pt x="83" y="41"/>
                    </a:lnTo>
                    <a:lnTo>
                      <a:pt x="83" y="42"/>
                    </a:lnTo>
                    <a:lnTo>
                      <a:pt x="83" y="42"/>
                    </a:lnTo>
                    <a:lnTo>
                      <a:pt x="85" y="44"/>
                    </a:lnTo>
                    <a:lnTo>
                      <a:pt x="85" y="46"/>
                    </a:lnTo>
                    <a:lnTo>
                      <a:pt x="83" y="46"/>
                    </a:lnTo>
                    <a:lnTo>
                      <a:pt x="83" y="47"/>
                    </a:lnTo>
                    <a:lnTo>
                      <a:pt x="83" y="49"/>
                    </a:lnTo>
                    <a:lnTo>
                      <a:pt x="83" y="49"/>
                    </a:lnTo>
                    <a:lnTo>
                      <a:pt x="83" y="50"/>
                    </a:lnTo>
                    <a:lnTo>
                      <a:pt x="83" y="50"/>
                    </a:lnTo>
                    <a:lnTo>
                      <a:pt x="83" y="52"/>
                    </a:lnTo>
                    <a:lnTo>
                      <a:pt x="83" y="53"/>
                    </a:lnTo>
                    <a:lnTo>
                      <a:pt x="85" y="53"/>
                    </a:lnTo>
                    <a:lnTo>
                      <a:pt x="86" y="53"/>
                    </a:lnTo>
                    <a:lnTo>
                      <a:pt x="86" y="53"/>
                    </a:lnTo>
                    <a:lnTo>
                      <a:pt x="88" y="53"/>
                    </a:lnTo>
                    <a:lnTo>
                      <a:pt x="90" y="53"/>
                    </a:lnTo>
                    <a:lnTo>
                      <a:pt x="91" y="55"/>
                    </a:lnTo>
                    <a:lnTo>
                      <a:pt x="93" y="55"/>
                    </a:lnTo>
                    <a:lnTo>
                      <a:pt x="94" y="55"/>
                    </a:lnTo>
                    <a:lnTo>
                      <a:pt x="94" y="55"/>
                    </a:lnTo>
                    <a:lnTo>
                      <a:pt x="96" y="55"/>
                    </a:lnTo>
                    <a:lnTo>
                      <a:pt x="97" y="55"/>
                    </a:lnTo>
                    <a:lnTo>
                      <a:pt x="101" y="55"/>
                    </a:lnTo>
                    <a:lnTo>
                      <a:pt x="102" y="56"/>
                    </a:lnTo>
                    <a:lnTo>
                      <a:pt x="104" y="56"/>
                    </a:lnTo>
                    <a:lnTo>
                      <a:pt x="104" y="55"/>
                    </a:lnTo>
                    <a:lnTo>
                      <a:pt x="105" y="55"/>
                    </a:lnTo>
                    <a:lnTo>
                      <a:pt x="107" y="55"/>
                    </a:lnTo>
                    <a:lnTo>
                      <a:pt x="108" y="55"/>
                    </a:lnTo>
                    <a:lnTo>
                      <a:pt x="108" y="53"/>
                    </a:lnTo>
                    <a:lnTo>
                      <a:pt x="108" y="53"/>
                    </a:lnTo>
                    <a:lnTo>
                      <a:pt x="110" y="52"/>
                    </a:lnTo>
                    <a:lnTo>
                      <a:pt x="111" y="52"/>
                    </a:lnTo>
                    <a:lnTo>
                      <a:pt x="111" y="53"/>
                    </a:lnTo>
                    <a:lnTo>
                      <a:pt x="113" y="55"/>
                    </a:lnTo>
                    <a:lnTo>
                      <a:pt x="113" y="56"/>
                    </a:lnTo>
                    <a:lnTo>
                      <a:pt x="115" y="56"/>
                    </a:lnTo>
                    <a:lnTo>
                      <a:pt x="116" y="56"/>
                    </a:lnTo>
                    <a:lnTo>
                      <a:pt x="118" y="56"/>
                    </a:lnTo>
                    <a:lnTo>
                      <a:pt x="119" y="56"/>
                    </a:lnTo>
                    <a:lnTo>
                      <a:pt x="121" y="56"/>
                    </a:lnTo>
                    <a:lnTo>
                      <a:pt x="121" y="58"/>
                    </a:lnTo>
                    <a:lnTo>
                      <a:pt x="122" y="58"/>
                    </a:lnTo>
                    <a:lnTo>
                      <a:pt x="122" y="61"/>
                    </a:lnTo>
                    <a:lnTo>
                      <a:pt x="122" y="61"/>
                    </a:lnTo>
                    <a:lnTo>
                      <a:pt x="124" y="63"/>
                    </a:lnTo>
                    <a:lnTo>
                      <a:pt x="124" y="63"/>
                    </a:lnTo>
                    <a:lnTo>
                      <a:pt x="124" y="64"/>
                    </a:lnTo>
                    <a:lnTo>
                      <a:pt x="124" y="66"/>
                    </a:lnTo>
                    <a:lnTo>
                      <a:pt x="124" y="67"/>
                    </a:lnTo>
                    <a:lnTo>
                      <a:pt x="124" y="69"/>
                    </a:lnTo>
                    <a:lnTo>
                      <a:pt x="124" y="71"/>
                    </a:lnTo>
                    <a:lnTo>
                      <a:pt x="126" y="72"/>
                    </a:lnTo>
                    <a:lnTo>
                      <a:pt x="126" y="72"/>
                    </a:lnTo>
                    <a:lnTo>
                      <a:pt x="126" y="74"/>
                    </a:lnTo>
                    <a:lnTo>
                      <a:pt x="126" y="75"/>
                    </a:lnTo>
                    <a:lnTo>
                      <a:pt x="126" y="77"/>
                    </a:lnTo>
                    <a:lnTo>
                      <a:pt x="127" y="77"/>
                    </a:lnTo>
                    <a:lnTo>
                      <a:pt x="126" y="78"/>
                    </a:lnTo>
                    <a:lnTo>
                      <a:pt x="126" y="80"/>
                    </a:lnTo>
                    <a:lnTo>
                      <a:pt x="126" y="80"/>
                    </a:lnTo>
                    <a:lnTo>
                      <a:pt x="127" y="82"/>
                    </a:lnTo>
                    <a:lnTo>
                      <a:pt x="127" y="83"/>
                    </a:lnTo>
                    <a:lnTo>
                      <a:pt x="127" y="85"/>
                    </a:lnTo>
                    <a:lnTo>
                      <a:pt x="127" y="86"/>
                    </a:lnTo>
                    <a:lnTo>
                      <a:pt x="129" y="88"/>
                    </a:lnTo>
                    <a:lnTo>
                      <a:pt x="129" y="88"/>
                    </a:lnTo>
                    <a:lnTo>
                      <a:pt x="130" y="89"/>
                    </a:lnTo>
                    <a:lnTo>
                      <a:pt x="132" y="89"/>
                    </a:lnTo>
                    <a:lnTo>
                      <a:pt x="133" y="89"/>
                    </a:lnTo>
                    <a:lnTo>
                      <a:pt x="136" y="88"/>
                    </a:lnTo>
                    <a:lnTo>
                      <a:pt x="136" y="88"/>
                    </a:lnTo>
                    <a:lnTo>
                      <a:pt x="138" y="86"/>
                    </a:lnTo>
                    <a:lnTo>
                      <a:pt x="141" y="86"/>
                    </a:lnTo>
                    <a:lnTo>
                      <a:pt x="141" y="86"/>
                    </a:lnTo>
                    <a:lnTo>
                      <a:pt x="143" y="85"/>
                    </a:lnTo>
                    <a:lnTo>
                      <a:pt x="144" y="86"/>
                    </a:lnTo>
                    <a:lnTo>
                      <a:pt x="146" y="86"/>
                    </a:lnTo>
                    <a:lnTo>
                      <a:pt x="146" y="88"/>
                    </a:lnTo>
                    <a:lnTo>
                      <a:pt x="149" y="89"/>
                    </a:lnTo>
                    <a:lnTo>
                      <a:pt x="149" y="89"/>
                    </a:lnTo>
                    <a:lnTo>
                      <a:pt x="147" y="91"/>
                    </a:lnTo>
                    <a:lnTo>
                      <a:pt x="147" y="92"/>
                    </a:lnTo>
                    <a:lnTo>
                      <a:pt x="147" y="94"/>
                    </a:lnTo>
                    <a:lnTo>
                      <a:pt x="147" y="99"/>
                    </a:lnTo>
                    <a:lnTo>
                      <a:pt x="146" y="105"/>
                    </a:lnTo>
                    <a:lnTo>
                      <a:pt x="146" y="110"/>
                    </a:lnTo>
                    <a:lnTo>
                      <a:pt x="146" y="110"/>
                    </a:lnTo>
                    <a:lnTo>
                      <a:pt x="144" y="113"/>
                    </a:lnTo>
                    <a:lnTo>
                      <a:pt x="143" y="116"/>
                    </a:lnTo>
                    <a:lnTo>
                      <a:pt x="143" y="119"/>
                    </a:lnTo>
                    <a:lnTo>
                      <a:pt x="143" y="127"/>
                    </a:lnTo>
                    <a:lnTo>
                      <a:pt x="141" y="133"/>
                    </a:lnTo>
                    <a:lnTo>
                      <a:pt x="140" y="138"/>
                    </a:lnTo>
                    <a:lnTo>
                      <a:pt x="138" y="139"/>
                    </a:lnTo>
                    <a:lnTo>
                      <a:pt x="138" y="141"/>
                    </a:lnTo>
                    <a:lnTo>
                      <a:pt x="136" y="141"/>
                    </a:lnTo>
                    <a:lnTo>
                      <a:pt x="136" y="143"/>
                    </a:lnTo>
                    <a:lnTo>
                      <a:pt x="135" y="143"/>
                    </a:lnTo>
                    <a:lnTo>
                      <a:pt x="133" y="144"/>
                    </a:lnTo>
                    <a:lnTo>
                      <a:pt x="133" y="144"/>
                    </a:lnTo>
                    <a:lnTo>
                      <a:pt x="133" y="146"/>
                    </a:lnTo>
                    <a:lnTo>
                      <a:pt x="132" y="146"/>
                    </a:lnTo>
                    <a:lnTo>
                      <a:pt x="129" y="146"/>
                    </a:lnTo>
                    <a:lnTo>
                      <a:pt x="129" y="147"/>
                    </a:lnTo>
                    <a:lnTo>
                      <a:pt x="127" y="149"/>
                    </a:lnTo>
                    <a:lnTo>
                      <a:pt x="127" y="149"/>
                    </a:lnTo>
                    <a:lnTo>
                      <a:pt x="126" y="150"/>
                    </a:lnTo>
                    <a:lnTo>
                      <a:pt x="126" y="150"/>
                    </a:lnTo>
                    <a:lnTo>
                      <a:pt x="126" y="152"/>
                    </a:lnTo>
                    <a:lnTo>
                      <a:pt x="124" y="153"/>
                    </a:lnTo>
                    <a:lnTo>
                      <a:pt x="122" y="155"/>
                    </a:lnTo>
                    <a:lnTo>
                      <a:pt x="122" y="155"/>
                    </a:lnTo>
                    <a:lnTo>
                      <a:pt x="121" y="153"/>
                    </a:lnTo>
                    <a:lnTo>
                      <a:pt x="119" y="153"/>
                    </a:lnTo>
                    <a:lnTo>
                      <a:pt x="116" y="153"/>
                    </a:lnTo>
                    <a:lnTo>
                      <a:pt x="115" y="153"/>
                    </a:lnTo>
                    <a:lnTo>
                      <a:pt x="113" y="153"/>
                    </a:lnTo>
                    <a:lnTo>
                      <a:pt x="113" y="155"/>
                    </a:lnTo>
                    <a:lnTo>
                      <a:pt x="111" y="157"/>
                    </a:lnTo>
                    <a:lnTo>
                      <a:pt x="110" y="158"/>
                    </a:lnTo>
                    <a:lnTo>
                      <a:pt x="108" y="157"/>
                    </a:lnTo>
                    <a:lnTo>
                      <a:pt x="107" y="157"/>
                    </a:lnTo>
                    <a:lnTo>
                      <a:pt x="105" y="157"/>
                    </a:lnTo>
                    <a:lnTo>
                      <a:pt x="104" y="157"/>
                    </a:lnTo>
                    <a:lnTo>
                      <a:pt x="102" y="155"/>
                    </a:lnTo>
                    <a:lnTo>
                      <a:pt x="101" y="155"/>
                    </a:lnTo>
                    <a:lnTo>
                      <a:pt x="99" y="157"/>
                    </a:lnTo>
                    <a:lnTo>
                      <a:pt x="94" y="155"/>
                    </a:lnTo>
                    <a:lnTo>
                      <a:pt x="86" y="153"/>
                    </a:lnTo>
                    <a:lnTo>
                      <a:pt x="80" y="152"/>
                    </a:lnTo>
                    <a:lnTo>
                      <a:pt x="72" y="153"/>
                    </a:lnTo>
                    <a:lnTo>
                      <a:pt x="71" y="150"/>
                    </a:lnTo>
                    <a:lnTo>
                      <a:pt x="72" y="149"/>
                    </a:lnTo>
                    <a:lnTo>
                      <a:pt x="74" y="149"/>
                    </a:lnTo>
                    <a:lnTo>
                      <a:pt x="74" y="147"/>
                    </a:lnTo>
                    <a:lnTo>
                      <a:pt x="74" y="146"/>
                    </a:lnTo>
                    <a:lnTo>
                      <a:pt x="76" y="146"/>
                    </a:lnTo>
                    <a:lnTo>
                      <a:pt x="77" y="144"/>
                    </a:lnTo>
                    <a:lnTo>
                      <a:pt x="77" y="144"/>
                    </a:lnTo>
                    <a:lnTo>
                      <a:pt x="77" y="144"/>
                    </a:lnTo>
                    <a:lnTo>
                      <a:pt x="77" y="143"/>
                    </a:lnTo>
                    <a:lnTo>
                      <a:pt x="79" y="143"/>
                    </a:lnTo>
                    <a:lnTo>
                      <a:pt x="79" y="141"/>
                    </a:lnTo>
                    <a:lnTo>
                      <a:pt x="79" y="141"/>
                    </a:lnTo>
                    <a:lnTo>
                      <a:pt x="79" y="139"/>
                    </a:lnTo>
                    <a:lnTo>
                      <a:pt x="80" y="139"/>
                    </a:lnTo>
                    <a:lnTo>
                      <a:pt x="80" y="139"/>
                    </a:lnTo>
                    <a:lnTo>
                      <a:pt x="79" y="136"/>
                    </a:lnTo>
                    <a:lnTo>
                      <a:pt x="79" y="135"/>
                    </a:lnTo>
                    <a:lnTo>
                      <a:pt x="80" y="133"/>
                    </a:lnTo>
                    <a:lnTo>
                      <a:pt x="80" y="132"/>
                    </a:lnTo>
                    <a:lnTo>
                      <a:pt x="80" y="132"/>
                    </a:lnTo>
                    <a:lnTo>
                      <a:pt x="80" y="132"/>
                    </a:lnTo>
                    <a:lnTo>
                      <a:pt x="80" y="130"/>
                    </a:lnTo>
                    <a:lnTo>
                      <a:pt x="82" y="130"/>
                    </a:lnTo>
                    <a:lnTo>
                      <a:pt x="83" y="128"/>
                    </a:lnTo>
                    <a:lnTo>
                      <a:pt x="85" y="127"/>
                    </a:lnTo>
                    <a:lnTo>
                      <a:pt x="85" y="127"/>
                    </a:lnTo>
                    <a:lnTo>
                      <a:pt x="85" y="125"/>
                    </a:lnTo>
                    <a:lnTo>
                      <a:pt x="86" y="124"/>
                    </a:lnTo>
                    <a:lnTo>
                      <a:pt x="86" y="122"/>
                    </a:lnTo>
                    <a:lnTo>
                      <a:pt x="86" y="121"/>
                    </a:lnTo>
                    <a:lnTo>
                      <a:pt x="88" y="121"/>
                    </a:lnTo>
                    <a:lnTo>
                      <a:pt x="90" y="119"/>
                    </a:lnTo>
                    <a:lnTo>
                      <a:pt x="91" y="118"/>
                    </a:lnTo>
                    <a:lnTo>
                      <a:pt x="91" y="118"/>
                    </a:lnTo>
                    <a:lnTo>
                      <a:pt x="90" y="116"/>
                    </a:lnTo>
                    <a:lnTo>
                      <a:pt x="90" y="114"/>
                    </a:lnTo>
                    <a:lnTo>
                      <a:pt x="86" y="111"/>
                    </a:lnTo>
                    <a:lnTo>
                      <a:pt x="83" y="108"/>
                    </a:lnTo>
                    <a:lnTo>
                      <a:pt x="80" y="108"/>
                    </a:lnTo>
                    <a:lnTo>
                      <a:pt x="79" y="107"/>
                    </a:lnTo>
                    <a:lnTo>
                      <a:pt x="77" y="108"/>
                    </a:lnTo>
                    <a:lnTo>
                      <a:pt x="77" y="107"/>
                    </a:lnTo>
                    <a:lnTo>
                      <a:pt x="76" y="107"/>
                    </a:lnTo>
                    <a:lnTo>
                      <a:pt x="74" y="105"/>
                    </a:lnTo>
                    <a:lnTo>
                      <a:pt x="71" y="103"/>
                    </a:lnTo>
                    <a:lnTo>
                      <a:pt x="61" y="99"/>
                    </a:lnTo>
                    <a:lnTo>
                      <a:pt x="58" y="97"/>
                    </a:lnTo>
                    <a:lnTo>
                      <a:pt x="58" y="96"/>
                    </a:lnTo>
                    <a:lnTo>
                      <a:pt x="55" y="94"/>
                    </a:lnTo>
                    <a:lnTo>
                      <a:pt x="49" y="91"/>
                    </a:lnTo>
                    <a:lnTo>
                      <a:pt x="46" y="89"/>
                    </a:lnTo>
                    <a:lnTo>
                      <a:pt x="43" y="89"/>
                    </a:lnTo>
                    <a:lnTo>
                      <a:pt x="40" y="88"/>
                    </a:lnTo>
                    <a:lnTo>
                      <a:pt x="33" y="86"/>
                    </a:lnTo>
                    <a:lnTo>
                      <a:pt x="30" y="85"/>
                    </a:lnTo>
                    <a:lnTo>
                      <a:pt x="29" y="82"/>
                    </a:lnTo>
                    <a:lnTo>
                      <a:pt x="27" y="80"/>
                    </a:lnTo>
                    <a:lnTo>
                      <a:pt x="22" y="78"/>
                    </a:lnTo>
                    <a:lnTo>
                      <a:pt x="21" y="77"/>
                    </a:lnTo>
                    <a:lnTo>
                      <a:pt x="21" y="77"/>
                    </a:lnTo>
                    <a:lnTo>
                      <a:pt x="21" y="75"/>
                    </a:lnTo>
                    <a:lnTo>
                      <a:pt x="18" y="75"/>
                    </a:lnTo>
                    <a:lnTo>
                      <a:pt x="16" y="74"/>
                    </a:lnTo>
                    <a:lnTo>
                      <a:pt x="15" y="71"/>
                    </a:lnTo>
                    <a:lnTo>
                      <a:pt x="11" y="67"/>
                    </a:lnTo>
                    <a:lnTo>
                      <a:pt x="8" y="63"/>
                    </a:lnTo>
                    <a:lnTo>
                      <a:pt x="7" y="60"/>
                    </a:lnTo>
                    <a:lnTo>
                      <a:pt x="4" y="58"/>
                    </a:lnTo>
                    <a:lnTo>
                      <a:pt x="2" y="56"/>
                    </a:lnTo>
                    <a:lnTo>
                      <a:pt x="2" y="55"/>
                    </a:lnTo>
                    <a:lnTo>
                      <a:pt x="0" y="55"/>
                    </a:lnTo>
                    <a:lnTo>
                      <a:pt x="2" y="55"/>
                    </a:lnTo>
                    <a:lnTo>
                      <a:pt x="2" y="50"/>
                    </a:lnTo>
                    <a:lnTo>
                      <a:pt x="4" y="46"/>
                    </a:lnTo>
                    <a:lnTo>
                      <a:pt x="5" y="39"/>
                    </a:lnTo>
                    <a:lnTo>
                      <a:pt x="8" y="33"/>
                    </a:lnTo>
                    <a:lnTo>
                      <a:pt x="8" y="28"/>
                    </a:lnTo>
                    <a:lnTo>
                      <a:pt x="8" y="24"/>
                    </a:lnTo>
                    <a:lnTo>
                      <a:pt x="10" y="20"/>
                    </a:lnTo>
                    <a:lnTo>
                      <a:pt x="13" y="17"/>
                    </a:lnTo>
                    <a:lnTo>
                      <a:pt x="15" y="14"/>
                    </a:lnTo>
                    <a:lnTo>
                      <a:pt x="16" y="10"/>
                    </a:lnTo>
                    <a:lnTo>
                      <a:pt x="18" y="6"/>
                    </a:lnTo>
                    <a:lnTo>
                      <a:pt x="21" y="6"/>
                    </a:lnTo>
                    <a:lnTo>
                      <a:pt x="29" y="5"/>
                    </a:lnTo>
                    <a:lnTo>
                      <a:pt x="32" y="3"/>
                    </a:lnTo>
                    <a:lnTo>
                      <a:pt x="40" y="2"/>
                    </a:lnTo>
                    <a:lnTo>
                      <a:pt x="47" y="0"/>
                    </a:lnTo>
                    <a:lnTo>
                      <a:pt x="55" y="0"/>
                    </a:lnTo>
                    <a:lnTo>
                      <a:pt x="63" y="0"/>
                    </a:lnTo>
                    <a:lnTo>
                      <a:pt x="69" y="3"/>
                    </a:lnTo>
                    <a:lnTo>
                      <a:pt x="74" y="6"/>
                    </a:lnTo>
                    <a:lnTo>
                      <a:pt x="80" y="10"/>
                    </a:lnTo>
                    <a:lnTo>
                      <a:pt x="80" y="11"/>
                    </a:lnTo>
                    <a:lnTo>
                      <a:pt x="80" y="13"/>
                    </a:lnTo>
                    <a:lnTo>
                      <a:pt x="80" y="1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4" name="Freeform 171">
                <a:extLst>
                  <a:ext uri="{FF2B5EF4-FFF2-40B4-BE49-F238E27FC236}">
                    <a16:creationId xmlns:a16="http://schemas.microsoft.com/office/drawing/2014/main" id="{9C700190-B888-A693-545A-01BA76AFBB51}"/>
                  </a:ext>
                </a:extLst>
              </p:cNvPr>
              <p:cNvSpPr>
                <a:spLocks/>
              </p:cNvSpPr>
              <p:nvPr/>
            </p:nvSpPr>
            <p:spPr bwMode="gray">
              <a:xfrm>
                <a:off x="3566" y="1103"/>
                <a:ext cx="14" cy="32"/>
              </a:xfrm>
              <a:custGeom>
                <a:avLst/>
                <a:gdLst>
                  <a:gd name="T0" fmla="*/ 8 w 14"/>
                  <a:gd name="T1" fmla="*/ 30 h 32"/>
                  <a:gd name="T2" fmla="*/ 7 w 14"/>
                  <a:gd name="T3" fmla="*/ 32 h 32"/>
                  <a:gd name="T4" fmla="*/ 5 w 14"/>
                  <a:gd name="T5" fmla="*/ 32 h 32"/>
                  <a:gd name="T6" fmla="*/ 5 w 14"/>
                  <a:gd name="T7" fmla="*/ 32 h 32"/>
                  <a:gd name="T8" fmla="*/ 4 w 14"/>
                  <a:gd name="T9" fmla="*/ 32 h 32"/>
                  <a:gd name="T10" fmla="*/ 4 w 14"/>
                  <a:gd name="T11" fmla="*/ 30 h 32"/>
                  <a:gd name="T12" fmla="*/ 2 w 14"/>
                  <a:gd name="T13" fmla="*/ 28 h 32"/>
                  <a:gd name="T14" fmla="*/ 0 w 14"/>
                  <a:gd name="T15" fmla="*/ 27 h 32"/>
                  <a:gd name="T16" fmla="*/ 0 w 14"/>
                  <a:gd name="T17" fmla="*/ 25 h 32"/>
                  <a:gd name="T18" fmla="*/ 2 w 14"/>
                  <a:gd name="T19" fmla="*/ 25 h 32"/>
                  <a:gd name="T20" fmla="*/ 0 w 14"/>
                  <a:gd name="T21" fmla="*/ 19 h 32"/>
                  <a:gd name="T22" fmla="*/ 0 w 14"/>
                  <a:gd name="T23" fmla="*/ 16 h 32"/>
                  <a:gd name="T24" fmla="*/ 0 w 14"/>
                  <a:gd name="T25" fmla="*/ 14 h 32"/>
                  <a:gd name="T26" fmla="*/ 0 w 14"/>
                  <a:gd name="T27" fmla="*/ 13 h 32"/>
                  <a:gd name="T28" fmla="*/ 2 w 14"/>
                  <a:gd name="T29" fmla="*/ 11 h 32"/>
                  <a:gd name="T30" fmla="*/ 2 w 14"/>
                  <a:gd name="T31" fmla="*/ 10 h 32"/>
                  <a:gd name="T32" fmla="*/ 4 w 14"/>
                  <a:gd name="T33" fmla="*/ 3 h 32"/>
                  <a:gd name="T34" fmla="*/ 7 w 14"/>
                  <a:gd name="T35" fmla="*/ 2 h 32"/>
                  <a:gd name="T36" fmla="*/ 8 w 14"/>
                  <a:gd name="T37" fmla="*/ 0 h 32"/>
                  <a:gd name="T38" fmla="*/ 11 w 14"/>
                  <a:gd name="T39" fmla="*/ 3 h 32"/>
                  <a:gd name="T40" fmla="*/ 13 w 14"/>
                  <a:gd name="T41" fmla="*/ 5 h 32"/>
                  <a:gd name="T42" fmla="*/ 14 w 14"/>
                  <a:gd name="T43" fmla="*/ 8 h 32"/>
                  <a:gd name="T44" fmla="*/ 13 w 14"/>
                  <a:gd name="T45" fmla="*/ 10 h 32"/>
                  <a:gd name="T46" fmla="*/ 13 w 14"/>
                  <a:gd name="T47" fmla="*/ 13 h 32"/>
                  <a:gd name="T48" fmla="*/ 13 w 14"/>
                  <a:gd name="T49" fmla="*/ 14 h 32"/>
                  <a:gd name="T50" fmla="*/ 13 w 14"/>
                  <a:gd name="T51" fmla="*/ 16 h 32"/>
                  <a:gd name="T52" fmla="*/ 14 w 14"/>
                  <a:gd name="T53" fmla="*/ 18 h 32"/>
                  <a:gd name="T54" fmla="*/ 14 w 14"/>
                  <a:gd name="T55" fmla="*/ 21 h 32"/>
                  <a:gd name="T56" fmla="*/ 14 w 14"/>
                  <a:gd name="T57" fmla="*/ 22 h 32"/>
                  <a:gd name="T58" fmla="*/ 14 w 14"/>
                  <a:gd name="T59" fmla="*/ 24 h 32"/>
                  <a:gd name="T60" fmla="*/ 13 w 14"/>
                  <a:gd name="T61" fmla="*/ 25 h 32"/>
                  <a:gd name="T62" fmla="*/ 11 w 14"/>
                  <a:gd name="T63" fmla="*/ 30 h 32"/>
                  <a:gd name="T64" fmla="*/ 11 w 14"/>
                  <a:gd name="T65" fmla="*/ 30 h 32"/>
                  <a:gd name="T66" fmla="*/ 8 w 14"/>
                  <a:gd name="T6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32">
                    <a:moveTo>
                      <a:pt x="8" y="30"/>
                    </a:moveTo>
                    <a:lnTo>
                      <a:pt x="7" y="32"/>
                    </a:lnTo>
                    <a:lnTo>
                      <a:pt x="5" y="32"/>
                    </a:lnTo>
                    <a:lnTo>
                      <a:pt x="5" y="32"/>
                    </a:lnTo>
                    <a:lnTo>
                      <a:pt x="4" y="32"/>
                    </a:lnTo>
                    <a:lnTo>
                      <a:pt x="4" y="30"/>
                    </a:lnTo>
                    <a:lnTo>
                      <a:pt x="2" y="28"/>
                    </a:lnTo>
                    <a:lnTo>
                      <a:pt x="0" y="27"/>
                    </a:lnTo>
                    <a:lnTo>
                      <a:pt x="0" y="25"/>
                    </a:lnTo>
                    <a:lnTo>
                      <a:pt x="2" y="25"/>
                    </a:lnTo>
                    <a:lnTo>
                      <a:pt x="0" y="19"/>
                    </a:lnTo>
                    <a:lnTo>
                      <a:pt x="0" y="16"/>
                    </a:lnTo>
                    <a:lnTo>
                      <a:pt x="0" y="14"/>
                    </a:lnTo>
                    <a:lnTo>
                      <a:pt x="0" y="13"/>
                    </a:lnTo>
                    <a:lnTo>
                      <a:pt x="2" y="11"/>
                    </a:lnTo>
                    <a:lnTo>
                      <a:pt x="2" y="10"/>
                    </a:lnTo>
                    <a:lnTo>
                      <a:pt x="4" y="3"/>
                    </a:lnTo>
                    <a:lnTo>
                      <a:pt x="7" y="2"/>
                    </a:lnTo>
                    <a:lnTo>
                      <a:pt x="8" y="0"/>
                    </a:lnTo>
                    <a:lnTo>
                      <a:pt x="11" y="3"/>
                    </a:lnTo>
                    <a:lnTo>
                      <a:pt x="13" y="5"/>
                    </a:lnTo>
                    <a:lnTo>
                      <a:pt x="14" y="8"/>
                    </a:lnTo>
                    <a:lnTo>
                      <a:pt x="13" y="10"/>
                    </a:lnTo>
                    <a:lnTo>
                      <a:pt x="13" y="13"/>
                    </a:lnTo>
                    <a:lnTo>
                      <a:pt x="13" y="14"/>
                    </a:lnTo>
                    <a:lnTo>
                      <a:pt x="13" y="16"/>
                    </a:lnTo>
                    <a:lnTo>
                      <a:pt x="14" y="18"/>
                    </a:lnTo>
                    <a:lnTo>
                      <a:pt x="14" y="21"/>
                    </a:lnTo>
                    <a:lnTo>
                      <a:pt x="14" y="22"/>
                    </a:lnTo>
                    <a:lnTo>
                      <a:pt x="14" y="24"/>
                    </a:lnTo>
                    <a:lnTo>
                      <a:pt x="13" y="25"/>
                    </a:lnTo>
                    <a:lnTo>
                      <a:pt x="11" y="30"/>
                    </a:lnTo>
                    <a:lnTo>
                      <a:pt x="11" y="30"/>
                    </a:lnTo>
                    <a:lnTo>
                      <a:pt x="8" y="3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5" name="Freeform 172">
                <a:extLst>
                  <a:ext uri="{FF2B5EF4-FFF2-40B4-BE49-F238E27FC236}">
                    <a16:creationId xmlns:a16="http://schemas.microsoft.com/office/drawing/2014/main" id="{CFF09B0A-34FF-491E-2F62-1592B120534E}"/>
                  </a:ext>
                </a:extLst>
              </p:cNvPr>
              <p:cNvSpPr>
                <a:spLocks/>
              </p:cNvSpPr>
              <p:nvPr/>
            </p:nvSpPr>
            <p:spPr bwMode="gray">
              <a:xfrm>
                <a:off x="3030" y="612"/>
                <a:ext cx="166" cy="116"/>
              </a:xfrm>
              <a:custGeom>
                <a:avLst/>
                <a:gdLst>
                  <a:gd name="T0" fmla="*/ 150 w 166"/>
                  <a:gd name="T1" fmla="*/ 77 h 116"/>
                  <a:gd name="T2" fmla="*/ 150 w 166"/>
                  <a:gd name="T3" fmla="*/ 75 h 116"/>
                  <a:gd name="T4" fmla="*/ 164 w 166"/>
                  <a:gd name="T5" fmla="*/ 73 h 116"/>
                  <a:gd name="T6" fmla="*/ 164 w 166"/>
                  <a:gd name="T7" fmla="*/ 83 h 116"/>
                  <a:gd name="T8" fmla="*/ 155 w 166"/>
                  <a:gd name="T9" fmla="*/ 86 h 116"/>
                  <a:gd name="T10" fmla="*/ 152 w 166"/>
                  <a:gd name="T11" fmla="*/ 84 h 116"/>
                  <a:gd name="T12" fmla="*/ 150 w 166"/>
                  <a:gd name="T13" fmla="*/ 92 h 116"/>
                  <a:gd name="T14" fmla="*/ 147 w 166"/>
                  <a:gd name="T15" fmla="*/ 100 h 116"/>
                  <a:gd name="T16" fmla="*/ 142 w 166"/>
                  <a:gd name="T17" fmla="*/ 113 h 116"/>
                  <a:gd name="T18" fmla="*/ 131 w 166"/>
                  <a:gd name="T19" fmla="*/ 108 h 116"/>
                  <a:gd name="T20" fmla="*/ 120 w 166"/>
                  <a:gd name="T21" fmla="*/ 103 h 116"/>
                  <a:gd name="T22" fmla="*/ 100 w 166"/>
                  <a:gd name="T23" fmla="*/ 111 h 116"/>
                  <a:gd name="T24" fmla="*/ 80 w 166"/>
                  <a:gd name="T25" fmla="*/ 114 h 116"/>
                  <a:gd name="T26" fmla="*/ 53 w 166"/>
                  <a:gd name="T27" fmla="*/ 109 h 116"/>
                  <a:gd name="T28" fmla="*/ 47 w 166"/>
                  <a:gd name="T29" fmla="*/ 108 h 116"/>
                  <a:gd name="T30" fmla="*/ 44 w 166"/>
                  <a:gd name="T31" fmla="*/ 102 h 116"/>
                  <a:gd name="T32" fmla="*/ 41 w 166"/>
                  <a:gd name="T33" fmla="*/ 99 h 116"/>
                  <a:gd name="T34" fmla="*/ 42 w 166"/>
                  <a:gd name="T35" fmla="*/ 94 h 116"/>
                  <a:gd name="T36" fmla="*/ 39 w 166"/>
                  <a:gd name="T37" fmla="*/ 89 h 116"/>
                  <a:gd name="T38" fmla="*/ 30 w 166"/>
                  <a:gd name="T39" fmla="*/ 91 h 116"/>
                  <a:gd name="T40" fmla="*/ 20 w 166"/>
                  <a:gd name="T41" fmla="*/ 88 h 116"/>
                  <a:gd name="T42" fmla="*/ 24 w 166"/>
                  <a:gd name="T43" fmla="*/ 84 h 116"/>
                  <a:gd name="T44" fmla="*/ 20 w 166"/>
                  <a:gd name="T45" fmla="*/ 83 h 116"/>
                  <a:gd name="T46" fmla="*/ 20 w 166"/>
                  <a:gd name="T47" fmla="*/ 81 h 116"/>
                  <a:gd name="T48" fmla="*/ 20 w 166"/>
                  <a:gd name="T49" fmla="*/ 78 h 116"/>
                  <a:gd name="T50" fmla="*/ 14 w 166"/>
                  <a:gd name="T51" fmla="*/ 75 h 116"/>
                  <a:gd name="T52" fmla="*/ 9 w 166"/>
                  <a:gd name="T53" fmla="*/ 70 h 116"/>
                  <a:gd name="T54" fmla="*/ 9 w 166"/>
                  <a:gd name="T55" fmla="*/ 64 h 116"/>
                  <a:gd name="T56" fmla="*/ 8 w 166"/>
                  <a:gd name="T57" fmla="*/ 64 h 116"/>
                  <a:gd name="T58" fmla="*/ 2 w 166"/>
                  <a:gd name="T59" fmla="*/ 58 h 116"/>
                  <a:gd name="T60" fmla="*/ 6 w 166"/>
                  <a:gd name="T61" fmla="*/ 55 h 116"/>
                  <a:gd name="T62" fmla="*/ 9 w 166"/>
                  <a:gd name="T63" fmla="*/ 52 h 116"/>
                  <a:gd name="T64" fmla="*/ 16 w 166"/>
                  <a:gd name="T65" fmla="*/ 48 h 116"/>
                  <a:gd name="T66" fmla="*/ 19 w 166"/>
                  <a:gd name="T67" fmla="*/ 44 h 116"/>
                  <a:gd name="T68" fmla="*/ 22 w 166"/>
                  <a:gd name="T69" fmla="*/ 39 h 116"/>
                  <a:gd name="T70" fmla="*/ 25 w 166"/>
                  <a:gd name="T71" fmla="*/ 31 h 116"/>
                  <a:gd name="T72" fmla="*/ 30 w 166"/>
                  <a:gd name="T73" fmla="*/ 23 h 116"/>
                  <a:gd name="T74" fmla="*/ 35 w 166"/>
                  <a:gd name="T75" fmla="*/ 16 h 116"/>
                  <a:gd name="T76" fmla="*/ 39 w 166"/>
                  <a:gd name="T77" fmla="*/ 12 h 116"/>
                  <a:gd name="T78" fmla="*/ 47 w 166"/>
                  <a:gd name="T79" fmla="*/ 8 h 116"/>
                  <a:gd name="T80" fmla="*/ 52 w 166"/>
                  <a:gd name="T81" fmla="*/ 5 h 116"/>
                  <a:gd name="T82" fmla="*/ 61 w 166"/>
                  <a:gd name="T83" fmla="*/ 6 h 116"/>
                  <a:gd name="T84" fmla="*/ 70 w 166"/>
                  <a:gd name="T85" fmla="*/ 9 h 116"/>
                  <a:gd name="T86" fmla="*/ 81 w 166"/>
                  <a:gd name="T87" fmla="*/ 12 h 116"/>
                  <a:gd name="T88" fmla="*/ 92 w 166"/>
                  <a:gd name="T89" fmla="*/ 9 h 116"/>
                  <a:gd name="T90" fmla="*/ 106 w 166"/>
                  <a:gd name="T91" fmla="*/ 3 h 116"/>
                  <a:gd name="T92" fmla="*/ 114 w 166"/>
                  <a:gd name="T93" fmla="*/ 0 h 116"/>
                  <a:gd name="T94" fmla="*/ 120 w 166"/>
                  <a:gd name="T95" fmla="*/ 5 h 116"/>
                  <a:gd name="T96" fmla="*/ 125 w 166"/>
                  <a:gd name="T97" fmla="*/ 16 h 116"/>
                  <a:gd name="T98" fmla="*/ 131 w 166"/>
                  <a:gd name="T99" fmla="*/ 25 h 116"/>
                  <a:gd name="T100" fmla="*/ 138 w 166"/>
                  <a:gd name="T101" fmla="*/ 33 h 116"/>
                  <a:gd name="T102" fmla="*/ 141 w 166"/>
                  <a:gd name="T103" fmla="*/ 47 h 116"/>
                  <a:gd name="T104" fmla="*/ 138 w 166"/>
                  <a:gd name="T105" fmla="*/ 63 h 116"/>
                  <a:gd name="T106" fmla="*/ 138 w 166"/>
                  <a:gd name="T107" fmla="*/ 6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 h="116">
                    <a:moveTo>
                      <a:pt x="141" y="72"/>
                    </a:moveTo>
                    <a:lnTo>
                      <a:pt x="142" y="73"/>
                    </a:lnTo>
                    <a:lnTo>
                      <a:pt x="144" y="75"/>
                    </a:lnTo>
                    <a:lnTo>
                      <a:pt x="150" y="77"/>
                    </a:lnTo>
                    <a:lnTo>
                      <a:pt x="150" y="77"/>
                    </a:lnTo>
                    <a:lnTo>
                      <a:pt x="150" y="77"/>
                    </a:lnTo>
                    <a:lnTo>
                      <a:pt x="150" y="77"/>
                    </a:lnTo>
                    <a:lnTo>
                      <a:pt x="150" y="75"/>
                    </a:lnTo>
                    <a:lnTo>
                      <a:pt x="150" y="75"/>
                    </a:lnTo>
                    <a:lnTo>
                      <a:pt x="150" y="75"/>
                    </a:lnTo>
                    <a:lnTo>
                      <a:pt x="152" y="75"/>
                    </a:lnTo>
                    <a:lnTo>
                      <a:pt x="155" y="75"/>
                    </a:lnTo>
                    <a:lnTo>
                      <a:pt x="158" y="72"/>
                    </a:lnTo>
                    <a:lnTo>
                      <a:pt x="161" y="72"/>
                    </a:lnTo>
                    <a:lnTo>
                      <a:pt x="164" y="73"/>
                    </a:lnTo>
                    <a:lnTo>
                      <a:pt x="166" y="75"/>
                    </a:lnTo>
                    <a:lnTo>
                      <a:pt x="166" y="77"/>
                    </a:lnTo>
                    <a:lnTo>
                      <a:pt x="166" y="78"/>
                    </a:lnTo>
                    <a:lnTo>
                      <a:pt x="166" y="78"/>
                    </a:lnTo>
                    <a:lnTo>
                      <a:pt x="164" y="83"/>
                    </a:lnTo>
                    <a:lnTo>
                      <a:pt x="164" y="84"/>
                    </a:lnTo>
                    <a:lnTo>
                      <a:pt x="164" y="86"/>
                    </a:lnTo>
                    <a:lnTo>
                      <a:pt x="155" y="89"/>
                    </a:lnTo>
                    <a:lnTo>
                      <a:pt x="155" y="88"/>
                    </a:lnTo>
                    <a:lnTo>
                      <a:pt x="155" y="86"/>
                    </a:lnTo>
                    <a:lnTo>
                      <a:pt x="155" y="84"/>
                    </a:lnTo>
                    <a:lnTo>
                      <a:pt x="155" y="83"/>
                    </a:lnTo>
                    <a:lnTo>
                      <a:pt x="153" y="83"/>
                    </a:lnTo>
                    <a:lnTo>
                      <a:pt x="153" y="83"/>
                    </a:lnTo>
                    <a:lnTo>
                      <a:pt x="152" y="84"/>
                    </a:lnTo>
                    <a:lnTo>
                      <a:pt x="153" y="88"/>
                    </a:lnTo>
                    <a:lnTo>
                      <a:pt x="152" y="89"/>
                    </a:lnTo>
                    <a:lnTo>
                      <a:pt x="152" y="89"/>
                    </a:lnTo>
                    <a:lnTo>
                      <a:pt x="152" y="92"/>
                    </a:lnTo>
                    <a:lnTo>
                      <a:pt x="150" y="92"/>
                    </a:lnTo>
                    <a:lnTo>
                      <a:pt x="150" y="94"/>
                    </a:lnTo>
                    <a:lnTo>
                      <a:pt x="152" y="94"/>
                    </a:lnTo>
                    <a:lnTo>
                      <a:pt x="152" y="95"/>
                    </a:lnTo>
                    <a:lnTo>
                      <a:pt x="149" y="99"/>
                    </a:lnTo>
                    <a:lnTo>
                      <a:pt x="147" y="100"/>
                    </a:lnTo>
                    <a:lnTo>
                      <a:pt x="149" y="108"/>
                    </a:lnTo>
                    <a:lnTo>
                      <a:pt x="147" y="113"/>
                    </a:lnTo>
                    <a:lnTo>
                      <a:pt x="147" y="114"/>
                    </a:lnTo>
                    <a:lnTo>
                      <a:pt x="144" y="114"/>
                    </a:lnTo>
                    <a:lnTo>
                      <a:pt x="142" y="113"/>
                    </a:lnTo>
                    <a:lnTo>
                      <a:pt x="141" y="113"/>
                    </a:lnTo>
                    <a:lnTo>
                      <a:pt x="138" y="111"/>
                    </a:lnTo>
                    <a:lnTo>
                      <a:pt x="136" y="109"/>
                    </a:lnTo>
                    <a:lnTo>
                      <a:pt x="135" y="108"/>
                    </a:lnTo>
                    <a:lnTo>
                      <a:pt x="131" y="108"/>
                    </a:lnTo>
                    <a:lnTo>
                      <a:pt x="131" y="108"/>
                    </a:lnTo>
                    <a:lnTo>
                      <a:pt x="130" y="108"/>
                    </a:lnTo>
                    <a:lnTo>
                      <a:pt x="128" y="106"/>
                    </a:lnTo>
                    <a:lnTo>
                      <a:pt x="127" y="106"/>
                    </a:lnTo>
                    <a:lnTo>
                      <a:pt x="120" y="103"/>
                    </a:lnTo>
                    <a:lnTo>
                      <a:pt x="120" y="103"/>
                    </a:lnTo>
                    <a:lnTo>
                      <a:pt x="116" y="103"/>
                    </a:lnTo>
                    <a:lnTo>
                      <a:pt x="110" y="105"/>
                    </a:lnTo>
                    <a:lnTo>
                      <a:pt x="105" y="106"/>
                    </a:lnTo>
                    <a:lnTo>
                      <a:pt x="100" y="111"/>
                    </a:lnTo>
                    <a:lnTo>
                      <a:pt x="99" y="113"/>
                    </a:lnTo>
                    <a:lnTo>
                      <a:pt x="95" y="114"/>
                    </a:lnTo>
                    <a:lnTo>
                      <a:pt x="92" y="116"/>
                    </a:lnTo>
                    <a:lnTo>
                      <a:pt x="86" y="114"/>
                    </a:lnTo>
                    <a:lnTo>
                      <a:pt x="80" y="114"/>
                    </a:lnTo>
                    <a:lnTo>
                      <a:pt x="74" y="113"/>
                    </a:lnTo>
                    <a:lnTo>
                      <a:pt x="70" y="113"/>
                    </a:lnTo>
                    <a:lnTo>
                      <a:pt x="66" y="113"/>
                    </a:lnTo>
                    <a:lnTo>
                      <a:pt x="58" y="111"/>
                    </a:lnTo>
                    <a:lnTo>
                      <a:pt x="53" y="109"/>
                    </a:lnTo>
                    <a:lnTo>
                      <a:pt x="47" y="111"/>
                    </a:lnTo>
                    <a:lnTo>
                      <a:pt x="47" y="111"/>
                    </a:lnTo>
                    <a:lnTo>
                      <a:pt x="45" y="109"/>
                    </a:lnTo>
                    <a:lnTo>
                      <a:pt x="47" y="108"/>
                    </a:lnTo>
                    <a:lnTo>
                      <a:pt x="47" y="108"/>
                    </a:lnTo>
                    <a:lnTo>
                      <a:pt x="49" y="106"/>
                    </a:lnTo>
                    <a:lnTo>
                      <a:pt x="49" y="106"/>
                    </a:lnTo>
                    <a:lnTo>
                      <a:pt x="49" y="105"/>
                    </a:lnTo>
                    <a:lnTo>
                      <a:pt x="47" y="105"/>
                    </a:lnTo>
                    <a:lnTo>
                      <a:pt x="44" y="102"/>
                    </a:lnTo>
                    <a:lnTo>
                      <a:pt x="44" y="102"/>
                    </a:lnTo>
                    <a:lnTo>
                      <a:pt x="42" y="102"/>
                    </a:lnTo>
                    <a:lnTo>
                      <a:pt x="42" y="100"/>
                    </a:lnTo>
                    <a:lnTo>
                      <a:pt x="42" y="100"/>
                    </a:lnTo>
                    <a:lnTo>
                      <a:pt x="41" y="99"/>
                    </a:lnTo>
                    <a:lnTo>
                      <a:pt x="41" y="99"/>
                    </a:lnTo>
                    <a:lnTo>
                      <a:pt x="39" y="97"/>
                    </a:lnTo>
                    <a:lnTo>
                      <a:pt x="39" y="95"/>
                    </a:lnTo>
                    <a:lnTo>
                      <a:pt x="41" y="94"/>
                    </a:lnTo>
                    <a:lnTo>
                      <a:pt x="42" y="94"/>
                    </a:lnTo>
                    <a:lnTo>
                      <a:pt x="44" y="94"/>
                    </a:lnTo>
                    <a:lnTo>
                      <a:pt x="44" y="94"/>
                    </a:lnTo>
                    <a:lnTo>
                      <a:pt x="44" y="92"/>
                    </a:lnTo>
                    <a:lnTo>
                      <a:pt x="42" y="91"/>
                    </a:lnTo>
                    <a:lnTo>
                      <a:pt x="39" y="89"/>
                    </a:lnTo>
                    <a:lnTo>
                      <a:pt x="38" y="91"/>
                    </a:lnTo>
                    <a:lnTo>
                      <a:pt x="35" y="94"/>
                    </a:lnTo>
                    <a:lnTo>
                      <a:pt x="33" y="94"/>
                    </a:lnTo>
                    <a:lnTo>
                      <a:pt x="31" y="92"/>
                    </a:lnTo>
                    <a:lnTo>
                      <a:pt x="30" y="91"/>
                    </a:lnTo>
                    <a:lnTo>
                      <a:pt x="27" y="91"/>
                    </a:lnTo>
                    <a:lnTo>
                      <a:pt x="25" y="89"/>
                    </a:lnTo>
                    <a:lnTo>
                      <a:pt x="24" y="89"/>
                    </a:lnTo>
                    <a:lnTo>
                      <a:pt x="22" y="88"/>
                    </a:lnTo>
                    <a:lnTo>
                      <a:pt x="20" y="88"/>
                    </a:lnTo>
                    <a:lnTo>
                      <a:pt x="20" y="86"/>
                    </a:lnTo>
                    <a:lnTo>
                      <a:pt x="20" y="86"/>
                    </a:lnTo>
                    <a:lnTo>
                      <a:pt x="22" y="86"/>
                    </a:lnTo>
                    <a:lnTo>
                      <a:pt x="22" y="86"/>
                    </a:lnTo>
                    <a:lnTo>
                      <a:pt x="24" y="84"/>
                    </a:lnTo>
                    <a:lnTo>
                      <a:pt x="24" y="84"/>
                    </a:lnTo>
                    <a:lnTo>
                      <a:pt x="22" y="84"/>
                    </a:lnTo>
                    <a:lnTo>
                      <a:pt x="20" y="83"/>
                    </a:lnTo>
                    <a:lnTo>
                      <a:pt x="20" y="83"/>
                    </a:lnTo>
                    <a:lnTo>
                      <a:pt x="20" y="83"/>
                    </a:lnTo>
                    <a:lnTo>
                      <a:pt x="20" y="83"/>
                    </a:lnTo>
                    <a:lnTo>
                      <a:pt x="20" y="81"/>
                    </a:lnTo>
                    <a:lnTo>
                      <a:pt x="20" y="81"/>
                    </a:lnTo>
                    <a:lnTo>
                      <a:pt x="20" y="81"/>
                    </a:lnTo>
                    <a:lnTo>
                      <a:pt x="20" y="81"/>
                    </a:lnTo>
                    <a:lnTo>
                      <a:pt x="22" y="80"/>
                    </a:lnTo>
                    <a:lnTo>
                      <a:pt x="22" y="80"/>
                    </a:lnTo>
                    <a:lnTo>
                      <a:pt x="22" y="78"/>
                    </a:lnTo>
                    <a:lnTo>
                      <a:pt x="22" y="78"/>
                    </a:lnTo>
                    <a:lnTo>
                      <a:pt x="20" y="78"/>
                    </a:lnTo>
                    <a:lnTo>
                      <a:pt x="20" y="78"/>
                    </a:lnTo>
                    <a:lnTo>
                      <a:pt x="17" y="77"/>
                    </a:lnTo>
                    <a:lnTo>
                      <a:pt x="16" y="75"/>
                    </a:lnTo>
                    <a:lnTo>
                      <a:pt x="16" y="75"/>
                    </a:lnTo>
                    <a:lnTo>
                      <a:pt x="14" y="75"/>
                    </a:lnTo>
                    <a:lnTo>
                      <a:pt x="13" y="73"/>
                    </a:lnTo>
                    <a:lnTo>
                      <a:pt x="11" y="72"/>
                    </a:lnTo>
                    <a:lnTo>
                      <a:pt x="9" y="70"/>
                    </a:lnTo>
                    <a:lnTo>
                      <a:pt x="9" y="70"/>
                    </a:lnTo>
                    <a:lnTo>
                      <a:pt x="9" y="70"/>
                    </a:lnTo>
                    <a:lnTo>
                      <a:pt x="9" y="70"/>
                    </a:lnTo>
                    <a:lnTo>
                      <a:pt x="9" y="69"/>
                    </a:lnTo>
                    <a:lnTo>
                      <a:pt x="9" y="67"/>
                    </a:lnTo>
                    <a:lnTo>
                      <a:pt x="9" y="66"/>
                    </a:lnTo>
                    <a:lnTo>
                      <a:pt x="9" y="64"/>
                    </a:lnTo>
                    <a:lnTo>
                      <a:pt x="9" y="64"/>
                    </a:lnTo>
                    <a:lnTo>
                      <a:pt x="9" y="64"/>
                    </a:lnTo>
                    <a:lnTo>
                      <a:pt x="9" y="64"/>
                    </a:lnTo>
                    <a:lnTo>
                      <a:pt x="8" y="64"/>
                    </a:lnTo>
                    <a:lnTo>
                      <a:pt x="8" y="64"/>
                    </a:lnTo>
                    <a:lnTo>
                      <a:pt x="8" y="63"/>
                    </a:lnTo>
                    <a:lnTo>
                      <a:pt x="6" y="61"/>
                    </a:lnTo>
                    <a:lnTo>
                      <a:pt x="5" y="59"/>
                    </a:lnTo>
                    <a:lnTo>
                      <a:pt x="3" y="59"/>
                    </a:lnTo>
                    <a:lnTo>
                      <a:pt x="2" y="58"/>
                    </a:lnTo>
                    <a:lnTo>
                      <a:pt x="2" y="56"/>
                    </a:lnTo>
                    <a:lnTo>
                      <a:pt x="0" y="55"/>
                    </a:lnTo>
                    <a:lnTo>
                      <a:pt x="0" y="55"/>
                    </a:lnTo>
                    <a:lnTo>
                      <a:pt x="5" y="53"/>
                    </a:lnTo>
                    <a:lnTo>
                      <a:pt x="6" y="55"/>
                    </a:lnTo>
                    <a:lnTo>
                      <a:pt x="8" y="55"/>
                    </a:lnTo>
                    <a:lnTo>
                      <a:pt x="8" y="53"/>
                    </a:lnTo>
                    <a:lnTo>
                      <a:pt x="9" y="53"/>
                    </a:lnTo>
                    <a:lnTo>
                      <a:pt x="9" y="52"/>
                    </a:lnTo>
                    <a:lnTo>
                      <a:pt x="9" y="52"/>
                    </a:lnTo>
                    <a:lnTo>
                      <a:pt x="11" y="52"/>
                    </a:lnTo>
                    <a:lnTo>
                      <a:pt x="14" y="52"/>
                    </a:lnTo>
                    <a:lnTo>
                      <a:pt x="16" y="50"/>
                    </a:lnTo>
                    <a:lnTo>
                      <a:pt x="16" y="50"/>
                    </a:lnTo>
                    <a:lnTo>
                      <a:pt x="16" y="48"/>
                    </a:lnTo>
                    <a:lnTo>
                      <a:pt x="17" y="48"/>
                    </a:lnTo>
                    <a:lnTo>
                      <a:pt x="19" y="47"/>
                    </a:lnTo>
                    <a:lnTo>
                      <a:pt x="19" y="47"/>
                    </a:lnTo>
                    <a:lnTo>
                      <a:pt x="17" y="45"/>
                    </a:lnTo>
                    <a:lnTo>
                      <a:pt x="19" y="44"/>
                    </a:lnTo>
                    <a:lnTo>
                      <a:pt x="19" y="42"/>
                    </a:lnTo>
                    <a:lnTo>
                      <a:pt x="20" y="42"/>
                    </a:lnTo>
                    <a:lnTo>
                      <a:pt x="20" y="41"/>
                    </a:lnTo>
                    <a:lnTo>
                      <a:pt x="22" y="39"/>
                    </a:lnTo>
                    <a:lnTo>
                      <a:pt x="22" y="39"/>
                    </a:lnTo>
                    <a:lnTo>
                      <a:pt x="22" y="38"/>
                    </a:lnTo>
                    <a:lnTo>
                      <a:pt x="24" y="36"/>
                    </a:lnTo>
                    <a:lnTo>
                      <a:pt x="25" y="33"/>
                    </a:lnTo>
                    <a:lnTo>
                      <a:pt x="25" y="31"/>
                    </a:lnTo>
                    <a:lnTo>
                      <a:pt x="25" y="31"/>
                    </a:lnTo>
                    <a:lnTo>
                      <a:pt x="27" y="30"/>
                    </a:lnTo>
                    <a:lnTo>
                      <a:pt x="27" y="28"/>
                    </a:lnTo>
                    <a:lnTo>
                      <a:pt x="28" y="25"/>
                    </a:lnTo>
                    <a:lnTo>
                      <a:pt x="30" y="23"/>
                    </a:lnTo>
                    <a:lnTo>
                      <a:pt x="30" y="23"/>
                    </a:lnTo>
                    <a:lnTo>
                      <a:pt x="31" y="22"/>
                    </a:lnTo>
                    <a:lnTo>
                      <a:pt x="31" y="19"/>
                    </a:lnTo>
                    <a:lnTo>
                      <a:pt x="31" y="19"/>
                    </a:lnTo>
                    <a:lnTo>
                      <a:pt x="33" y="17"/>
                    </a:lnTo>
                    <a:lnTo>
                      <a:pt x="35" y="16"/>
                    </a:lnTo>
                    <a:lnTo>
                      <a:pt x="36" y="14"/>
                    </a:lnTo>
                    <a:lnTo>
                      <a:pt x="36" y="14"/>
                    </a:lnTo>
                    <a:lnTo>
                      <a:pt x="38" y="12"/>
                    </a:lnTo>
                    <a:lnTo>
                      <a:pt x="38" y="12"/>
                    </a:lnTo>
                    <a:lnTo>
                      <a:pt x="39" y="12"/>
                    </a:lnTo>
                    <a:lnTo>
                      <a:pt x="41" y="12"/>
                    </a:lnTo>
                    <a:lnTo>
                      <a:pt x="42" y="12"/>
                    </a:lnTo>
                    <a:lnTo>
                      <a:pt x="42" y="11"/>
                    </a:lnTo>
                    <a:lnTo>
                      <a:pt x="45" y="8"/>
                    </a:lnTo>
                    <a:lnTo>
                      <a:pt x="47" y="8"/>
                    </a:lnTo>
                    <a:lnTo>
                      <a:pt x="47" y="8"/>
                    </a:lnTo>
                    <a:lnTo>
                      <a:pt x="50" y="6"/>
                    </a:lnTo>
                    <a:lnTo>
                      <a:pt x="50" y="5"/>
                    </a:lnTo>
                    <a:lnTo>
                      <a:pt x="52" y="5"/>
                    </a:lnTo>
                    <a:lnTo>
                      <a:pt x="52" y="5"/>
                    </a:lnTo>
                    <a:lnTo>
                      <a:pt x="56" y="6"/>
                    </a:lnTo>
                    <a:lnTo>
                      <a:pt x="60" y="6"/>
                    </a:lnTo>
                    <a:lnTo>
                      <a:pt x="61" y="6"/>
                    </a:lnTo>
                    <a:lnTo>
                      <a:pt x="61" y="6"/>
                    </a:lnTo>
                    <a:lnTo>
                      <a:pt x="61" y="6"/>
                    </a:lnTo>
                    <a:lnTo>
                      <a:pt x="66" y="8"/>
                    </a:lnTo>
                    <a:lnTo>
                      <a:pt x="67" y="8"/>
                    </a:lnTo>
                    <a:lnTo>
                      <a:pt x="67" y="8"/>
                    </a:lnTo>
                    <a:lnTo>
                      <a:pt x="69" y="9"/>
                    </a:lnTo>
                    <a:lnTo>
                      <a:pt x="70" y="9"/>
                    </a:lnTo>
                    <a:lnTo>
                      <a:pt x="74" y="8"/>
                    </a:lnTo>
                    <a:lnTo>
                      <a:pt x="75" y="8"/>
                    </a:lnTo>
                    <a:lnTo>
                      <a:pt x="77" y="8"/>
                    </a:lnTo>
                    <a:lnTo>
                      <a:pt x="78" y="9"/>
                    </a:lnTo>
                    <a:lnTo>
                      <a:pt x="81" y="12"/>
                    </a:lnTo>
                    <a:lnTo>
                      <a:pt x="81" y="14"/>
                    </a:lnTo>
                    <a:lnTo>
                      <a:pt x="83" y="14"/>
                    </a:lnTo>
                    <a:lnTo>
                      <a:pt x="85" y="12"/>
                    </a:lnTo>
                    <a:lnTo>
                      <a:pt x="86" y="11"/>
                    </a:lnTo>
                    <a:lnTo>
                      <a:pt x="92" y="9"/>
                    </a:lnTo>
                    <a:lnTo>
                      <a:pt x="95" y="8"/>
                    </a:lnTo>
                    <a:lnTo>
                      <a:pt x="100" y="8"/>
                    </a:lnTo>
                    <a:lnTo>
                      <a:pt x="105" y="6"/>
                    </a:lnTo>
                    <a:lnTo>
                      <a:pt x="105" y="5"/>
                    </a:lnTo>
                    <a:lnTo>
                      <a:pt x="106" y="3"/>
                    </a:lnTo>
                    <a:lnTo>
                      <a:pt x="106" y="2"/>
                    </a:lnTo>
                    <a:lnTo>
                      <a:pt x="110" y="0"/>
                    </a:lnTo>
                    <a:lnTo>
                      <a:pt x="111" y="0"/>
                    </a:lnTo>
                    <a:lnTo>
                      <a:pt x="113" y="0"/>
                    </a:lnTo>
                    <a:lnTo>
                      <a:pt x="114" y="0"/>
                    </a:lnTo>
                    <a:lnTo>
                      <a:pt x="116" y="0"/>
                    </a:lnTo>
                    <a:lnTo>
                      <a:pt x="117" y="2"/>
                    </a:lnTo>
                    <a:lnTo>
                      <a:pt x="119" y="2"/>
                    </a:lnTo>
                    <a:lnTo>
                      <a:pt x="119" y="3"/>
                    </a:lnTo>
                    <a:lnTo>
                      <a:pt x="120" y="5"/>
                    </a:lnTo>
                    <a:lnTo>
                      <a:pt x="122" y="8"/>
                    </a:lnTo>
                    <a:lnTo>
                      <a:pt x="122" y="11"/>
                    </a:lnTo>
                    <a:lnTo>
                      <a:pt x="124" y="12"/>
                    </a:lnTo>
                    <a:lnTo>
                      <a:pt x="124" y="14"/>
                    </a:lnTo>
                    <a:lnTo>
                      <a:pt x="125" y="16"/>
                    </a:lnTo>
                    <a:lnTo>
                      <a:pt x="127" y="17"/>
                    </a:lnTo>
                    <a:lnTo>
                      <a:pt x="127" y="19"/>
                    </a:lnTo>
                    <a:lnTo>
                      <a:pt x="128" y="20"/>
                    </a:lnTo>
                    <a:lnTo>
                      <a:pt x="130" y="23"/>
                    </a:lnTo>
                    <a:lnTo>
                      <a:pt x="131" y="25"/>
                    </a:lnTo>
                    <a:lnTo>
                      <a:pt x="133" y="27"/>
                    </a:lnTo>
                    <a:lnTo>
                      <a:pt x="133" y="28"/>
                    </a:lnTo>
                    <a:lnTo>
                      <a:pt x="133" y="30"/>
                    </a:lnTo>
                    <a:lnTo>
                      <a:pt x="136" y="31"/>
                    </a:lnTo>
                    <a:lnTo>
                      <a:pt x="138" y="33"/>
                    </a:lnTo>
                    <a:lnTo>
                      <a:pt x="139" y="38"/>
                    </a:lnTo>
                    <a:lnTo>
                      <a:pt x="139" y="39"/>
                    </a:lnTo>
                    <a:lnTo>
                      <a:pt x="141" y="41"/>
                    </a:lnTo>
                    <a:lnTo>
                      <a:pt x="141" y="45"/>
                    </a:lnTo>
                    <a:lnTo>
                      <a:pt x="141" y="47"/>
                    </a:lnTo>
                    <a:lnTo>
                      <a:pt x="139" y="48"/>
                    </a:lnTo>
                    <a:lnTo>
                      <a:pt x="138" y="55"/>
                    </a:lnTo>
                    <a:lnTo>
                      <a:pt x="138" y="58"/>
                    </a:lnTo>
                    <a:lnTo>
                      <a:pt x="138" y="61"/>
                    </a:lnTo>
                    <a:lnTo>
                      <a:pt x="138" y="63"/>
                    </a:lnTo>
                    <a:lnTo>
                      <a:pt x="139" y="63"/>
                    </a:lnTo>
                    <a:lnTo>
                      <a:pt x="139" y="64"/>
                    </a:lnTo>
                    <a:lnTo>
                      <a:pt x="139" y="67"/>
                    </a:lnTo>
                    <a:lnTo>
                      <a:pt x="139" y="67"/>
                    </a:lnTo>
                    <a:lnTo>
                      <a:pt x="138" y="67"/>
                    </a:lnTo>
                    <a:lnTo>
                      <a:pt x="138" y="67"/>
                    </a:lnTo>
                    <a:lnTo>
                      <a:pt x="138" y="69"/>
                    </a:lnTo>
                    <a:lnTo>
                      <a:pt x="139" y="70"/>
                    </a:lnTo>
                    <a:lnTo>
                      <a:pt x="141" y="7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6" name="Freeform 173">
                <a:extLst>
                  <a:ext uri="{FF2B5EF4-FFF2-40B4-BE49-F238E27FC236}">
                    <a16:creationId xmlns:a16="http://schemas.microsoft.com/office/drawing/2014/main" id="{9BE7AD5A-7121-EADB-C0CC-800C1E999A63}"/>
                  </a:ext>
                </a:extLst>
              </p:cNvPr>
              <p:cNvSpPr>
                <a:spLocks/>
              </p:cNvSpPr>
              <p:nvPr/>
            </p:nvSpPr>
            <p:spPr bwMode="gray">
              <a:xfrm>
                <a:off x="3005" y="665"/>
                <a:ext cx="74" cy="96"/>
              </a:xfrm>
              <a:custGeom>
                <a:avLst/>
                <a:gdLst>
                  <a:gd name="T0" fmla="*/ 25 w 74"/>
                  <a:gd name="T1" fmla="*/ 2 h 96"/>
                  <a:gd name="T2" fmla="*/ 30 w 74"/>
                  <a:gd name="T3" fmla="*/ 6 h 96"/>
                  <a:gd name="T4" fmla="*/ 34 w 74"/>
                  <a:gd name="T5" fmla="*/ 11 h 96"/>
                  <a:gd name="T6" fmla="*/ 34 w 74"/>
                  <a:gd name="T7" fmla="*/ 14 h 96"/>
                  <a:gd name="T8" fmla="*/ 34 w 74"/>
                  <a:gd name="T9" fmla="*/ 17 h 96"/>
                  <a:gd name="T10" fmla="*/ 41 w 74"/>
                  <a:gd name="T11" fmla="*/ 22 h 96"/>
                  <a:gd name="T12" fmla="*/ 47 w 74"/>
                  <a:gd name="T13" fmla="*/ 25 h 96"/>
                  <a:gd name="T14" fmla="*/ 45 w 74"/>
                  <a:gd name="T15" fmla="*/ 28 h 96"/>
                  <a:gd name="T16" fmla="*/ 45 w 74"/>
                  <a:gd name="T17" fmla="*/ 30 h 96"/>
                  <a:gd name="T18" fmla="*/ 47 w 74"/>
                  <a:gd name="T19" fmla="*/ 33 h 96"/>
                  <a:gd name="T20" fmla="*/ 49 w 74"/>
                  <a:gd name="T21" fmla="*/ 36 h 96"/>
                  <a:gd name="T22" fmla="*/ 58 w 74"/>
                  <a:gd name="T23" fmla="*/ 41 h 96"/>
                  <a:gd name="T24" fmla="*/ 69 w 74"/>
                  <a:gd name="T25" fmla="*/ 39 h 96"/>
                  <a:gd name="T26" fmla="*/ 64 w 74"/>
                  <a:gd name="T27" fmla="*/ 42 h 96"/>
                  <a:gd name="T28" fmla="*/ 67 w 74"/>
                  <a:gd name="T29" fmla="*/ 47 h 96"/>
                  <a:gd name="T30" fmla="*/ 67 w 74"/>
                  <a:gd name="T31" fmla="*/ 50 h 96"/>
                  <a:gd name="T32" fmla="*/ 63 w 74"/>
                  <a:gd name="T33" fmla="*/ 58 h 96"/>
                  <a:gd name="T34" fmla="*/ 64 w 74"/>
                  <a:gd name="T35" fmla="*/ 64 h 96"/>
                  <a:gd name="T36" fmla="*/ 70 w 74"/>
                  <a:gd name="T37" fmla="*/ 71 h 96"/>
                  <a:gd name="T38" fmla="*/ 72 w 74"/>
                  <a:gd name="T39" fmla="*/ 77 h 96"/>
                  <a:gd name="T40" fmla="*/ 66 w 74"/>
                  <a:gd name="T41" fmla="*/ 82 h 96"/>
                  <a:gd name="T42" fmla="*/ 64 w 74"/>
                  <a:gd name="T43" fmla="*/ 88 h 96"/>
                  <a:gd name="T44" fmla="*/ 64 w 74"/>
                  <a:gd name="T45" fmla="*/ 94 h 96"/>
                  <a:gd name="T46" fmla="*/ 60 w 74"/>
                  <a:gd name="T47" fmla="*/ 94 h 96"/>
                  <a:gd name="T48" fmla="*/ 53 w 74"/>
                  <a:gd name="T49" fmla="*/ 94 h 96"/>
                  <a:gd name="T50" fmla="*/ 49 w 74"/>
                  <a:gd name="T51" fmla="*/ 96 h 96"/>
                  <a:gd name="T52" fmla="*/ 52 w 74"/>
                  <a:gd name="T53" fmla="*/ 88 h 96"/>
                  <a:gd name="T54" fmla="*/ 45 w 74"/>
                  <a:gd name="T55" fmla="*/ 85 h 96"/>
                  <a:gd name="T56" fmla="*/ 41 w 74"/>
                  <a:gd name="T57" fmla="*/ 77 h 96"/>
                  <a:gd name="T58" fmla="*/ 36 w 74"/>
                  <a:gd name="T59" fmla="*/ 74 h 96"/>
                  <a:gd name="T60" fmla="*/ 31 w 74"/>
                  <a:gd name="T61" fmla="*/ 74 h 96"/>
                  <a:gd name="T62" fmla="*/ 31 w 74"/>
                  <a:gd name="T63" fmla="*/ 77 h 96"/>
                  <a:gd name="T64" fmla="*/ 27 w 74"/>
                  <a:gd name="T65" fmla="*/ 83 h 96"/>
                  <a:gd name="T66" fmla="*/ 20 w 74"/>
                  <a:gd name="T67" fmla="*/ 77 h 96"/>
                  <a:gd name="T68" fmla="*/ 13 w 74"/>
                  <a:gd name="T69" fmla="*/ 74 h 96"/>
                  <a:gd name="T70" fmla="*/ 6 w 74"/>
                  <a:gd name="T71" fmla="*/ 66 h 96"/>
                  <a:gd name="T72" fmla="*/ 11 w 74"/>
                  <a:gd name="T73" fmla="*/ 64 h 96"/>
                  <a:gd name="T74" fmla="*/ 9 w 74"/>
                  <a:gd name="T75" fmla="*/ 58 h 96"/>
                  <a:gd name="T76" fmla="*/ 9 w 74"/>
                  <a:gd name="T77" fmla="*/ 55 h 96"/>
                  <a:gd name="T78" fmla="*/ 13 w 74"/>
                  <a:gd name="T79" fmla="*/ 52 h 96"/>
                  <a:gd name="T80" fmla="*/ 6 w 74"/>
                  <a:gd name="T81" fmla="*/ 46 h 96"/>
                  <a:gd name="T82" fmla="*/ 8 w 74"/>
                  <a:gd name="T83" fmla="*/ 39 h 96"/>
                  <a:gd name="T84" fmla="*/ 9 w 74"/>
                  <a:gd name="T85" fmla="*/ 31 h 96"/>
                  <a:gd name="T86" fmla="*/ 3 w 74"/>
                  <a:gd name="T87" fmla="*/ 31 h 96"/>
                  <a:gd name="T88" fmla="*/ 5 w 74"/>
                  <a:gd name="T89" fmla="*/ 30 h 96"/>
                  <a:gd name="T90" fmla="*/ 6 w 74"/>
                  <a:gd name="T91" fmla="*/ 25 h 96"/>
                  <a:gd name="T92" fmla="*/ 9 w 74"/>
                  <a:gd name="T93" fmla="*/ 24 h 96"/>
                  <a:gd name="T94" fmla="*/ 3 w 74"/>
                  <a:gd name="T95" fmla="*/ 19 h 96"/>
                  <a:gd name="T96" fmla="*/ 3 w 74"/>
                  <a:gd name="T97" fmla="*/ 16 h 96"/>
                  <a:gd name="T98" fmla="*/ 2 w 74"/>
                  <a:gd name="T99" fmla="*/ 8 h 96"/>
                  <a:gd name="T100" fmla="*/ 5 w 74"/>
                  <a:gd name="T101" fmla="*/ 5 h 96"/>
                  <a:gd name="T102" fmla="*/ 8 w 74"/>
                  <a:gd name="T103" fmla="*/ 5 h 96"/>
                  <a:gd name="T104" fmla="*/ 13 w 74"/>
                  <a:gd name="T10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96">
                    <a:moveTo>
                      <a:pt x="16" y="0"/>
                    </a:moveTo>
                    <a:lnTo>
                      <a:pt x="19" y="2"/>
                    </a:lnTo>
                    <a:lnTo>
                      <a:pt x="20" y="0"/>
                    </a:lnTo>
                    <a:lnTo>
                      <a:pt x="24" y="2"/>
                    </a:lnTo>
                    <a:lnTo>
                      <a:pt x="25" y="2"/>
                    </a:lnTo>
                    <a:lnTo>
                      <a:pt x="25" y="2"/>
                    </a:lnTo>
                    <a:lnTo>
                      <a:pt x="27" y="3"/>
                    </a:lnTo>
                    <a:lnTo>
                      <a:pt x="27" y="5"/>
                    </a:lnTo>
                    <a:lnTo>
                      <a:pt x="28" y="6"/>
                    </a:lnTo>
                    <a:lnTo>
                      <a:pt x="30" y="6"/>
                    </a:lnTo>
                    <a:lnTo>
                      <a:pt x="31" y="8"/>
                    </a:lnTo>
                    <a:lnTo>
                      <a:pt x="33" y="10"/>
                    </a:lnTo>
                    <a:lnTo>
                      <a:pt x="33" y="11"/>
                    </a:lnTo>
                    <a:lnTo>
                      <a:pt x="33" y="11"/>
                    </a:lnTo>
                    <a:lnTo>
                      <a:pt x="34" y="11"/>
                    </a:lnTo>
                    <a:lnTo>
                      <a:pt x="34" y="11"/>
                    </a:lnTo>
                    <a:lnTo>
                      <a:pt x="34" y="11"/>
                    </a:lnTo>
                    <a:lnTo>
                      <a:pt x="34" y="11"/>
                    </a:lnTo>
                    <a:lnTo>
                      <a:pt x="34" y="13"/>
                    </a:lnTo>
                    <a:lnTo>
                      <a:pt x="34" y="14"/>
                    </a:lnTo>
                    <a:lnTo>
                      <a:pt x="34" y="16"/>
                    </a:lnTo>
                    <a:lnTo>
                      <a:pt x="34" y="17"/>
                    </a:lnTo>
                    <a:lnTo>
                      <a:pt x="34" y="17"/>
                    </a:lnTo>
                    <a:lnTo>
                      <a:pt x="34" y="17"/>
                    </a:lnTo>
                    <a:lnTo>
                      <a:pt x="34" y="17"/>
                    </a:lnTo>
                    <a:lnTo>
                      <a:pt x="36" y="19"/>
                    </a:lnTo>
                    <a:lnTo>
                      <a:pt x="38" y="20"/>
                    </a:lnTo>
                    <a:lnTo>
                      <a:pt x="39" y="22"/>
                    </a:lnTo>
                    <a:lnTo>
                      <a:pt x="41" y="22"/>
                    </a:lnTo>
                    <a:lnTo>
                      <a:pt x="41" y="22"/>
                    </a:lnTo>
                    <a:lnTo>
                      <a:pt x="42" y="24"/>
                    </a:lnTo>
                    <a:lnTo>
                      <a:pt x="45" y="25"/>
                    </a:lnTo>
                    <a:lnTo>
                      <a:pt x="45" y="25"/>
                    </a:lnTo>
                    <a:lnTo>
                      <a:pt x="47" y="25"/>
                    </a:lnTo>
                    <a:lnTo>
                      <a:pt x="47" y="25"/>
                    </a:lnTo>
                    <a:lnTo>
                      <a:pt x="47" y="27"/>
                    </a:lnTo>
                    <a:lnTo>
                      <a:pt x="47" y="27"/>
                    </a:lnTo>
                    <a:lnTo>
                      <a:pt x="45" y="28"/>
                    </a:lnTo>
                    <a:lnTo>
                      <a:pt x="45" y="28"/>
                    </a:lnTo>
                    <a:lnTo>
                      <a:pt x="45" y="28"/>
                    </a:lnTo>
                    <a:lnTo>
                      <a:pt x="45" y="28"/>
                    </a:lnTo>
                    <a:lnTo>
                      <a:pt x="45" y="30"/>
                    </a:lnTo>
                    <a:lnTo>
                      <a:pt x="45" y="30"/>
                    </a:lnTo>
                    <a:lnTo>
                      <a:pt x="45" y="30"/>
                    </a:lnTo>
                    <a:lnTo>
                      <a:pt x="45" y="30"/>
                    </a:lnTo>
                    <a:lnTo>
                      <a:pt x="47" y="31"/>
                    </a:lnTo>
                    <a:lnTo>
                      <a:pt x="49" y="31"/>
                    </a:lnTo>
                    <a:lnTo>
                      <a:pt x="49" y="31"/>
                    </a:lnTo>
                    <a:lnTo>
                      <a:pt x="47" y="33"/>
                    </a:lnTo>
                    <a:lnTo>
                      <a:pt x="47" y="33"/>
                    </a:lnTo>
                    <a:lnTo>
                      <a:pt x="45" y="33"/>
                    </a:lnTo>
                    <a:lnTo>
                      <a:pt x="45" y="33"/>
                    </a:lnTo>
                    <a:lnTo>
                      <a:pt x="45" y="35"/>
                    </a:lnTo>
                    <a:lnTo>
                      <a:pt x="47" y="35"/>
                    </a:lnTo>
                    <a:lnTo>
                      <a:pt x="49" y="36"/>
                    </a:lnTo>
                    <a:lnTo>
                      <a:pt x="50" y="36"/>
                    </a:lnTo>
                    <a:lnTo>
                      <a:pt x="52" y="38"/>
                    </a:lnTo>
                    <a:lnTo>
                      <a:pt x="55" y="38"/>
                    </a:lnTo>
                    <a:lnTo>
                      <a:pt x="56" y="39"/>
                    </a:lnTo>
                    <a:lnTo>
                      <a:pt x="58" y="41"/>
                    </a:lnTo>
                    <a:lnTo>
                      <a:pt x="60" y="41"/>
                    </a:lnTo>
                    <a:lnTo>
                      <a:pt x="63" y="38"/>
                    </a:lnTo>
                    <a:lnTo>
                      <a:pt x="64" y="36"/>
                    </a:lnTo>
                    <a:lnTo>
                      <a:pt x="67" y="38"/>
                    </a:lnTo>
                    <a:lnTo>
                      <a:pt x="69" y="39"/>
                    </a:lnTo>
                    <a:lnTo>
                      <a:pt x="69" y="41"/>
                    </a:lnTo>
                    <a:lnTo>
                      <a:pt x="69" y="41"/>
                    </a:lnTo>
                    <a:lnTo>
                      <a:pt x="67" y="41"/>
                    </a:lnTo>
                    <a:lnTo>
                      <a:pt x="66" y="41"/>
                    </a:lnTo>
                    <a:lnTo>
                      <a:pt x="64" y="42"/>
                    </a:lnTo>
                    <a:lnTo>
                      <a:pt x="64" y="44"/>
                    </a:lnTo>
                    <a:lnTo>
                      <a:pt x="66" y="46"/>
                    </a:lnTo>
                    <a:lnTo>
                      <a:pt x="66" y="46"/>
                    </a:lnTo>
                    <a:lnTo>
                      <a:pt x="67" y="47"/>
                    </a:lnTo>
                    <a:lnTo>
                      <a:pt x="67" y="47"/>
                    </a:lnTo>
                    <a:lnTo>
                      <a:pt x="67" y="49"/>
                    </a:lnTo>
                    <a:lnTo>
                      <a:pt x="69" y="49"/>
                    </a:lnTo>
                    <a:lnTo>
                      <a:pt x="67" y="49"/>
                    </a:lnTo>
                    <a:lnTo>
                      <a:pt x="67" y="49"/>
                    </a:lnTo>
                    <a:lnTo>
                      <a:pt x="67" y="50"/>
                    </a:lnTo>
                    <a:lnTo>
                      <a:pt x="66" y="52"/>
                    </a:lnTo>
                    <a:lnTo>
                      <a:pt x="64" y="53"/>
                    </a:lnTo>
                    <a:lnTo>
                      <a:pt x="63" y="53"/>
                    </a:lnTo>
                    <a:lnTo>
                      <a:pt x="63" y="55"/>
                    </a:lnTo>
                    <a:lnTo>
                      <a:pt x="63" y="58"/>
                    </a:lnTo>
                    <a:lnTo>
                      <a:pt x="63" y="60"/>
                    </a:lnTo>
                    <a:lnTo>
                      <a:pt x="63" y="61"/>
                    </a:lnTo>
                    <a:lnTo>
                      <a:pt x="63" y="61"/>
                    </a:lnTo>
                    <a:lnTo>
                      <a:pt x="64" y="63"/>
                    </a:lnTo>
                    <a:lnTo>
                      <a:pt x="64" y="64"/>
                    </a:lnTo>
                    <a:lnTo>
                      <a:pt x="64" y="66"/>
                    </a:lnTo>
                    <a:lnTo>
                      <a:pt x="66" y="67"/>
                    </a:lnTo>
                    <a:lnTo>
                      <a:pt x="69" y="69"/>
                    </a:lnTo>
                    <a:lnTo>
                      <a:pt x="69" y="71"/>
                    </a:lnTo>
                    <a:lnTo>
                      <a:pt x="70" y="71"/>
                    </a:lnTo>
                    <a:lnTo>
                      <a:pt x="70" y="72"/>
                    </a:lnTo>
                    <a:lnTo>
                      <a:pt x="74" y="74"/>
                    </a:lnTo>
                    <a:lnTo>
                      <a:pt x="74" y="75"/>
                    </a:lnTo>
                    <a:lnTo>
                      <a:pt x="72" y="75"/>
                    </a:lnTo>
                    <a:lnTo>
                      <a:pt x="72" y="77"/>
                    </a:lnTo>
                    <a:lnTo>
                      <a:pt x="70" y="78"/>
                    </a:lnTo>
                    <a:lnTo>
                      <a:pt x="70" y="78"/>
                    </a:lnTo>
                    <a:lnTo>
                      <a:pt x="69" y="82"/>
                    </a:lnTo>
                    <a:lnTo>
                      <a:pt x="66" y="82"/>
                    </a:lnTo>
                    <a:lnTo>
                      <a:pt x="66" y="82"/>
                    </a:lnTo>
                    <a:lnTo>
                      <a:pt x="64" y="82"/>
                    </a:lnTo>
                    <a:lnTo>
                      <a:pt x="64" y="83"/>
                    </a:lnTo>
                    <a:lnTo>
                      <a:pt x="64" y="85"/>
                    </a:lnTo>
                    <a:lnTo>
                      <a:pt x="64" y="85"/>
                    </a:lnTo>
                    <a:lnTo>
                      <a:pt x="64" y="88"/>
                    </a:lnTo>
                    <a:lnTo>
                      <a:pt x="64" y="89"/>
                    </a:lnTo>
                    <a:lnTo>
                      <a:pt x="66" y="89"/>
                    </a:lnTo>
                    <a:lnTo>
                      <a:pt x="66" y="91"/>
                    </a:lnTo>
                    <a:lnTo>
                      <a:pt x="66" y="91"/>
                    </a:lnTo>
                    <a:lnTo>
                      <a:pt x="64" y="94"/>
                    </a:lnTo>
                    <a:lnTo>
                      <a:pt x="64" y="94"/>
                    </a:lnTo>
                    <a:lnTo>
                      <a:pt x="63" y="94"/>
                    </a:lnTo>
                    <a:lnTo>
                      <a:pt x="61" y="94"/>
                    </a:lnTo>
                    <a:lnTo>
                      <a:pt x="61" y="94"/>
                    </a:lnTo>
                    <a:lnTo>
                      <a:pt x="60" y="94"/>
                    </a:lnTo>
                    <a:lnTo>
                      <a:pt x="58" y="94"/>
                    </a:lnTo>
                    <a:lnTo>
                      <a:pt x="56" y="96"/>
                    </a:lnTo>
                    <a:lnTo>
                      <a:pt x="56" y="94"/>
                    </a:lnTo>
                    <a:lnTo>
                      <a:pt x="55" y="94"/>
                    </a:lnTo>
                    <a:lnTo>
                      <a:pt x="53" y="94"/>
                    </a:lnTo>
                    <a:lnTo>
                      <a:pt x="53" y="96"/>
                    </a:lnTo>
                    <a:lnTo>
                      <a:pt x="52" y="96"/>
                    </a:lnTo>
                    <a:lnTo>
                      <a:pt x="49" y="96"/>
                    </a:lnTo>
                    <a:lnTo>
                      <a:pt x="49" y="96"/>
                    </a:lnTo>
                    <a:lnTo>
                      <a:pt x="49" y="96"/>
                    </a:lnTo>
                    <a:lnTo>
                      <a:pt x="47" y="94"/>
                    </a:lnTo>
                    <a:lnTo>
                      <a:pt x="47" y="94"/>
                    </a:lnTo>
                    <a:lnTo>
                      <a:pt x="49" y="92"/>
                    </a:lnTo>
                    <a:lnTo>
                      <a:pt x="49" y="92"/>
                    </a:lnTo>
                    <a:lnTo>
                      <a:pt x="52" y="88"/>
                    </a:lnTo>
                    <a:lnTo>
                      <a:pt x="52" y="86"/>
                    </a:lnTo>
                    <a:lnTo>
                      <a:pt x="52" y="86"/>
                    </a:lnTo>
                    <a:lnTo>
                      <a:pt x="52" y="86"/>
                    </a:lnTo>
                    <a:lnTo>
                      <a:pt x="50" y="86"/>
                    </a:lnTo>
                    <a:lnTo>
                      <a:pt x="45" y="85"/>
                    </a:lnTo>
                    <a:lnTo>
                      <a:pt x="45" y="83"/>
                    </a:lnTo>
                    <a:lnTo>
                      <a:pt x="44" y="82"/>
                    </a:lnTo>
                    <a:lnTo>
                      <a:pt x="42" y="80"/>
                    </a:lnTo>
                    <a:lnTo>
                      <a:pt x="42" y="80"/>
                    </a:lnTo>
                    <a:lnTo>
                      <a:pt x="41" y="77"/>
                    </a:lnTo>
                    <a:lnTo>
                      <a:pt x="39" y="77"/>
                    </a:lnTo>
                    <a:lnTo>
                      <a:pt x="38" y="75"/>
                    </a:lnTo>
                    <a:lnTo>
                      <a:pt x="36" y="75"/>
                    </a:lnTo>
                    <a:lnTo>
                      <a:pt x="36" y="74"/>
                    </a:lnTo>
                    <a:lnTo>
                      <a:pt x="36" y="74"/>
                    </a:lnTo>
                    <a:lnTo>
                      <a:pt x="36" y="72"/>
                    </a:lnTo>
                    <a:lnTo>
                      <a:pt x="34" y="72"/>
                    </a:lnTo>
                    <a:lnTo>
                      <a:pt x="34" y="72"/>
                    </a:lnTo>
                    <a:lnTo>
                      <a:pt x="33" y="72"/>
                    </a:lnTo>
                    <a:lnTo>
                      <a:pt x="31" y="74"/>
                    </a:lnTo>
                    <a:lnTo>
                      <a:pt x="31" y="74"/>
                    </a:lnTo>
                    <a:lnTo>
                      <a:pt x="31" y="75"/>
                    </a:lnTo>
                    <a:lnTo>
                      <a:pt x="33" y="75"/>
                    </a:lnTo>
                    <a:lnTo>
                      <a:pt x="33" y="77"/>
                    </a:lnTo>
                    <a:lnTo>
                      <a:pt x="31" y="77"/>
                    </a:lnTo>
                    <a:lnTo>
                      <a:pt x="30" y="80"/>
                    </a:lnTo>
                    <a:lnTo>
                      <a:pt x="28" y="80"/>
                    </a:lnTo>
                    <a:lnTo>
                      <a:pt x="30" y="82"/>
                    </a:lnTo>
                    <a:lnTo>
                      <a:pt x="30" y="82"/>
                    </a:lnTo>
                    <a:lnTo>
                      <a:pt x="27" y="83"/>
                    </a:lnTo>
                    <a:lnTo>
                      <a:pt x="27" y="82"/>
                    </a:lnTo>
                    <a:lnTo>
                      <a:pt x="27" y="82"/>
                    </a:lnTo>
                    <a:lnTo>
                      <a:pt x="25" y="80"/>
                    </a:lnTo>
                    <a:lnTo>
                      <a:pt x="24" y="78"/>
                    </a:lnTo>
                    <a:lnTo>
                      <a:pt x="20" y="77"/>
                    </a:lnTo>
                    <a:lnTo>
                      <a:pt x="19" y="75"/>
                    </a:lnTo>
                    <a:lnTo>
                      <a:pt x="17" y="75"/>
                    </a:lnTo>
                    <a:lnTo>
                      <a:pt x="16" y="74"/>
                    </a:lnTo>
                    <a:lnTo>
                      <a:pt x="14" y="74"/>
                    </a:lnTo>
                    <a:lnTo>
                      <a:pt x="13" y="74"/>
                    </a:lnTo>
                    <a:lnTo>
                      <a:pt x="11" y="71"/>
                    </a:lnTo>
                    <a:lnTo>
                      <a:pt x="8" y="69"/>
                    </a:lnTo>
                    <a:lnTo>
                      <a:pt x="8" y="67"/>
                    </a:lnTo>
                    <a:lnTo>
                      <a:pt x="6" y="66"/>
                    </a:lnTo>
                    <a:lnTo>
                      <a:pt x="6" y="66"/>
                    </a:lnTo>
                    <a:lnTo>
                      <a:pt x="6" y="66"/>
                    </a:lnTo>
                    <a:lnTo>
                      <a:pt x="8" y="64"/>
                    </a:lnTo>
                    <a:lnTo>
                      <a:pt x="8" y="64"/>
                    </a:lnTo>
                    <a:lnTo>
                      <a:pt x="9" y="64"/>
                    </a:lnTo>
                    <a:lnTo>
                      <a:pt x="11" y="64"/>
                    </a:lnTo>
                    <a:lnTo>
                      <a:pt x="11" y="64"/>
                    </a:lnTo>
                    <a:lnTo>
                      <a:pt x="11" y="64"/>
                    </a:lnTo>
                    <a:lnTo>
                      <a:pt x="13" y="63"/>
                    </a:lnTo>
                    <a:lnTo>
                      <a:pt x="13" y="61"/>
                    </a:lnTo>
                    <a:lnTo>
                      <a:pt x="9" y="58"/>
                    </a:lnTo>
                    <a:lnTo>
                      <a:pt x="8" y="55"/>
                    </a:lnTo>
                    <a:lnTo>
                      <a:pt x="8" y="55"/>
                    </a:lnTo>
                    <a:lnTo>
                      <a:pt x="8" y="55"/>
                    </a:lnTo>
                    <a:lnTo>
                      <a:pt x="9" y="55"/>
                    </a:lnTo>
                    <a:lnTo>
                      <a:pt x="9" y="55"/>
                    </a:lnTo>
                    <a:lnTo>
                      <a:pt x="11" y="55"/>
                    </a:lnTo>
                    <a:lnTo>
                      <a:pt x="13" y="55"/>
                    </a:lnTo>
                    <a:lnTo>
                      <a:pt x="14" y="53"/>
                    </a:lnTo>
                    <a:lnTo>
                      <a:pt x="14" y="53"/>
                    </a:lnTo>
                    <a:lnTo>
                      <a:pt x="13" y="52"/>
                    </a:lnTo>
                    <a:lnTo>
                      <a:pt x="11" y="50"/>
                    </a:lnTo>
                    <a:lnTo>
                      <a:pt x="9" y="49"/>
                    </a:lnTo>
                    <a:lnTo>
                      <a:pt x="8" y="47"/>
                    </a:lnTo>
                    <a:lnTo>
                      <a:pt x="6" y="47"/>
                    </a:lnTo>
                    <a:lnTo>
                      <a:pt x="6" y="46"/>
                    </a:lnTo>
                    <a:lnTo>
                      <a:pt x="5" y="46"/>
                    </a:lnTo>
                    <a:lnTo>
                      <a:pt x="6" y="44"/>
                    </a:lnTo>
                    <a:lnTo>
                      <a:pt x="6" y="42"/>
                    </a:lnTo>
                    <a:lnTo>
                      <a:pt x="6" y="41"/>
                    </a:lnTo>
                    <a:lnTo>
                      <a:pt x="8" y="39"/>
                    </a:lnTo>
                    <a:lnTo>
                      <a:pt x="8" y="38"/>
                    </a:lnTo>
                    <a:lnTo>
                      <a:pt x="9" y="35"/>
                    </a:lnTo>
                    <a:lnTo>
                      <a:pt x="9" y="33"/>
                    </a:lnTo>
                    <a:lnTo>
                      <a:pt x="9" y="33"/>
                    </a:lnTo>
                    <a:lnTo>
                      <a:pt x="9" y="31"/>
                    </a:lnTo>
                    <a:lnTo>
                      <a:pt x="8" y="31"/>
                    </a:lnTo>
                    <a:lnTo>
                      <a:pt x="6" y="31"/>
                    </a:lnTo>
                    <a:lnTo>
                      <a:pt x="5" y="33"/>
                    </a:lnTo>
                    <a:lnTo>
                      <a:pt x="3" y="33"/>
                    </a:lnTo>
                    <a:lnTo>
                      <a:pt x="3" y="31"/>
                    </a:lnTo>
                    <a:lnTo>
                      <a:pt x="3" y="31"/>
                    </a:lnTo>
                    <a:lnTo>
                      <a:pt x="5" y="31"/>
                    </a:lnTo>
                    <a:lnTo>
                      <a:pt x="5" y="31"/>
                    </a:lnTo>
                    <a:lnTo>
                      <a:pt x="5" y="31"/>
                    </a:lnTo>
                    <a:lnTo>
                      <a:pt x="5" y="30"/>
                    </a:lnTo>
                    <a:lnTo>
                      <a:pt x="5" y="27"/>
                    </a:lnTo>
                    <a:lnTo>
                      <a:pt x="6" y="25"/>
                    </a:lnTo>
                    <a:lnTo>
                      <a:pt x="6" y="25"/>
                    </a:lnTo>
                    <a:lnTo>
                      <a:pt x="6" y="25"/>
                    </a:lnTo>
                    <a:lnTo>
                      <a:pt x="6" y="25"/>
                    </a:lnTo>
                    <a:lnTo>
                      <a:pt x="8" y="25"/>
                    </a:lnTo>
                    <a:lnTo>
                      <a:pt x="9" y="25"/>
                    </a:lnTo>
                    <a:lnTo>
                      <a:pt x="11" y="25"/>
                    </a:lnTo>
                    <a:lnTo>
                      <a:pt x="11" y="24"/>
                    </a:lnTo>
                    <a:lnTo>
                      <a:pt x="9" y="24"/>
                    </a:lnTo>
                    <a:lnTo>
                      <a:pt x="9" y="24"/>
                    </a:lnTo>
                    <a:lnTo>
                      <a:pt x="9" y="24"/>
                    </a:lnTo>
                    <a:lnTo>
                      <a:pt x="8" y="22"/>
                    </a:lnTo>
                    <a:lnTo>
                      <a:pt x="5" y="20"/>
                    </a:lnTo>
                    <a:lnTo>
                      <a:pt x="3" y="19"/>
                    </a:lnTo>
                    <a:lnTo>
                      <a:pt x="3" y="17"/>
                    </a:lnTo>
                    <a:lnTo>
                      <a:pt x="3" y="17"/>
                    </a:lnTo>
                    <a:lnTo>
                      <a:pt x="5" y="17"/>
                    </a:lnTo>
                    <a:lnTo>
                      <a:pt x="5" y="16"/>
                    </a:lnTo>
                    <a:lnTo>
                      <a:pt x="3" y="16"/>
                    </a:lnTo>
                    <a:lnTo>
                      <a:pt x="2" y="14"/>
                    </a:lnTo>
                    <a:lnTo>
                      <a:pt x="3" y="13"/>
                    </a:lnTo>
                    <a:lnTo>
                      <a:pt x="2" y="11"/>
                    </a:lnTo>
                    <a:lnTo>
                      <a:pt x="0" y="10"/>
                    </a:lnTo>
                    <a:lnTo>
                      <a:pt x="2" y="8"/>
                    </a:lnTo>
                    <a:lnTo>
                      <a:pt x="2" y="6"/>
                    </a:lnTo>
                    <a:lnTo>
                      <a:pt x="2" y="6"/>
                    </a:lnTo>
                    <a:lnTo>
                      <a:pt x="2" y="6"/>
                    </a:lnTo>
                    <a:lnTo>
                      <a:pt x="3" y="6"/>
                    </a:lnTo>
                    <a:lnTo>
                      <a:pt x="5" y="5"/>
                    </a:lnTo>
                    <a:lnTo>
                      <a:pt x="5" y="5"/>
                    </a:lnTo>
                    <a:lnTo>
                      <a:pt x="5" y="5"/>
                    </a:lnTo>
                    <a:lnTo>
                      <a:pt x="6" y="5"/>
                    </a:lnTo>
                    <a:lnTo>
                      <a:pt x="6" y="5"/>
                    </a:lnTo>
                    <a:lnTo>
                      <a:pt x="8" y="5"/>
                    </a:lnTo>
                    <a:lnTo>
                      <a:pt x="9" y="3"/>
                    </a:lnTo>
                    <a:lnTo>
                      <a:pt x="11" y="3"/>
                    </a:lnTo>
                    <a:lnTo>
                      <a:pt x="11" y="3"/>
                    </a:lnTo>
                    <a:lnTo>
                      <a:pt x="11" y="2"/>
                    </a:lnTo>
                    <a:lnTo>
                      <a:pt x="13" y="0"/>
                    </a:lnTo>
                    <a:lnTo>
                      <a:pt x="14" y="0"/>
                    </a:lnTo>
                    <a:lnTo>
                      <a:pt x="16"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7" name="Freeform 174">
                <a:extLst>
                  <a:ext uri="{FF2B5EF4-FFF2-40B4-BE49-F238E27FC236}">
                    <a16:creationId xmlns:a16="http://schemas.microsoft.com/office/drawing/2014/main" id="{AC4508BE-ED84-C1DC-D233-A6408C1D8801}"/>
                  </a:ext>
                </a:extLst>
              </p:cNvPr>
              <p:cNvSpPr>
                <a:spLocks noEditPoints="1"/>
              </p:cNvSpPr>
              <p:nvPr/>
            </p:nvSpPr>
            <p:spPr bwMode="gray">
              <a:xfrm>
                <a:off x="3019" y="33"/>
                <a:ext cx="2757" cy="753"/>
              </a:xfrm>
              <a:custGeom>
                <a:avLst/>
                <a:gdLst>
                  <a:gd name="T0" fmla="*/ 291 w 2738"/>
                  <a:gd name="T1" fmla="*/ 67 h 753"/>
                  <a:gd name="T2" fmla="*/ 185 w 2738"/>
                  <a:gd name="T3" fmla="*/ 59 h 753"/>
                  <a:gd name="T4" fmla="*/ 158 w 2738"/>
                  <a:gd name="T5" fmla="*/ 207 h 753"/>
                  <a:gd name="T6" fmla="*/ 139 w 2738"/>
                  <a:gd name="T7" fmla="*/ 282 h 753"/>
                  <a:gd name="T8" fmla="*/ 150 w 2738"/>
                  <a:gd name="T9" fmla="*/ 349 h 753"/>
                  <a:gd name="T10" fmla="*/ 199 w 2738"/>
                  <a:gd name="T11" fmla="*/ 383 h 753"/>
                  <a:gd name="T12" fmla="*/ 213 w 2738"/>
                  <a:gd name="T13" fmla="*/ 443 h 753"/>
                  <a:gd name="T14" fmla="*/ 260 w 2738"/>
                  <a:gd name="T15" fmla="*/ 483 h 753"/>
                  <a:gd name="T16" fmla="*/ 282 w 2738"/>
                  <a:gd name="T17" fmla="*/ 523 h 753"/>
                  <a:gd name="T18" fmla="*/ 357 w 2738"/>
                  <a:gd name="T19" fmla="*/ 543 h 753"/>
                  <a:gd name="T20" fmla="*/ 341 w 2738"/>
                  <a:gd name="T21" fmla="*/ 590 h 753"/>
                  <a:gd name="T22" fmla="*/ 324 w 2738"/>
                  <a:gd name="T23" fmla="*/ 637 h 753"/>
                  <a:gd name="T24" fmla="*/ 397 w 2738"/>
                  <a:gd name="T25" fmla="*/ 704 h 753"/>
                  <a:gd name="T26" fmla="*/ 471 w 2738"/>
                  <a:gd name="T27" fmla="*/ 737 h 753"/>
                  <a:gd name="T28" fmla="*/ 486 w 2738"/>
                  <a:gd name="T29" fmla="*/ 687 h 753"/>
                  <a:gd name="T30" fmla="*/ 515 w 2738"/>
                  <a:gd name="T31" fmla="*/ 626 h 753"/>
                  <a:gd name="T32" fmla="*/ 480 w 2738"/>
                  <a:gd name="T33" fmla="*/ 538 h 753"/>
                  <a:gd name="T34" fmla="*/ 543 w 2738"/>
                  <a:gd name="T35" fmla="*/ 490 h 753"/>
                  <a:gd name="T36" fmla="*/ 621 w 2738"/>
                  <a:gd name="T37" fmla="*/ 509 h 753"/>
                  <a:gd name="T38" fmla="*/ 716 w 2738"/>
                  <a:gd name="T39" fmla="*/ 513 h 753"/>
                  <a:gd name="T40" fmla="*/ 746 w 2738"/>
                  <a:gd name="T41" fmla="*/ 446 h 753"/>
                  <a:gd name="T42" fmla="*/ 788 w 2738"/>
                  <a:gd name="T43" fmla="*/ 407 h 753"/>
                  <a:gd name="T44" fmla="*/ 901 w 2738"/>
                  <a:gd name="T45" fmla="*/ 383 h 753"/>
                  <a:gd name="T46" fmla="*/ 943 w 2738"/>
                  <a:gd name="T47" fmla="*/ 427 h 753"/>
                  <a:gd name="T48" fmla="*/ 998 w 2738"/>
                  <a:gd name="T49" fmla="*/ 416 h 753"/>
                  <a:gd name="T50" fmla="*/ 1085 w 2738"/>
                  <a:gd name="T51" fmla="*/ 509 h 753"/>
                  <a:gd name="T52" fmla="*/ 1154 w 2738"/>
                  <a:gd name="T53" fmla="*/ 541 h 753"/>
                  <a:gd name="T54" fmla="*/ 1203 w 2738"/>
                  <a:gd name="T55" fmla="*/ 549 h 753"/>
                  <a:gd name="T56" fmla="*/ 1248 w 2738"/>
                  <a:gd name="T57" fmla="*/ 524 h 753"/>
                  <a:gd name="T58" fmla="*/ 1312 w 2738"/>
                  <a:gd name="T59" fmla="*/ 524 h 753"/>
                  <a:gd name="T60" fmla="*/ 1365 w 2738"/>
                  <a:gd name="T61" fmla="*/ 538 h 753"/>
                  <a:gd name="T62" fmla="*/ 1393 w 2738"/>
                  <a:gd name="T63" fmla="*/ 476 h 753"/>
                  <a:gd name="T64" fmla="*/ 1473 w 2738"/>
                  <a:gd name="T65" fmla="*/ 527 h 753"/>
                  <a:gd name="T66" fmla="*/ 1551 w 2738"/>
                  <a:gd name="T67" fmla="*/ 541 h 753"/>
                  <a:gd name="T68" fmla="*/ 1657 w 2738"/>
                  <a:gd name="T69" fmla="*/ 526 h 753"/>
                  <a:gd name="T70" fmla="*/ 1753 w 2738"/>
                  <a:gd name="T71" fmla="*/ 509 h 753"/>
                  <a:gd name="T72" fmla="*/ 1840 w 2738"/>
                  <a:gd name="T73" fmla="*/ 441 h 753"/>
                  <a:gd name="T74" fmla="*/ 1886 w 2738"/>
                  <a:gd name="T75" fmla="*/ 505 h 753"/>
                  <a:gd name="T76" fmla="*/ 1940 w 2738"/>
                  <a:gd name="T77" fmla="*/ 562 h 753"/>
                  <a:gd name="T78" fmla="*/ 2017 w 2738"/>
                  <a:gd name="T79" fmla="*/ 585 h 753"/>
                  <a:gd name="T80" fmla="*/ 1989 w 2738"/>
                  <a:gd name="T81" fmla="*/ 660 h 753"/>
                  <a:gd name="T82" fmla="*/ 1951 w 2738"/>
                  <a:gd name="T83" fmla="*/ 714 h 753"/>
                  <a:gd name="T84" fmla="*/ 2011 w 2738"/>
                  <a:gd name="T85" fmla="*/ 709 h 753"/>
                  <a:gd name="T86" fmla="*/ 2125 w 2738"/>
                  <a:gd name="T87" fmla="*/ 498 h 753"/>
                  <a:gd name="T88" fmla="*/ 2066 w 2738"/>
                  <a:gd name="T89" fmla="*/ 429 h 753"/>
                  <a:gd name="T90" fmla="*/ 2106 w 2738"/>
                  <a:gd name="T91" fmla="*/ 310 h 753"/>
                  <a:gd name="T92" fmla="*/ 2303 w 2738"/>
                  <a:gd name="T93" fmla="*/ 243 h 753"/>
                  <a:gd name="T94" fmla="*/ 2395 w 2738"/>
                  <a:gd name="T95" fmla="*/ 189 h 753"/>
                  <a:gd name="T96" fmla="*/ 2516 w 2738"/>
                  <a:gd name="T97" fmla="*/ 167 h 753"/>
                  <a:gd name="T98" fmla="*/ 2496 w 2738"/>
                  <a:gd name="T99" fmla="*/ 219 h 753"/>
                  <a:gd name="T100" fmla="*/ 2416 w 2738"/>
                  <a:gd name="T101" fmla="*/ 499 h 753"/>
                  <a:gd name="T102" fmla="*/ 2508 w 2738"/>
                  <a:gd name="T103" fmla="*/ 344 h 753"/>
                  <a:gd name="T104" fmla="*/ 2519 w 2738"/>
                  <a:gd name="T105" fmla="*/ 255 h 753"/>
                  <a:gd name="T106" fmla="*/ 2639 w 2738"/>
                  <a:gd name="T107" fmla="*/ 222 h 753"/>
                  <a:gd name="T108" fmla="*/ 2070 w 2738"/>
                  <a:gd name="T109" fmla="*/ 382 h 753"/>
                  <a:gd name="T110" fmla="*/ 2302 w 2738"/>
                  <a:gd name="T111" fmla="*/ 255 h 753"/>
                  <a:gd name="T112" fmla="*/ 2241 w 2738"/>
                  <a:gd name="T113" fmla="*/ 670 h 753"/>
                  <a:gd name="T114" fmla="*/ 2225 w 2738"/>
                  <a:gd name="T115" fmla="*/ 695 h 753"/>
                  <a:gd name="T116" fmla="*/ 2380 w 2738"/>
                  <a:gd name="T117" fmla="*/ 524 h 753"/>
                  <a:gd name="T118" fmla="*/ 2188 w 2738"/>
                  <a:gd name="T119" fmla="*/ 551 h 753"/>
                  <a:gd name="T120" fmla="*/ 2147 w 2738"/>
                  <a:gd name="T121" fmla="*/ 433 h 753"/>
                  <a:gd name="T122" fmla="*/ 2156 w 2738"/>
                  <a:gd name="T123" fmla="*/ 620 h 753"/>
                  <a:gd name="T124" fmla="*/ 56 w 2738"/>
                  <a:gd name="T125" fmla="*/ 393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8" h="753">
                    <a:moveTo>
                      <a:pt x="2735" y="42"/>
                    </a:moveTo>
                    <a:lnTo>
                      <a:pt x="2738" y="42"/>
                    </a:lnTo>
                    <a:lnTo>
                      <a:pt x="2738" y="0"/>
                    </a:lnTo>
                    <a:lnTo>
                      <a:pt x="366" y="0"/>
                    </a:lnTo>
                    <a:lnTo>
                      <a:pt x="364" y="2"/>
                    </a:lnTo>
                    <a:lnTo>
                      <a:pt x="355" y="9"/>
                    </a:lnTo>
                    <a:lnTo>
                      <a:pt x="354" y="11"/>
                    </a:lnTo>
                    <a:lnTo>
                      <a:pt x="354" y="16"/>
                    </a:lnTo>
                    <a:lnTo>
                      <a:pt x="355" y="19"/>
                    </a:lnTo>
                    <a:lnTo>
                      <a:pt x="357" y="23"/>
                    </a:lnTo>
                    <a:lnTo>
                      <a:pt x="360" y="31"/>
                    </a:lnTo>
                    <a:lnTo>
                      <a:pt x="363" y="34"/>
                    </a:lnTo>
                    <a:lnTo>
                      <a:pt x="364" y="38"/>
                    </a:lnTo>
                    <a:lnTo>
                      <a:pt x="366" y="44"/>
                    </a:lnTo>
                    <a:lnTo>
                      <a:pt x="364" y="44"/>
                    </a:lnTo>
                    <a:lnTo>
                      <a:pt x="361" y="42"/>
                    </a:lnTo>
                    <a:lnTo>
                      <a:pt x="360" y="44"/>
                    </a:lnTo>
                    <a:lnTo>
                      <a:pt x="355" y="47"/>
                    </a:lnTo>
                    <a:lnTo>
                      <a:pt x="355" y="48"/>
                    </a:lnTo>
                    <a:lnTo>
                      <a:pt x="354" y="52"/>
                    </a:lnTo>
                    <a:lnTo>
                      <a:pt x="350" y="52"/>
                    </a:lnTo>
                    <a:lnTo>
                      <a:pt x="341" y="45"/>
                    </a:lnTo>
                    <a:lnTo>
                      <a:pt x="333" y="42"/>
                    </a:lnTo>
                    <a:lnTo>
                      <a:pt x="332" y="42"/>
                    </a:lnTo>
                    <a:lnTo>
                      <a:pt x="330" y="41"/>
                    </a:lnTo>
                    <a:lnTo>
                      <a:pt x="330" y="39"/>
                    </a:lnTo>
                    <a:lnTo>
                      <a:pt x="327" y="41"/>
                    </a:lnTo>
                    <a:lnTo>
                      <a:pt x="325" y="41"/>
                    </a:lnTo>
                    <a:lnTo>
                      <a:pt x="324" y="39"/>
                    </a:lnTo>
                    <a:lnTo>
                      <a:pt x="314" y="30"/>
                    </a:lnTo>
                    <a:lnTo>
                      <a:pt x="308" y="27"/>
                    </a:lnTo>
                    <a:lnTo>
                      <a:pt x="307" y="25"/>
                    </a:lnTo>
                    <a:lnTo>
                      <a:pt x="303" y="27"/>
                    </a:lnTo>
                    <a:lnTo>
                      <a:pt x="302" y="34"/>
                    </a:lnTo>
                    <a:lnTo>
                      <a:pt x="299" y="36"/>
                    </a:lnTo>
                    <a:lnTo>
                      <a:pt x="297" y="36"/>
                    </a:lnTo>
                    <a:lnTo>
                      <a:pt x="297" y="41"/>
                    </a:lnTo>
                    <a:lnTo>
                      <a:pt x="297" y="42"/>
                    </a:lnTo>
                    <a:lnTo>
                      <a:pt x="299" y="44"/>
                    </a:lnTo>
                    <a:lnTo>
                      <a:pt x="302" y="47"/>
                    </a:lnTo>
                    <a:lnTo>
                      <a:pt x="307" y="55"/>
                    </a:lnTo>
                    <a:lnTo>
                      <a:pt x="308" y="58"/>
                    </a:lnTo>
                    <a:lnTo>
                      <a:pt x="310" y="59"/>
                    </a:lnTo>
                    <a:lnTo>
                      <a:pt x="313" y="59"/>
                    </a:lnTo>
                    <a:lnTo>
                      <a:pt x="318" y="58"/>
                    </a:lnTo>
                    <a:lnTo>
                      <a:pt x="321" y="59"/>
                    </a:lnTo>
                    <a:lnTo>
                      <a:pt x="322" y="61"/>
                    </a:lnTo>
                    <a:lnTo>
                      <a:pt x="322" y="66"/>
                    </a:lnTo>
                    <a:lnTo>
                      <a:pt x="324" y="70"/>
                    </a:lnTo>
                    <a:lnTo>
                      <a:pt x="324" y="74"/>
                    </a:lnTo>
                    <a:lnTo>
                      <a:pt x="322" y="77"/>
                    </a:lnTo>
                    <a:lnTo>
                      <a:pt x="316" y="78"/>
                    </a:lnTo>
                    <a:lnTo>
                      <a:pt x="313" y="81"/>
                    </a:lnTo>
                    <a:lnTo>
                      <a:pt x="311" y="81"/>
                    </a:lnTo>
                    <a:lnTo>
                      <a:pt x="305" y="78"/>
                    </a:lnTo>
                    <a:lnTo>
                      <a:pt x="300" y="77"/>
                    </a:lnTo>
                    <a:lnTo>
                      <a:pt x="294" y="75"/>
                    </a:lnTo>
                    <a:lnTo>
                      <a:pt x="293" y="74"/>
                    </a:lnTo>
                    <a:lnTo>
                      <a:pt x="291" y="67"/>
                    </a:lnTo>
                    <a:lnTo>
                      <a:pt x="285" y="61"/>
                    </a:lnTo>
                    <a:lnTo>
                      <a:pt x="282" y="59"/>
                    </a:lnTo>
                    <a:lnTo>
                      <a:pt x="278" y="61"/>
                    </a:lnTo>
                    <a:lnTo>
                      <a:pt x="275" y="59"/>
                    </a:lnTo>
                    <a:lnTo>
                      <a:pt x="271" y="56"/>
                    </a:lnTo>
                    <a:lnTo>
                      <a:pt x="268" y="52"/>
                    </a:lnTo>
                    <a:lnTo>
                      <a:pt x="268" y="45"/>
                    </a:lnTo>
                    <a:lnTo>
                      <a:pt x="269" y="45"/>
                    </a:lnTo>
                    <a:lnTo>
                      <a:pt x="269" y="44"/>
                    </a:lnTo>
                    <a:lnTo>
                      <a:pt x="268" y="42"/>
                    </a:lnTo>
                    <a:lnTo>
                      <a:pt x="268" y="38"/>
                    </a:lnTo>
                    <a:lnTo>
                      <a:pt x="268" y="34"/>
                    </a:lnTo>
                    <a:lnTo>
                      <a:pt x="264" y="27"/>
                    </a:lnTo>
                    <a:lnTo>
                      <a:pt x="263" y="22"/>
                    </a:lnTo>
                    <a:lnTo>
                      <a:pt x="260" y="17"/>
                    </a:lnTo>
                    <a:lnTo>
                      <a:pt x="263" y="14"/>
                    </a:lnTo>
                    <a:lnTo>
                      <a:pt x="263" y="12"/>
                    </a:lnTo>
                    <a:lnTo>
                      <a:pt x="266" y="6"/>
                    </a:lnTo>
                    <a:lnTo>
                      <a:pt x="266" y="3"/>
                    </a:lnTo>
                    <a:lnTo>
                      <a:pt x="266" y="2"/>
                    </a:lnTo>
                    <a:lnTo>
                      <a:pt x="266" y="0"/>
                    </a:lnTo>
                    <a:lnTo>
                      <a:pt x="185" y="0"/>
                    </a:lnTo>
                    <a:lnTo>
                      <a:pt x="185" y="0"/>
                    </a:lnTo>
                    <a:lnTo>
                      <a:pt x="185" y="3"/>
                    </a:lnTo>
                    <a:lnTo>
                      <a:pt x="185" y="5"/>
                    </a:lnTo>
                    <a:lnTo>
                      <a:pt x="183" y="6"/>
                    </a:lnTo>
                    <a:lnTo>
                      <a:pt x="180" y="6"/>
                    </a:lnTo>
                    <a:lnTo>
                      <a:pt x="177" y="8"/>
                    </a:lnTo>
                    <a:lnTo>
                      <a:pt x="177" y="8"/>
                    </a:lnTo>
                    <a:lnTo>
                      <a:pt x="180" y="9"/>
                    </a:lnTo>
                    <a:lnTo>
                      <a:pt x="178" y="14"/>
                    </a:lnTo>
                    <a:lnTo>
                      <a:pt x="177" y="20"/>
                    </a:lnTo>
                    <a:lnTo>
                      <a:pt x="175" y="23"/>
                    </a:lnTo>
                    <a:lnTo>
                      <a:pt x="175" y="23"/>
                    </a:lnTo>
                    <a:lnTo>
                      <a:pt x="175" y="23"/>
                    </a:lnTo>
                    <a:lnTo>
                      <a:pt x="175" y="25"/>
                    </a:lnTo>
                    <a:lnTo>
                      <a:pt x="178" y="25"/>
                    </a:lnTo>
                    <a:lnTo>
                      <a:pt x="178" y="25"/>
                    </a:lnTo>
                    <a:lnTo>
                      <a:pt x="180" y="27"/>
                    </a:lnTo>
                    <a:lnTo>
                      <a:pt x="180" y="28"/>
                    </a:lnTo>
                    <a:lnTo>
                      <a:pt x="178" y="30"/>
                    </a:lnTo>
                    <a:lnTo>
                      <a:pt x="177" y="31"/>
                    </a:lnTo>
                    <a:lnTo>
                      <a:pt x="175" y="33"/>
                    </a:lnTo>
                    <a:lnTo>
                      <a:pt x="175" y="34"/>
                    </a:lnTo>
                    <a:lnTo>
                      <a:pt x="175" y="36"/>
                    </a:lnTo>
                    <a:lnTo>
                      <a:pt x="177" y="38"/>
                    </a:lnTo>
                    <a:lnTo>
                      <a:pt x="177" y="41"/>
                    </a:lnTo>
                    <a:lnTo>
                      <a:pt x="178" y="42"/>
                    </a:lnTo>
                    <a:lnTo>
                      <a:pt x="178" y="42"/>
                    </a:lnTo>
                    <a:lnTo>
                      <a:pt x="183" y="44"/>
                    </a:lnTo>
                    <a:lnTo>
                      <a:pt x="185" y="44"/>
                    </a:lnTo>
                    <a:lnTo>
                      <a:pt x="185" y="45"/>
                    </a:lnTo>
                    <a:lnTo>
                      <a:pt x="185" y="47"/>
                    </a:lnTo>
                    <a:lnTo>
                      <a:pt x="185" y="48"/>
                    </a:lnTo>
                    <a:lnTo>
                      <a:pt x="182" y="52"/>
                    </a:lnTo>
                    <a:lnTo>
                      <a:pt x="182" y="53"/>
                    </a:lnTo>
                    <a:lnTo>
                      <a:pt x="183" y="55"/>
                    </a:lnTo>
                    <a:lnTo>
                      <a:pt x="183" y="56"/>
                    </a:lnTo>
                    <a:lnTo>
                      <a:pt x="185" y="59"/>
                    </a:lnTo>
                    <a:lnTo>
                      <a:pt x="189" y="63"/>
                    </a:lnTo>
                    <a:lnTo>
                      <a:pt x="189" y="63"/>
                    </a:lnTo>
                    <a:lnTo>
                      <a:pt x="191" y="66"/>
                    </a:lnTo>
                    <a:lnTo>
                      <a:pt x="191" y="67"/>
                    </a:lnTo>
                    <a:lnTo>
                      <a:pt x="192" y="69"/>
                    </a:lnTo>
                    <a:lnTo>
                      <a:pt x="192" y="72"/>
                    </a:lnTo>
                    <a:lnTo>
                      <a:pt x="191" y="74"/>
                    </a:lnTo>
                    <a:lnTo>
                      <a:pt x="191" y="74"/>
                    </a:lnTo>
                    <a:lnTo>
                      <a:pt x="189" y="77"/>
                    </a:lnTo>
                    <a:lnTo>
                      <a:pt x="186" y="83"/>
                    </a:lnTo>
                    <a:lnTo>
                      <a:pt x="186" y="83"/>
                    </a:lnTo>
                    <a:lnTo>
                      <a:pt x="183" y="84"/>
                    </a:lnTo>
                    <a:lnTo>
                      <a:pt x="183" y="84"/>
                    </a:lnTo>
                    <a:lnTo>
                      <a:pt x="183" y="86"/>
                    </a:lnTo>
                    <a:lnTo>
                      <a:pt x="183" y="88"/>
                    </a:lnTo>
                    <a:lnTo>
                      <a:pt x="189" y="94"/>
                    </a:lnTo>
                    <a:lnTo>
                      <a:pt x="194" y="97"/>
                    </a:lnTo>
                    <a:lnTo>
                      <a:pt x="200" y="102"/>
                    </a:lnTo>
                    <a:lnTo>
                      <a:pt x="203" y="106"/>
                    </a:lnTo>
                    <a:lnTo>
                      <a:pt x="205" y="108"/>
                    </a:lnTo>
                    <a:lnTo>
                      <a:pt x="207" y="111"/>
                    </a:lnTo>
                    <a:lnTo>
                      <a:pt x="208" y="114"/>
                    </a:lnTo>
                    <a:lnTo>
                      <a:pt x="208" y="114"/>
                    </a:lnTo>
                    <a:lnTo>
                      <a:pt x="210" y="116"/>
                    </a:lnTo>
                    <a:lnTo>
                      <a:pt x="210" y="116"/>
                    </a:lnTo>
                    <a:lnTo>
                      <a:pt x="210" y="117"/>
                    </a:lnTo>
                    <a:lnTo>
                      <a:pt x="210" y="119"/>
                    </a:lnTo>
                    <a:lnTo>
                      <a:pt x="210" y="119"/>
                    </a:lnTo>
                    <a:lnTo>
                      <a:pt x="208" y="122"/>
                    </a:lnTo>
                    <a:lnTo>
                      <a:pt x="207" y="125"/>
                    </a:lnTo>
                    <a:lnTo>
                      <a:pt x="205" y="130"/>
                    </a:lnTo>
                    <a:lnTo>
                      <a:pt x="203" y="135"/>
                    </a:lnTo>
                    <a:lnTo>
                      <a:pt x="199" y="139"/>
                    </a:lnTo>
                    <a:lnTo>
                      <a:pt x="192" y="147"/>
                    </a:lnTo>
                    <a:lnTo>
                      <a:pt x="191" y="149"/>
                    </a:lnTo>
                    <a:lnTo>
                      <a:pt x="188" y="153"/>
                    </a:lnTo>
                    <a:lnTo>
                      <a:pt x="183" y="161"/>
                    </a:lnTo>
                    <a:lnTo>
                      <a:pt x="182" y="163"/>
                    </a:lnTo>
                    <a:lnTo>
                      <a:pt x="177" y="169"/>
                    </a:lnTo>
                    <a:lnTo>
                      <a:pt x="175" y="171"/>
                    </a:lnTo>
                    <a:lnTo>
                      <a:pt x="174" y="172"/>
                    </a:lnTo>
                    <a:lnTo>
                      <a:pt x="174" y="172"/>
                    </a:lnTo>
                    <a:lnTo>
                      <a:pt x="169" y="178"/>
                    </a:lnTo>
                    <a:lnTo>
                      <a:pt x="169" y="178"/>
                    </a:lnTo>
                    <a:lnTo>
                      <a:pt x="164" y="183"/>
                    </a:lnTo>
                    <a:lnTo>
                      <a:pt x="160" y="186"/>
                    </a:lnTo>
                    <a:lnTo>
                      <a:pt x="160" y="189"/>
                    </a:lnTo>
                    <a:lnTo>
                      <a:pt x="158" y="191"/>
                    </a:lnTo>
                    <a:lnTo>
                      <a:pt x="155" y="191"/>
                    </a:lnTo>
                    <a:lnTo>
                      <a:pt x="155" y="192"/>
                    </a:lnTo>
                    <a:lnTo>
                      <a:pt x="150" y="197"/>
                    </a:lnTo>
                    <a:lnTo>
                      <a:pt x="150" y="197"/>
                    </a:lnTo>
                    <a:lnTo>
                      <a:pt x="144" y="205"/>
                    </a:lnTo>
                    <a:lnTo>
                      <a:pt x="150" y="203"/>
                    </a:lnTo>
                    <a:lnTo>
                      <a:pt x="157" y="200"/>
                    </a:lnTo>
                    <a:lnTo>
                      <a:pt x="158" y="202"/>
                    </a:lnTo>
                    <a:lnTo>
                      <a:pt x="158" y="203"/>
                    </a:lnTo>
                    <a:lnTo>
                      <a:pt x="158" y="205"/>
                    </a:lnTo>
                    <a:lnTo>
                      <a:pt x="158" y="207"/>
                    </a:lnTo>
                    <a:lnTo>
                      <a:pt x="157" y="205"/>
                    </a:lnTo>
                    <a:lnTo>
                      <a:pt x="157" y="207"/>
                    </a:lnTo>
                    <a:lnTo>
                      <a:pt x="158" y="211"/>
                    </a:lnTo>
                    <a:lnTo>
                      <a:pt x="161" y="213"/>
                    </a:lnTo>
                    <a:lnTo>
                      <a:pt x="166" y="217"/>
                    </a:lnTo>
                    <a:lnTo>
                      <a:pt x="172" y="217"/>
                    </a:lnTo>
                    <a:lnTo>
                      <a:pt x="175" y="217"/>
                    </a:lnTo>
                    <a:lnTo>
                      <a:pt x="177" y="217"/>
                    </a:lnTo>
                    <a:lnTo>
                      <a:pt x="180" y="221"/>
                    </a:lnTo>
                    <a:lnTo>
                      <a:pt x="182" y="224"/>
                    </a:lnTo>
                    <a:lnTo>
                      <a:pt x="183" y="224"/>
                    </a:lnTo>
                    <a:lnTo>
                      <a:pt x="186" y="225"/>
                    </a:lnTo>
                    <a:lnTo>
                      <a:pt x="185" y="228"/>
                    </a:lnTo>
                    <a:lnTo>
                      <a:pt x="185" y="228"/>
                    </a:lnTo>
                    <a:lnTo>
                      <a:pt x="177" y="225"/>
                    </a:lnTo>
                    <a:lnTo>
                      <a:pt x="167" y="224"/>
                    </a:lnTo>
                    <a:lnTo>
                      <a:pt x="166" y="225"/>
                    </a:lnTo>
                    <a:lnTo>
                      <a:pt x="166" y="228"/>
                    </a:lnTo>
                    <a:lnTo>
                      <a:pt x="164" y="230"/>
                    </a:lnTo>
                    <a:lnTo>
                      <a:pt x="164" y="230"/>
                    </a:lnTo>
                    <a:lnTo>
                      <a:pt x="163" y="232"/>
                    </a:lnTo>
                    <a:lnTo>
                      <a:pt x="161" y="232"/>
                    </a:lnTo>
                    <a:lnTo>
                      <a:pt x="158" y="230"/>
                    </a:lnTo>
                    <a:lnTo>
                      <a:pt x="157" y="230"/>
                    </a:lnTo>
                    <a:lnTo>
                      <a:pt x="155" y="232"/>
                    </a:lnTo>
                    <a:lnTo>
                      <a:pt x="155" y="233"/>
                    </a:lnTo>
                    <a:lnTo>
                      <a:pt x="153" y="235"/>
                    </a:lnTo>
                    <a:lnTo>
                      <a:pt x="152" y="235"/>
                    </a:lnTo>
                    <a:lnTo>
                      <a:pt x="150" y="232"/>
                    </a:lnTo>
                    <a:lnTo>
                      <a:pt x="149" y="232"/>
                    </a:lnTo>
                    <a:lnTo>
                      <a:pt x="147" y="235"/>
                    </a:lnTo>
                    <a:lnTo>
                      <a:pt x="149" y="236"/>
                    </a:lnTo>
                    <a:lnTo>
                      <a:pt x="149" y="239"/>
                    </a:lnTo>
                    <a:lnTo>
                      <a:pt x="147" y="243"/>
                    </a:lnTo>
                    <a:lnTo>
                      <a:pt x="149" y="244"/>
                    </a:lnTo>
                    <a:lnTo>
                      <a:pt x="150" y="246"/>
                    </a:lnTo>
                    <a:lnTo>
                      <a:pt x="150" y="246"/>
                    </a:lnTo>
                    <a:lnTo>
                      <a:pt x="150" y="246"/>
                    </a:lnTo>
                    <a:lnTo>
                      <a:pt x="150" y="247"/>
                    </a:lnTo>
                    <a:lnTo>
                      <a:pt x="149" y="247"/>
                    </a:lnTo>
                    <a:lnTo>
                      <a:pt x="149" y="247"/>
                    </a:lnTo>
                    <a:lnTo>
                      <a:pt x="149" y="247"/>
                    </a:lnTo>
                    <a:lnTo>
                      <a:pt x="147" y="249"/>
                    </a:lnTo>
                    <a:lnTo>
                      <a:pt x="147" y="249"/>
                    </a:lnTo>
                    <a:lnTo>
                      <a:pt x="146" y="249"/>
                    </a:lnTo>
                    <a:lnTo>
                      <a:pt x="146" y="249"/>
                    </a:lnTo>
                    <a:lnTo>
                      <a:pt x="144" y="252"/>
                    </a:lnTo>
                    <a:lnTo>
                      <a:pt x="144" y="252"/>
                    </a:lnTo>
                    <a:lnTo>
                      <a:pt x="142" y="257"/>
                    </a:lnTo>
                    <a:lnTo>
                      <a:pt x="141" y="261"/>
                    </a:lnTo>
                    <a:lnTo>
                      <a:pt x="141" y="261"/>
                    </a:lnTo>
                    <a:lnTo>
                      <a:pt x="139" y="263"/>
                    </a:lnTo>
                    <a:lnTo>
                      <a:pt x="138" y="264"/>
                    </a:lnTo>
                    <a:lnTo>
                      <a:pt x="138" y="264"/>
                    </a:lnTo>
                    <a:lnTo>
                      <a:pt x="138" y="266"/>
                    </a:lnTo>
                    <a:lnTo>
                      <a:pt x="138" y="268"/>
                    </a:lnTo>
                    <a:lnTo>
                      <a:pt x="139" y="279"/>
                    </a:lnTo>
                    <a:lnTo>
                      <a:pt x="139" y="280"/>
                    </a:lnTo>
                    <a:lnTo>
                      <a:pt x="139" y="282"/>
                    </a:lnTo>
                    <a:lnTo>
                      <a:pt x="138" y="283"/>
                    </a:lnTo>
                    <a:lnTo>
                      <a:pt x="139" y="285"/>
                    </a:lnTo>
                    <a:lnTo>
                      <a:pt x="139" y="288"/>
                    </a:lnTo>
                    <a:lnTo>
                      <a:pt x="141" y="289"/>
                    </a:lnTo>
                    <a:lnTo>
                      <a:pt x="141" y="293"/>
                    </a:lnTo>
                    <a:lnTo>
                      <a:pt x="141" y="294"/>
                    </a:lnTo>
                    <a:lnTo>
                      <a:pt x="141" y="294"/>
                    </a:lnTo>
                    <a:lnTo>
                      <a:pt x="141" y="294"/>
                    </a:lnTo>
                    <a:lnTo>
                      <a:pt x="142" y="296"/>
                    </a:lnTo>
                    <a:lnTo>
                      <a:pt x="142" y="296"/>
                    </a:lnTo>
                    <a:lnTo>
                      <a:pt x="144" y="296"/>
                    </a:lnTo>
                    <a:lnTo>
                      <a:pt x="144" y="297"/>
                    </a:lnTo>
                    <a:lnTo>
                      <a:pt x="144" y="297"/>
                    </a:lnTo>
                    <a:lnTo>
                      <a:pt x="142" y="297"/>
                    </a:lnTo>
                    <a:lnTo>
                      <a:pt x="142" y="297"/>
                    </a:lnTo>
                    <a:lnTo>
                      <a:pt x="139" y="299"/>
                    </a:lnTo>
                    <a:lnTo>
                      <a:pt x="139" y="300"/>
                    </a:lnTo>
                    <a:lnTo>
                      <a:pt x="138" y="302"/>
                    </a:lnTo>
                    <a:lnTo>
                      <a:pt x="136" y="304"/>
                    </a:lnTo>
                    <a:lnTo>
                      <a:pt x="136" y="304"/>
                    </a:lnTo>
                    <a:lnTo>
                      <a:pt x="136" y="305"/>
                    </a:lnTo>
                    <a:lnTo>
                      <a:pt x="136" y="307"/>
                    </a:lnTo>
                    <a:lnTo>
                      <a:pt x="136" y="308"/>
                    </a:lnTo>
                    <a:lnTo>
                      <a:pt x="138" y="308"/>
                    </a:lnTo>
                    <a:lnTo>
                      <a:pt x="139" y="308"/>
                    </a:lnTo>
                    <a:lnTo>
                      <a:pt x="139" y="308"/>
                    </a:lnTo>
                    <a:lnTo>
                      <a:pt x="139" y="311"/>
                    </a:lnTo>
                    <a:lnTo>
                      <a:pt x="139" y="311"/>
                    </a:lnTo>
                    <a:lnTo>
                      <a:pt x="139" y="311"/>
                    </a:lnTo>
                    <a:lnTo>
                      <a:pt x="141" y="313"/>
                    </a:lnTo>
                    <a:lnTo>
                      <a:pt x="141" y="313"/>
                    </a:lnTo>
                    <a:lnTo>
                      <a:pt x="144" y="314"/>
                    </a:lnTo>
                    <a:lnTo>
                      <a:pt x="144" y="316"/>
                    </a:lnTo>
                    <a:lnTo>
                      <a:pt x="144" y="316"/>
                    </a:lnTo>
                    <a:lnTo>
                      <a:pt x="144" y="316"/>
                    </a:lnTo>
                    <a:lnTo>
                      <a:pt x="144" y="318"/>
                    </a:lnTo>
                    <a:lnTo>
                      <a:pt x="144" y="319"/>
                    </a:lnTo>
                    <a:lnTo>
                      <a:pt x="144" y="319"/>
                    </a:lnTo>
                    <a:lnTo>
                      <a:pt x="142" y="321"/>
                    </a:lnTo>
                    <a:lnTo>
                      <a:pt x="142" y="324"/>
                    </a:lnTo>
                    <a:lnTo>
                      <a:pt x="142" y="324"/>
                    </a:lnTo>
                    <a:lnTo>
                      <a:pt x="142" y="325"/>
                    </a:lnTo>
                    <a:lnTo>
                      <a:pt x="141" y="330"/>
                    </a:lnTo>
                    <a:lnTo>
                      <a:pt x="141" y="330"/>
                    </a:lnTo>
                    <a:lnTo>
                      <a:pt x="141" y="330"/>
                    </a:lnTo>
                    <a:lnTo>
                      <a:pt x="144" y="330"/>
                    </a:lnTo>
                    <a:lnTo>
                      <a:pt x="144" y="330"/>
                    </a:lnTo>
                    <a:lnTo>
                      <a:pt x="146" y="330"/>
                    </a:lnTo>
                    <a:lnTo>
                      <a:pt x="146" y="333"/>
                    </a:lnTo>
                    <a:lnTo>
                      <a:pt x="146" y="335"/>
                    </a:lnTo>
                    <a:lnTo>
                      <a:pt x="147" y="336"/>
                    </a:lnTo>
                    <a:lnTo>
                      <a:pt x="147" y="336"/>
                    </a:lnTo>
                    <a:lnTo>
                      <a:pt x="147" y="338"/>
                    </a:lnTo>
                    <a:lnTo>
                      <a:pt x="149" y="340"/>
                    </a:lnTo>
                    <a:lnTo>
                      <a:pt x="149" y="340"/>
                    </a:lnTo>
                    <a:lnTo>
                      <a:pt x="149" y="341"/>
                    </a:lnTo>
                    <a:lnTo>
                      <a:pt x="150" y="344"/>
                    </a:lnTo>
                    <a:lnTo>
                      <a:pt x="150" y="347"/>
                    </a:lnTo>
                    <a:lnTo>
                      <a:pt x="150" y="349"/>
                    </a:lnTo>
                    <a:lnTo>
                      <a:pt x="150" y="350"/>
                    </a:lnTo>
                    <a:lnTo>
                      <a:pt x="150" y="352"/>
                    </a:lnTo>
                    <a:lnTo>
                      <a:pt x="150" y="352"/>
                    </a:lnTo>
                    <a:lnTo>
                      <a:pt x="152" y="355"/>
                    </a:lnTo>
                    <a:lnTo>
                      <a:pt x="152" y="355"/>
                    </a:lnTo>
                    <a:lnTo>
                      <a:pt x="153" y="355"/>
                    </a:lnTo>
                    <a:lnTo>
                      <a:pt x="155" y="354"/>
                    </a:lnTo>
                    <a:lnTo>
                      <a:pt x="155" y="354"/>
                    </a:lnTo>
                    <a:lnTo>
                      <a:pt x="157" y="354"/>
                    </a:lnTo>
                    <a:lnTo>
                      <a:pt x="158" y="355"/>
                    </a:lnTo>
                    <a:lnTo>
                      <a:pt x="160" y="357"/>
                    </a:lnTo>
                    <a:lnTo>
                      <a:pt x="160" y="358"/>
                    </a:lnTo>
                    <a:lnTo>
                      <a:pt x="161" y="358"/>
                    </a:lnTo>
                    <a:lnTo>
                      <a:pt x="164" y="357"/>
                    </a:lnTo>
                    <a:lnTo>
                      <a:pt x="166" y="357"/>
                    </a:lnTo>
                    <a:lnTo>
                      <a:pt x="166" y="357"/>
                    </a:lnTo>
                    <a:lnTo>
                      <a:pt x="171" y="358"/>
                    </a:lnTo>
                    <a:lnTo>
                      <a:pt x="172" y="358"/>
                    </a:lnTo>
                    <a:lnTo>
                      <a:pt x="172" y="360"/>
                    </a:lnTo>
                    <a:lnTo>
                      <a:pt x="172" y="360"/>
                    </a:lnTo>
                    <a:lnTo>
                      <a:pt x="172" y="361"/>
                    </a:lnTo>
                    <a:lnTo>
                      <a:pt x="171" y="363"/>
                    </a:lnTo>
                    <a:lnTo>
                      <a:pt x="172" y="366"/>
                    </a:lnTo>
                    <a:lnTo>
                      <a:pt x="174" y="366"/>
                    </a:lnTo>
                    <a:lnTo>
                      <a:pt x="174" y="366"/>
                    </a:lnTo>
                    <a:lnTo>
                      <a:pt x="175" y="365"/>
                    </a:lnTo>
                    <a:lnTo>
                      <a:pt x="177" y="365"/>
                    </a:lnTo>
                    <a:lnTo>
                      <a:pt x="178" y="365"/>
                    </a:lnTo>
                    <a:lnTo>
                      <a:pt x="180" y="363"/>
                    </a:lnTo>
                    <a:lnTo>
                      <a:pt x="180" y="363"/>
                    </a:lnTo>
                    <a:lnTo>
                      <a:pt x="180" y="361"/>
                    </a:lnTo>
                    <a:lnTo>
                      <a:pt x="182" y="361"/>
                    </a:lnTo>
                    <a:lnTo>
                      <a:pt x="183" y="361"/>
                    </a:lnTo>
                    <a:lnTo>
                      <a:pt x="183" y="361"/>
                    </a:lnTo>
                    <a:lnTo>
                      <a:pt x="183" y="361"/>
                    </a:lnTo>
                    <a:lnTo>
                      <a:pt x="183" y="361"/>
                    </a:lnTo>
                    <a:lnTo>
                      <a:pt x="186" y="361"/>
                    </a:lnTo>
                    <a:lnTo>
                      <a:pt x="191" y="363"/>
                    </a:lnTo>
                    <a:lnTo>
                      <a:pt x="191" y="363"/>
                    </a:lnTo>
                    <a:lnTo>
                      <a:pt x="191" y="365"/>
                    </a:lnTo>
                    <a:lnTo>
                      <a:pt x="192" y="366"/>
                    </a:lnTo>
                    <a:lnTo>
                      <a:pt x="194" y="368"/>
                    </a:lnTo>
                    <a:lnTo>
                      <a:pt x="194" y="368"/>
                    </a:lnTo>
                    <a:lnTo>
                      <a:pt x="194" y="368"/>
                    </a:lnTo>
                    <a:lnTo>
                      <a:pt x="194" y="368"/>
                    </a:lnTo>
                    <a:lnTo>
                      <a:pt x="196" y="369"/>
                    </a:lnTo>
                    <a:lnTo>
                      <a:pt x="197" y="369"/>
                    </a:lnTo>
                    <a:lnTo>
                      <a:pt x="197" y="369"/>
                    </a:lnTo>
                    <a:lnTo>
                      <a:pt x="197" y="369"/>
                    </a:lnTo>
                    <a:lnTo>
                      <a:pt x="199" y="371"/>
                    </a:lnTo>
                    <a:lnTo>
                      <a:pt x="199" y="372"/>
                    </a:lnTo>
                    <a:lnTo>
                      <a:pt x="199" y="376"/>
                    </a:lnTo>
                    <a:lnTo>
                      <a:pt x="197" y="377"/>
                    </a:lnTo>
                    <a:lnTo>
                      <a:pt x="197" y="377"/>
                    </a:lnTo>
                    <a:lnTo>
                      <a:pt x="197" y="377"/>
                    </a:lnTo>
                    <a:lnTo>
                      <a:pt x="197" y="379"/>
                    </a:lnTo>
                    <a:lnTo>
                      <a:pt x="197" y="379"/>
                    </a:lnTo>
                    <a:lnTo>
                      <a:pt x="197" y="380"/>
                    </a:lnTo>
                    <a:lnTo>
                      <a:pt x="199" y="383"/>
                    </a:lnTo>
                    <a:lnTo>
                      <a:pt x="200" y="385"/>
                    </a:lnTo>
                    <a:lnTo>
                      <a:pt x="200" y="386"/>
                    </a:lnTo>
                    <a:lnTo>
                      <a:pt x="197" y="390"/>
                    </a:lnTo>
                    <a:lnTo>
                      <a:pt x="197" y="391"/>
                    </a:lnTo>
                    <a:lnTo>
                      <a:pt x="197" y="393"/>
                    </a:lnTo>
                    <a:lnTo>
                      <a:pt x="197" y="393"/>
                    </a:lnTo>
                    <a:lnTo>
                      <a:pt x="196" y="394"/>
                    </a:lnTo>
                    <a:lnTo>
                      <a:pt x="197" y="394"/>
                    </a:lnTo>
                    <a:lnTo>
                      <a:pt x="197" y="394"/>
                    </a:lnTo>
                    <a:lnTo>
                      <a:pt x="197" y="394"/>
                    </a:lnTo>
                    <a:lnTo>
                      <a:pt x="197" y="394"/>
                    </a:lnTo>
                    <a:lnTo>
                      <a:pt x="200" y="397"/>
                    </a:lnTo>
                    <a:lnTo>
                      <a:pt x="202" y="399"/>
                    </a:lnTo>
                    <a:lnTo>
                      <a:pt x="203" y="399"/>
                    </a:lnTo>
                    <a:lnTo>
                      <a:pt x="203" y="399"/>
                    </a:lnTo>
                    <a:lnTo>
                      <a:pt x="202" y="402"/>
                    </a:lnTo>
                    <a:lnTo>
                      <a:pt x="202" y="404"/>
                    </a:lnTo>
                    <a:lnTo>
                      <a:pt x="202" y="404"/>
                    </a:lnTo>
                    <a:lnTo>
                      <a:pt x="203" y="404"/>
                    </a:lnTo>
                    <a:lnTo>
                      <a:pt x="205" y="407"/>
                    </a:lnTo>
                    <a:lnTo>
                      <a:pt x="205" y="410"/>
                    </a:lnTo>
                    <a:lnTo>
                      <a:pt x="207" y="412"/>
                    </a:lnTo>
                    <a:lnTo>
                      <a:pt x="207" y="412"/>
                    </a:lnTo>
                    <a:lnTo>
                      <a:pt x="211" y="415"/>
                    </a:lnTo>
                    <a:lnTo>
                      <a:pt x="211" y="415"/>
                    </a:lnTo>
                    <a:lnTo>
                      <a:pt x="214" y="416"/>
                    </a:lnTo>
                    <a:lnTo>
                      <a:pt x="214" y="418"/>
                    </a:lnTo>
                    <a:lnTo>
                      <a:pt x="214" y="418"/>
                    </a:lnTo>
                    <a:lnTo>
                      <a:pt x="214" y="419"/>
                    </a:lnTo>
                    <a:lnTo>
                      <a:pt x="214" y="422"/>
                    </a:lnTo>
                    <a:lnTo>
                      <a:pt x="213" y="424"/>
                    </a:lnTo>
                    <a:lnTo>
                      <a:pt x="213" y="424"/>
                    </a:lnTo>
                    <a:lnTo>
                      <a:pt x="214" y="424"/>
                    </a:lnTo>
                    <a:lnTo>
                      <a:pt x="214" y="424"/>
                    </a:lnTo>
                    <a:lnTo>
                      <a:pt x="217" y="424"/>
                    </a:lnTo>
                    <a:lnTo>
                      <a:pt x="221" y="424"/>
                    </a:lnTo>
                    <a:lnTo>
                      <a:pt x="225" y="427"/>
                    </a:lnTo>
                    <a:lnTo>
                      <a:pt x="225" y="429"/>
                    </a:lnTo>
                    <a:lnTo>
                      <a:pt x="225" y="429"/>
                    </a:lnTo>
                    <a:lnTo>
                      <a:pt x="225" y="430"/>
                    </a:lnTo>
                    <a:lnTo>
                      <a:pt x="225" y="432"/>
                    </a:lnTo>
                    <a:lnTo>
                      <a:pt x="225" y="432"/>
                    </a:lnTo>
                    <a:lnTo>
                      <a:pt x="230" y="435"/>
                    </a:lnTo>
                    <a:lnTo>
                      <a:pt x="230" y="435"/>
                    </a:lnTo>
                    <a:lnTo>
                      <a:pt x="230" y="437"/>
                    </a:lnTo>
                    <a:lnTo>
                      <a:pt x="230" y="438"/>
                    </a:lnTo>
                    <a:lnTo>
                      <a:pt x="230" y="438"/>
                    </a:lnTo>
                    <a:lnTo>
                      <a:pt x="228" y="438"/>
                    </a:lnTo>
                    <a:lnTo>
                      <a:pt x="228" y="438"/>
                    </a:lnTo>
                    <a:lnTo>
                      <a:pt x="225" y="440"/>
                    </a:lnTo>
                    <a:lnTo>
                      <a:pt x="225" y="441"/>
                    </a:lnTo>
                    <a:lnTo>
                      <a:pt x="225" y="441"/>
                    </a:lnTo>
                    <a:lnTo>
                      <a:pt x="222" y="444"/>
                    </a:lnTo>
                    <a:lnTo>
                      <a:pt x="221" y="444"/>
                    </a:lnTo>
                    <a:lnTo>
                      <a:pt x="219" y="444"/>
                    </a:lnTo>
                    <a:lnTo>
                      <a:pt x="214" y="444"/>
                    </a:lnTo>
                    <a:lnTo>
                      <a:pt x="214" y="443"/>
                    </a:lnTo>
                    <a:lnTo>
                      <a:pt x="214" y="443"/>
                    </a:lnTo>
                    <a:lnTo>
                      <a:pt x="213" y="443"/>
                    </a:lnTo>
                    <a:lnTo>
                      <a:pt x="211" y="441"/>
                    </a:lnTo>
                    <a:lnTo>
                      <a:pt x="210" y="441"/>
                    </a:lnTo>
                    <a:lnTo>
                      <a:pt x="207" y="441"/>
                    </a:lnTo>
                    <a:lnTo>
                      <a:pt x="207" y="443"/>
                    </a:lnTo>
                    <a:lnTo>
                      <a:pt x="207" y="443"/>
                    </a:lnTo>
                    <a:lnTo>
                      <a:pt x="205" y="446"/>
                    </a:lnTo>
                    <a:lnTo>
                      <a:pt x="205" y="448"/>
                    </a:lnTo>
                    <a:lnTo>
                      <a:pt x="205" y="448"/>
                    </a:lnTo>
                    <a:lnTo>
                      <a:pt x="207" y="449"/>
                    </a:lnTo>
                    <a:lnTo>
                      <a:pt x="208" y="452"/>
                    </a:lnTo>
                    <a:lnTo>
                      <a:pt x="210" y="454"/>
                    </a:lnTo>
                    <a:lnTo>
                      <a:pt x="210" y="454"/>
                    </a:lnTo>
                    <a:lnTo>
                      <a:pt x="210" y="455"/>
                    </a:lnTo>
                    <a:lnTo>
                      <a:pt x="210" y="457"/>
                    </a:lnTo>
                    <a:lnTo>
                      <a:pt x="210" y="458"/>
                    </a:lnTo>
                    <a:lnTo>
                      <a:pt x="211" y="460"/>
                    </a:lnTo>
                    <a:lnTo>
                      <a:pt x="211" y="460"/>
                    </a:lnTo>
                    <a:lnTo>
                      <a:pt x="210" y="462"/>
                    </a:lnTo>
                    <a:lnTo>
                      <a:pt x="210" y="465"/>
                    </a:lnTo>
                    <a:lnTo>
                      <a:pt x="210" y="468"/>
                    </a:lnTo>
                    <a:lnTo>
                      <a:pt x="211" y="468"/>
                    </a:lnTo>
                    <a:lnTo>
                      <a:pt x="211" y="468"/>
                    </a:lnTo>
                    <a:lnTo>
                      <a:pt x="211" y="468"/>
                    </a:lnTo>
                    <a:lnTo>
                      <a:pt x="211" y="468"/>
                    </a:lnTo>
                    <a:lnTo>
                      <a:pt x="211" y="468"/>
                    </a:lnTo>
                    <a:lnTo>
                      <a:pt x="211" y="469"/>
                    </a:lnTo>
                    <a:lnTo>
                      <a:pt x="211" y="469"/>
                    </a:lnTo>
                    <a:lnTo>
                      <a:pt x="213" y="469"/>
                    </a:lnTo>
                    <a:lnTo>
                      <a:pt x="213" y="473"/>
                    </a:lnTo>
                    <a:lnTo>
                      <a:pt x="213" y="473"/>
                    </a:lnTo>
                    <a:lnTo>
                      <a:pt x="213" y="474"/>
                    </a:lnTo>
                    <a:lnTo>
                      <a:pt x="214" y="474"/>
                    </a:lnTo>
                    <a:lnTo>
                      <a:pt x="216" y="474"/>
                    </a:lnTo>
                    <a:lnTo>
                      <a:pt x="217" y="474"/>
                    </a:lnTo>
                    <a:lnTo>
                      <a:pt x="217" y="476"/>
                    </a:lnTo>
                    <a:lnTo>
                      <a:pt x="219" y="476"/>
                    </a:lnTo>
                    <a:lnTo>
                      <a:pt x="219" y="474"/>
                    </a:lnTo>
                    <a:lnTo>
                      <a:pt x="221" y="474"/>
                    </a:lnTo>
                    <a:lnTo>
                      <a:pt x="222" y="473"/>
                    </a:lnTo>
                    <a:lnTo>
                      <a:pt x="222" y="473"/>
                    </a:lnTo>
                    <a:lnTo>
                      <a:pt x="224" y="468"/>
                    </a:lnTo>
                    <a:lnTo>
                      <a:pt x="224" y="468"/>
                    </a:lnTo>
                    <a:lnTo>
                      <a:pt x="225" y="468"/>
                    </a:lnTo>
                    <a:lnTo>
                      <a:pt x="227" y="468"/>
                    </a:lnTo>
                    <a:lnTo>
                      <a:pt x="228" y="468"/>
                    </a:lnTo>
                    <a:lnTo>
                      <a:pt x="232" y="469"/>
                    </a:lnTo>
                    <a:lnTo>
                      <a:pt x="233" y="469"/>
                    </a:lnTo>
                    <a:lnTo>
                      <a:pt x="238" y="466"/>
                    </a:lnTo>
                    <a:lnTo>
                      <a:pt x="239" y="466"/>
                    </a:lnTo>
                    <a:lnTo>
                      <a:pt x="243" y="466"/>
                    </a:lnTo>
                    <a:lnTo>
                      <a:pt x="246" y="466"/>
                    </a:lnTo>
                    <a:lnTo>
                      <a:pt x="249" y="466"/>
                    </a:lnTo>
                    <a:lnTo>
                      <a:pt x="249" y="468"/>
                    </a:lnTo>
                    <a:lnTo>
                      <a:pt x="252" y="469"/>
                    </a:lnTo>
                    <a:lnTo>
                      <a:pt x="253" y="471"/>
                    </a:lnTo>
                    <a:lnTo>
                      <a:pt x="255" y="477"/>
                    </a:lnTo>
                    <a:lnTo>
                      <a:pt x="260" y="482"/>
                    </a:lnTo>
                    <a:lnTo>
                      <a:pt x="260" y="482"/>
                    </a:lnTo>
                    <a:lnTo>
                      <a:pt x="260" y="483"/>
                    </a:lnTo>
                    <a:lnTo>
                      <a:pt x="260" y="483"/>
                    </a:lnTo>
                    <a:lnTo>
                      <a:pt x="260" y="483"/>
                    </a:lnTo>
                    <a:lnTo>
                      <a:pt x="257" y="485"/>
                    </a:lnTo>
                    <a:lnTo>
                      <a:pt x="255" y="485"/>
                    </a:lnTo>
                    <a:lnTo>
                      <a:pt x="255" y="487"/>
                    </a:lnTo>
                    <a:lnTo>
                      <a:pt x="255" y="487"/>
                    </a:lnTo>
                    <a:lnTo>
                      <a:pt x="257" y="488"/>
                    </a:lnTo>
                    <a:lnTo>
                      <a:pt x="257" y="488"/>
                    </a:lnTo>
                    <a:lnTo>
                      <a:pt x="257" y="491"/>
                    </a:lnTo>
                    <a:lnTo>
                      <a:pt x="257" y="493"/>
                    </a:lnTo>
                    <a:lnTo>
                      <a:pt x="257" y="493"/>
                    </a:lnTo>
                    <a:lnTo>
                      <a:pt x="257" y="494"/>
                    </a:lnTo>
                    <a:lnTo>
                      <a:pt x="258" y="494"/>
                    </a:lnTo>
                    <a:lnTo>
                      <a:pt x="258" y="494"/>
                    </a:lnTo>
                    <a:lnTo>
                      <a:pt x="258" y="496"/>
                    </a:lnTo>
                    <a:lnTo>
                      <a:pt x="257" y="496"/>
                    </a:lnTo>
                    <a:lnTo>
                      <a:pt x="257" y="496"/>
                    </a:lnTo>
                    <a:lnTo>
                      <a:pt x="257" y="498"/>
                    </a:lnTo>
                    <a:lnTo>
                      <a:pt x="257" y="498"/>
                    </a:lnTo>
                    <a:lnTo>
                      <a:pt x="257" y="498"/>
                    </a:lnTo>
                    <a:lnTo>
                      <a:pt x="261" y="498"/>
                    </a:lnTo>
                    <a:lnTo>
                      <a:pt x="263" y="499"/>
                    </a:lnTo>
                    <a:lnTo>
                      <a:pt x="264" y="499"/>
                    </a:lnTo>
                    <a:lnTo>
                      <a:pt x="266" y="499"/>
                    </a:lnTo>
                    <a:lnTo>
                      <a:pt x="268" y="499"/>
                    </a:lnTo>
                    <a:lnTo>
                      <a:pt x="271" y="499"/>
                    </a:lnTo>
                    <a:lnTo>
                      <a:pt x="271" y="499"/>
                    </a:lnTo>
                    <a:lnTo>
                      <a:pt x="272" y="499"/>
                    </a:lnTo>
                    <a:lnTo>
                      <a:pt x="272" y="499"/>
                    </a:lnTo>
                    <a:lnTo>
                      <a:pt x="272" y="501"/>
                    </a:lnTo>
                    <a:lnTo>
                      <a:pt x="272" y="501"/>
                    </a:lnTo>
                    <a:lnTo>
                      <a:pt x="272" y="501"/>
                    </a:lnTo>
                    <a:lnTo>
                      <a:pt x="272" y="502"/>
                    </a:lnTo>
                    <a:lnTo>
                      <a:pt x="272" y="502"/>
                    </a:lnTo>
                    <a:lnTo>
                      <a:pt x="274" y="504"/>
                    </a:lnTo>
                    <a:lnTo>
                      <a:pt x="274" y="504"/>
                    </a:lnTo>
                    <a:lnTo>
                      <a:pt x="275" y="504"/>
                    </a:lnTo>
                    <a:lnTo>
                      <a:pt x="275" y="504"/>
                    </a:lnTo>
                    <a:lnTo>
                      <a:pt x="275" y="504"/>
                    </a:lnTo>
                    <a:lnTo>
                      <a:pt x="275" y="504"/>
                    </a:lnTo>
                    <a:lnTo>
                      <a:pt x="275" y="505"/>
                    </a:lnTo>
                    <a:lnTo>
                      <a:pt x="275" y="505"/>
                    </a:lnTo>
                    <a:lnTo>
                      <a:pt x="275" y="505"/>
                    </a:lnTo>
                    <a:lnTo>
                      <a:pt x="277" y="507"/>
                    </a:lnTo>
                    <a:lnTo>
                      <a:pt x="277" y="510"/>
                    </a:lnTo>
                    <a:lnTo>
                      <a:pt x="277" y="510"/>
                    </a:lnTo>
                    <a:lnTo>
                      <a:pt x="277" y="510"/>
                    </a:lnTo>
                    <a:lnTo>
                      <a:pt x="278" y="512"/>
                    </a:lnTo>
                    <a:lnTo>
                      <a:pt x="278" y="512"/>
                    </a:lnTo>
                    <a:lnTo>
                      <a:pt x="278" y="513"/>
                    </a:lnTo>
                    <a:lnTo>
                      <a:pt x="277" y="515"/>
                    </a:lnTo>
                    <a:lnTo>
                      <a:pt x="277" y="515"/>
                    </a:lnTo>
                    <a:lnTo>
                      <a:pt x="277" y="516"/>
                    </a:lnTo>
                    <a:lnTo>
                      <a:pt x="278" y="519"/>
                    </a:lnTo>
                    <a:lnTo>
                      <a:pt x="278" y="519"/>
                    </a:lnTo>
                    <a:lnTo>
                      <a:pt x="280" y="519"/>
                    </a:lnTo>
                    <a:lnTo>
                      <a:pt x="280" y="521"/>
                    </a:lnTo>
                    <a:lnTo>
                      <a:pt x="280" y="521"/>
                    </a:lnTo>
                    <a:lnTo>
                      <a:pt x="282" y="523"/>
                    </a:lnTo>
                    <a:lnTo>
                      <a:pt x="285" y="521"/>
                    </a:lnTo>
                    <a:lnTo>
                      <a:pt x="286" y="519"/>
                    </a:lnTo>
                    <a:lnTo>
                      <a:pt x="288" y="521"/>
                    </a:lnTo>
                    <a:lnTo>
                      <a:pt x="289" y="521"/>
                    </a:lnTo>
                    <a:lnTo>
                      <a:pt x="291" y="523"/>
                    </a:lnTo>
                    <a:lnTo>
                      <a:pt x="293" y="523"/>
                    </a:lnTo>
                    <a:lnTo>
                      <a:pt x="293" y="523"/>
                    </a:lnTo>
                    <a:lnTo>
                      <a:pt x="293" y="524"/>
                    </a:lnTo>
                    <a:lnTo>
                      <a:pt x="293" y="524"/>
                    </a:lnTo>
                    <a:lnTo>
                      <a:pt x="294" y="524"/>
                    </a:lnTo>
                    <a:lnTo>
                      <a:pt x="297" y="524"/>
                    </a:lnTo>
                    <a:lnTo>
                      <a:pt x="297" y="526"/>
                    </a:lnTo>
                    <a:lnTo>
                      <a:pt x="299" y="526"/>
                    </a:lnTo>
                    <a:lnTo>
                      <a:pt x="299" y="526"/>
                    </a:lnTo>
                    <a:lnTo>
                      <a:pt x="300" y="526"/>
                    </a:lnTo>
                    <a:lnTo>
                      <a:pt x="300" y="526"/>
                    </a:lnTo>
                    <a:lnTo>
                      <a:pt x="300" y="524"/>
                    </a:lnTo>
                    <a:lnTo>
                      <a:pt x="305" y="523"/>
                    </a:lnTo>
                    <a:lnTo>
                      <a:pt x="308" y="523"/>
                    </a:lnTo>
                    <a:lnTo>
                      <a:pt x="308" y="523"/>
                    </a:lnTo>
                    <a:lnTo>
                      <a:pt x="310" y="521"/>
                    </a:lnTo>
                    <a:lnTo>
                      <a:pt x="311" y="521"/>
                    </a:lnTo>
                    <a:lnTo>
                      <a:pt x="313" y="521"/>
                    </a:lnTo>
                    <a:lnTo>
                      <a:pt x="314" y="523"/>
                    </a:lnTo>
                    <a:lnTo>
                      <a:pt x="316" y="524"/>
                    </a:lnTo>
                    <a:lnTo>
                      <a:pt x="316" y="524"/>
                    </a:lnTo>
                    <a:lnTo>
                      <a:pt x="316" y="526"/>
                    </a:lnTo>
                    <a:lnTo>
                      <a:pt x="316" y="526"/>
                    </a:lnTo>
                    <a:lnTo>
                      <a:pt x="316" y="526"/>
                    </a:lnTo>
                    <a:lnTo>
                      <a:pt x="318" y="529"/>
                    </a:lnTo>
                    <a:lnTo>
                      <a:pt x="322" y="534"/>
                    </a:lnTo>
                    <a:lnTo>
                      <a:pt x="324" y="534"/>
                    </a:lnTo>
                    <a:lnTo>
                      <a:pt x="325" y="534"/>
                    </a:lnTo>
                    <a:lnTo>
                      <a:pt x="325" y="534"/>
                    </a:lnTo>
                    <a:lnTo>
                      <a:pt x="325" y="534"/>
                    </a:lnTo>
                    <a:lnTo>
                      <a:pt x="325" y="530"/>
                    </a:lnTo>
                    <a:lnTo>
                      <a:pt x="327" y="530"/>
                    </a:lnTo>
                    <a:lnTo>
                      <a:pt x="327" y="530"/>
                    </a:lnTo>
                    <a:lnTo>
                      <a:pt x="330" y="534"/>
                    </a:lnTo>
                    <a:lnTo>
                      <a:pt x="330" y="534"/>
                    </a:lnTo>
                    <a:lnTo>
                      <a:pt x="333" y="534"/>
                    </a:lnTo>
                    <a:lnTo>
                      <a:pt x="335" y="534"/>
                    </a:lnTo>
                    <a:lnTo>
                      <a:pt x="336" y="535"/>
                    </a:lnTo>
                    <a:lnTo>
                      <a:pt x="339" y="537"/>
                    </a:lnTo>
                    <a:lnTo>
                      <a:pt x="339" y="537"/>
                    </a:lnTo>
                    <a:lnTo>
                      <a:pt x="341" y="537"/>
                    </a:lnTo>
                    <a:lnTo>
                      <a:pt x="343" y="537"/>
                    </a:lnTo>
                    <a:lnTo>
                      <a:pt x="344" y="535"/>
                    </a:lnTo>
                    <a:lnTo>
                      <a:pt x="344" y="537"/>
                    </a:lnTo>
                    <a:lnTo>
                      <a:pt x="344" y="537"/>
                    </a:lnTo>
                    <a:lnTo>
                      <a:pt x="344" y="538"/>
                    </a:lnTo>
                    <a:lnTo>
                      <a:pt x="346" y="538"/>
                    </a:lnTo>
                    <a:lnTo>
                      <a:pt x="346" y="538"/>
                    </a:lnTo>
                    <a:lnTo>
                      <a:pt x="347" y="540"/>
                    </a:lnTo>
                    <a:lnTo>
                      <a:pt x="349" y="540"/>
                    </a:lnTo>
                    <a:lnTo>
                      <a:pt x="352" y="541"/>
                    </a:lnTo>
                    <a:lnTo>
                      <a:pt x="354" y="543"/>
                    </a:lnTo>
                    <a:lnTo>
                      <a:pt x="355" y="543"/>
                    </a:lnTo>
                    <a:lnTo>
                      <a:pt x="357" y="543"/>
                    </a:lnTo>
                    <a:lnTo>
                      <a:pt x="358" y="543"/>
                    </a:lnTo>
                    <a:lnTo>
                      <a:pt x="360" y="543"/>
                    </a:lnTo>
                    <a:lnTo>
                      <a:pt x="360" y="545"/>
                    </a:lnTo>
                    <a:lnTo>
                      <a:pt x="360" y="545"/>
                    </a:lnTo>
                    <a:lnTo>
                      <a:pt x="360" y="546"/>
                    </a:lnTo>
                    <a:lnTo>
                      <a:pt x="360" y="548"/>
                    </a:lnTo>
                    <a:lnTo>
                      <a:pt x="360" y="549"/>
                    </a:lnTo>
                    <a:lnTo>
                      <a:pt x="360" y="549"/>
                    </a:lnTo>
                    <a:lnTo>
                      <a:pt x="360" y="551"/>
                    </a:lnTo>
                    <a:lnTo>
                      <a:pt x="360" y="552"/>
                    </a:lnTo>
                    <a:lnTo>
                      <a:pt x="360" y="552"/>
                    </a:lnTo>
                    <a:lnTo>
                      <a:pt x="360" y="554"/>
                    </a:lnTo>
                    <a:lnTo>
                      <a:pt x="358" y="555"/>
                    </a:lnTo>
                    <a:lnTo>
                      <a:pt x="357" y="557"/>
                    </a:lnTo>
                    <a:lnTo>
                      <a:pt x="357" y="557"/>
                    </a:lnTo>
                    <a:lnTo>
                      <a:pt x="354" y="559"/>
                    </a:lnTo>
                    <a:lnTo>
                      <a:pt x="352" y="559"/>
                    </a:lnTo>
                    <a:lnTo>
                      <a:pt x="354" y="560"/>
                    </a:lnTo>
                    <a:lnTo>
                      <a:pt x="354" y="560"/>
                    </a:lnTo>
                    <a:lnTo>
                      <a:pt x="354" y="562"/>
                    </a:lnTo>
                    <a:lnTo>
                      <a:pt x="355" y="562"/>
                    </a:lnTo>
                    <a:lnTo>
                      <a:pt x="358" y="563"/>
                    </a:lnTo>
                    <a:lnTo>
                      <a:pt x="358" y="563"/>
                    </a:lnTo>
                    <a:lnTo>
                      <a:pt x="358" y="563"/>
                    </a:lnTo>
                    <a:lnTo>
                      <a:pt x="358" y="563"/>
                    </a:lnTo>
                    <a:lnTo>
                      <a:pt x="357" y="565"/>
                    </a:lnTo>
                    <a:lnTo>
                      <a:pt x="355" y="563"/>
                    </a:lnTo>
                    <a:lnTo>
                      <a:pt x="354" y="565"/>
                    </a:lnTo>
                    <a:lnTo>
                      <a:pt x="354" y="565"/>
                    </a:lnTo>
                    <a:lnTo>
                      <a:pt x="354" y="566"/>
                    </a:lnTo>
                    <a:lnTo>
                      <a:pt x="352" y="568"/>
                    </a:lnTo>
                    <a:lnTo>
                      <a:pt x="352" y="568"/>
                    </a:lnTo>
                    <a:lnTo>
                      <a:pt x="352" y="570"/>
                    </a:lnTo>
                    <a:lnTo>
                      <a:pt x="352" y="570"/>
                    </a:lnTo>
                    <a:lnTo>
                      <a:pt x="354" y="570"/>
                    </a:lnTo>
                    <a:lnTo>
                      <a:pt x="355" y="571"/>
                    </a:lnTo>
                    <a:lnTo>
                      <a:pt x="355" y="571"/>
                    </a:lnTo>
                    <a:lnTo>
                      <a:pt x="355" y="573"/>
                    </a:lnTo>
                    <a:lnTo>
                      <a:pt x="357" y="574"/>
                    </a:lnTo>
                    <a:lnTo>
                      <a:pt x="357" y="574"/>
                    </a:lnTo>
                    <a:lnTo>
                      <a:pt x="357" y="576"/>
                    </a:lnTo>
                    <a:lnTo>
                      <a:pt x="355" y="576"/>
                    </a:lnTo>
                    <a:lnTo>
                      <a:pt x="355" y="577"/>
                    </a:lnTo>
                    <a:lnTo>
                      <a:pt x="355" y="577"/>
                    </a:lnTo>
                    <a:lnTo>
                      <a:pt x="357" y="577"/>
                    </a:lnTo>
                    <a:lnTo>
                      <a:pt x="357" y="579"/>
                    </a:lnTo>
                    <a:lnTo>
                      <a:pt x="357" y="579"/>
                    </a:lnTo>
                    <a:lnTo>
                      <a:pt x="357" y="579"/>
                    </a:lnTo>
                    <a:lnTo>
                      <a:pt x="357" y="579"/>
                    </a:lnTo>
                    <a:lnTo>
                      <a:pt x="357" y="581"/>
                    </a:lnTo>
                    <a:lnTo>
                      <a:pt x="355" y="584"/>
                    </a:lnTo>
                    <a:lnTo>
                      <a:pt x="355" y="584"/>
                    </a:lnTo>
                    <a:lnTo>
                      <a:pt x="354" y="587"/>
                    </a:lnTo>
                    <a:lnTo>
                      <a:pt x="354" y="588"/>
                    </a:lnTo>
                    <a:lnTo>
                      <a:pt x="354" y="590"/>
                    </a:lnTo>
                    <a:lnTo>
                      <a:pt x="352" y="590"/>
                    </a:lnTo>
                    <a:lnTo>
                      <a:pt x="347" y="590"/>
                    </a:lnTo>
                    <a:lnTo>
                      <a:pt x="343" y="590"/>
                    </a:lnTo>
                    <a:lnTo>
                      <a:pt x="341" y="590"/>
                    </a:lnTo>
                    <a:lnTo>
                      <a:pt x="338" y="588"/>
                    </a:lnTo>
                    <a:lnTo>
                      <a:pt x="338" y="590"/>
                    </a:lnTo>
                    <a:lnTo>
                      <a:pt x="335" y="593"/>
                    </a:lnTo>
                    <a:lnTo>
                      <a:pt x="335" y="595"/>
                    </a:lnTo>
                    <a:lnTo>
                      <a:pt x="332" y="595"/>
                    </a:lnTo>
                    <a:lnTo>
                      <a:pt x="330" y="596"/>
                    </a:lnTo>
                    <a:lnTo>
                      <a:pt x="328" y="596"/>
                    </a:lnTo>
                    <a:lnTo>
                      <a:pt x="327" y="599"/>
                    </a:lnTo>
                    <a:lnTo>
                      <a:pt x="327" y="601"/>
                    </a:lnTo>
                    <a:lnTo>
                      <a:pt x="327" y="601"/>
                    </a:lnTo>
                    <a:lnTo>
                      <a:pt x="327" y="602"/>
                    </a:lnTo>
                    <a:lnTo>
                      <a:pt x="327" y="602"/>
                    </a:lnTo>
                    <a:lnTo>
                      <a:pt x="327" y="604"/>
                    </a:lnTo>
                    <a:lnTo>
                      <a:pt x="327" y="604"/>
                    </a:lnTo>
                    <a:lnTo>
                      <a:pt x="328" y="604"/>
                    </a:lnTo>
                    <a:lnTo>
                      <a:pt x="328" y="604"/>
                    </a:lnTo>
                    <a:lnTo>
                      <a:pt x="327" y="606"/>
                    </a:lnTo>
                    <a:lnTo>
                      <a:pt x="327" y="606"/>
                    </a:lnTo>
                    <a:lnTo>
                      <a:pt x="327" y="607"/>
                    </a:lnTo>
                    <a:lnTo>
                      <a:pt x="327" y="607"/>
                    </a:lnTo>
                    <a:lnTo>
                      <a:pt x="327" y="609"/>
                    </a:lnTo>
                    <a:lnTo>
                      <a:pt x="332" y="607"/>
                    </a:lnTo>
                    <a:lnTo>
                      <a:pt x="333" y="606"/>
                    </a:lnTo>
                    <a:lnTo>
                      <a:pt x="336" y="604"/>
                    </a:lnTo>
                    <a:lnTo>
                      <a:pt x="336" y="606"/>
                    </a:lnTo>
                    <a:lnTo>
                      <a:pt x="335" y="606"/>
                    </a:lnTo>
                    <a:lnTo>
                      <a:pt x="333" y="607"/>
                    </a:lnTo>
                    <a:lnTo>
                      <a:pt x="335" y="607"/>
                    </a:lnTo>
                    <a:lnTo>
                      <a:pt x="339" y="607"/>
                    </a:lnTo>
                    <a:lnTo>
                      <a:pt x="341" y="604"/>
                    </a:lnTo>
                    <a:lnTo>
                      <a:pt x="344" y="604"/>
                    </a:lnTo>
                    <a:lnTo>
                      <a:pt x="344" y="606"/>
                    </a:lnTo>
                    <a:lnTo>
                      <a:pt x="346" y="609"/>
                    </a:lnTo>
                    <a:lnTo>
                      <a:pt x="346" y="609"/>
                    </a:lnTo>
                    <a:lnTo>
                      <a:pt x="346" y="610"/>
                    </a:lnTo>
                    <a:lnTo>
                      <a:pt x="343" y="610"/>
                    </a:lnTo>
                    <a:lnTo>
                      <a:pt x="336" y="613"/>
                    </a:lnTo>
                    <a:lnTo>
                      <a:pt x="333" y="615"/>
                    </a:lnTo>
                    <a:lnTo>
                      <a:pt x="330" y="617"/>
                    </a:lnTo>
                    <a:lnTo>
                      <a:pt x="332" y="618"/>
                    </a:lnTo>
                    <a:lnTo>
                      <a:pt x="332" y="620"/>
                    </a:lnTo>
                    <a:lnTo>
                      <a:pt x="328" y="620"/>
                    </a:lnTo>
                    <a:lnTo>
                      <a:pt x="327" y="620"/>
                    </a:lnTo>
                    <a:lnTo>
                      <a:pt x="325" y="620"/>
                    </a:lnTo>
                    <a:lnTo>
                      <a:pt x="322" y="621"/>
                    </a:lnTo>
                    <a:lnTo>
                      <a:pt x="321" y="621"/>
                    </a:lnTo>
                    <a:lnTo>
                      <a:pt x="319" y="621"/>
                    </a:lnTo>
                    <a:lnTo>
                      <a:pt x="319" y="623"/>
                    </a:lnTo>
                    <a:lnTo>
                      <a:pt x="321" y="626"/>
                    </a:lnTo>
                    <a:lnTo>
                      <a:pt x="322" y="627"/>
                    </a:lnTo>
                    <a:lnTo>
                      <a:pt x="324" y="626"/>
                    </a:lnTo>
                    <a:lnTo>
                      <a:pt x="328" y="631"/>
                    </a:lnTo>
                    <a:lnTo>
                      <a:pt x="332" y="634"/>
                    </a:lnTo>
                    <a:lnTo>
                      <a:pt x="330" y="635"/>
                    </a:lnTo>
                    <a:lnTo>
                      <a:pt x="328" y="634"/>
                    </a:lnTo>
                    <a:lnTo>
                      <a:pt x="325" y="634"/>
                    </a:lnTo>
                    <a:lnTo>
                      <a:pt x="325" y="637"/>
                    </a:lnTo>
                    <a:lnTo>
                      <a:pt x="324" y="638"/>
                    </a:lnTo>
                    <a:lnTo>
                      <a:pt x="324" y="637"/>
                    </a:lnTo>
                    <a:lnTo>
                      <a:pt x="324" y="637"/>
                    </a:lnTo>
                    <a:lnTo>
                      <a:pt x="324" y="635"/>
                    </a:lnTo>
                    <a:lnTo>
                      <a:pt x="322" y="637"/>
                    </a:lnTo>
                    <a:lnTo>
                      <a:pt x="321" y="642"/>
                    </a:lnTo>
                    <a:lnTo>
                      <a:pt x="318" y="645"/>
                    </a:lnTo>
                    <a:lnTo>
                      <a:pt x="316" y="648"/>
                    </a:lnTo>
                    <a:lnTo>
                      <a:pt x="316" y="649"/>
                    </a:lnTo>
                    <a:lnTo>
                      <a:pt x="316" y="649"/>
                    </a:lnTo>
                    <a:lnTo>
                      <a:pt x="318" y="649"/>
                    </a:lnTo>
                    <a:lnTo>
                      <a:pt x="318" y="651"/>
                    </a:lnTo>
                    <a:lnTo>
                      <a:pt x="316" y="652"/>
                    </a:lnTo>
                    <a:lnTo>
                      <a:pt x="310" y="654"/>
                    </a:lnTo>
                    <a:lnTo>
                      <a:pt x="310" y="656"/>
                    </a:lnTo>
                    <a:lnTo>
                      <a:pt x="307" y="654"/>
                    </a:lnTo>
                    <a:lnTo>
                      <a:pt x="305" y="652"/>
                    </a:lnTo>
                    <a:lnTo>
                      <a:pt x="303" y="651"/>
                    </a:lnTo>
                    <a:lnTo>
                      <a:pt x="302" y="651"/>
                    </a:lnTo>
                    <a:lnTo>
                      <a:pt x="300" y="652"/>
                    </a:lnTo>
                    <a:lnTo>
                      <a:pt x="300" y="652"/>
                    </a:lnTo>
                    <a:lnTo>
                      <a:pt x="302" y="652"/>
                    </a:lnTo>
                    <a:lnTo>
                      <a:pt x="305" y="654"/>
                    </a:lnTo>
                    <a:lnTo>
                      <a:pt x="303" y="656"/>
                    </a:lnTo>
                    <a:lnTo>
                      <a:pt x="299" y="657"/>
                    </a:lnTo>
                    <a:lnTo>
                      <a:pt x="299" y="657"/>
                    </a:lnTo>
                    <a:lnTo>
                      <a:pt x="299" y="659"/>
                    </a:lnTo>
                    <a:lnTo>
                      <a:pt x="305" y="660"/>
                    </a:lnTo>
                    <a:lnTo>
                      <a:pt x="308" y="662"/>
                    </a:lnTo>
                    <a:lnTo>
                      <a:pt x="310" y="663"/>
                    </a:lnTo>
                    <a:lnTo>
                      <a:pt x="311" y="667"/>
                    </a:lnTo>
                    <a:lnTo>
                      <a:pt x="313" y="668"/>
                    </a:lnTo>
                    <a:lnTo>
                      <a:pt x="314" y="670"/>
                    </a:lnTo>
                    <a:lnTo>
                      <a:pt x="316" y="670"/>
                    </a:lnTo>
                    <a:lnTo>
                      <a:pt x="318" y="670"/>
                    </a:lnTo>
                    <a:lnTo>
                      <a:pt x="321" y="670"/>
                    </a:lnTo>
                    <a:lnTo>
                      <a:pt x="325" y="676"/>
                    </a:lnTo>
                    <a:lnTo>
                      <a:pt x="328" y="678"/>
                    </a:lnTo>
                    <a:lnTo>
                      <a:pt x="335" y="679"/>
                    </a:lnTo>
                    <a:lnTo>
                      <a:pt x="335" y="679"/>
                    </a:lnTo>
                    <a:lnTo>
                      <a:pt x="346" y="688"/>
                    </a:lnTo>
                    <a:lnTo>
                      <a:pt x="349" y="693"/>
                    </a:lnTo>
                    <a:lnTo>
                      <a:pt x="355" y="699"/>
                    </a:lnTo>
                    <a:lnTo>
                      <a:pt x="358" y="701"/>
                    </a:lnTo>
                    <a:lnTo>
                      <a:pt x="358" y="699"/>
                    </a:lnTo>
                    <a:lnTo>
                      <a:pt x="358" y="699"/>
                    </a:lnTo>
                    <a:lnTo>
                      <a:pt x="360" y="696"/>
                    </a:lnTo>
                    <a:lnTo>
                      <a:pt x="361" y="696"/>
                    </a:lnTo>
                    <a:lnTo>
                      <a:pt x="364" y="698"/>
                    </a:lnTo>
                    <a:lnTo>
                      <a:pt x="368" y="698"/>
                    </a:lnTo>
                    <a:lnTo>
                      <a:pt x="369" y="698"/>
                    </a:lnTo>
                    <a:lnTo>
                      <a:pt x="372" y="699"/>
                    </a:lnTo>
                    <a:lnTo>
                      <a:pt x="374" y="701"/>
                    </a:lnTo>
                    <a:lnTo>
                      <a:pt x="377" y="701"/>
                    </a:lnTo>
                    <a:lnTo>
                      <a:pt x="382" y="703"/>
                    </a:lnTo>
                    <a:lnTo>
                      <a:pt x="383" y="704"/>
                    </a:lnTo>
                    <a:lnTo>
                      <a:pt x="386" y="706"/>
                    </a:lnTo>
                    <a:lnTo>
                      <a:pt x="394" y="706"/>
                    </a:lnTo>
                    <a:lnTo>
                      <a:pt x="394" y="706"/>
                    </a:lnTo>
                    <a:lnTo>
                      <a:pt x="396" y="706"/>
                    </a:lnTo>
                    <a:lnTo>
                      <a:pt x="397" y="704"/>
                    </a:lnTo>
                    <a:lnTo>
                      <a:pt x="400" y="706"/>
                    </a:lnTo>
                    <a:lnTo>
                      <a:pt x="404" y="707"/>
                    </a:lnTo>
                    <a:lnTo>
                      <a:pt x="405" y="707"/>
                    </a:lnTo>
                    <a:lnTo>
                      <a:pt x="407" y="706"/>
                    </a:lnTo>
                    <a:lnTo>
                      <a:pt x="408" y="707"/>
                    </a:lnTo>
                    <a:lnTo>
                      <a:pt x="410" y="709"/>
                    </a:lnTo>
                    <a:lnTo>
                      <a:pt x="411" y="709"/>
                    </a:lnTo>
                    <a:lnTo>
                      <a:pt x="411" y="709"/>
                    </a:lnTo>
                    <a:lnTo>
                      <a:pt x="413" y="710"/>
                    </a:lnTo>
                    <a:lnTo>
                      <a:pt x="416" y="714"/>
                    </a:lnTo>
                    <a:lnTo>
                      <a:pt x="421" y="714"/>
                    </a:lnTo>
                    <a:lnTo>
                      <a:pt x="422" y="715"/>
                    </a:lnTo>
                    <a:lnTo>
                      <a:pt x="424" y="717"/>
                    </a:lnTo>
                    <a:lnTo>
                      <a:pt x="424" y="717"/>
                    </a:lnTo>
                    <a:lnTo>
                      <a:pt x="424" y="717"/>
                    </a:lnTo>
                    <a:lnTo>
                      <a:pt x="424" y="717"/>
                    </a:lnTo>
                    <a:lnTo>
                      <a:pt x="424" y="718"/>
                    </a:lnTo>
                    <a:lnTo>
                      <a:pt x="424" y="720"/>
                    </a:lnTo>
                    <a:lnTo>
                      <a:pt x="424" y="720"/>
                    </a:lnTo>
                    <a:lnTo>
                      <a:pt x="424" y="720"/>
                    </a:lnTo>
                    <a:lnTo>
                      <a:pt x="425" y="720"/>
                    </a:lnTo>
                    <a:lnTo>
                      <a:pt x="427" y="721"/>
                    </a:lnTo>
                    <a:lnTo>
                      <a:pt x="429" y="720"/>
                    </a:lnTo>
                    <a:lnTo>
                      <a:pt x="430" y="720"/>
                    </a:lnTo>
                    <a:lnTo>
                      <a:pt x="432" y="718"/>
                    </a:lnTo>
                    <a:lnTo>
                      <a:pt x="433" y="717"/>
                    </a:lnTo>
                    <a:lnTo>
                      <a:pt x="436" y="717"/>
                    </a:lnTo>
                    <a:lnTo>
                      <a:pt x="438" y="717"/>
                    </a:lnTo>
                    <a:lnTo>
                      <a:pt x="440" y="717"/>
                    </a:lnTo>
                    <a:lnTo>
                      <a:pt x="441" y="717"/>
                    </a:lnTo>
                    <a:lnTo>
                      <a:pt x="441" y="720"/>
                    </a:lnTo>
                    <a:lnTo>
                      <a:pt x="443" y="717"/>
                    </a:lnTo>
                    <a:lnTo>
                      <a:pt x="444" y="717"/>
                    </a:lnTo>
                    <a:lnTo>
                      <a:pt x="444" y="717"/>
                    </a:lnTo>
                    <a:lnTo>
                      <a:pt x="447" y="718"/>
                    </a:lnTo>
                    <a:lnTo>
                      <a:pt x="449" y="718"/>
                    </a:lnTo>
                    <a:lnTo>
                      <a:pt x="449" y="718"/>
                    </a:lnTo>
                    <a:lnTo>
                      <a:pt x="452" y="721"/>
                    </a:lnTo>
                    <a:lnTo>
                      <a:pt x="455" y="721"/>
                    </a:lnTo>
                    <a:lnTo>
                      <a:pt x="457" y="721"/>
                    </a:lnTo>
                    <a:lnTo>
                      <a:pt x="458" y="723"/>
                    </a:lnTo>
                    <a:lnTo>
                      <a:pt x="458" y="723"/>
                    </a:lnTo>
                    <a:lnTo>
                      <a:pt x="458" y="726"/>
                    </a:lnTo>
                    <a:lnTo>
                      <a:pt x="457" y="729"/>
                    </a:lnTo>
                    <a:lnTo>
                      <a:pt x="457" y="729"/>
                    </a:lnTo>
                    <a:lnTo>
                      <a:pt x="457" y="729"/>
                    </a:lnTo>
                    <a:lnTo>
                      <a:pt x="458" y="731"/>
                    </a:lnTo>
                    <a:lnTo>
                      <a:pt x="460" y="731"/>
                    </a:lnTo>
                    <a:lnTo>
                      <a:pt x="461" y="732"/>
                    </a:lnTo>
                    <a:lnTo>
                      <a:pt x="463" y="734"/>
                    </a:lnTo>
                    <a:lnTo>
                      <a:pt x="463" y="734"/>
                    </a:lnTo>
                    <a:lnTo>
                      <a:pt x="465" y="734"/>
                    </a:lnTo>
                    <a:lnTo>
                      <a:pt x="466" y="734"/>
                    </a:lnTo>
                    <a:lnTo>
                      <a:pt x="468" y="734"/>
                    </a:lnTo>
                    <a:lnTo>
                      <a:pt x="468" y="735"/>
                    </a:lnTo>
                    <a:lnTo>
                      <a:pt x="471" y="737"/>
                    </a:lnTo>
                    <a:lnTo>
                      <a:pt x="471" y="737"/>
                    </a:lnTo>
                    <a:lnTo>
                      <a:pt x="471" y="737"/>
                    </a:lnTo>
                    <a:lnTo>
                      <a:pt x="471" y="737"/>
                    </a:lnTo>
                    <a:lnTo>
                      <a:pt x="472" y="737"/>
                    </a:lnTo>
                    <a:lnTo>
                      <a:pt x="472" y="739"/>
                    </a:lnTo>
                    <a:lnTo>
                      <a:pt x="474" y="739"/>
                    </a:lnTo>
                    <a:lnTo>
                      <a:pt x="474" y="739"/>
                    </a:lnTo>
                    <a:lnTo>
                      <a:pt x="475" y="739"/>
                    </a:lnTo>
                    <a:lnTo>
                      <a:pt x="477" y="739"/>
                    </a:lnTo>
                    <a:lnTo>
                      <a:pt x="477" y="739"/>
                    </a:lnTo>
                    <a:lnTo>
                      <a:pt x="477" y="740"/>
                    </a:lnTo>
                    <a:lnTo>
                      <a:pt x="479" y="740"/>
                    </a:lnTo>
                    <a:lnTo>
                      <a:pt x="480" y="742"/>
                    </a:lnTo>
                    <a:lnTo>
                      <a:pt x="480" y="743"/>
                    </a:lnTo>
                    <a:lnTo>
                      <a:pt x="482" y="743"/>
                    </a:lnTo>
                    <a:lnTo>
                      <a:pt x="482" y="743"/>
                    </a:lnTo>
                    <a:lnTo>
                      <a:pt x="482" y="745"/>
                    </a:lnTo>
                    <a:lnTo>
                      <a:pt x="483" y="745"/>
                    </a:lnTo>
                    <a:lnTo>
                      <a:pt x="483" y="745"/>
                    </a:lnTo>
                    <a:lnTo>
                      <a:pt x="485" y="746"/>
                    </a:lnTo>
                    <a:lnTo>
                      <a:pt x="485" y="750"/>
                    </a:lnTo>
                    <a:lnTo>
                      <a:pt x="485" y="750"/>
                    </a:lnTo>
                    <a:lnTo>
                      <a:pt x="486" y="751"/>
                    </a:lnTo>
                    <a:lnTo>
                      <a:pt x="490" y="753"/>
                    </a:lnTo>
                    <a:lnTo>
                      <a:pt x="491" y="753"/>
                    </a:lnTo>
                    <a:lnTo>
                      <a:pt x="494" y="753"/>
                    </a:lnTo>
                    <a:lnTo>
                      <a:pt x="496" y="753"/>
                    </a:lnTo>
                    <a:lnTo>
                      <a:pt x="496" y="753"/>
                    </a:lnTo>
                    <a:lnTo>
                      <a:pt x="497" y="750"/>
                    </a:lnTo>
                    <a:lnTo>
                      <a:pt x="499" y="746"/>
                    </a:lnTo>
                    <a:lnTo>
                      <a:pt x="500" y="746"/>
                    </a:lnTo>
                    <a:lnTo>
                      <a:pt x="504" y="745"/>
                    </a:lnTo>
                    <a:lnTo>
                      <a:pt x="505" y="743"/>
                    </a:lnTo>
                    <a:lnTo>
                      <a:pt x="505" y="743"/>
                    </a:lnTo>
                    <a:lnTo>
                      <a:pt x="505" y="742"/>
                    </a:lnTo>
                    <a:lnTo>
                      <a:pt x="507" y="739"/>
                    </a:lnTo>
                    <a:lnTo>
                      <a:pt x="508" y="737"/>
                    </a:lnTo>
                    <a:lnTo>
                      <a:pt x="507" y="737"/>
                    </a:lnTo>
                    <a:lnTo>
                      <a:pt x="505" y="735"/>
                    </a:lnTo>
                    <a:lnTo>
                      <a:pt x="505" y="735"/>
                    </a:lnTo>
                    <a:lnTo>
                      <a:pt x="504" y="732"/>
                    </a:lnTo>
                    <a:lnTo>
                      <a:pt x="502" y="729"/>
                    </a:lnTo>
                    <a:lnTo>
                      <a:pt x="500" y="726"/>
                    </a:lnTo>
                    <a:lnTo>
                      <a:pt x="496" y="720"/>
                    </a:lnTo>
                    <a:lnTo>
                      <a:pt x="494" y="718"/>
                    </a:lnTo>
                    <a:lnTo>
                      <a:pt x="494" y="718"/>
                    </a:lnTo>
                    <a:lnTo>
                      <a:pt x="493" y="715"/>
                    </a:lnTo>
                    <a:lnTo>
                      <a:pt x="493" y="712"/>
                    </a:lnTo>
                    <a:lnTo>
                      <a:pt x="490" y="710"/>
                    </a:lnTo>
                    <a:lnTo>
                      <a:pt x="490" y="710"/>
                    </a:lnTo>
                    <a:lnTo>
                      <a:pt x="490" y="709"/>
                    </a:lnTo>
                    <a:lnTo>
                      <a:pt x="490" y="706"/>
                    </a:lnTo>
                    <a:lnTo>
                      <a:pt x="490" y="704"/>
                    </a:lnTo>
                    <a:lnTo>
                      <a:pt x="490" y="701"/>
                    </a:lnTo>
                    <a:lnTo>
                      <a:pt x="490" y="698"/>
                    </a:lnTo>
                    <a:lnTo>
                      <a:pt x="491" y="693"/>
                    </a:lnTo>
                    <a:lnTo>
                      <a:pt x="491" y="692"/>
                    </a:lnTo>
                    <a:lnTo>
                      <a:pt x="493" y="688"/>
                    </a:lnTo>
                    <a:lnTo>
                      <a:pt x="491" y="690"/>
                    </a:lnTo>
                    <a:lnTo>
                      <a:pt x="490" y="696"/>
                    </a:lnTo>
                    <a:lnTo>
                      <a:pt x="488" y="692"/>
                    </a:lnTo>
                    <a:lnTo>
                      <a:pt x="486" y="687"/>
                    </a:lnTo>
                    <a:lnTo>
                      <a:pt x="486" y="684"/>
                    </a:lnTo>
                    <a:lnTo>
                      <a:pt x="485" y="682"/>
                    </a:lnTo>
                    <a:lnTo>
                      <a:pt x="483" y="679"/>
                    </a:lnTo>
                    <a:lnTo>
                      <a:pt x="482" y="678"/>
                    </a:lnTo>
                    <a:lnTo>
                      <a:pt x="479" y="676"/>
                    </a:lnTo>
                    <a:lnTo>
                      <a:pt x="477" y="676"/>
                    </a:lnTo>
                    <a:lnTo>
                      <a:pt x="475" y="674"/>
                    </a:lnTo>
                    <a:lnTo>
                      <a:pt x="475" y="674"/>
                    </a:lnTo>
                    <a:lnTo>
                      <a:pt x="475" y="673"/>
                    </a:lnTo>
                    <a:lnTo>
                      <a:pt x="477" y="670"/>
                    </a:lnTo>
                    <a:lnTo>
                      <a:pt x="479" y="668"/>
                    </a:lnTo>
                    <a:lnTo>
                      <a:pt x="480" y="667"/>
                    </a:lnTo>
                    <a:lnTo>
                      <a:pt x="480" y="667"/>
                    </a:lnTo>
                    <a:lnTo>
                      <a:pt x="480" y="665"/>
                    </a:lnTo>
                    <a:lnTo>
                      <a:pt x="482" y="665"/>
                    </a:lnTo>
                    <a:lnTo>
                      <a:pt x="482" y="667"/>
                    </a:lnTo>
                    <a:lnTo>
                      <a:pt x="483" y="663"/>
                    </a:lnTo>
                    <a:lnTo>
                      <a:pt x="483" y="662"/>
                    </a:lnTo>
                    <a:lnTo>
                      <a:pt x="485" y="660"/>
                    </a:lnTo>
                    <a:lnTo>
                      <a:pt x="486" y="657"/>
                    </a:lnTo>
                    <a:lnTo>
                      <a:pt x="486" y="656"/>
                    </a:lnTo>
                    <a:lnTo>
                      <a:pt x="488" y="654"/>
                    </a:lnTo>
                    <a:lnTo>
                      <a:pt x="488" y="651"/>
                    </a:lnTo>
                    <a:lnTo>
                      <a:pt x="490" y="651"/>
                    </a:lnTo>
                    <a:lnTo>
                      <a:pt x="490" y="651"/>
                    </a:lnTo>
                    <a:lnTo>
                      <a:pt x="490" y="649"/>
                    </a:lnTo>
                    <a:lnTo>
                      <a:pt x="490" y="648"/>
                    </a:lnTo>
                    <a:lnTo>
                      <a:pt x="490" y="646"/>
                    </a:lnTo>
                    <a:lnTo>
                      <a:pt x="490" y="645"/>
                    </a:lnTo>
                    <a:lnTo>
                      <a:pt x="490" y="645"/>
                    </a:lnTo>
                    <a:lnTo>
                      <a:pt x="490" y="645"/>
                    </a:lnTo>
                    <a:lnTo>
                      <a:pt x="491" y="646"/>
                    </a:lnTo>
                    <a:lnTo>
                      <a:pt x="493" y="648"/>
                    </a:lnTo>
                    <a:lnTo>
                      <a:pt x="493" y="645"/>
                    </a:lnTo>
                    <a:lnTo>
                      <a:pt x="493" y="645"/>
                    </a:lnTo>
                    <a:lnTo>
                      <a:pt x="494" y="645"/>
                    </a:lnTo>
                    <a:lnTo>
                      <a:pt x="496" y="645"/>
                    </a:lnTo>
                    <a:lnTo>
                      <a:pt x="499" y="643"/>
                    </a:lnTo>
                    <a:lnTo>
                      <a:pt x="500" y="643"/>
                    </a:lnTo>
                    <a:lnTo>
                      <a:pt x="504" y="642"/>
                    </a:lnTo>
                    <a:lnTo>
                      <a:pt x="507" y="638"/>
                    </a:lnTo>
                    <a:lnTo>
                      <a:pt x="508" y="638"/>
                    </a:lnTo>
                    <a:lnTo>
                      <a:pt x="508" y="638"/>
                    </a:lnTo>
                    <a:lnTo>
                      <a:pt x="510" y="638"/>
                    </a:lnTo>
                    <a:lnTo>
                      <a:pt x="510" y="640"/>
                    </a:lnTo>
                    <a:lnTo>
                      <a:pt x="511" y="640"/>
                    </a:lnTo>
                    <a:lnTo>
                      <a:pt x="511" y="638"/>
                    </a:lnTo>
                    <a:lnTo>
                      <a:pt x="511" y="637"/>
                    </a:lnTo>
                    <a:lnTo>
                      <a:pt x="510" y="635"/>
                    </a:lnTo>
                    <a:lnTo>
                      <a:pt x="510" y="634"/>
                    </a:lnTo>
                    <a:lnTo>
                      <a:pt x="511" y="634"/>
                    </a:lnTo>
                    <a:lnTo>
                      <a:pt x="513" y="634"/>
                    </a:lnTo>
                    <a:lnTo>
                      <a:pt x="518" y="632"/>
                    </a:lnTo>
                    <a:lnTo>
                      <a:pt x="518" y="631"/>
                    </a:lnTo>
                    <a:lnTo>
                      <a:pt x="518" y="629"/>
                    </a:lnTo>
                    <a:lnTo>
                      <a:pt x="521" y="629"/>
                    </a:lnTo>
                    <a:lnTo>
                      <a:pt x="519" y="627"/>
                    </a:lnTo>
                    <a:lnTo>
                      <a:pt x="519" y="627"/>
                    </a:lnTo>
                    <a:lnTo>
                      <a:pt x="515" y="626"/>
                    </a:lnTo>
                    <a:lnTo>
                      <a:pt x="511" y="624"/>
                    </a:lnTo>
                    <a:lnTo>
                      <a:pt x="508" y="623"/>
                    </a:lnTo>
                    <a:lnTo>
                      <a:pt x="508" y="623"/>
                    </a:lnTo>
                    <a:lnTo>
                      <a:pt x="508" y="621"/>
                    </a:lnTo>
                    <a:lnTo>
                      <a:pt x="508" y="621"/>
                    </a:lnTo>
                    <a:lnTo>
                      <a:pt x="507" y="620"/>
                    </a:lnTo>
                    <a:lnTo>
                      <a:pt x="507" y="620"/>
                    </a:lnTo>
                    <a:lnTo>
                      <a:pt x="507" y="618"/>
                    </a:lnTo>
                    <a:lnTo>
                      <a:pt x="508" y="618"/>
                    </a:lnTo>
                    <a:lnTo>
                      <a:pt x="508" y="617"/>
                    </a:lnTo>
                    <a:lnTo>
                      <a:pt x="510" y="618"/>
                    </a:lnTo>
                    <a:lnTo>
                      <a:pt x="510" y="618"/>
                    </a:lnTo>
                    <a:lnTo>
                      <a:pt x="511" y="618"/>
                    </a:lnTo>
                    <a:lnTo>
                      <a:pt x="515" y="618"/>
                    </a:lnTo>
                    <a:lnTo>
                      <a:pt x="515" y="618"/>
                    </a:lnTo>
                    <a:lnTo>
                      <a:pt x="515" y="618"/>
                    </a:lnTo>
                    <a:lnTo>
                      <a:pt x="515" y="617"/>
                    </a:lnTo>
                    <a:lnTo>
                      <a:pt x="513" y="612"/>
                    </a:lnTo>
                    <a:lnTo>
                      <a:pt x="511" y="609"/>
                    </a:lnTo>
                    <a:lnTo>
                      <a:pt x="508" y="604"/>
                    </a:lnTo>
                    <a:lnTo>
                      <a:pt x="508" y="604"/>
                    </a:lnTo>
                    <a:lnTo>
                      <a:pt x="508" y="602"/>
                    </a:lnTo>
                    <a:lnTo>
                      <a:pt x="505" y="599"/>
                    </a:lnTo>
                    <a:lnTo>
                      <a:pt x="504" y="596"/>
                    </a:lnTo>
                    <a:lnTo>
                      <a:pt x="502" y="593"/>
                    </a:lnTo>
                    <a:lnTo>
                      <a:pt x="500" y="591"/>
                    </a:lnTo>
                    <a:lnTo>
                      <a:pt x="497" y="591"/>
                    </a:lnTo>
                    <a:lnTo>
                      <a:pt x="491" y="591"/>
                    </a:lnTo>
                    <a:lnTo>
                      <a:pt x="490" y="590"/>
                    </a:lnTo>
                    <a:lnTo>
                      <a:pt x="488" y="591"/>
                    </a:lnTo>
                    <a:lnTo>
                      <a:pt x="486" y="591"/>
                    </a:lnTo>
                    <a:lnTo>
                      <a:pt x="486" y="591"/>
                    </a:lnTo>
                    <a:lnTo>
                      <a:pt x="485" y="591"/>
                    </a:lnTo>
                    <a:lnTo>
                      <a:pt x="485" y="591"/>
                    </a:lnTo>
                    <a:lnTo>
                      <a:pt x="483" y="588"/>
                    </a:lnTo>
                    <a:lnTo>
                      <a:pt x="482" y="587"/>
                    </a:lnTo>
                    <a:lnTo>
                      <a:pt x="483" y="585"/>
                    </a:lnTo>
                    <a:lnTo>
                      <a:pt x="483" y="582"/>
                    </a:lnTo>
                    <a:lnTo>
                      <a:pt x="482" y="579"/>
                    </a:lnTo>
                    <a:lnTo>
                      <a:pt x="480" y="577"/>
                    </a:lnTo>
                    <a:lnTo>
                      <a:pt x="479" y="577"/>
                    </a:lnTo>
                    <a:lnTo>
                      <a:pt x="475" y="574"/>
                    </a:lnTo>
                    <a:lnTo>
                      <a:pt x="475" y="574"/>
                    </a:lnTo>
                    <a:lnTo>
                      <a:pt x="474" y="570"/>
                    </a:lnTo>
                    <a:lnTo>
                      <a:pt x="475" y="563"/>
                    </a:lnTo>
                    <a:lnTo>
                      <a:pt x="479" y="560"/>
                    </a:lnTo>
                    <a:lnTo>
                      <a:pt x="479" y="560"/>
                    </a:lnTo>
                    <a:lnTo>
                      <a:pt x="480" y="559"/>
                    </a:lnTo>
                    <a:lnTo>
                      <a:pt x="482" y="555"/>
                    </a:lnTo>
                    <a:lnTo>
                      <a:pt x="482" y="555"/>
                    </a:lnTo>
                    <a:lnTo>
                      <a:pt x="482" y="554"/>
                    </a:lnTo>
                    <a:lnTo>
                      <a:pt x="482" y="554"/>
                    </a:lnTo>
                    <a:lnTo>
                      <a:pt x="480" y="552"/>
                    </a:lnTo>
                    <a:lnTo>
                      <a:pt x="479" y="551"/>
                    </a:lnTo>
                    <a:lnTo>
                      <a:pt x="479" y="551"/>
                    </a:lnTo>
                    <a:lnTo>
                      <a:pt x="477" y="549"/>
                    </a:lnTo>
                    <a:lnTo>
                      <a:pt x="477" y="546"/>
                    </a:lnTo>
                    <a:lnTo>
                      <a:pt x="479" y="540"/>
                    </a:lnTo>
                    <a:lnTo>
                      <a:pt x="480" y="538"/>
                    </a:lnTo>
                    <a:lnTo>
                      <a:pt x="480" y="535"/>
                    </a:lnTo>
                    <a:lnTo>
                      <a:pt x="480" y="535"/>
                    </a:lnTo>
                    <a:lnTo>
                      <a:pt x="483" y="534"/>
                    </a:lnTo>
                    <a:lnTo>
                      <a:pt x="485" y="532"/>
                    </a:lnTo>
                    <a:lnTo>
                      <a:pt x="485" y="532"/>
                    </a:lnTo>
                    <a:lnTo>
                      <a:pt x="486" y="530"/>
                    </a:lnTo>
                    <a:lnTo>
                      <a:pt x="486" y="527"/>
                    </a:lnTo>
                    <a:lnTo>
                      <a:pt x="486" y="526"/>
                    </a:lnTo>
                    <a:lnTo>
                      <a:pt x="486" y="524"/>
                    </a:lnTo>
                    <a:lnTo>
                      <a:pt x="488" y="523"/>
                    </a:lnTo>
                    <a:lnTo>
                      <a:pt x="488" y="523"/>
                    </a:lnTo>
                    <a:lnTo>
                      <a:pt x="490" y="521"/>
                    </a:lnTo>
                    <a:lnTo>
                      <a:pt x="491" y="521"/>
                    </a:lnTo>
                    <a:lnTo>
                      <a:pt x="493" y="521"/>
                    </a:lnTo>
                    <a:lnTo>
                      <a:pt x="496" y="524"/>
                    </a:lnTo>
                    <a:lnTo>
                      <a:pt x="499" y="529"/>
                    </a:lnTo>
                    <a:lnTo>
                      <a:pt x="502" y="532"/>
                    </a:lnTo>
                    <a:lnTo>
                      <a:pt x="502" y="534"/>
                    </a:lnTo>
                    <a:lnTo>
                      <a:pt x="504" y="535"/>
                    </a:lnTo>
                    <a:lnTo>
                      <a:pt x="507" y="537"/>
                    </a:lnTo>
                    <a:lnTo>
                      <a:pt x="508" y="535"/>
                    </a:lnTo>
                    <a:lnTo>
                      <a:pt x="510" y="535"/>
                    </a:lnTo>
                    <a:lnTo>
                      <a:pt x="511" y="534"/>
                    </a:lnTo>
                    <a:lnTo>
                      <a:pt x="511" y="534"/>
                    </a:lnTo>
                    <a:lnTo>
                      <a:pt x="513" y="534"/>
                    </a:lnTo>
                    <a:lnTo>
                      <a:pt x="513" y="532"/>
                    </a:lnTo>
                    <a:lnTo>
                      <a:pt x="513" y="532"/>
                    </a:lnTo>
                    <a:lnTo>
                      <a:pt x="513" y="529"/>
                    </a:lnTo>
                    <a:lnTo>
                      <a:pt x="511" y="527"/>
                    </a:lnTo>
                    <a:lnTo>
                      <a:pt x="511" y="526"/>
                    </a:lnTo>
                    <a:lnTo>
                      <a:pt x="511" y="523"/>
                    </a:lnTo>
                    <a:lnTo>
                      <a:pt x="510" y="516"/>
                    </a:lnTo>
                    <a:lnTo>
                      <a:pt x="510" y="515"/>
                    </a:lnTo>
                    <a:lnTo>
                      <a:pt x="510" y="515"/>
                    </a:lnTo>
                    <a:lnTo>
                      <a:pt x="510" y="515"/>
                    </a:lnTo>
                    <a:lnTo>
                      <a:pt x="510" y="515"/>
                    </a:lnTo>
                    <a:lnTo>
                      <a:pt x="511" y="515"/>
                    </a:lnTo>
                    <a:lnTo>
                      <a:pt x="513" y="515"/>
                    </a:lnTo>
                    <a:lnTo>
                      <a:pt x="515" y="515"/>
                    </a:lnTo>
                    <a:lnTo>
                      <a:pt x="515" y="515"/>
                    </a:lnTo>
                    <a:lnTo>
                      <a:pt x="518" y="512"/>
                    </a:lnTo>
                    <a:lnTo>
                      <a:pt x="519" y="510"/>
                    </a:lnTo>
                    <a:lnTo>
                      <a:pt x="521" y="509"/>
                    </a:lnTo>
                    <a:lnTo>
                      <a:pt x="522" y="505"/>
                    </a:lnTo>
                    <a:lnTo>
                      <a:pt x="524" y="504"/>
                    </a:lnTo>
                    <a:lnTo>
                      <a:pt x="524" y="502"/>
                    </a:lnTo>
                    <a:lnTo>
                      <a:pt x="524" y="502"/>
                    </a:lnTo>
                    <a:lnTo>
                      <a:pt x="526" y="502"/>
                    </a:lnTo>
                    <a:lnTo>
                      <a:pt x="527" y="502"/>
                    </a:lnTo>
                    <a:lnTo>
                      <a:pt x="530" y="501"/>
                    </a:lnTo>
                    <a:lnTo>
                      <a:pt x="530" y="501"/>
                    </a:lnTo>
                    <a:lnTo>
                      <a:pt x="532" y="499"/>
                    </a:lnTo>
                    <a:lnTo>
                      <a:pt x="533" y="498"/>
                    </a:lnTo>
                    <a:lnTo>
                      <a:pt x="535" y="498"/>
                    </a:lnTo>
                    <a:lnTo>
                      <a:pt x="538" y="496"/>
                    </a:lnTo>
                    <a:lnTo>
                      <a:pt x="540" y="496"/>
                    </a:lnTo>
                    <a:lnTo>
                      <a:pt x="540" y="496"/>
                    </a:lnTo>
                    <a:lnTo>
                      <a:pt x="540" y="494"/>
                    </a:lnTo>
                    <a:lnTo>
                      <a:pt x="543" y="490"/>
                    </a:lnTo>
                    <a:lnTo>
                      <a:pt x="544" y="488"/>
                    </a:lnTo>
                    <a:lnTo>
                      <a:pt x="547" y="485"/>
                    </a:lnTo>
                    <a:lnTo>
                      <a:pt x="547" y="483"/>
                    </a:lnTo>
                    <a:lnTo>
                      <a:pt x="549" y="483"/>
                    </a:lnTo>
                    <a:lnTo>
                      <a:pt x="552" y="485"/>
                    </a:lnTo>
                    <a:lnTo>
                      <a:pt x="554" y="487"/>
                    </a:lnTo>
                    <a:lnTo>
                      <a:pt x="555" y="488"/>
                    </a:lnTo>
                    <a:lnTo>
                      <a:pt x="557" y="490"/>
                    </a:lnTo>
                    <a:lnTo>
                      <a:pt x="557" y="490"/>
                    </a:lnTo>
                    <a:lnTo>
                      <a:pt x="557" y="491"/>
                    </a:lnTo>
                    <a:lnTo>
                      <a:pt x="558" y="491"/>
                    </a:lnTo>
                    <a:lnTo>
                      <a:pt x="560" y="491"/>
                    </a:lnTo>
                    <a:lnTo>
                      <a:pt x="561" y="491"/>
                    </a:lnTo>
                    <a:lnTo>
                      <a:pt x="565" y="488"/>
                    </a:lnTo>
                    <a:lnTo>
                      <a:pt x="569" y="485"/>
                    </a:lnTo>
                    <a:lnTo>
                      <a:pt x="572" y="485"/>
                    </a:lnTo>
                    <a:lnTo>
                      <a:pt x="574" y="485"/>
                    </a:lnTo>
                    <a:lnTo>
                      <a:pt x="576" y="488"/>
                    </a:lnTo>
                    <a:lnTo>
                      <a:pt x="577" y="490"/>
                    </a:lnTo>
                    <a:lnTo>
                      <a:pt x="579" y="491"/>
                    </a:lnTo>
                    <a:lnTo>
                      <a:pt x="579" y="491"/>
                    </a:lnTo>
                    <a:lnTo>
                      <a:pt x="580" y="491"/>
                    </a:lnTo>
                    <a:lnTo>
                      <a:pt x="582" y="490"/>
                    </a:lnTo>
                    <a:lnTo>
                      <a:pt x="582" y="490"/>
                    </a:lnTo>
                    <a:lnTo>
                      <a:pt x="583" y="490"/>
                    </a:lnTo>
                    <a:lnTo>
                      <a:pt x="585" y="491"/>
                    </a:lnTo>
                    <a:lnTo>
                      <a:pt x="586" y="491"/>
                    </a:lnTo>
                    <a:lnTo>
                      <a:pt x="590" y="491"/>
                    </a:lnTo>
                    <a:lnTo>
                      <a:pt x="591" y="490"/>
                    </a:lnTo>
                    <a:lnTo>
                      <a:pt x="593" y="491"/>
                    </a:lnTo>
                    <a:lnTo>
                      <a:pt x="594" y="491"/>
                    </a:lnTo>
                    <a:lnTo>
                      <a:pt x="596" y="493"/>
                    </a:lnTo>
                    <a:lnTo>
                      <a:pt x="597" y="498"/>
                    </a:lnTo>
                    <a:lnTo>
                      <a:pt x="599" y="498"/>
                    </a:lnTo>
                    <a:lnTo>
                      <a:pt x="599" y="499"/>
                    </a:lnTo>
                    <a:lnTo>
                      <a:pt x="604" y="499"/>
                    </a:lnTo>
                    <a:lnTo>
                      <a:pt x="604" y="501"/>
                    </a:lnTo>
                    <a:lnTo>
                      <a:pt x="607" y="504"/>
                    </a:lnTo>
                    <a:lnTo>
                      <a:pt x="607" y="504"/>
                    </a:lnTo>
                    <a:lnTo>
                      <a:pt x="608" y="507"/>
                    </a:lnTo>
                    <a:lnTo>
                      <a:pt x="611" y="510"/>
                    </a:lnTo>
                    <a:lnTo>
                      <a:pt x="611" y="513"/>
                    </a:lnTo>
                    <a:lnTo>
                      <a:pt x="611" y="516"/>
                    </a:lnTo>
                    <a:lnTo>
                      <a:pt x="613" y="516"/>
                    </a:lnTo>
                    <a:lnTo>
                      <a:pt x="613" y="516"/>
                    </a:lnTo>
                    <a:lnTo>
                      <a:pt x="613" y="518"/>
                    </a:lnTo>
                    <a:lnTo>
                      <a:pt x="615" y="516"/>
                    </a:lnTo>
                    <a:lnTo>
                      <a:pt x="615" y="516"/>
                    </a:lnTo>
                    <a:lnTo>
                      <a:pt x="615" y="516"/>
                    </a:lnTo>
                    <a:lnTo>
                      <a:pt x="615" y="513"/>
                    </a:lnTo>
                    <a:lnTo>
                      <a:pt x="615" y="510"/>
                    </a:lnTo>
                    <a:lnTo>
                      <a:pt x="615" y="507"/>
                    </a:lnTo>
                    <a:lnTo>
                      <a:pt x="613" y="507"/>
                    </a:lnTo>
                    <a:lnTo>
                      <a:pt x="613" y="505"/>
                    </a:lnTo>
                    <a:lnTo>
                      <a:pt x="613" y="505"/>
                    </a:lnTo>
                    <a:lnTo>
                      <a:pt x="615" y="504"/>
                    </a:lnTo>
                    <a:lnTo>
                      <a:pt x="616" y="504"/>
                    </a:lnTo>
                    <a:lnTo>
                      <a:pt x="619" y="505"/>
                    </a:lnTo>
                    <a:lnTo>
                      <a:pt x="621" y="509"/>
                    </a:lnTo>
                    <a:lnTo>
                      <a:pt x="624" y="512"/>
                    </a:lnTo>
                    <a:lnTo>
                      <a:pt x="627" y="513"/>
                    </a:lnTo>
                    <a:lnTo>
                      <a:pt x="630" y="515"/>
                    </a:lnTo>
                    <a:lnTo>
                      <a:pt x="633" y="516"/>
                    </a:lnTo>
                    <a:lnTo>
                      <a:pt x="635" y="515"/>
                    </a:lnTo>
                    <a:lnTo>
                      <a:pt x="635" y="515"/>
                    </a:lnTo>
                    <a:lnTo>
                      <a:pt x="638" y="513"/>
                    </a:lnTo>
                    <a:lnTo>
                      <a:pt x="640" y="512"/>
                    </a:lnTo>
                    <a:lnTo>
                      <a:pt x="641" y="510"/>
                    </a:lnTo>
                    <a:lnTo>
                      <a:pt x="641" y="509"/>
                    </a:lnTo>
                    <a:lnTo>
                      <a:pt x="644" y="505"/>
                    </a:lnTo>
                    <a:lnTo>
                      <a:pt x="647" y="504"/>
                    </a:lnTo>
                    <a:lnTo>
                      <a:pt x="649" y="504"/>
                    </a:lnTo>
                    <a:lnTo>
                      <a:pt x="649" y="504"/>
                    </a:lnTo>
                    <a:lnTo>
                      <a:pt x="649" y="505"/>
                    </a:lnTo>
                    <a:lnTo>
                      <a:pt x="649" y="505"/>
                    </a:lnTo>
                    <a:lnTo>
                      <a:pt x="652" y="504"/>
                    </a:lnTo>
                    <a:lnTo>
                      <a:pt x="654" y="504"/>
                    </a:lnTo>
                    <a:lnTo>
                      <a:pt x="657" y="502"/>
                    </a:lnTo>
                    <a:lnTo>
                      <a:pt x="660" y="504"/>
                    </a:lnTo>
                    <a:lnTo>
                      <a:pt x="662" y="505"/>
                    </a:lnTo>
                    <a:lnTo>
                      <a:pt x="665" y="507"/>
                    </a:lnTo>
                    <a:lnTo>
                      <a:pt x="666" y="507"/>
                    </a:lnTo>
                    <a:lnTo>
                      <a:pt x="666" y="507"/>
                    </a:lnTo>
                    <a:lnTo>
                      <a:pt x="668" y="507"/>
                    </a:lnTo>
                    <a:lnTo>
                      <a:pt x="669" y="505"/>
                    </a:lnTo>
                    <a:lnTo>
                      <a:pt x="669" y="504"/>
                    </a:lnTo>
                    <a:lnTo>
                      <a:pt x="671" y="502"/>
                    </a:lnTo>
                    <a:lnTo>
                      <a:pt x="671" y="502"/>
                    </a:lnTo>
                    <a:lnTo>
                      <a:pt x="674" y="502"/>
                    </a:lnTo>
                    <a:lnTo>
                      <a:pt x="677" y="502"/>
                    </a:lnTo>
                    <a:lnTo>
                      <a:pt x="677" y="502"/>
                    </a:lnTo>
                    <a:lnTo>
                      <a:pt x="677" y="502"/>
                    </a:lnTo>
                    <a:lnTo>
                      <a:pt x="680" y="502"/>
                    </a:lnTo>
                    <a:lnTo>
                      <a:pt x="683" y="505"/>
                    </a:lnTo>
                    <a:lnTo>
                      <a:pt x="685" y="509"/>
                    </a:lnTo>
                    <a:lnTo>
                      <a:pt x="688" y="512"/>
                    </a:lnTo>
                    <a:lnTo>
                      <a:pt x="690" y="513"/>
                    </a:lnTo>
                    <a:lnTo>
                      <a:pt x="691" y="513"/>
                    </a:lnTo>
                    <a:lnTo>
                      <a:pt x="693" y="513"/>
                    </a:lnTo>
                    <a:lnTo>
                      <a:pt x="694" y="515"/>
                    </a:lnTo>
                    <a:lnTo>
                      <a:pt x="699" y="515"/>
                    </a:lnTo>
                    <a:lnTo>
                      <a:pt x="701" y="515"/>
                    </a:lnTo>
                    <a:lnTo>
                      <a:pt x="701" y="516"/>
                    </a:lnTo>
                    <a:lnTo>
                      <a:pt x="701" y="518"/>
                    </a:lnTo>
                    <a:lnTo>
                      <a:pt x="701" y="518"/>
                    </a:lnTo>
                    <a:lnTo>
                      <a:pt x="701" y="518"/>
                    </a:lnTo>
                    <a:lnTo>
                      <a:pt x="701" y="518"/>
                    </a:lnTo>
                    <a:lnTo>
                      <a:pt x="705" y="516"/>
                    </a:lnTo>
                    <a:lnTo>
                      <a:pt x="705" y="516"/>
                    </a:lnTo>
                    <a:lnTo>
                      <a:pt x="707" y="513"/>
                    </a:lnTo>
                    <a:lnTo>
                      <a:pt x="708" y="510"/>
                    </a:lnTo>
                    <a:lnTo>
                      <a:pt x="708" y="509"/>
                    </a:lnTo>
                    <a:lnTo>
                      <a:pt x="710" y="509"/>
                    </a:lnTo>
                    <a:lnTo>
                      <a:pt x="710" y="509"/>
                    </a:lnTo>
                    <a:lnTo>
                      <a:pt x="712" y="509"/>
                    </a:lnTo>
                    <a:lnTo>
                      <a:pt x="712" y="510"/>
                    </a:lnTo>
                    <a:lnTo>
                      <a:pt x="715" y="513"/>
                    </a:lnTo>
                    <a:lnTo>
                      <a:pt x="716" y="513"/>
                    </a:lnTo>
                    <a:lnTo>
                      <a:pt x="718" y="513"/>
                    </a:lnTo>
                    <a:lnTo>
                      <a:pt x="718" y="513"/>
                    </a:lnTo>
                    <a:lnTo>
                      <a:pt x="721" y="513"/>
                    </a:lnTo>
                    <a:lnTo>
                      <a:pt x="726" y="513"/>
                    </a:lnTo>
                    <a:lnTo>
                      <a:pt x="730" y="510"/>
                    </a:lnTo>
                    <a:lnTo>
                      <a:pt x="733" y="509"/>
                    </a:lnTo>
                    <a:lnTo>
                      <a:pt x="735" y="505"/>
                    </a:lnTo>
                    <a:lnTo>
                      <a:pt x="735" y="501"/>
                    </a:lnTo>
                    <a:lnTo>
                      <a:pt x="737" y="498"/>
                    </a:lnTo>
                    <a:lnTo>
                      <a:pt x="737" y="496"/>
                    </a:lnTo>
                    <a:lnTo>
                      <a:pt x="733" y="493"/>
                    </a:lnTo>
                    <a:lnTo>
                      <a:pt x="733" y="491"/>
                    </a:lnTo>
                    <a:lnTo>
                      <a:pt x="727" y="491"/>
                    </a:lnTo>
                    <a:lnTo>
                      <a:pt x="727" y="491"/>
                    </a:lnTo>
                    <a:lnTo>
                      <a:pt x="726" y="490"/>
                    </a:lnTo>
                    <a:lnTo>
                      <a:pt x="726" y="490"/>
                    </a:lnTo>
                    <a:lnTo>
                      <a:pt x="719" y="487"/>
                    </a:lnTo>
                    <a:lnTo>
                      <a:pt x="718" y="487"/>
                    </a:lnTo>
                    <a:lnTo>
                      <a:pt x="718" y="487"/>
                    </a:lnTo>
                    <a:lnTo>
                      <a:pt x="716" y="485"/>
                    </a:lnTo>
                    <a:lnTo>
                      <a:pt x="716" y="485"/>
                    </a:lnTo>
                    <a:lnTo>
                      <a:pt x="716" y="482"/>
                    </a:lnTo>
                    <a:lnTo>
                      <a:pt x="713" y="480"/>
                    </a:lnTo>
                    <a:lnTo>
                      <a:pt x="710" y="479"/>
                    </a:lnTo>
                    <a:lnTo>
                      <a:pt x="710" y="479"/>
                    </a:lnTo>
                    <a:lnTo>
                      <a:pt x="710" y="479"/>
                    </a:lnTo>
                    <a:lnTo>
                      <a:pt x="710" y="477"/>
                    </a:lnTo>
                    <a:lnTo>
                      <a:pt x="712" y="476"/>
                    </a:lnTo>
                    <a:lnTo>
                      <a:pt x="713" y="476"/>
                    </a:lnTo>
                    <a:lnTo>
                      <a:pt x="716" y="473"/>
                    </a:lnTo>
                    <a:lnTo>
                      <a:pt x="718" y="473"/>
                    </a:lnTo>
                    <a:lnTo>
                      <a:pt x="721" y="473"/>
                    </a:lnTo>
                    <a:lnTo>
                      <a:pt x="724" y="469"/>
                    </a:lnTo>
                    <a:lnTo>
                      <a:pt x="726" y="468"/>
                    </a:lnTo>
                    <a:lnTo>
                      <a:pt x="726" y="468"/>
                    </a:lnTo>
                    <a:lnTo>
                      <a:pt x="727" y="466"/>
                    </a:lnTo>
                    <a:lnTo>
                      <a:pt x="727" y="466"/>
                    </a:lnTo>
                    <a:lnTo>
                      <a:pt x="726" y="465"/>
                    </a:lnTo>
                    <a:lnTo>
                      <a:pt x="724" y="460"/>
                    </a:lnTo>
                    <a:lnTo>
                      <a:pt x="723" y="457"/>
                    </a:lnTo>
                    <a:lnTo>
                      <a:pt x="723" y="455"/>
                    </a:lnTo>
                    <a:lnTo>
                      <a:pt x="724" y="452"/>
                    </a:lnTo>
                    <a:lnTo>
                      <a:pt x="726" y="452"/>
                    </a:lnTo>
                    <a:lnTo>
                      <a:pt x="727" y="449"/>
                    </a:lnTo>
                    <a:lnTo>
                      <a:pt x="727" y="449"/>
                    </a:lnTo>
                    <a:lnTo>
                      <a:pt x="727" y="448"/>
                    </a:lnTo>
                    <a:lnTo>
                      <a:pt x="727" y="448"/>
                    </a:lnTo>
                    <a:lnTo>
                      <a:pt x="727" y="448"/>
                    </a:lnTo>
                    <a:lnTo>
                      <a:pt x="730" y="448"/>
                    </a:lnTo>
                    <a:lnTo>
                      <a:pt x="733" y="448"/>
                    </a:lnTo>
                    <a:lnTo>
                      <a:pt x="737" y="448"/>
                    </a:lnTo>
                    <a:lnTo>
                      <a:pt x="740" y="449"/>
                    </a:lnTo>
                    <a:lnTo>
                      <a:pt x="743" y="449"/>
                    </a:lnTo>
                    <a:lnTo>
                      <a:pt x="743" y="449"/>
                    </a:lnTo>
                    <a:lnTo>
                      <a:pt x="743" y="449"/>
                    </a:lnTo>
                    <a:lnTo>
                      <a:pt x="744" y="449"/>
                    </a:lnTo>
                    <a:lnTo>
                      <a:pt x="744" y="449"/>
                    </a:lnTo>
                    <a:lnTo>
                      <a:pt x="746" y="448"/>
                    </a:lnTo>
                    <a:lnTo>
                      <a:pt x="746" y="446"/>
                    </a:lnTo>
                    <a:lnTo>
                      <a:pt x="744" y="444"/>
                    </a:lnTo>
                    <a:lnTo>
                      <a:pt x="740" y="443"/>
                    </a:lnTo>
                    <a:lnTo>
                      <a:pt x="738" y="441"/>
                    </a:lnTo>
                    <a:lnTo>
                      <a:pt x="737" y="441"/>
                    </a:lnTo>
                    <a:lnTo>
                      <a:pt x="733" y="440"/>
                    </a:lnTo>
                    <a:lnTo>
                      <a:pt x="732" y="440"/>
                    </a:lnTo>
                    <a:lnTo>
                      <a:pt x="732" y="440"/>
                    </a:lnTo>
                    <a:lnTo>
                      <a:pt x="730" y="440"/>
                    </a:lnTo>
                    <a:lnTo>
                      <a:pt x="729" y="438"/>
                    </a:lnTo>
                    <a:lnTo>
                      <a:pt x="730" y="435"/>
                    </a:lnTo>
                    <a:lnTo>
                      <a:pt x="730" y="435"/>
                    </a:lnTo>
                    <a:lnTo>
                      <a:pt x="732" y="433"/>
                    </a:lnTo>
                    <a:lnTo>
                      <a:pt x="733" y="433"/>
                    </a:lnTo>
                    <a:lnTo>
                      <a:pt x="733" y="433"/>
                    </a:lnTo>
                    <a:lnTo>
                      <a:pt x="735" y="433"/>
                    </a:lnTo>
                    <a:lnTo>
                      <a:pt x="735" y="433"/>
                    </a:lnTo>
                    <a:lnTo>
                      <a:pt x="737" y="432"/>
                    </a:lnTo>
                    <a:lnTo>
                      <a:pt x="735" y="432"/>
                    </a:lnTo>
                    <a:lnTo>
                      <a:pt x="735" y="430"/>
                    </a:lnTo>
                    <a:lnTo>
                      <a:pt x="733" y="430"/>
                    </a:lnTo>
                    <a:lnTo>
                      <a:pt x="732" y="430"/>
                    </a:lnTo>
                    <a:lnTo>
                      <a:pt x="732" y="432"/>
                    </a:lnTo>
                    <a:lnTo>
                      <a:pt x="730" y="432"/>
                    </a:lnTo>
                    <a:lnTo>
                      <a:pt x="729" y="430"/>
                    </a:lnTo>
                    <a:lnTo>
                      <a:pt x="726" y="429"/>
                    </a:lnTo>
                    <a:lnTo>
                      <a:pt x="726" y="429"/>
                    </a:lnTo>
                    <a:lnTo>
                      <a:pt x="727" y="427"/>
                    </a:lnTo>
                    <a:lnTo>
                      <a:pt x="729" y="426"/>
                    </a:lnTo>
                    <a:lnTo>
                      <a:pt x="729" y="426"/>
                    </a:lnTo>
                    <a:lnTo>
                      <a:pt x="729" y="421"/>
                    </a:lnTo>
                    <a:lnTo>
                      <a:pt x="729" y="419"/>
                    </a:lnTo>
                    <a:lnTo>
                      <a:pt x="730" y="418"/>
                    </a:lnTo>
                    <a:lnTo>
                      <a:pt x="732" y="416"/>
                    </a:lnTo>
                    <a:lnTo>
                      <a:pt x="737" y="418"/>
                    </a:lnTo>
                    <a:lnTo>
                      <a:pt x="743" y="419"/>
                    </a:lnTo>
                    <a:lnTo>
                      <a:pt x="744" y="419"/>
                    </a:lnTo>
                    <a:lnTo>
                      <a:pt x="744" y="418"/>
                    </a:lnTo>
                    <a:lnTo>
                      <a:pt x="744" y="418"/>
                    </a:lnTo>
                    <a:lnTo>
                      <a:pt x="752" y="418"/>
                    </a:lnTo>
                    <a:lnTo>
                      <a:pt x="754" y="416"/>
                    </a:lnTo>
                    <a:lnTo>
                      <a:pt x="755" y="416"/>
                    </a:lnTo>
                    <a:lnTo>
                      <a:pt x="763" y="415"/>
                    </a:lnTo>
                    <a:lnTo>
                      <a:pt x="763" y="415"/>
                    </a:lnTo>
                    <a:lnTo>
                      <a:pt x="763" y="415"/>
                    </a:lnTo>
                    <a:lnTo>
                      <a:pt x="763" y="413"/>
                    </a:lnTo>
                    <a:lnTo>
                      <a:pt x="763" y="413"/>
                    </a:lnTo>
                    <a:lnTo>
                      <a:pt x="765" y="413"/>
                    </a:lnTo>
                    <a:lnTo>
                      <a:pt x="766" y="413"/>
                    </a:lnTo>
                    <a:lnTo>
                      <a:pt x="769" y="413"/>
                    </a:lnTo>
                    <a:lnTo>
                      <a:pt x="773" y="412"/>
                    </a:lnTo>
                    <a:lnTo>
                      <a:pt x="774" y="410"/>
                    </a:lnTo>
                    <a:lnTo>
                      <a:pt x="774" y="410"/>
                    </a:lnTo>
                    <a:lnTo>
                      <a:pt x="777" y="412"/>
                    </a:lnTo>
                    <a:lnTo>
                      <a:pt x="779" y="410"/>
                    </a:lnTo>
                    <a:lnTo>
                      <a:pt x="780" y="410"/>
                    </a:lnTo>
                    <a:lnTo>
                      <a:pt x="780" y="408"/>
                    </a:lnTo>
                    <a:lnTo>
                      <a:pt x="782" y="407"/>
                    </a:lnTo>
                    <a:lnTo>
                      <a:pt x="787" y="407"/>
                    </a:lnTo>
                    <a:lnTo>
                      <a:pt x="788" y="407"/>
                    </a:lnTo>
                    <a:lnTo>
                      <a:pt x="791" y="407"/>
                    </a:lnTo>
                    <a:lnTo>
                      <a:pt x="793" y="407"/>
                    </a:lnTo>
                    <a:lnTo>
                      <a:pt x="796" y="407"/>
                    </a:lnTo>
                    <a:lnTo>
                      <a:pt x="796" y="407"/>
                    </a:lnTo>
                    <a:lnTo>
                      <a:pt x="798" y="408"/>
                    </a:lnTo>
                    <a:lnTo>
                      <a:pt x="799" y="407"/>
                    </a:lnTo>
                    <a:lnTo>
                      <a:pt x="801" y="405"/>
                    </a:lnTo>
                    <a:lnTo>
                      <a:pt x="801" y="402"/>
                    </a:lnTo>
                    <a:lnTo>
                      <a:pt x="802" y="402"/>
                    </a:lnTo>
                    <a:lnTo>
                      <a:pt x="804" y="401"/>
                    </a:lnTo>
                    <a:lnTo>
                      <a:pt x="804" y="401"/>
                    </a:lnTo>
                    <a:lnTo>
                      <a:pt x="804" y="401"/>
                    </a:lnTo>
                    <a:lnTo>
                      <a:pt x="805" y="399"/>
                    </a:lnTo>
                    <a:lnTo>
                      <a:pt x="805" y="399"/>
                    </a:lnTo>
                    <a:lnTo>
                      <a:pt x="809" y="399"/>
                    </a:lnTo>
                    <a:lnTo>
                      <a:pt x="813" y="397"/>
                    </a:lnTo>
                    <a:lnTo>
                      <a:pt x="813" y="397"/>
                    </a:lnTo>
                    <a:lnTo>
                      <a:pt x="813" y="397"/>
                    </a:lnTo>
                    <a:lnTo>
                      <a:pt x="818" y="397"/>
                    </a:lnTo>
                    <a:lnTo>
                      <a:pt x="819" y="397"/>
                    </a:lnTo>
                    <a:lnTo>
                      <a:pt x="824" y="396"/>
                    </a:lnTo>
                    <a:lnTo>
                      <a:pt x="827" y="396"/>
                    </a:lnTo>
                    <a:lnTo>
                      <a:pt x="834" y="394"/>
                    </a:lnTo>
                    <a:lnTo>
                      <a:pt x="834" y="394"/>
                    </a:lnTo>
                    <a:lnTo>
                      <a:pt x="837" y="393"/>
                    </a:lnTo>
                    <a:lnTo>
                      <a:pt x="840" y="393"/>
                    </a:lnTo>
                    <a:lnTo>
                      <a:pt x="844" y="391"/>
                    </a:lnTo>
                    <a:lnTo>
                      <a:pt x="844" y="391"/>
                    </a:lnTo>
                    <a:lnTo>
                      <a:pt x="846" y="390"/>
                    </a:lnTo>
                    <a:lnTo>
                      <a:pt x="848" y="390"/>
                    </a:lnTo>
                    <a:lnTo>
                      <a:pt x="851" y="390"/>
                    </a:lnTo>
                    <a:lnTo>
                      <a:pt x="852" y="388"/>
                    </a:lnTo>
                    <a:lnTo>
                      <a:pt x="852" y="388"/>
                    </a:lnTo>
                    <a:lnTo>
                      <a:pt x="854" y="386"/>
                    </a:lnTo>
                    <a:lnTo>
                      <a:pt x="854" y="385"/>
                    </a:lnTo>
                    <a:lnTo>
                      <a:pt x="852" y="383"/>
                    </a:lnTo>
                    <a:lnTo>
                      <a:pt x="855" y="382"/>
                    </a:lnTo>
                    <a:lnTo>
                      <a:pt x="857" y="382"/>
                    </a:lnTo>
                    <a:lnTo>
                      <a:pt x="859" y="382"/>
                    </a:lnTo>
                    <a:lnTo>
                      <a:pt x="862" y="379"/>
                    </a:lnTo>
                    <a:lnTo>
                      <a:pt x="863" y="377"/>
                    </a:lnTo>
                    <a:lnTo>
                      <a:pt x="865" y="377"/>
                    </a:lnTo>
                    <a:lnTo>
                      <a:pt x="866" y="376"/>
                    </a:lnTo>
                    <a:lnTo>
                      <a:pt x="871" y="377"/>
                    </a:lnTo>
                    <a:lnTo>
                      <a:pt x="876" y="377"/>
                    </a:lnTo>
                    <a:lnTo>
                      <a:pt x="876" y="377"/>
                    </a:lnTo>
                    <a:lnTo>
                      <a:pt x="880" y="379"/>
                    </a:lnTo>
                    <a:lnTo>
                      <a:pt x="882" y="380"/>
                    </a:lnTo>
                    <a:lnTo>
                      <a:pt x="884" y="382"/>
                    </a:lnTo>
                    <a:lnTo>
                      <a:pt x="887" y="382"/>
                    </a:lnTo>
                    <a:lnTo>
                      <a:pt x="888" y="383"/>
                    </a:lnTo>
                    <a:lnTo>
                      <a:pt x="890" y="382"/>
                    </a:lnTo>
                    <a:lnTo>
                      <a:pt x="891" y="382"/>
                    </a:lnTo>
                    <a:lnTo>
                      <a:pt x="891" y="382"/>
                    </a:lnTo>
                    <a:lnTo>
                      <a:pt x="891" y="380"/>
                    </a:lnTo>
                    <a:lnTo>
                      <a:pt x="893" y="379"/>
                    </a:lnTo>
                    <a:lnTo>
                      <a:pt x="898" y="379"/>
                    </a:lnTo>
                    <a:lnTo>
                      <a:pt x="898" y="380"/>
                    </a:lnTo>
                    <a:lnTo>
                      <a:pt x="901" y="383"/>
                    </a:lnTo>
                    <a:lnTo>
                      <a:pt x="901" y="383"/>
                    </a:lnTo>
                    <a:lnTo>
                      <a:pt x="902" y="390"/>
                    </a:lnTo>
                    <a:lnTo>
                      <a:pt x="904" y="396"/>
                    </a:lnTo>
                    <a:lnTo>
                      <a:pt x="905" y="401"/>
                    </a:lnTo>
                    <a:lnTo>
                      <a:pt x="905" y="402"/>
                    </a:lnTo>
                    <a:lnTo>
                      <a:pt x="905" y="404"/>
                    </a:lnTo>
                    <a:lnTo>
                      <a:pt x="905" y="407"/>
                    </a:lnTo>
                    <a:lnTo>
                      <a:pt x="902" y="410"/>
                    </a:lnTo>
                    <a:lnTo>
                      <a:pt x="904" y="412"/>
                    </a:lnTo>
                    <a:lnTo>
                      <a:pt x="904" y="412"/>
                    </a:lnTo>
                    <a:lnTo>
                      <a:pt x="909" y="413"/>
                    </a:lnTo>
                    <a:lnTo>
                      <a:pt x="913" y="413"/>
                    </a:lnTo>
                    <a:lnTo>
                      <a:pt x="913" y="413"/>
                    </a:lnTo>
                    <a:lnTo>
                      <a:pt x="918" y="412"/>
                    </a:lnTo>
                    <a:lnTo>
                      <a:pt x="920" y="412"/>
                    </a:lnTo>
                    <a:lnTo>
                      <a:pt x="921" y="412"/>
                    </a:lnTo>
                    <a:lnTo>
                      <a:pt x="921" y="408"/>
                    </a:lnTo>
                    <a:lnTo>
                      <a:pt x="921" y="408"/>
                    </a:lnTo>
                    <a:lnTo>
                      <a:pt x="921" y="408"/>
                    </a:lnTo>
                    <a:lnTo>
                      <a:pt x="923" y="408"/>
                    </a:lnTo>
                    <a:lnTo>
                      <a:pt x="924" y="410"/>
                    </a:lnTo>
                    <a:lnTo>
                      <a:pt x="926" y="413"/>
                    </a:lnTo>
                    <a:lnTo>
                      <a:pt x="926" y="415"/>
                    </a:lnTo>
                    <a:lnTo>
                      <a:pt x="926" y="416"/>
                    </a:lnTo>
                    <a:lnTo>
                      <a:pt x="927" y="419"/>
                    </a:lnTo>
                    <a:lnTo>
                      <a:pt x="927" y="419"/>
                    </a:lnTo>
                    <a:lnTo>
                      <a:pt x="929" y="419"/>
                    </a:lnTo>
                    <a:lnTo>
                      <a:pt x="930" y="418"/>
                    </a:lnTo>
                    <a:lnTo>
                      <a:pt x="930" y="418"/>
                    </a:lnTo>
                    <a:lnTo>
                      <a:pt x="930" y="418"/>
                    </a:lnTo>
                    <a:lnTo>
                      <a:pt x="930" y="418"/>
                    </a:lnTo>
                    <a:lnTo>
                      <a:pt x="929" y="416"/>
                    </a:lnTo>
                    <a:lnTo>
                      <a:pt x="929" y="415"/>
                    </a:lnTo>
                    <a:lnTo>
                      <a:pt x="929" y="415"/>
                    </a:lnTo>
                    <a:lnTo>
                      <a:pt x="930" y="415"/>
                    </a:lnTo>
                    <a:lnTo>
                      <a:pt x="930" y="415"/>
                    </a:lnTo>
                    <a:lnTo>
                      <a:pt x="930" y="415"/>
                    </a:lnTo>
                    <a:lnTo>
                      <a:pt x="930" y="415"/>
                    </a:lnTo>
                    <a:lnTo>
                      <a:pt x="932" y="415"/>
                    </a:lnTo>
                    <a:lnTo>
                      <a:pt x="935" y="415"/>
                    </a:lnTo>
                    <a:lnTo>
                      <a:pt x="940" y="418"/>
                    </a:lnTo>
                    <a:lnTo>
                      <a:pt x="940" y="418"/>
                    </a:lnTo>
                    <a:lnTo>
                      <a:pt x="941" y="419"/>
                    </a:lnTo>
                    <a:lnTo>
                      <a:pt x="941" y="419"/>
                    </a:lnTo>
                    <a:lnTo>
                      <a:pt x="943" y="419"/>
                    </a:lnTo>
                    <a:lnTo>
                      <a:pt x="945" y="419"/>
                    </a:lnTo>
                    <a:lnTo>
                      <a:pt x="946" y="418"/>
                    </a:lnTo>
                    <a:lnTo>
                      <a:pt x="948" y="416"/>
                    </a:lnTo>
                    <a:lnTo>
                      <a:pt x="948" y="416"/>
                    </a:lnTo>
                    <a:lnTo>
                      <a:pt x="949" y="416"/>
                    </a:lnTo>
                    <a:lnTo>
                      <a:pt x="949" y="416"/>
                    </a:lnTo>
                    <a:lnTo>
                      <a:pt x="949" y="416"/>
                    </a:lnTo>
                    <a:lnTo>
                      <a:pt x="949" y="418"/>
                    </a:lnTo>
                    <a:lnTo>
                      <a:pt x="949" y="419"/>
                    </a:lnTo>
                    <a:lnTo>
                      <a:pt x="946" y="422"/>
                    </a:lnTo>
                    <a:lnTo>
                      <a:pt x="945" y="424"/>
                    </a:lnTo>
                    <a:lnTo>
                      <a:pt x="945" y="424"/>
                    </a:lnTo>
                    <a:lnTo>
                      <a:pt x="943" y="426"/>
                    </a:lnTo>
                    <a:lnTo>
                      <a:pt x="943" y="427"/>
                    </a:lnTo>
                    <a:lnTo>
                      <a:pt x="943" y="427"/>
                    </a:lnTo>
                    <a:lnTo>
                      <a:pt x="941" y="430"/>
                    </a:lnTo>
                    <a:lnTo>
                      <a:pt x="943" y="432"/>
                    </a:lnTo>
                    <a:lnTo>
                      <a:pt x="943" y="432"/>
                    </a:lnTo>
                    <a:lnTo>
                      <a:pt x="943" y="433"/>
                    </a:lnTo>
                    <a:lnTo>
                      <a:pt x="945" y="435"/>
                    </a:lnTo>
                    <a:lnTo>
                      <a:pt x="946" y="433"/>
                    </a:lnTo>
                    <a:lnTo>
                      <a:pt x="948" y="432"/>
                    </a:lnTo>
                    <a:lnTo>
                      <a:pt x="948" y="430"/>
                    </a:lnTo>
                    <a:lnTo>
                      <a:pt x="949" y="430"/>
                    </a:lnTo>
                    <a:lnTo>
                      <a:pt x="949" y="430"/>
                    </a:lnTo>
                    <a:lnTo>
                      <a:pt x="952" y="429"/>
                    </a:lnTo>
                    <a:lnTo>
                      <a:pt x="955" y="429"/>
                    </a:lnTo>
                    <a:lnTo>
                      <a:pt x="955" y="429"/>
                    </a:lnTo>
                    <a:lnTo>
                      <a:pt x="959" y="430"/>
                    </a:lnTo>
                    <a:lnTo>
                      <a:pt x="960" y="432"/>
                    </a:lnTo>
                    <a:lnTo>
                      <a:pt x="960" y="432"/>
                    </a:lnTo>
                    <a:lnTo>
                      <a:pt x="960" y="433"/>
                    </a:lnTo>
                    <a:lnTo>
                      <a:pt x="960" y="433"/>
                    </a:lnTo>
                    <a:lnTo>
                      <a:pt x="962" y="433"/>
                    </a:lnTo>
                    <a:lnTo>
                      <a:pt x="962" y="432"/>
                    </a:lnTo>
                    <a:lnTo>
                      <a:pt x="962" y="432"/>
                    </a:lnTo>
                    <a:lnTo>
                      <a:pt x="962" y="430"/>
                    </a:lnTo>
                    <a:lnTo>
                      <a:pt x="963" y="429"/>
                    </a:lnTo>
                    <a:lnTo>
                      <a:pt x="966" y="426"/>
                    </a:lnTo>
                    <a:lnTo>
                      <a:pt x="966" y="426"/>
                    </a:lnTo>
                    <a:lnTo>
                      <a:pt x="970" y="422"/>
                    </a:lnTo>
                    <a:lnTo>
                      <a:pt x="970" y="422"/>
                    </a:lnTo>
                    <a:lnTo>
                      <a:pt x="973" y="424"/>
                    </a:lnTo>
                    <a:lnTo>
                      <a:pt x="973" y="422"/>
                    </a:lnTo>
                    <a:lnTo>
                      <a:pt x="973" y="422"/>
                    </a:lnTo>
                    <a:lnTo>
                      <a:pt x="976" y="421"/>
                    </a:lnTo>
                    <a:lnTo>
                      <a:pt x="979" y="419"/>
                    </a:lnTo>
                    <a:lnTo>
                      <a:pt x="979" y="418"/>
                    </a:lnTo>
                    <a:lnTo>
                      <a:pt x="979" y="416"/>
                    </a:lnTo>
                    <a:lnTo>
                      <a:pt x="979" y="416"/>
                    </a:lnTo>
                    <a:lnTo>
                      <a:pt x="980" y="415"/>
                    </a:lnTo>
                    <a:lnTo>
                      <a:pt x="984" y="415"/>
                    </a:lnTo>
                    <a:lnTo>
                      <a:pt x="984" y="415"/>
                    </a:lnTo>
                    <a:lnTo>
                      <a:pt x="988" y="413"/>
                    </a:lnTo>
                    <a:lnTo>
                      <a:pt x="993" y="410"/>
                    </a:lnTo>
                    <a:lnTo>
                      <a:pt x="995" y="408"/>
                    </a:lnTo>
                    <a:lnTo>
                      <a:pt x="998" y="408"/>
                    </a:lnTo>
                    <a:lnTo>
                      <a:pt x="998" y="408"/>
                    </a:lnTo>
                    <a:lnTo>
                      <a:pt x="999" y="407"/>
                    </a:lnTo>
                    <a:lnTo>
                      <a:pt x="999" y="407"/>
                    </a:lnTo>
                    <a:lnTo>
                      <a:pt x="1001" y="407"/>
                    </a:lnTo>
                    <a:lnTo>
                      <a:pt x="1002" y="405"/>
                    </a:lnTo>
                    <a:lnTo>
                      <a:pt x="1004" y="405"/>
                    </a:lnTo>
                    <a:lnTo>
                      <a:pt x="1004" y="407"/>
                    </a:lnTo>
                    <a:lnTo>
                      <a:pt x="1004" y="408"/>
                    </a:lnTo>
                    <a:lnTo>
                      <a:pt x="1002" y="413"/>
                    </a:lnTo>
                    <a:lnTo>
                      <a:pt x="1001" y="413"/>
                    </a:lnTo>
                    <a:lnTo>
                      <a:pt x="1001" y="413"/>
                    </a:lnTo>
                    <a:lnTo>
                      <a:pt x="998" y="413"/>
                    </a:lnTo>
                    <a:lnTo>
                      <a:pt x="998" y="413"/>
                    </a:lnTo>
                    <a:lnTo>
                      <a:pt x="998" y="415"/>
                    </a:lnTo>
                    <a:lnTo>
                      <a:pt x="998" y="415"/>
                    </a:lnTo>
                    <a:lnTo>
                      <a:pt x="998" y="416"/>
                    </a:lnTo>
                    <a:lnTo>
                      <a:pt x="998" y="418"/>
                    </a:lnTo>
                    <a:lnTo>
                      <a:pt x="999" y="418"/>
                    </a:lnTo>
                    <a:lnTo>
                      <a:pt x="999" y="419"/>
                    </a:lnTo>
                    <a:lnTo>
                      <a:pt x="1004" y="422"/>
                    </a:lnTo>
                    <a:lnTo>
                      <a:pt x="1010" y="427"/>
                    </a:lnTo>
                    <a:lnTo>
                      <a:pt x="1015" y="433"/>
                    </a:lnTo>
                    <a:lnTo>
                      <a:pt x="1020" y="437"/>
                    </a:lnTo>
                    <a:lnTo>
                      <a:pt x="1021" y="438"/>
                    </a:lnTo>
                    <a:lnTo>
                      <a:pt x="1023" y="440"/>
                    </a:lnTo>
                    <a:lnTo>
                      <a:pt x="1026" y="444"/>
                    </a:lnTo>
                    <a:lnTo>
                      <a:pt x="1029" y="449"/>
                    </a:lnTo>
                    <a:lnTo>
                      <a:pt x="1034" y="458"/>
                    </a:lnTo>
                    <a:lnTo>
                      <a:pt x="1037" y="466"/>
                    </a:lnTo>
                    <a:lnTo>
                      <a:pt x="1043" y="474"/>
                    </a:lnTo>
                    <a:lnTo>
                      <a:pt x="1045" y="480"/>
                    </a:lnTo>
                    <a:lnTo>
                      <a:pt x="1051" y="491"/>
                    </a:lnTo>
                    <a:lnTo>
                      <a:pt x="1052" y="494"/>
                    </a:lnTo>
                    <a:lnTo>
                      <a:pt x="1056" y="499"/>
                    </a:lnTo>
                    <a:lnTo>
                      <a:pt x="1057" y="505"/>
                    </a:lnTo>
                    <a:lnTo>
                      <a:pt x="1060" y="510"/>
                    </a:lnTo>
                    <a:lnTo>
                      <a:pt x="1062" y="512"/>
                    </a:lnTo>
                    <a:lnTo>
                      <a:pt x="1062" y="512"/>
                    </a:lnTo>
                    <a:lnTo>
                      <a:pt x="1062" y="510"/>
                    </a:lnTo>
                    <a:lnTo>
                      <a:pt x="1062" y="509"/>
                    </a:lnTo>
                    <a:lnTo>
                      <a:pt x="1062" y="509"/>
                    </a:lnTo>
                    <a:lnTo>
                      <a:pt x="1063" y="507"/>
                    </a:lnTo>
                    <a:lnTo>
                      <a:pt x="1063" y="507"/>
                    </a:lnTo>
                    <a:lnTo>
                      <a:pt x="1065" y="507"/>
                    </a:lnTo>
                    <a:lnTo>
                      <a:pt x="1066" y="507"/>
                    </a:lnTo>
                    <a:lnTo>
                      <a:pt x="1068" y="505"/>
                    </a:lnTo>
                    <a:lnTo>
                      <a:pt x="1068" y="504"/>
                    </a:lnTo>
                    <a:lnTo>
                      <a:pt x="1068" y="502"/>
                    </a:lnTo>
                    <a:lnTo>
                      <a:pt x="1068" y="501"/>
                    </a:lnTo>
                    <a:lnTo>
                      <a:pt x="1068" y="499"/>
                    </a:lnTo>
                    <a:lnTo>
                      <a:pt x="1068" y="499"/>
                    </a:lnTo>
                    <a:lnTo>
                      <a:pt x="1068" y="499"/>
                    </a:lnTo>
                    <a:lnTo>
                      <a:pt x="1070" y="498"/>
                    </a:lnTo>
                    <a:lnTo>
                      <a:pt x="1071" y="498"/>
                    </a:lnTo>
                    <a:lnTo>
                      <a:pt x="1071" y="496"/>
                    </a:lnTo>
                    <a:lnTo>
                      <a:pt x="1071" y="496"/>
                    </a:lnTo>
                    <a:lnTo>
                      <a:pt x="1073" y="496"/>
                    </a:lnTo>
                    <a:lnTo>
                      <a:pt x="1074" y="496"/>
                    </a:lnTo>
                    <a:lnTo>
                      <a:pt x="1076" y="496"/>
                    </a:lnTo>
                    <a:lnTo>
                      <a:pt x="1076" y="498"/>
                    </a:lnTo>
                    <a:lnTo>
                      <a:pt x="1077" y="499"/>
                    </a:lnTo>
                    <a:lnTo>
                      <a:pt x="1077" y="499"/>
                    </a:lnTo>
                    <a:lnTo>
                      <a:pt x="1077" y="499"/>
                    </a:lnTo>
                    <a:lnTo>
                      <a:pt x="1079" y="499"/>
                    </a:lnTo>
                    <a:lnTo>
                      <a:pt x="1081" y="501"/>
                    </a:lnTo>
                    <a:lnTo>
                      <a:pt x="1079" y="502"/>
                    </a:lnTo>
                    <a:lnTo>
                      <a:pt x="1079" y="504"/>
                    </a:lnTo>
                    <a:lnTo>
                      <a:pt x="1079" y="504"/>
                    </a:lnTo>
                    <a:lnTo>
                      <a:pt x="1079" y="505"/>
                    </a:lnTo>
                    <a:lnTo>
                      <a:pt x="1079" y="505"/>
                    </a:lnTo>
                    <a:lnTo>
                      <a:pt x="1079" y="505"/>
                    </a:lnTo>
                    <a:lnTo>
                      <a:pt x="1084" y="505"/>
                    </a:lnTo>
                    <a:lnTo>
                      <a:pt x="1084" y="505"/>
                    </a:lnTo>
                    <a:lnTo>
                      <a:pt x="1085" y="507"/>
                    </a:lnTo>
                    <a:lnTo>
                      <a:pt x="1085" y="509"/>
                    </a:lnTo>
                    <a:lnTo>
                      <a:pt x="1085" y="509"/>
                    </a:lnTo>
                    <a:lnTo>
                      <a:pt x="1085" y="509"/>
                    </a:lnTo>
                    <a:lnTo>
                      <a:pt x="1085" y="510"/>
                    </a:lnTo>
                    <a:lnTo>
                      <a:pt x="1085" y="510"/>
                    </a:lnTo>
                    <a:lnTo>
                      <a:pt x="1085" y="512"/>
                    </a:lnTo>
                    <a:lnTo>
                      <a:pt x="1085" y="512"/>
                    </a:lnTo>
                    <a:lnTo>
                      <a:pt x="1088" y="512"/>
                    </a:lnTo>
                    <a:lnTo>
                      <a:pt x="1090" y="512"/>
                    </a:lnTo>
                    <a:lnTo>
                      <a:pt x="1095" y="510"/>
                    </a:lnTo>
                    <a:lnTo>
                      <a:pt x="1095" y="510"/>
                    </a:lnTo>
                    <a:lnTo>
                      <a:pt x="1096" y="512"/>
                    </a:lnTo>
                    <a:lnTo>
                      <a:pt x="1099" y="512"/>
                    </a:lnTo>
                    <a:lnTo>
                      <a:pt x="1101" y="512"/>
                    </a:lnTo>
                    <a:lnTo>
                      <a:pt x="1104" y="512"/>
                    </a:lnTo>
                    <a:lnTo>
                      <a:pt x="1104" y="512"/>
                    </a:lnTo>
                    <a:lnTo>
                      <a:pt x="1106" y="510"/>
                    </a:lnTo>
                    <a:lnTo>
                      <a:pt x="1106" y="510"/>
                    </a:lnTo>
                    <a:lnTo>
                      <a:pt x="1107" y="510"/>
                    </a:lnTo>
                    <a:lnTo>
                      <a:pt x="1107" y="509"/>
                    </a:lnTo>
                    <a:lnTo>
                      <a:pt x="1107" y="509"/>
                    </a:lnTo>
                    <a:lnTo>
                      <a:pt x="1107" y="509"/>
                    </a:lnTo>
                    <a:lnTo>
                      <a:pt x="1109" y="507"/>
                    </a:lnTo>
                    <a:lnTo>
                      <a:pt x="1112" y="507"/>
                    </a:lnTo>
                    <a:lnTo>
                      <a:pt x="1113" y="507"/>
                    </a:lnTo>
                    <a:lnTo>
                      <a:pt x="1113" y="507"/>
                    </a:lnTo>
                    <a:lnTo>
                      <a:pt x="1115" y="505"/>
                    </a:lnTo>
                    <a:lnTo>
                      <a:pt x="1115" y="505"/>
                    </a:lnTo>
                    <a:lnTo>
                      <a:pt x="1115" y="505"/>
                    </a:lnTo>
                    <a:lnTo>
                      <a:pt x="1118" y="504"/>
                    </a:lnTo>
                    <a:lnTo>
                      <a:pt x="1120" y="504"/>
                    </a:lnTo>
                    <a:lnTo>
                      <a:pt x="1123" y="505"/>
                    </a:lnTo>
                    <a:lnTo>
                      <a:pt x="1126" y="507"/>
                    </a:lnTo>
                    <a:lnTo>
                      <a:pt x="1127" y="510"/>
                    </a:lnTo>
                    <a:lnTo>
                      <a:pt x="1129" y="510"/>
                    </a:lnTo>
                    <a:lnTo>
                      <a:pt x="1131" y="513"/>
                    </a:lnTo>
                    <a:lnTo>
                      <a:pt x="1131" y="513"/>
                    </a:lnTo>
                    <a:lnTo>
                      <a:pt x="1132" y="515"/>
                    </a:lnTo>
                    <a:lnTo>
                      <a:pt x="1134" y="518"/>
                    </a:lnTo>
                    <a:lnTo>
                      <a:pt x="1134" y="519"/>
                    </a:lnTo>
                    <a:lnTo>
                      <a:pt x="1135" y="524"/>
                    </a:lnTo>
                    <a:lnTo>
                      <a:pt x="1135" y="526"/>
                    </a:lnTo>
                    <a:lnTo>
                      <a:pt x="1135" y="526"/>
                    </a:lnTo>
                    <a:lnTo>
                      <a:pt x="1137" y="526"/>
                    </a:lnTo>
                    <a:lnTo>
                      <a:pt x="1138" y="526"/>
                    </a:lnTo>
                    <a:lnTo>
                      <a:pt x="1142" y="526"/>
                    </a:lnTo>
                    <a:lnTo>
                      <a:pt x="1145" y="529"/>
                    </a:lnTo>
                    <a:lnTo>
                      <a:pt x="1145" y="529"/>
                    </a:lnTo>
                    <a:lnTo>
                      <a:pt x="1146" y="529"/>
                    </a:lnTo>
                    <a:lnTo>
                      <a:pt x="1148" y="530"/>
                    </a:lnTo>
                    <a:lnTo>
                      <a:pt x="1148" y="532"/>
                    </a:lnTo>
                    <a:lnTo>
                      <a:pt x="1148" y="534"/>
                    </a:lnTo>
                    <a:lnTo>
                      <a:pt x="1148" y="535"/>
                    </a:lnTo>
                    <a:lnTo>
                      <a:pt x="1149" y="537"/>
                    </a:lnTo>
                    <a:lnTo>
                      <a:pt x="1149" y="538"/>
                    </a:lnTo>
                    <a:lnTo>
                      <a:pt x="1151" y="541"/>
                    </a:lnTo>
                    <a:lnTo>
                      <a:pt x="1152" y="543"/>
                    </a:lnTo>
                    <a:lnTo>
                      <a:pt x="1152" y="543"/>
                    </a:lnTo>
                    <a:lnTo>
                      <a:pt x="1152" y="543"/>
                    </a:lnTo>
                    <a:lnTo>
                      <a:pt x="1154" y="541"/>
                    </a:lnTo>
                    <a:lnTo>
                      <a:pt x="1157" y="543"/>
                    </a:lnTo>
                    <a:lnTo>
                      <a:pt x="1163" y="545"/>
                    </a:lnTo>
                    <a:lnTo>
                      <a:pt x="1163" y="545"/>
                    </a:lnTo>
                    <a:lnTo>
                      <a:pt x="1165" y="546"/>
                    </a:lnTo>
                    <a:lnTo>
                      <a:pt x="1165" y="546"/>
                    </a:lnTo>
                    <a:lnTo>
                      <a:pt x="1167" y="545"/>
                    </a:lnTo>
                    <a:lnTo>
                      <a:pt x="1167" y="545"/>
                    </a:lnTo>
                    <a:lnTo>
                      <a:pt x="1168" y="546"/>
                    </a:lnTo>
                    <a:lnTo>
                      <a:pt x="1168" y="546"/>
                    </a:lnTo>
                    <a:lnTo>
                      <a:pt x="1170" y="545"/>
                    </a:lnTo>
                    <a:lnTo>
                      <a:pt x="1170" y="543"/>
                    </a:lnTo>
                    <a:lnTo>
                      <a:pt x="1170" y="543"/>
                    </a:lnTo>
                    <a:lnTo>
                      <a:pt x="1173" y="541"/>
                    </a:lnTo>
                    <a:lnTo>
                      <a:pt x="1173" y="541"/>
                    </a:lnTo>
                    <a:lnTo>
                      <a:pt x="1174" y="540"/>
                    </a:lnTo>
                    <a:lnTo>
                      <a:pt x="1176" y="538"/>
                    </a:lnTo>
                    <a:lnTo>
                      <a:pt x="1176" y="538"/>
                    </a:lnTo>
                    <a:lnTo>
                      <a:pt x="1176" y="538"/>
                    </a:lnTo>
                    <a:lnTo>
                      <a:pt x="1176" y="538"/>
                    </a:lnTo>
                    <a:lnTo>
                      <a:pt x="1177" y="538"/>
                    </a:lnTo>
                    <a:lnTo>
                      <a:pt x="1177" y="538"/>
                    </a:lnTo>
                    <a:lnTo>
                      <a:pt x="1177" y="540"/>
                    </a:lnTo>
                    <a:lnTo>
                      <a:pt x="1177" y="541"/>
                    </a:lnTo>
                    <a:lnTo>
                      <a:pt x="1176" y="543"/>
                    </a:lnTo>
                    <a:lnTo>
                      <a:pt x="1176" y="543"/>
                    </a:lnTo>
                    <a:lnTo>
                      <a:pt x="1176" y="545"/>
                    </a:lnTo>
                    <a:lnTo>
                      <a:pt x="1177" y="545"/>
                    </a:lnTo>
                    <a:lnTo>
                      <a:pt x="1179" y="546"/>
                    </a:lnTo>
                    <a:lnTo>
                      <a:pt x="1182" y="551"/>
                    </a:lnTo>
                    <a:lnTo>
                      <a:pt x="1182" y="551"/>
                    </a:lnTo>
                    <a:lnTo>
                      <a:pt x="1184" y="552"/>
                    </a:lnTo>
                    <a:lnTo>
                      <a:pt x="1185" y="552"/>
                    </a:lnTo>
                    <a:lnTo>
                      <a:pt x="1185" y="552"/>
                    </a:lnTo>
                    <a:lnTo>
                      <a:pt x="1187" y="552"/>
                    </a:lnTo>
                    <a:lnTo>
                      <a:pt x="1188" y="555"/>
                    </a:lnTo>
                    <a:lnTo>
                      <a:pt x="1188" y="555"/>
                    </a:lnTo>
                    <a:lnTo>
                      <a:pt x="1188" y="557"/>
                    </a:lnTo>
                    <a:lnTo>
                      <a:pt x="1188" y="557"/>
                    </a:lnTo>
                    <a:lnTo>
                      <a:pt x="1188" y="557"/>
                    </a:lnTo>
                    <a:lnTo>
                      <a:pt x="1190" y="557"/>
                    </a:lnTo>
                    <a:lnTo>
                      <a:pt x="1190" y="557"/>
                    </a:lnTo>
                    <a:lnTo>
                      <a:pt x="1192" y="557"/>
                    </a:lnTo>
                    <a:lnTo>
                      <a:pt x="1192" y="555"/>
                    </a:lnTo>
                    <a:lnTo>
                      <a:pt x="1192" y="555"/>
                    </a:lnTo>
                    <a:lnTo>
                      <a:pt x="1192" y="555"/>
                    </a:lnTo>
                    <a:lnTo>
                      <a:pt x="1193" y="555"/>
                    </a:lnTo>
                    <a:lnTo>
                      <a:pt x="1195" y="555"/>
                    </a:lnTo>
                    <a:lnTo>
                      <a:pt x="1195" y="555"/>
                    </a:lnTo>
                    <a:lnTo>
                      <a:pt x="1196" y="554"/>
                    </a:lnTo>
                    <a:lnTo>
                      <a:pt x="1198" y="554"/>
                    </a:lnTo>
                    <a:lnTo>
                      <a:pt x="1198" y="554"/>
                    </a:lnTo>
                    <a:lnTo>
                      <a:pt x="1199" y="554"/>
                    </a:lnTo>
                    <a:lnTo>
                      <a:pt x="1199" y="554"/>
                    </a:lnTo>
                    <a:lnTo>
                      <a:pt x="1199" y="554"/>
                    </a:lnTo>
                    <a:lnTo>
                      <a:pt x="1199" y="554"/>
                    </a:lnTo>
                    <a:lnTo>
                      <a:pt x="1201" y="552"/>
                    </a:lnTo>
                    <a:lnTo>
                      <a:pt x="1203" y="552"/>
                    </a:lnTo>
                    <a:lnTo>
                      <a:pt x="1203" y="551"/>
                    </a:lnTo>
                    <a:lnTo>
                      <a:pt x="1203" y="549"/>
                    </a:lnTo>
                    <a:lnTo>
                      <a:pt x="1203" y="549"/>
                    </a:lnTo>
                    <a:lnTo>
                      <a:pt x="1204" y="546"/>
                    </a:lnTo>
                    <a:lnTo>
                      <a:pt x="1204" y="546"/>
                    </a:lnTo>
                    <a:lnTo>
                      <a:pt x="1206" y="546"/>
                    </a:lnTo>
                    <a:lnTo>
                      <a:pt x="1207" y="546"/>
                    </a:lnTo>
                    <a:lnTo>
                      <a:pt x="1209" y="546"/>
                    </a:lnTo>
                    <a:lnTo>
                      <a:pt x="1210" y="546"/>
                    </a:lnTo>
                    <a:lnTo>
                      <a:pt x="1210" y="546"/>
                    </a:lnTo>
                    <a:lnTo>
                      <a:pt x="1212" y="546"/>
                    </a:lnTo>
                    <a:lnTo>
                      <a:pt x="1212" y="546"/>
                    </a:lnTo>
                    <a:lnTo>
                      <a:pt x="1213" y="548"/>
                    </a:lnTo>
                    <a:lnTo>
                      <a:pt x="1213" y="548"/>
                    </a:lnTo>
                    <a:lnTo>
                      <a:pt x="1215" y="546"/>
                    </a:lnTo>
                    <a:lnTo>
                      <a:pt x="1215" y="546"/>
                    </a:lnTo>
                    <a:lnTo>
                      <a:pt x="1215" y="545"/>
                    </a:lnTo>
                    <a:lnTo>
                      <a:pt x="1215" y="545"/>
                    </a:lnTo>
                    <a:lnTo>
                      <a:pt x="1215" y="545"/>
                    </a:lnTo>
                    <a:lnTo>
                      <a:pt x="1217" y="545"/>
                    </a:lnTo>
                    <a:lnTo>
                      <a:pt x="1217" y="545"/>
                    </a:lnTo>
                    <a:lnTo>
                      <a:pt x="1217" y="545"/>
                    </a:lnTo>
                    <a:lnTo>
                      <a:pt x="1217" y="545"/>
                    </a:lnTo>
                    <a:lnTo>
                      <a:pt x="1217" y="545"/>
                    </a:lnTo>
                    <a:lnTo>
                      <a:pt x="1218" y="546"/>
                    </a:lnTo>
                    <a:lnTo>
                      <a:pt x="1218" y="546"/>
                    </a:lnTo>
                    <a:lnTo>
                      <a:pt x="1218" y="546"/>
                    </a:lnTo>
                    <a:lnTo>
                      <a:pt x="1220" y="546"/>
                    </a:lnTo>
                    <a:lnTo>
                      <a:pt x="1221" y="545"/>
                    </a:lnTo>
                    <a:lnTo>
                      <a:pt x="1221" y="543"/>
                    </a:lnTo>
                    <a:lnTo>
                      <a:pt x="1223" y="541"/>
                    </a:lnTo>
                    <a:lnTo>
                      <a:pt x="1223" y="541"/>
                    </a:lnTo>
                    <a:lnTo>
                      <a:pt x="1223" y="543"/>
                    </a:lnTo>
                    <a:lnTo>
                      <a:pt x="1224" y="543"/>
                    </a:lnTo>
                    <a:lnTo>
                      <a:pt x="1224" y="543"/>
                    </a:lnTo>
                    <a:lnTo>
                      <a:pt x="1224" y="543"/>
                    </a:lnTo>
                    <a:lnTo>
                      <a:pt x="1226" y="541"/>
                    </a:lnTo>
                    <a:lnTo>
                      <a:pt x="1228" y="540"/>
                    </a:lnTo>
                    <a:lnTo>
                      <a:pt x="1229" y="540"/>
                    </a:lnTo>
                    <a:lnTo>
                      <a:pt x="1229" y="540"/>
                    </a:lnTo>
                    <a:lnTo>
                      <a:pt x="1229" y="538"/>
                    </a:lnTo>
                    <a:lnTo>
                      <a:pt x="1229" y="537"/>
                    </a:lnTo>
                    <a:lnTo>
                      <a:pt x="1229" y="535"/>
                    </a:lnTo>
                    <a:lnTo>
                      <a:pt x="1229" y="535"/>
                    </a:lnTo>
                    <a:lnTo>
                      <a:pt x="1231" y="534"/>
                    </a:lnTo>
                    <a:lnTo>
                      <a:pt x="1231" y="534"/>
                    </a:lnTo>
                    <a:lnTo>
                      <a:pt x="1232" y="534"/>
                    </a:lnTo>
                    <a:lnTo>
                      <a:pt x="1234" y="534"/>
                    </a:lnTo>
                    <a:lnTo>
                      <a:pt x="1234" y="534"/>
                    </a:lnTo>
                    <a:lnTo>
                      <a:pt x="1235" y="532"/>
                    </a:lnTo>
                    <a:lnTo>
                      <a:pt x="1235" y="530"/>
                    </a:lnTo>
                    <a:lnTo>
                      <a:pt x="1237" y="529"/>
                    </a:lnTo>
                    <a:lnTo>
                      <a:pt x="1237" y="529"/>
                    </a:lnTo>
                    <a:lnTo>
                      <a:pt x="1240" y="529"/>
                    </a:lnTo>
                    <a:lnTo>
                      <a:pt x="1240" y="529"/>
                    </a:lnTo>
                    <a:lnTo>
                      <a:pt x="1242" y="527"/>
                    </a:lnTo>
                    <a:lnTo>
                      <a:pt x="1242" y="527"/>
                    </a:lnTo>
                    <a:lnTo>
                      <a:pt x="1245" y="526"/>
                    </a:lnTo>
                    <a:lnTo>
                      <a:pt x="1246" y="526"/>
                    </a:lnTo>
                    <a:lnTo>
                      <a:pt x="1246" y="526"/>
                    </a:lnTo>
                    <a:lnTo>
                      <a:pt x="1248" y="524"/>
                    </a:lnTo>
                    <a:lnTo>
                      <a:pt x="1249" y="524"/>
                    </a:lnTo>
                    <a:lnTo>
                      <a:pt x="1249" y="524"/>
                    </a:lnTo>
                    <a:lnTo>
                      <a:pt x="1249" y="523"/>
                    </a:lnTo>
                    <a:lnTo>
                      <a:pt x="1251" y="523"/>
                    </a:lnTo>
                    <a:lnTo>
                      <a:pt x="1251" y="523"/>
                    </a:lnTo>
                    <a:lnTo>
                      <a:pt x="1254" y="521"/>
                    </a:lnTo>
                    <a:lnTo>
                      <a:pt x="1254" y="521"/>
                    </a:lnTo>
                    <a:lnTo>
                      <a:pt x="1254" y="521"/>
                    </a:lnTo>
                    <a:lnTo>
                      <a:pt x="1257" y="519"/>
                    </a:lnTo>
                    <a:lnTo>
                      <a:pt x="1259" y="519"/>
                    </a:lnTo>
                    <a:lnTo>
                      <a:pt x="1259" y="519"/>
                    </a:lnTo>
                    <a:lnTo>
                      <a:pt x="1260" y="519"/>
                    </a:lnTo>
                    <a:lnTo>
                      <a:pt x="1260" y="518"/>
                    </a:lnTo>
                    <a:lnTo>
                      <a:pt x="1260" y="518"/>
                    </a:lnTo>
                    <a:lnTo>
                      <a:pt x="1262" y="516"/>
                    </a:lnTo>
                    <a:lnTo>
                      <a:pt x="1263" y="516"/>
                    </a:lnTo>
                    <a:lnTo>
                      <a:pt x="1263" y="515"/>
                    </a:lnTo>
                    <a:lnTo>
                      <a:pt x="1265" y="513"/>
                    </a:lnTo>
                    <a:lnTo>
                      <a:pt x="1265" y="513"/>
                    </a:lnTo>
                    <a:lnTo>
                      <a:pt x="1267" y="513"/>
                    </a:lnTo>
                    <a:lnTo>
                      <a:pt x="1267" y="513"/>
                    </a:lnTo>
                    <a:lnTo>
                      <a:pt x="1270" y="513"/>
                    </a:lnTo>
                    <a:lnTo>
                      <a:pt x="1270" y="513"/>
                    </a:lnTo>
                    <a:lnTo>
                      <a:pt x="1273" y="513"/>
                    </a:lnTo>
                    <a:lnTo>
                      <a:pt x="1274" y="513"/>
                    </a:lnTo>
                    <a:lnTo>
                      <a:pt x="1274" y="513"/>
                    </a:lnTo>
                    <a:lnTo>
                      <a:pt x="1274" y="510"/>
                    </a:lnTo>
                    <a:lnTo>
                      <a:pt x="1276" y="510"/>
                    </a:lnTo>
                    <a:lnTo>
                      <a:pt x="1276" y="509"/>
                    </a:lnTo>
                    <a:lnTo>
                      <a:pt x="1276" y="509"/>
                    </a:lnTo>
                    <a:lnTo>
                      <a:pt x="1278" y="509"/>
                    </a:lnTo>
                    <a:lnTo>
                      <a:pt x="1278" y="510"/>
                    </a:lnTo>
                    <a:lnTo>
                      <a:pt x="1279" y="510"/>
                    </a:lnTo>
                    <a:lnTo>
                      <a:pt x="1281" y="512"/>
                    </a:lnTo>
                    <a:lnTo>
                      <a:pt x="1282" y="513"/>
                    </a:lnTo>
                    <a:lnTo>
                      <a:pt x="1282" y="513"/>
                    </a:lnTo>
                    <a:lnTo>
                      <a:pt x="1282" y="513"/>
                    </a:lnTo>
                    <a:lnTo>
                      <a:pt x="1284" y="512"/>
                    </a:lnTo>
                    <a:lnTo>
                      <a:pt x="1284" y="510"/>
                    </a:lnTo>
                    <a:lnTo>
                      <a:pt x="1284" y="510"/>
                    </a:lnTo>
                    <a:lnTo>
                      <a:pt x="1285" y="510"/>
                    </a:lnTo>
                    <a:lnTo>
                      <a:pt x="1287" y="510"/>
                    </a:lnTo>
                    <a:lnTo>
                      <a:pt x="1287" y="512"/>
                    </a:lnTo>
                    <a:lnTo>
                      <a:pt x="1287" y="512"/>
                    </a:lnTo>
                    <a:lnTo>
                      <a:pt x="1289" y="513"/>
                    </a:lnTo>
                    <a:lnTo>
                      <a:pt x="1290" y="515"/>
                    </a:lnTo>
                    <a:lnTo>
                      <a:pt x="1292" y="515"/>
                    </a:lnTo>
                    <a:lnTo>
                      <a:pt x="1293" y="515"/>
                    </a:lnTo>
                    <a:lnTo>
                      <a:pt x="1295" y="515"/>
                    </a:lnTo>
                    <a:lnTo>
                      <a:pt x="1296" y="515"/>
                    </a:lnTo>
                    <a:lnTo>
                      <a:pt x="1299" y="516"/>
                    </a:lnTo>
                    <a:lnTo>
                      <a:pt x="1299" y="516"/>
                    </a:lnTo>
                    <a:lnTo>
                      <a:pt x="1303" y="516"/>
                    </a:lnTo>
                    <a:lnTo>
                      <a:pt x="1306" y="516"/>
                    </a:lnTo>
                    <a:lnTo>
                      <a:pt x="1307" y="516"/>
                    </a:lnTo>
                    <a:lnTo>
                      <a:pt x="1310" y="516"/>
                    </a:lnTo>
                    <a:lnTo>
                      <a:pt x="1310" y="518"/>
                    </a:lnTo>
                    <a:lnTo>
                      <a:pt x="1312" y="521"/>
                    </a:lnTo>
                    <a:lnTo>
                      <a:pt x="1312" y="524"/>
                    </a:lnTo>
                    <a:lnTo>
                      <a:pt x="1312" y="526"/>
                    </a:lnTo>
                    <a:lnTo>
                      <a:pt x="1312" y="527"/>
                    </a:lnTo>
                    <a:lnTo>
                      <a:pt x="1314" y="527"/>
                    </a:lnTo>
                    <a:lnTo>
                      <a:pt x="1314" y="527"/>
                    </a:lnTo>
                    <a:lnTo>
                      <a:pt x="1314" y="527"/>
                    </a:lnTo>
                    <a:lnTo>
                      <a:pt x="1315" y="529"/>
                    </a:lnTo>
                    <a:lnTo>
                      <a:pt x="1315" y="529"/>
                    </a:lnTo>
                    <a:lnTo>
                      <a:pt x="1317" y="532"/>
                    </a:lnTo>
                    <a:lnTo>
                      <a:pt x="1317" y="532"/>
                    </a:lnTo>
                    <a:lnTo>
                      <a:pt x="1318" y="530"/>
                    </a:lnTo>
                    <a:lnTo>
                      <a:pt x="1318" y="530"/>
                    </a:lnTo>
                    <a:lnTo>
                      <a:pt x="1320" y="530"/>
                    </a:lnTo>
                    <a:lnTo>
                      <a:pt x="1321" y="530"/>
                    </a:lnTo>
                    <a:lnTo>
                      <a:pt x="1323" y="532"/>
                    </a:lnTo>
                    <a:lnTo>
                      <a:pt x="1324" y="534"/>
                    </a:lnTo>
                    <a:lnTo>
                      <a:pt x="1324" y="534"/>
                    </a:lnTo>
                    <a:lnTo>
                      <a:pt x="1324" y="534"/>
                    </a:lnTo>
                    <a:lnTo>
                      <a:pt x="1326" y="534"/>
                    </a:lnTo>
                    <a:lnTo>
                      <a:pt x="1329" y="534"/>
                    </a:lnTo>
                    <a:lnTo>
                      <a:pt x="1331" y="534"/>
                    </a:lnTo>
                    <a:lnTo>
                      <a:pt x="1331" y="534"/>
                    </a:lnTo>
                    <a:lnTo>
                      <a:pt x="1331" y="534"/>
                    </a:lnTo>
                    <a:lnTo>
                      <a:pt x="1332" y="534"/>
                    </a:lnTo>
                    <a:lnTo>
                      <a:pt x="1332" y="534"/>
                    </a:lnTo>
                    <a:lnTo>
                      <a:pt x="1334" y="534"/>
                    </a:lnTo>
                    <a:lnTo>
                      <a:pt x="1334" y="534"/>
                    </a:lnTo>
                    <a:lnTo>
                      <a:pt x="1335" y="534"/>
                    </a:lnTo>
                    <a:lnTo>
                      <a:pt x="1337" y="532"/>
                    </a:lnTo>
                    <a:lnTo>
                      <a:pt x="1339" y="532"/>
                    </a:lnTo>
                    <a:lnTo>
                      <a:pt x="1339" y="532"/>
                    </a:lnTo>
                    <a:lnTo>
                      <a:pt x="1340" y="534"/>
                    </a:lnTo>
                    <a:lnTo>
                      <a:pt x="1340" y="534"/>
                    </a:lnTo>
                    <a:lnTo>
                      <a:pt x="1340" y="532"/>
                    </a:lnTo>
                    <a:lnTo>
                      <a:pt x="1342" y="532"/>
                    </a:lnTo>
                    <a:lnTo>
                      <a:pt x="1342" y="532"/>
                    </a:lnTo>
                    <a:lnTo>
                      <a:pt x="1343" y="532"/>
                    </a:lnTo>
                    <a:lnTo>
                      <a:pt x="1345" y="534"/>
                    </a:lnTo>
                    <a:lnTo>
                      <a:pt x="1346" y="535"/>
                    </a:lnTo>
                    <a:lnTo>
                      <a:pt x="1346" y="535"/>
                    </a:lnTo>
                    <a:lnTo>
                      <a:pt x="1348" y="535"/>
                    </a:lnTo>
                    <a:lnTo>
                      <a:pt x="1348" y="535"/>
                    </a:lnTo>
                    <a:lnTo>
                      <a:pt x="1348" y="535"/>
                    </a:lnTo>
                    <a:lnTo>
                      <a:pt x="1348" y="535"/>
                    </a:lnTo>
                    <a:lnTo>
                      <a:pt x="1349" y="534"/>
                    </a:lnTo>
                    <a:lnTo>
                      <a:pt x="1349" y="534"/>
                    </a:lnTo>
                    <a:lnTo>
                      <a:pt x="1349" y="534"/>
                    </a:lnTo>
                    <a:lnTo>
                      <a:pt x="1351" y="535"/>
                    </a:lnTo>
                    <a:lnTo>
                      <a:pt x="1351" y="535"/>
                    </a:lnTo>
                    <a:lnTo>
                      <a:pt x="1353" y="535"/>
                    </a:lnTo>
                    <a:lnTo>
                      <a:pt x="1353" y="534"/>
                    </a:lnTo>
                    <a:lnTo>
                      <a:pt x="1357" y="535"/>
                    </a:lnTo>
                    <a:lnTo>
                      <a:pt x="1359" y="537"/>
                    </a:lnTo>
                    <a:lnTo>
                      <a:pt x="1360" y="537"/>
                    </a:lnTo>
                    <a:lnTo>
                      <a:pt x="1360" y="538"/>
                    </a:lnTo>
                    <a:lnTo>
                      <a:pt x="1362" y="540"/>
                    </a:lnTo>
                    <a:lnTo>
                      <a:pt x="1365" y="538"/>
                    </a:lnTo>
                    <a:lnTo>
                      <a:pt x="1365" y="538"/>
                    </a:lnTo>
                    <a:lnTo>
                      <a:pt x="1365" y="538"/>
                    </a:lnTo>
                    <a:lnTo>
                      <a:pt x="1365" y="538"/>
                    </a:lnTo>
                    <a:lnTo>
                      <a:pt x="1365" y="538"/>
                    </a:lnTo>
                    <a:lnTo>
                      <a:pt x="1367" y="537"/>
                    </a:lnTo>
                    <a:lnTo>
                      <a:pt x="1368" y="537"/>
                    </a:lnTo>
                    <a:lnTo>
                      <a:pt x="1368" y="534"/>
                    </a:lnTo>
                    <a:lnTo>
                      <a:pt x="1370" y="534"/>
                    </a:lnTo>
                    <a:lnTo>
                      <a:pt x="1370" y="534"/>
                    </a:lnTo>
                    <a:lnTo>
                      <a:pt x="1370" y="534"/>
                    </a:lnTo>
                    <a:lnTo>
                      <a:pt x="1370" y="534"/>
                    </a:lnTo>
                    <a:lnTo>
                      <a:pt x="1370" y="534"/>
                    </a:lnTo>
                    <a:lnTo>
                      <a:pt x="1371" y="534"/>
                    </a:lnTo>
                    <a:lnTo>
                      <a:pt x="1371" y="534"/>
                    </a:lnTo>
                    <a:lnTo>
                      <a:pt x="1373" y="534"/>
                    </a:lnTo>
                    <a:lnTo>
                      <a:pt x="1374" y="532"/>
                    </a:lnTo>
                    <a:lnTo>
                      <a:pt x="1376" y="532"/>
                    </a:lnTo>
                    <a:lnTo>
                      <a:pt x="1378" y="530"/>
                    </a:lnTo>
                    <a:lnTo>
                      <a:pt x="1378" y="529"/>
                    </a:lnTo>
                    <a:lnTo>
                      <a:pt x="1379" y="527"/>
                    </a:lnTo>
                    <a:lnTo>
                      <a:pt x="1379" y="526"/>
                    </a:lnTo>
                    <a:lnTo>
                      <a:pt x="1381" y="524"/>
                    </a:lnTo>
                    <a:lnTo>
                      <a:pt x="1381" y="521"/>
                    </a:lnTo>
                    <a:lnTo>
                      <a:pt x="1381" y="518"/>
                    </a:lnTo>
                    <a:lnTo>
                      <a:pt x="1381" y="518"/>
                    </a:lnTo>
                    <a:lnTo>
                      <a:pt x="1379" y="516"/>
                    </a:lnTo>
                    <a:lnTo>
                      <a:pt x="1379" y="516"/>
                    </a:lnTo>
                    <a:lnTo>
                      <a:pt x="1379" y="516"/>
                    </a:lnTo>
                    <a:lnTo>
                      <a:pt x="1378" y="515"/>
                    </a:lnTo>
                    <a:lnTo>
                      <a:pt x="1376" y="515"/>
                    </a:lnTo>
                    <a:lnTo>
                      <a:pt x="1376" y="513"/>
                    </a:lnTo>
                    <a:lnTo>
                      <a:pt x="1374" y="510"/>
                    </a:lnTo>
                    <a:lnTo>
                      <a:pt x="1374" y="510"/>
                    </a:lnTo>
                    <a:lnTo>
                      <a:pt x="1374" y="509"/>
                    </a:lnTo>
                    <a:lnTo>
                      <a:pt x="1374" y="507"/>
                    </a:lnTo>
                    <a:lnTo>
                      <a:pt x="1373" y="505"/>
                    </a:lnTo>
                    <a:lnTo>
                      <a:pt x="1373" y="505"/>
                    </a:lnTo>
                    <a:lnTo>
                      <a:pt x="1373" y="502"/>
                    </a:lnTo>
                    <a:lnTo>
                      <a:pt x="1374" y="499"/>
                    </a:lnTo>
                    <a:lnTo>
                      <a:pt x="1374" y="498"/>
                    </a:lnTo>
                    <a:lnTo>
                      <a:pt x="1374" y="498"/>
                    </a:lnTo>
                    <a:lnTo>
                      <a:pt x="1374" y="496"/>
                    </a:lnTo>
                    <a:lnTo>
                      <a:pt x="1374" y="494"/>
                    </a:lnTo>
                    <a:lnTo>
                      <a:pt x="1376" y="494"/>
                    </a:lnTo>
                    <a:lnTo>
                      <a:pt x="1376" y="491"/>
                    </a:lnTo>
                    <a:lnTo>
                      <a:pt x="1378" y="491"/>
                    </a:lnTo>
                    <a:lnTo>
                      <a:pt x="1379" y="491"/>
                    </a:lnTo>
                    <a:lnTo>
                      <a:pt x="1379" y="490"/>
                    </a:lnTo>
                    <a:lnTo>
                      <a:pt x="1381" y="488"/>
                    </a:lnTo>
                    <a:lnTo>
                      <a:pt x="1381" y="487"/>
                    </a:lnTo>
                    <a:lnTo>
                      <a:pt x="1381" y="485"/>
                    </a:lnTo>
                    <a:lnTo>
                      <a:pt x="1382" y="483"/>
                    </a:lnTo>
                    <a:lnTo>
                      <a:pt x="1382" y="483"/>
                    </a:lnTo>
                    <a:lnTo>
                      <a:pt x="1387" y="482"/>
                    </a:lnTo>
                    <a:lnTo>
                      <a:pt x="1387" y="482"/>
                    </a:lnTo>
                    <a:lnTo>
                      <a:pt x="1389" y="479"/>
                    </a:lnTo>
                    <a:lnTo>
                      <a:pt x="1390" y="477"/>
                    </a:lnTo>
                    <a:lnTo>
                      <a:pt x="1390" y="474"/>
                    </a:lnTo>
                    <a:lnTo>
                      <a:pt x="1392" y="473"/>
                    </a:lnTo>
                    <a:lnTo>
                      <a:pt x="1392" y="473"/>
                    </a:lnTo>
                    <a:lnTo>
                      <a:pt x="1393" y="473"/>
                    </a:lnTo>
                    <a:lnTo>
                      <a:pt x="1393" y="476"/>
                    </a:lnTo>
                    <a:lnTo>
                      <a:pt x="1395" y="476"/>
                    </a:lnTo>
                    <a:lnTo>
                      <a:pt x="1396" y="476"/>
                    </a:lnTo>
                    <a:lnTo>
                      <a:pt x="1401" y="479"/>
                    </a:lnTo>
                    <a:lnTo>
                      <a:pt x="1403" y="479"/>
                    </a:lnTo>
                    <a:lnTo>
                      <a:pt x="1404" y="479"/>
                    </a:lnTo>
                    <a:lnTo>
                      <a:pt x="1404" y="479"/>
                    </a:lnTo>
                    <a:lnTo>
                      <a:pt x="1406" y="480"/>
                    </a:lnTo>
                    <a:lnTo>
                      <a:pt x="1407" y="480"/>
                    </a:lnTo>
                    <a:lnTo>
                      <a:pt x="1409" y="483"/>
                    </a:lnTo>
                    <a:lnTo>
                      <a:pt x="1412" y="483"/>
                    </a:lnTo>
                    <a:lnTo>
                      <a:pt x="1415" y="483"/>
                    </a:lnTo>
                    <a:lnTo>
                      <a:pt x="1415" y="483"/>
                    </a:lnTo>
                    <a:lnTo>
                      <a:pt x="1420" y="483"/>
                    </a:lnTo>
                    <a:lnTo>
                      <a:pt x="1420" y="485"/>
                    </a:lnTo>
                    <a:lnTo>
                      <a:pt x="1423" y="485"/>
                    </a:lnTo>
                    <a:lnTo>
                      <a:pt x="1426" y="488"/>
                    </a:lnTo>
                    <a:lnTo>
                      <a:pt x="1431" y="488"/>
                    </a:lnTo>
                    <a:lnTo>
                      <a:pt x="1432" y="490"/>
                    </a:lnTo>
                    <a:lnTo>
                      <a:pt x="1434" y="491"/>
                    </a:lnTo>
                    <a:lnTo>
                      <a:pt x="1435" y="491"/>
                    </a:lnTo>
                    <a:lnTo>
                      <a:pt x="1435" y="491"/>
                    </a:lnTo>
                    <a:lnTo>
                      <a:pt x="1435" y="491"/>
                    </a:lnTo>
                    <a:lnTo>
                      <a:pt x="1437" y="491"/>
                    </a:lnTo>
                    <a:lnTo>
                      <a:pt x="1437" y="491"/>
                    </a:lnTo>
                    <a:lnTo>
                      <a:pt x="1437" y="491"/>
                    </a:lnTo>
                    <a:lnTo>
                      <a:pt x="1437" y="491"/>
                    </a:lnTo>
                    <a:lnTo>
                      <a:pt x="1439" y="491"/>
                    </a:lnTo>
                    <a:lnTo>
                      <a:pt x="1443" y="493"/>
                    </a:lnTo>
                    <a:lnTo>
                      <a:pt x="1446" y="494"/>
                    </a:lnTo>
                    <a:lnTo>
                      <a:pt x="1448" y="494"/>
                    </a:lnTo>
                    <a:lnTo>
                      <a:pt x="1450" y="496"/>
                    </a:lnTo>
                    <a:lnTo>
                      <a:pt x="1450" y="498"/>
                    </a:lnTo>
                    <a:lnTo>
                      <a:pt x="1448" y="498"/>
                    </a:lnTo>
                    <a:lnTo>
                      <a:pt x="1448" y="501"/>
                    </a:lnTo>
                    <a:lnTo>
                      <a:pt x="1450" y="502"/>
                    </a:lnTo>
                    <a:lnTo>
                      <a:pt x="1450" y="505"/>
                    </a:lnTo>
                    <a:lnTo>
                      <a:pt x="1450" y="507"/>
                    </a:lnTo>
                    <a:lnTo>
                      <a:pt x="1450" y="509"/>
                    </a:lnTo>
                    <a:lnTo>
                      <a:pt x="1450" y="510"/>
                    </a:lnTo>
                    <a:lnTo>
                      <a:pt x="1451" y="510"/>
                    </a:lnTo>
                    <a:lnTo>
                      <a:pt x="1451" y="512"/>
                    </a:lnTo>
                    <a:lnTo>
                      <a:pt x="1451" y="513"/>
                    </a:lnTo>
                    <a:lnTo>
                      <a:pt x="1451" y="515"/>
                    </a:lnTo>
                    <a:lnTo>
                      <a:pt x="1451" y="516"/>
                    </a:lnTo>
                    <a:lnTo>
                      <a:pt x="1453" y="516"/>
                    </a:lnTo>
                    <a:lnTo>
                      <a:pt x="1453" y="516"/>
                    </a:lnTo>
                    <a:lnTo>
                      <a:pt x="1453" y="518"/>
                    </a:lnTo>
                    <a:lnTo>
                      <a:pt x="1454" y="518"/>
                    </a:lnTo>
                    <a:lnTo>
                      <a:pt x="1456" y="519"/>
                    </a:lnTo>
                    <a:lnTo>
                      <a:pt x="1456" y="519"/>
                    </a:lnTo>
                    <a:lnTo>
                      <a:pt x="1457" y="521"/>
                    </a:lnTo>
                    <a:lnTo>
                      <a:pt x="1459" y="523"/>
                    </a:lnTo>
                    <a:lnTo>
                      <a:pt x="1460" y="523"/>
                    </a:lnTo>
                    <a:lnTo>
                      <a:pt x="1464" y="524"/>
                    </a:lnTo>
                    <a:lnTo>
                      <a:pt x="1467" y="524"/>
                    </a:lnTo>
                    <a:lnTo>
                      <a:pt x="1468" y="524"/>
                    </a:lnTo>
                    <a:lnTo>
                      <a:pt x="1468" y="526"/>
                    </a:lnTo>
                    <a:lnTo>
                      <a:pt x="1471" y="527"/>
                    </a:lnTo>
                    <a:lnTo>
                      <a:pt x="1473" y="527"/>
                    </a:lnTo>
                    <a:lnTo>
                      <a:pt x="1473" y="527"/>
                    </a:lnTo>
                    <a:lnTo>
                      <a:pt x="1475" y="529"/>
                    </a:lnTo>
                    <a:lnTo>
                      <a:pt x="1476" y="527"/>
                    </a:lnTo>
                    <a:lnTo>
                      <a:pt x="1476" y="527"/>
                    </a:lnTo>
                    <a:lnTo>
                      <a:pt x="1478" y="527"/>
                    </a:lnTo>
                    <a:lnTo>
                      <a:pt x="1478" y="527"/>
                    </a:lnTo>
                    <a:lnTo>
                      <a:pt x="1479" y="527"/>
                    </a:lnTo>
                    <a:lnTo>
                      <a:pt x="1479" y="527"/>
                    </a:lnTo>
                    <a:lnTo>
                      <a:pt x="1481" y="527"/>
                    </a:lnTo>
                    <a:lnTo>
                      <a:pt x="1482" y="527"/>
                    </a:lnTo>
                    <a:lnTo>
                      <a:pt x="1484" y="527"/>
                    </a:lnTo>
                    <a:lnTo>
                      <a:pt x="1486" y="526"/>
                    </a:lnTo>
                    <a:lnTo>
                      <a:pt x="1486" y="526"/>
                    </a:lnTo>
                    <a:lnTo>
                      <a:pt x="1486" y="526"/>
                    </a:lnTo>
                    <a:lnTo>
                      <a:pt x="1486" y="526"/>
                    </a:lnTo>
                    <a:lnTo>
                      <a:pt x="1486" y="526"/>
                    </a:lnTo>
                    <a:lnTo>
                      <a:pt x="1487" y="524"/>
                    </a:lnTo>
                    <a:lnTo>
                      <a:pt x="1489" y="524"/>
                    </a:lnTo>
                    <a:lnTo>
                      <a:pt x="1489" y="524"/>
                    </a:lnTo>
                    <a:lnTo>
                      <a:pt x="1489" y="524"/>
                    </a:lnTo>
                    <a:lnTo>
                      <a:pt x="1489" y="524"/>
                    </a:lnTo>
                    <a:lnTo>
                      <a:pt x="1492" y="523"/>
                    </a:lnTo>
                    <a:lnTo>
                      <a:pt x="1492" y="523"/>
                    </a:lnTo>
                    <a:lnTo>
                      <a:pt x="1493" y="523"/>
                    </a:lnTo>
                    <a:lnTo>
                      <a:pt x="1498" y="521"/>
                    </a:lnTo>
                    <a:lnTo>
                      <a:pt x="1501" y="521"/>
                    </a:lnTo>
                    <a:lnTo>
                      <a:pt x="1501" y="521"/>
                    </a:lnTo>
                    <a:lnTo>
                      <a:pt x="1503" y="519"/>
                    </a:lnTo>
                    <a:lnTo>
                      <a:pt x="1503" y="519"/>
                    </a:lnTo>
                    <a:lnTo>
                      <a:pt x="1503" y="519"/>
                    </a:lnTo>
                    <a:lnTo>
                      <a:pt x="1506" y="519"/>
                    </a:lnTo>
                    <a:lnTo>
                      <a:pt x="1509" y="519"/>
                    </a:lnTo>
                    <a:lnTo>
                      <a:pt x="1509" y="519"/>
                    </a:lnTo>
                    <a:lnTo>
                      <a:pt x="1511" y="521"/>
                    </a:lnTo>
                    <a:lnTo>
                      <a:pt x="1514" y="521"/>
                    </a:lnTo>
                    <a:lnTo>
                      <a:pt x="1517" y="521"/>
                    </a:lnTo>
                    <a:lnTo>
                      <a:pt x="1518" y="523"/>
                    </a:lnTo>
                    <a:lnTo>
                      <a:pt x="1520" y="524"/>
                    </a:lnTo>
                    <a:lnTo>
                      <a:pt x="1520" y="524"/>
                    </a:lnTo>
                    <a:lnTo>
                      <a:pt x="1521" y="524"/>
                    </a:lnTo>
                    <a:lnTo>
                      <a:pt x="1523" y="523"/>
                    </a:lnTo>
                    <a:lnTo>
                      <a:pt x="1526" y="523"/>
                    </a:lnTo>
                    <a:lnTo>
                      <a:pt x="1529" y="523"/>
                    </a:lnTo>
                    <a:lnTo>
                      <a:pt x="1531" y="526"/>
                    </a:lnTo>
                    <a:lnTo>
                      <a:pt x="1532" y="527"/>
                    </a:lnTo>
                    <a:lnTo>
                      <a:pt x="1534" y="529"/>
                    </a:lnTo>
                    <a:lnTo>
                      <a:pt x="1537" y="530"/>
                    </a:lnTo>
                    <a:lnTo>
                      <a:pt x="1539" y="532"/>
                    </a:lnTo>
                    <a:lnTo>
                      <a:pt x="1540" y="532"/>
                    </a:lnTo>
                    <a:lnTo>
                      <a:pt x="1540" y="532"/>
                    </a:lnTo>
                    <a:lnTo>
                      <a:pt x="1545" y="532"/>
                    </a:lnTo>
                    <a:lnTo>
                      <a:pt x="1548" y="534"/>
                    </a:lnTo>
                    <a:lnTo>
                      <a:pt x="1550" y="534"/>
                    </a:lnTo>
                    <a:lnTo>
                      <a:pt x="1551" y="534"/>
                    </a:lnTo>
                    <a:lnTo>
                      <a:pt x="1550" y="537"/>
                    </a:lnTo>
                    <a:lnTo>
                      <a:pt x="1550" y="538"/>
                    </a:lnTo>
                    <a:lnTo>
                      <a:pt x="1550" y="540"/>
                    </a:lnTo>
                    <a:lnTo>
                      <a:pt x="1551" y="541"/>
                    </a:lnTo>
                    <a:lnTo>
                      <a:pt x="1551" y="541"/>
                    </a:lnTo>
                    <a:lnTo>
                      <a:pt x="1553" y="543"/>
                    </a:lnTo>
                    <a:lnTo>
                      <a:pt x="1553" y="545"/>
                    </a:lnTo>
                    <a:lnTo>
                      <a:pt x="1556" y="545"/>
                    </a:lnTo>
                    <a:lnTo>
                      <a:pt x="1559" y="548"/>
                    </a:lnTo>
                    <a:lnTo>
                      <a:pt x="1561" y="549"/>
                    </a:lnTo>
                    <a:lnTo>
                      <a:pt x="1561" y="549"/>
                    </a:lnTo>
                    <a:lnTo>
                      <a:pt x="1562" y="551"/>
                    </a:lnTo>
                    <a:lnTo>
                      <a:pt x="1562" y="551"/>
                    </a:lnTo>
                    <a:lnTo>
                      <a:pt x="1564" y="549"/>
                    </a:lnTo>
                    <a:lnTo>
                      <a:pt x="1573" y="549"/>
                    </a:lnTo>
                    <a:lnTo>
                      <a:pt x="1576" y="551"/>
                    </a:lnTo>
                    <a:lnTo>
                      <a:pt x="1578" y="552"/>
                    </a:lnTo>
                    <a:lnTo>
                      <a:pt x="1582" y="552"/>
                    </a:lnTo>
                    <a:lnTo>
                      <a:pt x="1587" y="554"/>
                    </a:lnTo>
                    <a:lnTo>
                      <a:pt x="1587" y="554"/>
                    </a:lnTo>
                    <a:lnTo>
                      <a:pt x="1590" y="554"/>
                    </a:lnTo>
                    <a:lnTo>
                      <a:pt x="1590" y="554"/>
                    </a:lnTo>
                    <a:lnTo>
                      <a:pt x="1592" y="552"/>
                    </a:lnTo>
                    <a:lnTo>
                      <a:pt x="1593" y="552"/>
                    </a:lnTo>
                    <a:lnTo>
                      <a:pt x="1593" y="552"/>
                    </a:lnTo>
                    <a:lnTo>
                      <a:pt x="1597" y="554"/>
                    </a:lnTo>
                    <a:lnTo>
                      <a:pt x="1598" y="555"/>
                    </a:lnTo>
                    <a:lnTo>
                      <a:pt x="1598" y="555"/>
                    </a:lnTo>
                    <a:lnTo>
                      <a:pt x="1598" y="555"/>
                    </a:lnTo>
                    <a:lnTo>
                      <a:pt x="1598" y="555"/>
                    </a:lnTo>
                    <a:lnTo>
                      <a:pt x="1600" y="555"/>
                    </a:lnTo>
                    <a:lnTo>
                      <a:pt x="1601" y="554"/>
                    </a:lnTo>
                    <a:lnTo>
                      <a:pt x="1607" y="551"/>
                    </a:lnTo>
                    <a:lnTo>
                      <a:pt x="1611" y="549"/>
                    </a:lnTo>
                    <a:lnTo>
                      <a:pt x="1612" y="549"/>
                    </a:lnTo>
                    <a:lnTo>
                      <a:pt x="1612" y="549"/>
                    </a:lnTo>
                    <a:lnTo>
                      <a:pt x="1614" y="549"/>
                    </a:lnTo>
                    <a:lnTo>
                      <a:pt x="1614" y="549"/>
                    </a:lnTo>
                    <a:lnTo>
                      <a:pt x="1615" y="549"/>
                    </a:lnTo>
                    <a:lnTo>
                      <a:pt x="1617" y="548"/>
                    </a:lnTo>
                    <a:lnTo>
                      <a:pt x="1618" y="548"/>
                    </a:lnTo>
                    <a:lnTo>
                      <a:pt x="1618" y="548"/>
                    </a:lnTo>
                    <a:lnTo>
                      <a:pt x="1618" y="548"/>
                    </a:lnTo>
                    <a:lnTo>
                      <a:pt x="1620" y="548"/>
                    </a:lnTo>
                    <a:lnTo>
                      <a:pt x="1623" y="548"/>
                    </a:lnTo>
                    <a:lnTo>
                      <a:pt x="1628" y="545"/>
                    </a:lnTo>
                    <a:lnTo>
                      <a:pt x="1628" y="545"/>
                    </a:lnTo>
                    <a:lnTo>
                      <a:pt x="1631" y="545"/>
                    </a:lnTo>
                    <a:lnTo>
                      <a:pt x="1631" y="545"/>
                    </a:lnTo>
                    <a:lnTo>
                      <a:pt x="1634" y="545"/>
                    </a:lnTo>
                    <a:lnTo>
                      <a:pt x="1636" y="545"/>
                    </a:lnTo>
                    <a:lnTo>
                      <a:pt x="1637" y="543"/>
                    </a:lnTo>
                    <a:lnTo>
                      <a:pt x="1640" y="543"/>
                    </a:lnTo>
                    <a:lnTo>
                      <a:pt x="1640" y="540"/>
                    </a:lnTo>
                    <a:lnTo>
                      <a:pt x="1642" y="537"/>
                    </a:lnTo>
                    <a:lnTo>
                      <a:pt x="1642" y="537"/>
                    </a:lnTo>
                    <a:lnTo>
                      <a:pt x="1645" y="535"/>
                    </a:lnTo>
                    <a:lnTo>
                      <a:pt x="1647" y="534"/>
                    </a:lnTo>
                    <a:lnTo>
                      <a:pt x="1650" y="532"/>
                    </a:lnTo>
                    <a:lnTo>
                      <a:pt x="1650" y="532"/>
                    </a:lnTo>
                    <a:lnTo>
                      <a:pt x="1651" y="530"/>
                    </a:lnTo>
                    <a:lnTo>
                      <a:pt x="1654" y="529"/>
                    </a:lnTo>
                    <a:lnTo>
                      <a:pt x="1657" y="526"/>
                    </a:lnTo>
                    <a:lnTo>
                      <a:pt x="1657" y="526"/>
                    </a:lnTo>
                    <a:lnTo>
                      <a:pt x="1661" y="524"/>
                    </a:lnTo>
                    <a:lnTo>
                      <a:pt x="1662" y="524"/>
                    </a:lnTo>
                    <a:lnTo>
                      <a:pt x="1662" y="524"/>
                    </a:lnTo>
                    <a:lnTo>
                      <a:pt x="1664" y="524"/>
                    </a:lnTo>
                    <a:lnTo>
                      <a:pt x="1667" y="526"/>
                    </a:lnTo>
                    <a:lnTo>
                      <a:pt x="1668" y="526"/>
                    </a:lnTo>
                    <a:lnTo>
                      <a:pt x="1668" y="526"/>
                    </a:lnTo>
                    <a:lnTo>
                      <a:pt x="1670" y="526"/>
                    </a:lnTo>
                    <a:lnTo>
                      <a:pt x="1670" y="526"/>
                    </a:lnTo>
                    <a:lnTo>
                      <a:pt x="1672" y="527"/>
                    </a:lnTo>
                    <a:lnTo>
                      <a:pt x="1675" y="529"/>
                    </a:lnTo>
                    <a:lnTo>
                      <a:pt x="1676" y="530"/>
                    </a:lnTo>
                    <a:lnTo>
                      <a:pt x="1679" y="534"/>
                    </a:lnTo>
                    <a:lnTo>
                      <a:pt x="1681" y="534"/>
                    </a:lnTo>
                    <a:lnTo>
                      <a:pt x="1683" y="535"/>
                    </a:lnTo>
                    <a:lnTo>
                      <a:pt x="1683" y="535"/>
                    </a:lnTo>
                    <a:lnTo>
                      <a:pt x="1684" y="535"/>
                    </a:lnTo>
                    <a:lnTo>
                      <a:pt x="1687" y="535"/>
                    </a:lnTo>
                    <a:lnTo>
                      <a:pt x="1689" y="535"/>
                    </a:lnTo>
                    <a:lnTo>
                      <a:pt x="1690" y="534"/>
                    </a:lnTo>
                    <a:lnTo>
                      <a:pt x="1690" y="534"/>
                    </a:lnTo>
                    <a:lnTo>
                      <a:pt x="1693" y="532"/>
                    </a:lnTo>
                    <a:lnTo>
                      <a:pt x="1695" y="532"/>
                    </a:lnTo>
                    <a:lnTo>
                      <a:pt x="1695" y="532"/>
                    </a:lnTo>
                    <a:lnTo>
                      <a:pt x="1698" y="532"/>
                    </a:lnTo>
                    <a:lnTo>
                      <a:pt x="1701" y="534"/>
                    </a:lnTo>
                    <a:lnTo>
                      <a:pt x="1703" y="535"/>
                    </a:lnTo>
                    <a:lnTo>
                      <a:pt x="1704" y="537"/>
                    </a:lnTo>
                    <a:lnTo>
                      <a:pt x="1704" y="537"/>
                    </a:lnTo>
                    <a:lnTo>
                      <a:pt x="1708" y="538"/>
                    </a:lnTo>
                    <a:lnTo>
                      <a:pt x="1709" y="540"/>
                    </a:lnTo>
                    <a:lnTo>
                      <a:pt x="1709" y="540"/>
                    </a:lnTo>
                    <a:lnTo>
                      <a:pt x="1714" y="541"/>
                    </a:lnTo>
                    <a:lnTo>
                      <a:pt x="1718" y="543"/>
                    </a:lnTo>
                    <a:lnTo>
                      <a:pt x="1722" y="545"/>
                    </a:lnTo>
                    <a:lnTo>
                      <a:pt x="1722" y="545"/>
                    </a:lnTo>
                    <a:lnTo>
                      <a:pt x="1723" y="545"/>
                    </a:lnTo>
                    <a:lnTo>
                      <a:pt x="1725" y="545"/>
                    </a:lnTo>
                    <a:lnTo>
                      <a:pt x="1725" y="545"/>
                    </a:lnTo>
                    <a:lnTo>
                      <a:pt x="1729" y="540"/>
                    </a:lnTo>
                    <a:lnTo>
                      <a:pt x="1734" y="537"/>
                    </a:lnTo>
                    <a:lnTo>
                      <a:pt x="1740" y="534"/>
                    </a:lnTo>
                    <a:lnTo>
                      <a:pt x="1743" y="532"/>
                    </a:lnTo>
                    <a:lnTo>
                      <a:pt x="1747" y="532"/>
                    </a:lnTo>
                    <a:lnTo>
                      <a:pt x="1750" y="530"/>
                    </a:lnTo>
                    <a:lnTo>
                      <a:pt x="1750" y="527"/>
                    </a:lnTo>
                    <a:lnTo>
                      <a:pt x="1751" y="524"/>
                    </a:lnTo>
                    <a:lnTo>
                      <a:pt x="1750" y="523"/>
                    </a:lnTo>
                    <a:lnTo>
                      <a:pt x="1748" y="521"/>
                    </a:lnTo>
                    <a:lnTo>
                      <a:pt x="1747" y="521"/>
                    </a:lnTo>
                    <a:lnTo>
                      <a:pt x="1748" y="521"/>
                    </a:lnTo>
                    <a:lnTo>
                      <a:pt x="1748" y="519"/>
                    </a:lnTo>
                    <a:lnTo>
                      <a:pt x="1748" y="519"/>
                    </a:lnTo>
                    <a:lnTo>
                      <a:pt x="1748" y="518"/>
                    </a:lnTo>
                    <a:lnTo>
                      <a:pt x="1750" y="516"/>
                    </a:lnTo>
                    <a:lnTo>
                      <a:pt x="1750" y="515"/>
                    </a:lnTo>
                    <a:lnTo>
                      <a:pt x="1753" y="513"/>
                    </a:lnTo>
                    <a:lnTo>
                      <a:pt x="1753" y="510"/>
                    </a:lnTo>
                    <a:lnTo>
                      <a:pt x="1753" y="509"/>
                    </a:lnTo>
                    <a:lnTo>
                      <a:pt x="1753" y="509"/>
                    </a:lnTo>
                    <a:lnTo>
                      <a:pt x="1754" y="505"/>
                    </a:lnTo>
                    <a:lnTo>
                      <a:pt x="1756" y="504"/>
                    </a:lnTo>
                    <a:lnTo>
                      <a:pt x="1758" y="501"/>
                    </a:lnTo>
                    <a:lnTo>
                      <a:pt x="1758" y="499"/>
                    </a:lnTo>
                    <a:lnTo>
                      <a:pt x="1758" y="499"/>
                    </a:lnTo>
                    <a:lnTo>
                      <a:pt x="1759" y="498"/>
                    </a:lnTo>
                    <a:lnTo>
                      <a:pt x="1759" y="498"/>
                    </a:lnTo>
                    <a:lnTo>
                      <a:pt x="1761" y="493"/>
                    </a:lnTo>
                    <a:lnTo>
                      <a:pt x="1764" y="488"/>
                    </a:lnTo>
                    <a:lnTo>
                      <a:pt x="1767" y="483"/>
                    </a:lnTo>
                    <a:lnTo>
                      <a:pt x="1772" y="480"/>
                    </a:lnTo>
                    <a:lnTo>
                      <a:pt x="1773" y="477"/>
                    </a:lnTo>
                    <a:lnTo>
                      <a:pt x="1775" y="474"/>
                    </a:lnTo>
                    <a:lnTo>
                      <a:pt x="1775" y="471"/>
                    </a:lnTo>
                    <a:lnTo>
                      <a:pt x="1773" y="468"/>
                    </a:lnTo>
                    <a:lnTo>
                      <a:pt x="1773" y="465"/>
                    </a:lnTo>
                    <a:lnTo>
                      <a:pt x="1775" y="462"/>
                    </a:lnTo>
                    <a:lnTo>
                      <a:pt x="1773" y="460"/>
                    </a:lnTo>
                    <a:lnTo>
                      <a:pt x="1772" y="458"/>
                    </a:lnTo>
                    <a:lnTo>
                      <a:pt x="1772" y="458"/>
                    </a:lnTo>
                    <a:lnTo>
                      <a:pt x="1769" y="458"/>
                    </a:lnTo>
                    <a:lnTo>
                      <a:pt x="1765" y="458"/>
                    </a:lnTo>
                    <a:lnTo>
                      <a:pt x="1765" y="458"/>
                    </a:lnTo>
                    <a:lnTo>
                      <a:pt x="1764" y="458"/>
                    </a:lnTo>
                    <a:lnTo>
                      <a:pt x="1762" y="455"/>
                    </a:lnTo>
                    <a:lnTo>
                      <a:pt x="1762" y="455"/>
                    </a:lnTo>
                    <a:lnTo>
                      <a:pt x="1764" y="454"/>
                    </a:lnTo>
                    <a:lnTo>
                      <a:pt x="1765" y="452"/>
                    </a:lnTo>
                    <a:lnTo>
                      <a:pt x="1770" y="449"/>
                    </a:lnTo>
                    <a:lnTo>
                      <a:pt x="1775" y="443"/>
                    </a:lnTo>
                    <a:lnTo>
                      <a:pt x="1779" y="440"/>
                    </a:lnTo>
                    <a:lnTo>
                      <a:pt x="1781" y="440"/>
                    </a:lnTo>
                    <a:lnTo>
                      <a:pt x="1787" y="438"/>
                    </a:lnTo>
                    <a:lnTo>
                      <a:pt x="1792" y="437"/>
                    </a:lnTo>
                    <a:lnTo>
                      <a:pt x="1798" y="433"/>
                    </a:lnTo>
                    <a:lnTo>
                      <a:pt x="1803" y="433"/>
                    </a:lnTo>
                    <a:lnTo>
                      <a:pt x="1804" y="433"/>
                    </a:lnTo>
                    <a:lnTo>
                      <a:pt x="1806" y="433"/>
                    </a:lnTo>
                    <a:lnTo>
                      <a:pt x="1806" y="433"/>
                    </a:lnTo>
                    <a:lnTo>
                      <a:pt x="1811" y="433"/>
                    </a:lnTo>
                    <a:lnTo>
                      <a:pt x="1814" y="433"/>
                    </a:lnTo>
                    <a:lnTo>
                      <a:pt x="1814" y="433"/>
                    </a:lnTo>
                    <a:lnTo>
                      <a:pt x="1817" y="432"/>
                    </a:lnTo>
                    <a:lnTo>
                      <a:pt x="1820" y="432"/>
                    </a:lnTo>
                    <a:lnTo>
                      <a:pt x="1822" y="432"/>
                    </a:lnTo>
                    <a:lnTo>
                      <a:pt x="1823" y="432"/>
                    </a:lnTo>
                    <a:lnTo>
                      <a:pt x="1825" y="432"/>
                    </a:lnTo>
                    <a:lnTo>
                      <a:pt x="1825" y="432"/>
                    </a:lnTo>
                    <a:lnTo>
                      <a:pt x="1825" y="432"/>
                    </a:lnTo>
                    <a:lnTo>
                      <a:pt x="1825" y="432"/>
                    </a:lnTo>
                    <a:lnTo>
                      <a:pt x="1828" y="432"/>
                    </a:lnTo>
                    <a:lnTo>
                      <a:pt x="1833" y="435"/>
                    </a:lnTo>
                    <a:lnTo>
                      <a:pt x="1834" y="437"/>
                    </a:lnTo>
                    <a:lnTo>
                      <a:pt x="1836" y="437"/>
                    </a:lnTo>
                    <a:lnTo>
                      <a:pt x="1837" y="438"/>
                    </a:lnTo>
                    <a:lnTo>
                      <a:pt x="1839" y="440"/>
                    </a:lnTo>
                    <a:lnTo>
                      <a:pt x="1839" y="440"/>
                    </a:lnTo>
                    <a:lnTo>
                      <a:pt x="1840" y="441"/>
                    </a:lnTo>
                    <a:lnTo>
                      <a:pt x="1844" y="441"/>
                    </a:lnTo>
                    <a:lnTo>
                      <a:pt x="1847" y="443"/>
                    </a:lnTo>
                    <a:lnTo>
                      <a:pt x="1848" y="444"/>
                    </a:lnTo>
                    <a:lnTo>
                      <a:pt x="1848" y="443"/>
                    </a:lnTo>
                    <a:lnTo>
                      <a:pt x="1850" y="441"/>
                    </a:lnTo>
                    <a:lnTo>
                      <a:pt x="1850" y="441"/>
                    </a:lnTo>
                    <a:lnTo>
                      <a:pt x="1851" y="441"/>
                    </a:lnTo>
                    <a:lnTo>
                      <a:pt x="1854" y="443"/>
                    </a:lnTo>
                    <a:lnTo>
                      <a:pt x="1854" y="443"/>
                    </a:lnTo>
                    <a:lnTo>
                      <a:pt x="1858" y="444"/>
                    </a:lnTo>
                    <a:lnTo>
                      <a:pt x="1859" y="446"/>
                    </a:lnTo>
                    <a:lnTo>
                      <a:pt x="1861" y="446"/>
                    </a:lnTo>
                    <a:lnTo>
                      <a:pt x="1861" y="446"/>
                    </a:lnTo>
                    <a:lnTo>
                      <a:pt x="1862" y="448"/>
                    </a:lnTo>
                    <a:lnTo>
                      <a:pt x="1862" y="449"/>
                    </a:lnTo>
                    <a:lnTo>
                      <a:pt x="1862" y="449"/>
                    </a:lnTo>
                    <a:lnTo>
                      <a:pt x="1862" y="451"/>
                    </a:lnTo>
                    <a:lnTo>
                      <a:pt x="1864" y="451"/>
                    </a:lnTo>
                    <a:lnTo>
                      <a:pt x="1865" y="451"/>
                    </a:lnTo>
                    <a:lnTo>
                      <a:pt x="1867" y="454"/>
                    </a:lnTo>
                    <a:lnTo>
                      <a:pt x="1867" y="454"/>
                    </a:lnTo>
                    <a:lnTo>
                      <a:pt x="1869" y="455"/>
                    </a:lnTo>
                    <a:lnTo>
                      <a:pt x="1869" y="455"/>
                    </a:lnTo>
                    <a:lnTo>
                      <a:pt x="1869" y="457"/>
                    </a:lnTo>
                    <a:lnTo>
                      <a:pt x="1869" y="457"/>
                    </a:lnTo>
                    <a:lnTo>
                      <a:pt x="1867" y="458"/>
                    </a:lnTo>
                    <a:lnTo>
                      <a:pt x="1867" y="458"/>
                    </a:lnTo>
                    <a:lnTo>
                      <a:pt x="1869" y="460"/>
                    </a:lnTo>
                    <a:lnTo>
                      <a:pt x="1869" y="460"/>
                    </a:lnTo>
                    <a:lnTo>
                      <a:pt x="1870" y="460"/>
                    </a:lnTo>
                    <a:lnTo>
                      <a:pt x="1870" y="462"/>
                    </a:lnTo>
                    <a:lnTo>
                      <a:pt x="1870" y="462"/>
                    </a:lnTo>
                    <a:lnTo>
                      <a:pt x="1872" y="462"/>
                    </a:lnTo>
                    <a:lnTo>
                      <a:pt x="1872" y="463"/>
                    </a:lnTo>
                    <a:lnTo>
                      <a:pt x="1873" y="465"/>
                    </a:lnTo>
                    <a:lnTo>
                      <a:pt x="1873" y="466"/>
                    </a:lnTo>
                    <a:lnTo>
                      <a:pt x="1873" y="466"/>
                    </a:lnTo>
                    <a:lnTo>
                      <a:pt x="1873" y="468"/>
                    </a:lnTo>
                    <a:lnTo>
                      <a:pt x="1875" y="468"/>
                    </a:lnTo>
                    <a:lnTo>
                      <a:pt x="1875" y="469"/>
                    </a:lnTo>
                    <a:lnTo>
                      <a:pt x="1875" y="471"/>
                    </a:lnTo>
                    <a:lnTo>
                      <a:pt x="1875" y="473"/>
                    </a:lnTo>
                    <a:lnTo>
                      <a:pt x="1875" y="476"/>
                    </a:lnTo>
                    <a:lnTo>
                      <a:pt x="1876" y="479"/>
                    </a:lnTo>
                    <a:lnTo>
                      <a:pt x="1880" y="482"/>
                    </a:lnTo>
                    <a:lnTo>
                      <a:pt x="1880" y="485"/>
                    </a:lnTo>
                    <a:lnTo>
                      <a:pt x="1880" y="487"/>
                    </a:lnTo>
                    <a:lnTo>
                      <a:pt x="1880" y="488"/>
                    </a:lnTo>
                    <a:lnTo>
                      <a:pt x="1881" y="490"/>
                    </a:lnTo>
                    <a:lnTo>
                      <a:pt x="1881" y="490"/>
                    </a:lnTo>
                    <a:lnTo>
                      <a:pt x="1881" y="491"/>
                    </a:lnTo>
                    <a:lnTo>
                      <a:pt x="1881" y="493"/>
                    </a:lnTo>
                    <a:lnTo>
                      <a:pt x="1883" y="494"/>
                    </a:lnTo>
                    <a:lnTo>
                      <a:pt x="1883" y="496"/>
                    </a:lnTo>
                    <a:lnTo>
                      <a:pt x="1883" y="498"/>
                    </a:lnTo>
                    <a:lnTo>
                      <a:pt x="1883" y="498"/>
                    </a:lnTo>
                    <a:lnTo>
                      <a:pt x="1883" y="499"/>
                    </a:lnTo>
                    <a:lnTo>
                      <a:pt x="1884" y="502"/>
                    </a:lnTo>
                    <a:lnTo>
                      <a:pt x="1886" y="505"/>
                    </a:lnTo>
                    <a:lnTo>
                      <a:pt x="1886" y="505"/>
                    </a:lnTo>
                    <a:lnTo>
                      <a:pt x="1889" y="509"/>
                    </a:lnTo>
                    <a:lnTo>
                      <a:pt x="1890" y="512"/>
                    </a:lnTo>
                    <a:lnTo>
                      <a:pt x="1890" y="515"/>
                    </a:lnTo>
                    <a:lnTo>
                      <a:pt x="1890" y="516"/>
                    </a:lnTo>
                    <a:lnTo>
                      <a:pt x="1890" y="518"/>
                    </a:lnTo>
                    <a:lnTo>
                      <a:pt x="1890" y="519"/>
                    </a:lnTo>
                    <a:lnTo>
                      <a:pt x="1890" y="519"/>
                    </a:lnTo>
                    <a:lnTo>
                      <a:pt x="1890" y="521"/>
                    </a:lnTo>
                    <a:lnTo>
                      <a:pt x="1890" y="523"/>
                    </a:lnTo>
                    <a:lnTo>
                      <a:pt x="1892" y="524"/>
                    </a:lnTo>
                    <a:lnTo>
                      <a:pt x="1892" y="524"/>
                    </a:lnTo>
                    <a:lnTo>
                      <a:pt x="1895" y="526"/>
                    </a:lnTo>
                    <a:lnTo>
                      <a:pt x="1894" y="530"/>
                    </a:lnTo>
                    <a:lnTo>
                      <a:pt x="1894" y="532"/>
                    </a:lnTo>
                    <a:lnTo>
                      <a:pt x="1894" y="535"/>
                    </a:lnTo>
                    <a:lnTo>
                      <a:pt x="1895" y="537"/>
                    </a:lnTo>
                    <a:lnTo>
                      <a:pt x="1895" y="537"/>
                    </a:lnTo>
                    <a:lnTo>
                      <a:pt x="1897" y="538"/>
                    </a:lnTo>
                    <a:lnTo>
                      <a:pt x="1897" y="540"/>
                    </a:lnTo>
                    <a:lnTo>
                      <a:pt x="1897" y="541"/>
                    </a:lnTo>
                    <a:lnTo>
                      <a:pt x="1900" y="541"/>
                    </a:lnTo>
                    <a:lnTo>
                      <a:pt x="1903" y="543"/>
                    </a:lnTo>
                    <a:lnTo>
                      <a:pt x="1903" y="543"/>
                    </a:lnTo>
                    <a:lnTo>
                      <a:pt x="1906" y="545"/>
                    </a:lnTo>
                    <a:lnTo>
                      <a:pt x="1912" y="543"/>
                    </a:lnTo>
                    <a:lnTo>
                      <a:pt x="1915" y="543"/>
                    </a:lnTo>
                    <a:lnTo>
                      <a:pt x="1915" y="543"/>
                    </a:lnTo>
                    <a:lnTo>
                      <a:pt x="1915" y="543"/>
                    </a:lnTo>
                    <a:lnTo>
                      <a:pt x="1917" y="545"/>
                    </a:lnTo>
                    <a:lnTo>
                      <a:pt x="1915" y="546"/>
                    </a:lnTo>
                    <a:lnTo>
                      <a:pt x="1915" y="546"/>
                    </a:lnTo>
                    <a:lnTo>
                      <a:pt x="1917" y="546"/>
                    </a:lnTo>
                    <a:lnTo>
                      <a:pt x="1919" y="546"/>
                    </a:lnTo>
                    <a:lnTo>
                      <a:pt x="1919" y="546"/>
                    </a:lnTo>
                    <a:lnTo>
                      <a:pt x="1920" y="548"/>
                    </a:lnTo>
                    <a:lnTo>
                      <a:pt x="1922" y="549"/>
                    </a:lnTo>
                    <a:lnTo>
                      <a:pt x="1922" y="549"/>
                    </a:lnTo>
                    <a:lnTo>
                      <a:pt x="1922" y="549"/>
                    </a:lnTo>
                    <a:lnTo>
                      <a:pt x="1922" y="549"/>
                    </a:lnTo>
                    <a:lnTo>
                      <a:pt x="1923" y="549"/>
                    </a:lnTo>
                    <a:lnTo>
                      <a:pt x="1923" y="549"/>
                    </a:lnTo>
                    <a:lnTo>
                      <a:pt x="1925" y="549"/>
                    </a:lnTo>
                    <a:lnTo>
                      <a:pt x="1925" y="549"/>
                    </a:lnTo>
                    <a:lnTo>
                      <a:pt x="1925" y="549"/>
                    </a:lnTo>
                    <a:lnTo>
                      <a:pt x="1925" y="549"/>
                    </a:lnTo>
                    <a:lnTo>
                      <a:pt x="1926" y="549"/>
                    </a:lnTo>
                    <a:lnTo>
                      <a:pt x="1926" y="548"/>
                    </a:lnTo>
                    <a:lnTo>
                      <a:pt x="1928" y="548"/>
                    </a:lnTo>
                    <a:lnTo>
                      <a:pt x="1928" y="548"/>
                    </a:lnTo>
                    <a:lnTo>
                      <a:pt x="1930" y="551"/>
                    </a:lnTo>
                    <a:lnTo>
                      <a:pt x="1930" y="551"/>
                    </a:lnTo>
                    <a:lnTo>
                      <a:pt x="1931" y="551"/>
                    </a:lnTo>
                    <a:lnTo>
                      <a:pt x="1931" y="551"/>
                    </a:lnTo>
                    <a:lnTo>
                      <a:pt x="1931" y="551"/>
                    </a:lnTo>
                    <a:lnTo>
                      <a:pt x="1931" y="551"/>
                    </a:lnTo>
                    <a:lnTo>
                      <a:pt x="1934" y="554"/>
                    </a:lnTo>
                    <a:lnTo>
                      <a:pt x="1939" y="560"/>
                    </a:lnTo>
                    <a:lnTo>
                      <a:pt x="1940" y="562"/>
                    </a:lnTo>
                    <a:lnTo>
                      <a:pt x="1944" y="562"/>
                    </a:lnTo>
                    <a:lnTo>
                      <a:pt x="1947" y="562"/>
                    </a:lnTo>
                    <a:lnTo>
                      <a:pt x="1948" y="565"/>
                    </a:lnTo>
                    <a:lnTo>
                      <a:pt x="1947" y="568"/>
                    </a:lnTo>
                    <a:lnTo>
                      <a:pt x="1947" y="570"/>
                    </a:lnTo>
                    <a:lnTo>
                      <a:pt x="1947" y="570"/>
                    </a:lnTo>
                    <a:lnTo>
                      <a:pt x="1948" y="570"/>
                    </a:lnTo>
                    <a:lnTo>
                      <a:pt x="1950" y="573"/>
                    </a:lnTo>
                    <a:lnTo>
                      <a:pt x="1950" y="573"/>
                    </a:lnTo>
                    <a:lnTo>
                      <a:pt x="1951" y="574"/>
                    </a:lnTo>
                    <a:lnTo>
                      <a:pt x="1951" y="574"/>
                    </a:lnTo>
                    <a:lnTo>
                      <a:pt x="1951" y="576"/>
                    </a:lnTo>
                    <a:lnTo>
                      <a:pt x="1951" y="579"/>
                    </a:lnTo>
                    <a:lnTo>
                      <a:pt x="1950" y="582"/>
                    </a:lnTo>
                    <a:lnTo>
                      <a:pt x="1950" y="585"/>
                    </a:lnTo>
                    <a:lnTo>
                      <a:pt x="1950" y="585"/>
                    </a:lnTo>
                    <a:lnTo>
                      <a:pt x="1953" y="587"/>
                    </a:lnTo>
                    <a:lnTo>
                      <a:pt x="1953" y="590"/>
                    </a:lnTo>
                    <a:lnTo>
                      <a:pt x="1955" y="591"/>
                    </a:lnTo>
                    <a:lnTo>
                      <a:pt x="1955" y="593"/>
                    </a:lnTo>
                    <a:lnTo>
                      <a:pt x="1955" y="593"/>
                    </a:lnTo>
                    <a:lnTo>
                      <a:pt x="1955" y="593"/>
                    </a:lnTo>
                    <a:lnTo>
                      <a:pt x="1955" y="593"/>
                    </a:lnTo>
                    <a:lnTo>
                      <a:pt x="1958" y="593"/>
                    </a:lnTo>
                    <a:lnTo>
                      <a:pt x="1961" y="593"/>
                    </a:lnTo>
                    <a:lnTo>
                      <a:pt x="1964" y="593"/>
                    </a:lnTo>
                    <a:lnTo>
                      <a:pt x="1966" y="593"/>
                    </a:lnTo>
                    <a:lnTo>
                      <a:pt x="1969" y="593"/>
                    </a:lnTo>
                    <a:lnTo>
                      <a:pt x="1975" y="593"/>
                    </a:lnTo>
                    <a:lnTo>
                      <a:pt x="1980" y="593"/>
                    </a:lnTo>
                    <a:lnTo>
                      <a:pt x="1981" y="593"/>
                    </a:lnTo>
                    <a:lnTo>
                      <a:pt x="1983" y="591"/>
                    </a:lnTo>
                    <a:lnTo>
                      <a:pt x="1984" y="588"/>
                    </a:lnTo>
                    <a:lnTo>
                      <a:pt x="1986" y="587"/>
                    </a:lnTo>
                    <a:lnTo>
                      <a:pt x="1986" y="587"/>
                    </a:lnTo>
                    <a:lnTo>
                      <a:pt x="1986" y="587"/>
                    </a:lnTo>
                    <a:lnTo>
                      <a:pt x="1987" y="585"/>
                    </a:lnTo>
                    <a:lnTo>
                      <a:pt x="1991" y="584"/>
                    </a:lnTo>
                    <a:lnTo>
                      <a:pt x="1991" y="584"/>
                    </a:lnTo>
                    <a:lnTo>
                      <a:pt x="1992" y="582"/>
                    </a:lnTo>
                    <a:lnTo>
                      <a:pt x="1992" y="582"/>
                    </a:lnTo>
                    <a:lnTo>
                      <a:pt x="1995" y="582"/>
                    </a:lnTo>
                    <a:lnTo>
                      <a:pt x="1998" y="582"/>
                    </a:lnTo>
                    <a:lnTo>
                      <a:pt x="2000" y="582"/>
                    </a:lnTo>
                    <a:lnTo>
                      <a:pt x="2001" y="581"/>
                    </a:lnTo>
                    <a:lnTo>
                      <a:pt x="2005" y="577"/>
                    </a:lnTo>
                    <a:lnTo>
                      <a:pt x="2011" y="576"/>
                    </a:lnTo>
                    <a:lnTo>
                      <a:pt x="2011" y="576"/>
                    </a:lnTo>
                    <a:lnTo>
                      <a:pt x="2012" y="576"/>
                    </a:lnTo>
                    <a:lnTo>
                      <a:pt x="2014" y="576"/>
                    </a:lnTo>
                    <a:lnTo>
                      <a:pt x="2016" y="576"/>
                    </a:lnTo>
                    <a:lnTo>
                      <a:pt x="2017" y="577"/>
                    </a:lnTo>
                    <a:lnTo>
                      <a:pt x="2017" y="577"/>
                    </a:lnTo>
                    <a:lnTo>
                      <a:pt x="2019" y="579"/>
                    </a:lnTo>
                    <a:lnTo>
                      <a:pt x="2020" y="579"/>
                    </a:lnTo>
                    <a:lnTo>
                      <a:pt x="2020" y="581"/>
                    </a:lnTo>
                    <a:lnTo>
                      <a:pt x="2019" y="582"/>
                    </a:lnTo>
                    <a:lnTo>
                      <a:pt x="2019" y="584"/>
                    </a:lnTo>
                    <a:lnTo>
                      <a:pt x="2017" y="585"/>
                    </a:lnTo>
                    <a:lnTo>
                      <a:pt x="2019" y="585"/>
                    </a:lnTo>
                    <a:lnTo>
                      <a:pt x="2019" y="588"/>
                    </a:lnTo>
                    <a:lnTo>
                      <a:pt x="2020" y="590"/>
                    </a:lnTo>
                    <a:lnTo>
                      <a:pt x="2020" y="593"/>
                    </a:lnTo>
                    <a:lnTo>
                      <a:pt x="2020" y="593"/>
                    </a:lnTo>
                    <a:lnTo>
                      <a:pt x="2020" y="595"/>
                    </a:lnTo>
                    <a:lnTo>
                      <a:pt x="2019" y="598"/>
                    </a:lnTo>
                    <a:lnTo>
                      <a:pt x="2017" y="599"/>
                    </a:lnTo>
                    <a:lnTo>
                      <a:pt x="2016" y="599"/>
                    </a:lnTo>
                    <a:lnTo>
                      <a:pt x="2014" y="599"/>
                    </a:lnTo>
                    <a:lnTo>
                      <a:pt x="2014" y="601"/>
                    </a:lnTo>
                    <a:lnTo>
                      <a:pt x="2012" y="601"/>
                    </a:lnTo>
                    <a:lnTo>
                      <a:pt x="2012" y="601"/>
                    </a:lnTo>
                    <a:lnTo>
                      <a:pt x="2012" y="602"/>
                    </a:lnTo>
                    <a:lnTo>
                      <a:pt x="2011" y="604"/>
                    </a:lnTo>
                    <a:lnTo>
                      <a:pt x="2011" y="604"/>
                    </a:lnTo>
                    <a:lnTo>
                      <a:pt x="2011" y="606"/>
                    </a:lnTo>
                    <a:lnTo>
                      <a:pt x="2011" y="607"/>
                    </a:lnTo>
                    <a:lnTo>
                      <a:pt x="2011" y="609"/>
                    </a:lnTo>
                    <a:lnTo>
                      <a:pt x="2009" y="612"/>
                    </a:lnTo>
                    <a:lnTo>
                      <a:pt x="2009" y="612"/>
                    </a:lnTo>
                    <a:lnTo>
                      <a:pt x="2009" y="615"/>
                    </a:lnTo>
                    <a:lnTo>
                      <a:pt x="2008" y="615"/>
                    </a:lnTo>
                    <a:lnTo>
                      <a:pt x="2008" y="618"/>
                    </a:lnTo>
                    <a:lnTo>
                      <a:pt x="2008" y="621"/>
                    </a:lnTo>
                    <a:lnTo>
                      <a:pt x="2006" y="624"/>
                    </a:lnTo>
                    <a:lnTo>
                      <a:pt x="2006" y="626"/>
                    </a:lnTo>
                    <a:lnTo>
                      <a:pt x="2006" y="627"/>
                    </a:lnTo>
                    <a:lnTo>
                      <a:pt x="2006" y="627"/>
                    </a:lnTo>
                    <a:lnTo>
                      <a:pt x="2006" y="629"/>
                    </a:lnTo>
                    <a:lnTo>
                      <a:pt x="2005" y="631"/>
                    </a:lnTo>
                    <a:lnTo>
                      <a:pt x="2005" y="631"/>
                    </a:lnTo>
                    <a:lnTo>
                      <a:pt x="2003" y="632"/>
                    </a:lnTo>
                    <a:lnTo>
                      <a:pt x="2003" y="632"/>
                    </a:lnTo>
                    <a:lnTo>
                      <a:pt x="2003" y="634"/>
                    </a:lnTo>
                    <a:lnTo>
                      <a:pt x="2003" y="635"/>
                    </a:lnTo>
                    <a:lnTo>
                      <a:pt x="2001" y="637"/>
                    </a:lnTo>
                    <a:lnTo>
                      <a:pt x="2001" y="638"/>
                    </a:lnTo>
                    <a:lnTo>
                      <a:pt x="2001" y="638"/>
                    </a:lnTo>
                    <a:lnTo>
                      <a:pt x="2000" y="638"/>
                    </a:lnTo>
                    <a:lnTo>
                      <a:pt x="2000" y="640"/>
                    </a:lnTo>
                    <a:lnTo>
                      <a:pt x="1998" y="642"/>
                    </a:lnTo>
                    <a:lnTo>
                      <a:pt x="1998" y="643"/>
                    </a:lnTo>
                    <a:lnTo>
                      <a:pt x="1998" y="645"/>
                    </a:lnTo>
                    <a:lnTo>
                      <a:pt x="1998" y="645"/>
                    </a:lnTo>
                    <a:lnTo>
                      <a:pt x="1998" y="646"/>
                    </a:lnTo>
                    <a:lnTo>
                      <a:pt x="1997" y="648"/>
                    </a:lnTo>
                    <a:lnTo>
                      <a:pt x="1995" y="648"/>
                    </a:lnTo>
                    <a:lnTo>
                      <a:pt x="1995" y="648"/>
                    </a:lnTo>
                    <a:lnTo>
                      <a:pt x="1995" y="648"/>
                    </a:lnTo>
                    <a:lnTo>
                      <a:pt x="1995" y="648"/>
                    </a:lnTo>
                    <a:lnTo>
                      <a:pt x="1994" y="649"/>
                    </a:lnTo>
                    <a:lnTo>
                      <a:pt x="1992" y="654"/>
                    </a:lnTo>
                    <a:lnTo>
                      <a:pt x="1992" y="656"/>
                    </a:lnTo>
                    <a:lnTo>
                      <a:pt x="1992" y="659"/>
                    </a:lnTo>
                    <a:lnTo>
                      <a:pt x="1991" y="660"/>
                    </a:lnTo>
                    <a:lnTo>
                      <a:pt x="1989" y="660"/>
                    </a:lnTo>
                    <a:lnTo>
                      <a:pt x="1989" y="660"/>
                    </a:lnTo>
                    <a:lnTo>
                      <a:pt x="1989" y="660"/>
                    </a:lnTo>
                    <a:lnTo>
                      <a:pt x="1989" y="660"/>
                    </a:lnTo>
                    <a:lnTo>
                      <a:pt x="1987" y="660"/>
                    </a:lnTo>
                    <a:lnTo>
                      <a:pt x="1986" y="660"/>
                    </a:lnTo>
                    <a:lnTo>
                      <a:pt x="1984" y="659"/>
                    </a:lnTo>
                    <a:lnTo>
                      <a:pt x="1983" y="659"/>
                    </a:lnTo>
                    <a:lnTo>
                      <a:pt x="1983" y="659"/>
                    </a:lnTo>
                    <a:lnTo>
                      <a:pt x="1981" y="659"/>
                    </a:lnTo>
                    <a:lnTo>
                      <a:pt x="1980" y="657"/>
                    </a:lnTo>
                    <a:lnTo>
                      <a:pt x="1976" y="657"/>
                    </a:lnTo>
                    <a:lnTo>
                      <a:pt x="1973" y="656"/>
                    </a:lnTo>
                    <a:lnTo>
                      <a:pt x="1972" y="656"/>
                    </a:lnTo>
                    <a:lnTo>
                      <a:pt x="1972" y="654"/>
                    </a:lnTo>
                    <a:lnTo>
                      <a:pt x="1970" y="654"/>
                    </a:lnTo>
                    <a:lnTo>
                      <a:pt x="1970" y="654"/>
                    </a:lnTo>
                    <a:lnTo>
                      <a:pt x="1969" y="654"/>
                    </a:lnTo>
                    <a:lnTo>
                      <a:pt x="1969" y="654"/>
                    </a:lnTo>
                    <a:lnTo>
                      <a:pt x="1969" y="656"/>
                    </a:lnTo>
                    <a:lnTo>
                      <a:pt x="1967" y="657"/>
                    </a:lnTo>
                    <a:lnTo>
                      <a:pt x="1967" y="657"/>
                    </a:lnTo>
                    <a:lnTo>
                      <a:pt x="1966" y="659"/>
                    </a:lnTo>
                    <a:lnTo>
                      <a:pt x="1966" y="659"/>
                    </a:lnTo>
                    <a:lnTo>
                      <a:pt x="1964" y="662"/>
                    </a:lnTo>
                    <a:lnTo>
                      <a:pt x="1962" y="662"/>
                    </a:lnTo>
                    <a:lnTo>
                      <a:pt x="1959" y="663"/>
                    </a:lnTo>
                    <a:lnTo>
                      <a:pt x="1959" y="663"/>
                    </a:lnTo>
                    <a:lnTo>
                      <a:pt x="1959" y="663"/>
                    </a:lnTo>
                    <a:lnTo>
                      <a:pt x="1956" y="663"/>
                    </a:lnTo>
                    <a:lnTo>
                      <a:pt x="1956" y="663"/>
                    </a:lnTo>
                    <a:lnTo>
                      <a:pt x="1956" y="665"/>
                    </a:lnTo>
                    <a:lnTo>
                      <a:pt x="1955" y="665"/>
                    </a:lnTo>
                    <a:lnTo>
                      <a:pt x="1955" y="667"/>
                    </a:lnTo>
                    <a:lnTo>
                      <a:pt x="1955" y="668"/>
                    </a:lnTo>
                    <a:lnTo>
                      <a:pt x="1956" y="670"/>
                    </a:lnTo>
                    <a:lnTo>
                      <a:pt x="1956" y="671"/>
                    </a:lnTo>
                    <a:lnTo>
                      <a:pt x="1958" y="674"/>
                    </a:lnTo>
                    <a:lnTo>
                      <a:pt x="1959" y="684"/>
                    </a:lnTo>
                    <a:lnTo>
                      <a:pt x="1959" y="685"/>
                    </a:lnTo>
                    <a:lnTo>
                      <a:pt x="1958" y="693"/>
                    </a:lnTo>
                    <a:lnTo>
                      <a:pt x="1958" y="695"/>
                    </a:lnTo>
                    <a:lnTo>
                      <a:pt x="1958" y="696"/>
                    </a:lnTo>
                    <a:lnTo>
                      <a:pt x="1958" y="698"/>
                    </a:lnTo>
                    <a:lnTo>
                      <a:pt x="1959" y="698"/>
                    </a:lnTo>
                    <a:lnTo>
                      <a:pt x="1959" y="698"/>
                    </a:lnTo>
                    <a:lnTo>
                      <a:pt x="1959" y="699"/>
                    </a:lnTo>
                    <a:lnTo>
                      <a:pt x="1959" y="699"/>
                    </a:lnTo>
                    <a:lnTo>
                      <a:pt x="1959" y="701"/>
                    </a:lnTo>
                    <a:lnTo>
                      <a:pt x="1959" y="703"/>
                    </a:lnTo>
                    <a:lnTo>
                      <a:pt x="1959" y="704"/>
                    </a:lnTo>
                    <a:lnTo>
                      <a:pt x="1958" y="707"/>
                    </a:lnTo>
                    <a:lnTo>
                      <a:pt x="1958" y="707"/>
                    </a:lnTo>
                    <a:lnTo>
                      <a:pt x="1958" y="709"/>
                    </a:lnTo>
                    <a:lnTo>
                      <a:pt x="1956" y="709"/>
                    </a:lnTo>
                    <a:lnTo>
                      <a:pt x="1956" y="712"/>
                    </a:lnTo>
                    <a:lnTo>
                      <a:pt x="1956" y="712"/>
                    </a:lnTo>
                    <a:lnTo>
                      <a:pt x="1955" y="714"/>
                    </a:lnTo>
                    <a:lnTo>
                      <a:pt x="1955" y="714"/>
                    </a:lnTo>
                    <a:lnTo>
                      <a:pt x="1955" y="714"/>
                    </a:lnTo>
                    <a:lnTo>
                      <a:pt x="1953" y="714"/>
                    </a:lnTo>
                    <a:lnTo>
                      <a:pt x="1951" y="714"/>
                    </a:lnTo>
                    <a:lnTo>
                      <a:pt x="1950" y="714"/>
                    </a:lnTo>
                    <a:lnTo>
                      <a:pt x="1948" y="715"/>
                    </a:lnTo>
                    <a:lnTo>
                      <a:pt x="1948" y="715"/>
                    </a:lnTo>
                    <a:lnTo>
                      <a:pt x="1947" y="715"/>
                    </a:lnTo>
                    <a:lnTo>
                      <a:pt x="1947" y="715"/>
                    </a:lnTo>
                    <a:lnTo>
                      <a:pt x="1945" y="717"/>
                    </a:lnTo>
                    <a:lnTo>
                      <a:pt x="1945" y="717"/>
                    </a:lnTo>
                    <a:lnTo>
                      <a:pt x="1945" y="717"/>
                    </a:lnTo>
                    <a:lnTo>
                      <a:pt x="1945" y="718"/>
                    </a:lnTo>
                    <a:lnTo>
                      <a:pt x="1945" y="718"/>
                    </a:lnTo>
                    <a:lnTo>
                      <a:pt x="1947" y="718"/>
                    </a:lnTo>
                    <a:lnTo>
                      <a:pt x="1948" y="720"/>
                    </a:lnTo>
                    <a:lnTo>
                      <a:pt x="1948" y="720"/>
                    </a:lnTo>
                    <a:lnTo>
                      <a:pt x="1947" y="721"/>
                    </a:lnTo>
                    <a:lnTo>
                      <a:pt x="1947" y="721"/>
                    </a:lnTo>
                    <a:lnTo>
                      <a:pt x="1947" y="721"/>
                    </a:lnTo>
                    <a:lnTo>
                      <a:pt x="1947" y="723"/>
                    </a:lnTo>
                    <a:lnTo>
                      <a:pt x="1948" y="724"/>
                    </a:lnTo>
                    <a:lnTo>
                      <a:pt x="1948" y="724"/>
                    </a:lnTo>
                    <a:lnTo>
                      <a:pt x="1950" y="726"/>
                    </a:lnTo>
                    <a:lnTo>
                      <a:pt x="1950" y="726"/>
                    </a:lnTo>
                    <a:lnTo>
                      <a:pt x="1950" y="728"/>
                    </a:lnTo>
                    <a:lnTo>
                      <a:pt x="1950" y="726"/>
                    </a:lnTo>
                    <a:lnTo>
                      <a:pt x="1951" y="721"/>
                    </a:lnTo>
                    <a:lnTo>
                      <a:pt x="1950" y="718"/>
                    </a:lnTo>
                    <a:lnTo>
                      <a:pt x="1951" y="718"/>
                    </a:lnTo>
                    <a:lnTo>
                      <a:pt x="1955" y="718"/>
                    </a:lnTo>
                    <a:lnTo>
                      <a:pt x="1956" y="718"/>
                    </a:lnTo>
                    <a:lnTo>
                      <a:pt x="1958" y="720"/>
                    </a:lnTo>
                    <a:lnTo>
                      <a:pt x="1959" y="718"/>
                    </a:lnTo>
                    <a:lnTo>
                      <a:pt x="1961" y="715"/>
                    </a:lnTo>
                    <a:lnTo>
                      <a:pt x="1962" y="715"/>
                    </a:lnTo>
                    <a:lnTo>
                      <a:pt x="1964" y="710"/>
                    </a:lnTo>
                    <a:lnTo>
                      <a:pt x="1967" y="706"/>
                    </a:lnTo>
                    <a:lnTo>
                      <a:pt x="1969" y="704"/>
                    </a:lnTo>
                    <a:lnTo>
                      <a:pt x="1972" y="703"/>
                    </a:lnTo>
                    <a:lnTo>
                      <a:pt x="1972" y="703"/>
                    </a:lnTo>
                    <a:lnTo>
                      <a:pt x="1973" y="704"/>
                    </a:lnTo>
                    <a:lnTo>
                      <a:pt x="1970" y="706"/>
                    </a:lnTo>
                    <a:lnTo>
                      <a:pt x="1970" y="707"/>
                    </a:lnTo>
                    <a:lnTo>
                      <a:pt x="1972" y="707"/>
                    </a:lnTo>
                    <a:lnTo>
                      <a:pt x="1973" y="707"/>
                    </a:lnTo>
                    <a:lnTo>
                      <a:pt x="1976" y="704"/>
                    </a:lnTo>
                    <a:lnTo>
                      <a:pt x="1978" y="703"/>
                    </a:lnTo>
                    <a:lnTo>
                      <a:pt x="1978" y="704"/>
                    </a:lnTo>
                    <a:lnTo>
                      <a:pt x="1978" y="714"/>
                    </a:lnTo>
                    <a:lnTo>
                      <a:pt x="1981" y="712"/>
                    </a:lnTo>
                    <a:lnTo>
                      <a:pt x="1983" y="714"/>
                    </a:lnTo>
                    <a:lnTo>
                      <a:pt x="1986" y="714"/>
                    </a:lnTo>
                    <a:lnTo>
                      <a:pt x="1987" y="715"/>
                    </a:lnTo>
                    <a:lnTo>
                      <a:pt x="1989" y="715"/>
                    </a:lnTo>
                    <a:lnTo>
                      <a:pt x="1991" y="715"/>
                    </a:lnTo>
                    <a:lnTo>
                      <a:pt x="1991" y="717"/>
                    </a:lnTo>
                    <a:lnTo>
                      <a:pt x="1994" y="718"/>
                    </a:lnTo>
                    <a:lnTo>
                      <a:pt x="1997" y="717"/>
                    </a:lnTo>
                    <a:lnTo>
                      <a:pt x="2000" y="715"/>
                    </a:lnTo>
                    <a:lnTo>
                      <a:pt x="2003" y="715"/>
                    </a:lnTo>
                    <a:lnTo>
                      <a:pt x="2008" y="712"/>
                    </a:lnTo>
                    <a:lnTo>
                      <a:pt x="2011" y="709"/>
                    </a:lnTo>
                    <a:lnTo>
                      <a:pt x="2020" y="703"/>
                    </a:lnTo>
                    <a:lnTo>
                      <a:pt x="2023" y="699"/>
                    </a:lnTo>
                    <a:lnTo>
                      <a:pt x="2028" y="698"/>
                    </a:lnTo>
                    <a:lnTo>
                      <a:pt x="2030" y="693"/>
                    </a:lnTo>
                    <a:lnTo>
                      <a:pt x="2034" y="690"/>
                    </a:lnTo>
                    <a:lnTo>
                      <a:pt x="2034" y="688"/>
                    </a:lnTo>
                    <a:lnTo>
                      <a:pt x="2034" y="687"/>
                    </a:lnTo>
                    <a:lnTo>
                      <a:pt x="2041" y="678"/>
                    </a:lnTo>
                    <a:lnTo>
                      <a:pt x="2042" y="676"/>
                    </a:lnTo>
                    <a:lnTo>
                      <a:pt x="2045" y="674"/>
                    </a:lnTo>
                    <a:lnTo>
                      <a:pt x="2047" y="673"/>
                    </a:lnTo>
                    <a:lnTo>
                      <a:pt x="2047" y="670"/>
                    </a:lnTo>
                    <a:lnTo>
                      <a:pt x="2051" y="667"/>
                    </a:lnTo>
                    <a:lnTo>
                      <a:pt x="2053" y="662"/>
                    </a:lnTo>
                    <a:lnTo>
                      <a:pt x="2056" y="660"/>
                    </a:lnTo>
                    <a:lnTo>
                      <a:pt x="2058" y="657"/>
                    </a:lnTo>
                    <a:lnTo>
                      <a:pt x="2062" y="652"/>
                    </a:lnTo>
                    <a:lnTo>
                      <a:pt x="2069" y="646"/>
                    </a:lnTo>
                    <a:lnTo>
                      <a:pt x="2072" y="642"/>
                    </a:lnTo>
                    <a:lnTo>
                      <a:pt x="2073" y="638"/>
                    </a:lnTo>
                    <a:lnTo>
                      <a:pt x="2080" y="631"/>
                    </a:lnTo>
                    <a:lnTo>
                      <a:pt x="2081" y="624"/>
                    </a:lnTo>
                    <a:lnTo>
                      <a:pt x="2084" y="623"/>
                    </a:lnTo>
                    <a:lnTo>
                      <a:pt x="2084" y="618"/>
                    </a:lnTo>
                    <a:lnTo>
                      <a:pt x="2087" y="613"/>
                    </a:lnTo>
                    <a:lnTo>
                      <a:pt x="2087" y="612"/>
                    </a:lnTo>
                    <a:lnTo>
                      <a:pt x="2089" y="610"/>
                    </a:lnTo>
                    <a:lnTo>
                      <a:pt x="2095" y="601"/>
                    </a:lnTo>
                    <a:lnTo>
                      <a:pt x="2098" y="595"/>
                    </a:lnTo>
                    <a:lnTo>
                      <a:pt x="2102" y="588"/>
                    </a:lnTo>
                    <a:lnTo>
                      <a:pt x="2105" y="585"/>
                    </a:lnTo>
                    <a:lnTo>
                      <a:pt x="2108" y="584"/>
                    </a:lnTo>
                    <a:lnTo>
                      <a:pt x="2109" y="581"/>
                    </a:lnTo>
                    <a:lnTo>
                      <a:pt x="2112" y="577"/>
                    </a:lnTo>
                    <a:lnTo>
                      <a:pt x="2116" y="574"/>
                    </a:lnTo>
                    <a:lnTo>
                      <a:pt x="2116" y="571"/>
                    </a:lnTo>
                    <a:lnTo>
                      <a:pt x="2117" y="565"/>
                    </a:lnTo>
                    <a:lnTo>
                      <a:pt x="2120" y="560"/>
                    </a:lnTo>
                    <a:lnTo>
                      <a:pt x="2119" y="559"/>
                    </a:lnTo>
                    <a:lnTo>
                      <a:pt x="2119" y="557"/>
                    </a:lnTo>
                    <a:lnTo>
                      <a:pt x="2119" y="555"/>
                    </a:lnTo>
                    <a:lnTo>
                      <a:pt x="2119" y="554"/>
                    </a:lnTo>
                    <a:lnTo>
                      <a:pt x="2119" y="552"/>
                    </a:lnTo>
                    <a:lnTo>
                      <a:pt x="2120" y="551"/>
                    </a:lnTo>
                    <a:lnTo>
                      <a:pt x="2120" y="549"/>
                    </a:lnTo>
                    <a:lnTo>
                      <a:pt x="2122" y="543"/>
                    </a:lnTo>
                    <a:lnTo>
                      <a:pt x="2122" y="538"/>
                    </a:lnTo>
                    <a:lnTo>
                      <a:pt x="2122" y="537"/>
                    </a:lnTo>
                    <a:lnTo>
                      <a:pt x="2122" y="534"/>
                    </a:lnTo>
                    <a:lnTo>
                      <a:pt x="2123" y="530"/>
                    </a:lnTo>
                    <a:lnTo>
                      <a:pt x="2123" y="530"/>
                    </a:lnTo>
                    <a:lnTo>
                      <a:pt x="2123" y="529"/>
                    </a:lnTo>
                    <a:lnTo>
                      <a:pt x="2123" y="529"/>
                    </a:lnTo>
                    <a:lnTo>
                      <a:pt x="2122" y="529"/>
                    </a:lnTo>
                    <a:lnTo>
                      <a:pt x="2122" y="516"/>
                    </a:lnTo>
                    <a:lnTo>
                      <a:pt x="2122" y="510"/>
                    </a:lnTo>
                    <a:lnTo>
                      <a:pt x="2125" y="505"/>
                    </a:lnTo>
                    <a:lnTo>
                      <a:pt x="2125" y="502"/>
                    </a:lnTo>
                    <a:lnTo>
                      <a:pt x="2125" y="498"/>
                    </a:lnTo>
                    <a:lnTo>
                      <a:pt x="2128" y="493"/>
                    </a:lnTo>
                    <a:lnTo>
                      <a:pt x="2130" y="487"/>
                    </a:lnTo>
                    <a:lnTo>
                      <a:pt x="2133" y="483"/>
                    </a:lnTo>
                    <a:lnTo>
                      <a:pt x="2136" y="480"/>
                    </a:lnTo>
                    <a:lnTo>
                      <a:pt x="2137" y="479"/>
                    </a:lnTo>
                    <a:lnTo>
                      <a:pt x="2137" y="474"/>
                    </a:lnTo>
                    <a:lnTo>
                      <a:pt x="2139" y="471"/>
                    </a:lnTo>
                    <a:lnTo>
                      <a:pt x="2137" y="469"/>
                    </a:lnTo>
                    <a:lnTo>
                      <a:pt x="2136" y="468"/>
                    </a:lnTo>
                    <a:lnTo>
                      <a:pt x="2134" y="466"/>
                    </a:lnTo>
                    <a:lnTo>
                      <a:pt x="2133" y="463"/>
                    </a:lnTo>
                    <a:lnTo>
                      <a:pt x="2134" y="460"/>
                    </a:lnTo>
                    <a:lnTo>
                      <a:pt x="2136" y="457"/>
                    </a:lnTo>
                    <a:lnTo>
                      <a:pt x="2134" y="452"/>
                    </a:lnTo>
                    <a:lnTo>
                      <a:pt x="2133" y="451"/>
                    </a:lnTo>
                    <a:lnTo>
                      <a:pt x="2128" y="446"/>
                    </a:lnTo>
                    <a:lnTo>
                      <a:pt x="2128" y="444"/>
                    </a:lnTo>
                    <a:lnTo>
                      <a:pt x="2128" y="444"/>
                    </a:lnTo>
                    <a:lnTo>
                      <a:pt x="2134" y="448"/>
                    </a:lnTo>
                    <a:lnTo>
                      <a:pt x="2136" y="444"/>
                    </a:lnTo>
                    <a:lnTo>
                      <a:pt x="2137" y="441"/>
                    </a:lnTo>
                    <a:lnTo>
                      <a:pt x="2137" y="438"/>
                    </a:lnTo>
                    <a:lnTo>
                      <a:pt x="2134" y="438"/>
                    </a:lnTo>
                    <a:lnTo>
                      <a:pt x="2131" y="433"/>
                    </a:lnTo>
                    <a:lnTo>
                      <a:pt x="2131" y="433"/>
                    </a:lnTo>
                    <a:lnTo>
                      <a:pt x="2125" y="430"/>
                    </a:lnTo>
                    <a:lnTo>
                      <a:pt x="2119" y="424"/>
                    </a:lnTo>
                    <a:lnTo>
                      <a:pt x="2117" y="418"/>
                    </a:lnTo>
                    <a:lnTo>
                      <a:pt x="2116" y="416"/>
                    </a:lnTo>
                    <a:lnTo>
                      <a:pt x="2111" y="412"/>
                    </a:lnTo>
                    <a:lnTo>
                      <a:pt x="2109" y="410"/>
                    </a:lnTo>
                    <a:lnTo>
                      <a:pt x="2108" y="410"/>
                    </a:lnTo>
                    <a:lnTo>
                      <a:pt x="2102" y="412"/>
                    </a:lnTo>
                    <a:lnTo>
                      <a:pt x="2097" y="412"/>
                    </a:lnTo>
                    <a:lnTo>
                      <a:pt x="2091" y="408"/>
                    </a:lnTo>
                    <a:lnTo>
                      <a:pt x="2089" y="408"/>
                    </a:lnTo>
                    <a:lnTo>
                      <a:pt x="2091" y="412"/>
                    </a:lnTo>
                    <a:lnTo>
                      <a:pt x="2091" y="413"/>
                    </a:lnTo>
                    <a:lnTo>
                      <a:pt x="2091" y="416"/>
                    </a:lnTo>
                    <a:lnTo>
                      <a:pt x="2091" y="422"/>
                    </a:lnTo>
                    <a:lnTo>
                      <a:pt x="2089" y="426"/>
                    </a:lnTo>
                    <a:lnTo>
                      <a:pt x="2087" y="430"/>
                    </a:lnTo>
                    <a:lnTo>
                      <a:pt x="2086" y="432"/>
                    </a:lnTo>
                    <a:lnTo>
                      <a:pt x="2084" y="432"/>
                    </a:lnTo>
                    <a:lnTo>
                      <a:pt x="2083" y="432"/>
                    </a:lnTo>
                    <a:lnTo>
                      <a:pt x="2083" y="430"/>
                    </a:lnTo>
                    <a:lnTo>
                      <a:pt x="2086" y="427"/>
                    </a:lnTo>
                    <a:lnTo>
                      <a:pt x="2087" y="424"/>
                    </a:lnTo>
                    <a:lnTo>
                      <a:pt x="2087" y="419"/>
                    </a:lnTo>
                    <a:lnTo>
                      <a:pt x="2087" y="419"/>
                    </a:lnTo>
                    <a:lnTo>
                      <a:pt x="2086" y="419"/>
                    </a:lnTo>
                    <a:lnTo>
                      <a:pt x="2084" y="421"/>
                    </a:lnTo>
                    <a:lnTo>
                      <a:pt x="2083" y="426"/>
                    </a:lnTo>
                    <a:lnTo>
                      <a:pt x="2077" y="430"/>
                    </a:lnTo>
                    <a:lnTo>
                      <a:pt x="2073" y="430"/>
                    </a:lnTo>
                    <a:lnTo>
                      <a:pt x="2066" y="432"/>
                    </a:lnTo>
                    <a:lnTo>
                      <a:pt x="2066" y="432"/>
                    </a:lnTo>
                    <a:lnTo>
                      <a:pt x="2064" y="430"/>
                    </a:lnTo>
                    <a:lnTo>
                      <a:pt x="2066" y="429"/>
                    </a:lnTo>
                    <a:lnTo>
                      <a:pt x="2070" y="427"/>
                    </a:lnTo>
                    <a:lnTo>
                      <a:pt x="2072" y="422"/>
                    </a:lnTo>
                    <a:lnTo>
                      <a:pt x="2075" y="421"/>
                    </a:lnTo>
                    <a:lnTo>
                      <a:pt x="2075" y="419"/>
                    </a:lnTo>
                    <a:lnTo>
                      <a:pt x="2072" y="419"/>
                    </a:lnTo>
                    <a:lnTo>
                      <a:pt x="2069" y="418"/>
                    </a:lnTo>
                    <a:lnTo>
                      <a:pt x="2067" y="415"/>
                    </a:lnTo>
                    <a:lnTo>
                      <a:pt x="2067" y="415"/>
                    </a:lnTo>
                    <a:lnTo>
                      <a:pt x="2069" y="415"/>
                    </a:lnTo>
                    <a:lnTo>
                      <a:pt x="2069" y="413"/>
                    </a:lnTo>
                    <a:lnTo>
                      <a:pt x="2072" y="410"/>
                    </a:lnTo>
                    <a:lnTo>
                      <a:pt x="2070" y="410"/>
                    </a:lnTo>
                    <a:lnTo>
                      <a:pt x="2067" y="410"/>
                    </a:lnTo>
                    <a:lnTo>
                      <a:pt x="2062" y="413"/>
                    </a:lnTo>
                    <a:lnTo>
                      <a:pt x="2062" y="415"/>
                    </a:lnTo>
                    <a:lnTo>
                      <a:pt x="2064" y="416"/>
                    </a:lnTo>
                    <a:lnTo>
                      <a:pt x="2066" y="418"/>
                    </a:lnTo>
                    <a:lnTo>
                      <a:pt x="2062" y="422"/>
                    </a:lnTo>
                    <a:lnTo>
                      <a:pt x="2061" y="422"/>
                    </a:lnTo>
                    <a:lnTo>
                      <a:pt x="2058" y="422"/>
                    </a:lnTo>
                    <a:lnTo>
                      <a:pt x="2056" y="424"/>
                    </a:lnTo>
                    <a:lnTo>
                      <a:pt x="2056" y="424"/>
                    </a:lnTo>
                    <a:lnTo>
                      <a:pt x="2055" y="419"/>
                    </a:lnTo>
                    <a:lnTo>
                      <a:pt x="2056" y="416"/>
                    </a:lnTo>
                    <a:lnTo>
                      <a:pt x="2056" y="407"/>
                    </a:lnTo>
                    <a:lnTo>
                      <a:pt x="2058" y="404"/>
                    </a:lnTo>
                    <a:lnTo>
                      <a:pt x="2058" y="401"/>
                    </a:lnTo>
                    <a:lnTo>
                      <a:pt x="2056" y="399"/>
                    </a:lnTo>
                    <a:lnTo>
                      <a:pt x="2056" y="399"/>
                    </a:lnTo>
                    <a:lnTo>
                      <a:pt x="2053" y="399"/>
                    </a:lnTo>
                    <a:lnTo>
                      <a:pt x="2047" y="399"/>
                    </a:lnTo>
                    <a:lnTo>
                      <a:pt x="2041" y="401"/>
                    </a:lnTo>
                    <a:lnTo>
                      <a:pt x="2033" y="397"/>
                    </a:lnTo>
                    <a:lnTo>
                      <a:pt x="2031" y="396"/>
                    </a:lnTo>
                    <a:lnTo>
                      <a:pt x="2030" y="396"/>
                    </a:lnTo>
                    <a:lnTo>
                      <a:pt x="2030" y="393"/>
                    </a:lnTo>
                    <a:lnTo>
                      <a:pt x="2030" y="391"/>
                    </a:lnTo>
                    <a:lnTo>
                      <a:pt x="2030" y="390"/>
                    </a:lnTo>
                    <a:lnTo>
                      <a:pt x="2034" y="385"/>
                    </a:lnTo>
                    <a:lnTo>
                      <a:pt x="2039" y="383"/>
                    </a:lnTo>
                    <a:lnTo>
                      <a:pt x="2045" y="377"/>
                    </a:lnTo>
                    <a:lnTo>
                      <a:pt x="2048" y="372"/>
                    </a:lnTo>
                    <a:lnTo>
                      <a:pt x="2051" y="369"/>
                    </a:lnTo>
                    <a:lnTo>
                      <a:pt x="2056" y="366"/>
                    </a:lnTo>
                    <a:lnTo>
                      <a:pt x="2061" y="363"/>
                    </a:lnTo>
                    <a:lnTo>
                      <a:pt x="2064" y="360"/>
                    </a:lnTo>
                    <a:lnTo>
                      <a:pt x="2067" y="358"/>
                    </a:lnTo>
                    <a:lnTo>
                      <a:pt x="2070" y="354"/>
                    </a:lnTo>
                    <a:lnTo>
                      <a:pt x="2072" y="352"/>
                    </a:lnTo>
                    <a:lnTo>
                      <a:pt x="2080" y="343"/>
                    </a:lnTo>
                    <a:lnTo>
                      <a:pt x="2081" y="341"/>
                    </a:lnTo>
                    <a:lnTo>
                      <a:pt x="2081" y="338"/>
                    </a:lnTo>
                    <a:lnTo>
                      <a:pt x="2081" y="336"/>
                    </a:lnTo>
                    <a:lnTo>
                      <a:pt x="2089" y="325"/>
                    </a:lnTo>
                    <a:lnTo>
                      <a:pt x="2095" y="322"/>
                    </a:lnTo>
                    <a:lnTo>
                      <a:pt x="2098" y="316"/>
                    </a:lnTo>
                    <a:lnTo>
                      <a:pt x="2103" y="314"/>
                    </a:lnTo>
                    <a:lnTo>
                      <a:pt x="2105" y="313"/>
                    </a:lnTo>
                    <a:lnTo>
                      <a:pt x="2106" y="310"/>
                    </a:lnTo>
                    <a:lnTo>
                      <a:pt x="2109" y="308"/>
                    </a:lnTo>
                    <a:lnTo>
                      <a:pt x="2111" y="307"/>
                    </a:lnTo>
                    <a:lnTo>
                      <a:pt x="2112" y="302"/>
                    </a:lnTo>
                    <a:lnTo>
                      <a:pt x="2120" y="299"/>
                    </a:lnTo>
                    <a:lnTo>
                      <a:pt x="2122" y="297"/>
                    </a:lnTo>
                    <a:lnTo>
                      <a:pt x="2125" y="285"/>
                    </a:lnTo>
                    <a:lnTo>
                      <a:pt x="2127" y="282"/>
                    </a:lnTo>
                    <a:lnTo>
                      <a:pt x="2130" y="279"/>
                    </a:lnTo>
                    <a:lnTo>
                      <a:pt x="2137" y="275"/>
                    </a:lnTo>
                    <a:lnTo>
                      <a:pt x="2141" y="271"/>
                    </a:lnTo>
                    <a:lnTo>
                      <a:pt x="2144" y="268"/>
                    </a:lnTo>
                    <a:lnTo>
                      <a:pt x="2148" y="258"/>
                    </a:lnTo>
                    <a:lnTo>
                      <a:pt x="2155" y="253"/>
                    </a:lnTo>
                    <a:lnTo>
                      <a:pt x="2158" y="250"/>
                    </a:lnTo>
                    <a:lnTo>
                      <a:pt x="2169" y="246"/>
                    </a:lnTo>
                    <a:lnTo>
                      <a:pt x="2175" y="247"/>
                    </a:lnTo>
                    <a:lnTo>
                      <a:pt x="2181" y="244"/>
                    </a:lnTo>
                    <a:lnTo>
                      <a:pt x="2186" y="244"/>
                    </a:lnTo>
                    <a:lnTo>
                      <a:pt x="2192" y="246"/>
                    </a:lnTo>
                    <a:lnTo>
                      <a:pt x="2211" y="244"/>
                    </a:lnTo>
                    <a:lnTo>
                      <a:pt x="2214" y="246"/>
                    </a:lnTo>
                    <a:lnTo>
                      <a:pt x="2216" y="247"/>
                    </a:lnTo>
                    <a:lnTo>
                      <a:pt x="2217" y="252"/>
                    </a:lnTo>
                    <a:lnTo>
                      <a:pt x="2219" y="253"/>
                    </a:lnTo>
                    <a:lnTo>
                      <a:pt x="2223" y="252"/>
                    </a:lnTo>
                    <a:lnTo>
                      <a:pt x="2227" y="244"/>
                    </a:lnTo>
                    <a:lnTo>
                      <a:pt x="2228" y="243"/>
                    </a:lnTo>
                    <a:lnTo>
                      <a:pt x="2233" y="246"/>
                    </a:lnTo>
                    <a:lnTo>
                      <a:pt x="2236" y="246"/>
                    </a:lnTo>
                    <a:lnTo>
                      <a:pt x="2245" y="250"/>
                    </a:lnTo>
                    <a:lnTo>
                      <a:pt x="2249" y="249"/>
                    </a:lnTo>
                    <a:lnTo>
                      <a:pt x="2252" y="246"/>
                    </a:lnTo>
                    <a:lnTo>
                      <a:pt x="2258" y="244"/>
                    </a:lnTo>
                    <a:lnTo>
                      <a:pt x="2263" y="250"/>
                    </a:lnTo>
                    <a:lnTo>
                      <a:pt x="2266" y="250"/>
                    </a:lnTo>
                    <a:lnTo>
                      <a:pt x="2269" y="249"/>
                    </a:lnTo>
                    <a:lnTo>
                      <a:pt x="2270" y="246"/>
                    </a:lnTo>
                    <a:lnTo>
                      <a:pt x="2269" y="246"/>
                    </a:lnTo>
                    <a:lnTo>
                      <a:pt x="2267" y="246"/>
                    </a:lnTo>
                    <a:lnTo>
                      <a:pt x="2266" y="244"/>
                    </a:lnTo>
                    <a:lnTo>
                      <a:pt x="2267" y="241"/>
                    </a:lnTo>
                    <a:lnTo>
                      <a:pt x="2270" y="243"/>
                    </a:lnTo>
                    <a:lnTo>
                      <a:pt x="2274" y="243"/>
                    </a:lnTo>
                    <a:lnTo>
                      <a:pt x="2275" y="243"/>
                    </a:lnTo>
                    <a:lnTo>
                      <a:pt x="2274" y="241"/>
                    </a:lnTo>
                    <a:lnTo>
                      <a:pt x="2274" y="239"/>
                    </a:lnTo>
                    <a:lnTo>
                      <a:pt x="2272" y="238"/>
                    </a:lnTo>
                    <a:lnTo>
                      <a:pt x="2277" y="233"/>
                    </a:lnTo>
                    <a:lnTo>
                      <a:pt x="2278" y="233"/>
                    </a:lnTo>
                    <a:lnTo>
                      <a:pt x="2283" y="232"/>
                    </a:lnTo>
                    <a:lnTo>
                      <a:pt x="2292" y="236"/>
                    </a:lnTo>
                    <a:lnTo>
                      <a:pt x="2294" y="236"/>
                    </a:lnTo>
                    <a:lnTo>
                      <a:pt x="2297" y="238"/>
                    </a:lnTo>
                    <a:lnTo>
                      <a:pt x="2300" y="239"/>
                    </a:lnTo>
                    <a:lnTo>
                      <a:pt x="2299" y="241"/>
                    </a:lnTo>
                    <a:lnTo>
                      <a:pt x="2297" y="243"/>
                    </a:lnTo>
                    <a:lnTo>
                      <a:pt x="2300" y="241"/>
                    </a:lnTo>
                    <a:lnTo>
                      <a:pt x="2302" y="243"/>
                    </a:lnTo>
                    <a:lnTo>
                      <a:pt x="2303" y="243"/>
                    </a:lnTo>
                    <a:lnTo>
                      <a:pt x="2303" y="243"/>
                    </a:lnTo>
                    <a:lnTo>
                      <a:pt x="2305" y="241"/>
                    </a:lnTo>
                    <a:lnTo>
                      <a:pt x="2306" y="239"/>
                    </a:lnTo>
                    <a:lnTo>
                      <a:pt x="2306" y="239"/>
                    </a:lnTo>
                    <a:lnTo>
                      <a:pt x="2309" y="239"/>
                    </a:lnTo>
                    <a:lnTo>
                      <a:pt x="2313" y="239"/>
                    </a:lnTo>
                    <a:lnTo>
                      <a:pt x="2314" y="241"/>
                    </a:lnTo>
                    <a:lnTo>
                      <a:pt x="2320" y="247"/>
                    </a:lnTo>
                    <a:lnTo>
                      <a:pt x="2322" y="249"/>
                    </a:lnTo>
                    <a:lnTo>
                      <a:pt x="2325" y="249"/>
                    </a:lnTo>
                    <a:lnTo>
                      <a:pt x="2327" y="249"/>
                    </a:lnTo>
                    <a:lnTo>
                      <a:pt x="2328" y="252"/>
                    </a:lnTo>
                    <a:lnTo>
                      <a:pt x="2324" y="253"/>
                    </a:lnTo>
                    <a:lnTo>
                      <a:pt x="2319" y="253"/>
                    </a:lnTo>
                    <a:lnTo>
                      <a:pt x="2316" y="253"/>
                    </a:lnTo>
                    <a:lnTo>
                      <a:pt x="2308" y="257"/>
                    </a:lnTo>
                    <a:lnTo>
                      <a:pt x="2313" y="263"/>
                    </a:lnTo>
                    <a:lnTo>
                      <a:pt x="2319" y="263"/>
                    </a:lnTo>
                    <a:lnTo>
                      <a:pt x="2325" y="261"/>
                    </a:lnTo>
                    <a:lnTo>
                      <a:pt x="2327" y="258"/>
                    </a:lnTo>
                    <a:lnTo>
                      <a:pt x="2330" y="258"/>
                    </a:lnTo>
                    <a:lnTo>
                      <a:pt x="2331" y="258"/>
                    </a:lnTo>
                    <a:lnTo>
                      <a:pt x="2334" y="260"/>
                    </a:lnTo>
                    <a:lnTo>
                      <a:pt x="2338" y="261"/>
                    </a:lnTo>
                    <a:lnTo>
                      <a:pt x="2339" y="261"/>
                    </a:lnTo>
                    <a:lnTo>
                      <a:pt x="2342" y="257"/>
                    </a:lnTo>
                    <a:lnTo>
                      <a:pt x="2345" y="255"/>
                    </a:lnTo>
                    <a:lnTo>
                      <a:pt x="2345" y="255"/>
                    </a:lnTo>
                    <a:lnTo>
                      <a:pt x="2347" y="252"/>
                    </a:lnTo>
                    <a:lnTo>
                      <a:pt x="2353" y="252"/>
                    </a:lnTo>
                    <a:lnTo>
                      <a:pt x="2356" y="255"/>
                    </a:lnTo>
                    <a:lnTo>
                      <a:pt x="2360" y="257"/>
                    </a:lnTo>
                    <a:lnTo>
                      <a:pt x="2363" y="255"/>
                    </a:lnTo>
                    <a:lnTo>
                      <a:pt x="2366" y="252"/>
                    </a:lnTo>
                    <a:lnTo>
                      <a:pt x="2367" y="252"/>
                    </a:lnTo>
                    <a:lnTo>
                      <a:pt x="2370" y="253"/>
                    </a:lnTo>
                    <a:lnTo>
                      <a:pt x="2374" y="252"/>
                    </a:lnTo>
                    <a:lnTo>
                      <a:pt x="2377" y="252"/>
                    </a:lnTo>
                    <a:lnTo>
                      <a:pt x="2380" y="252"/>
                    </a:lnTo>
                    <a:lnTo>
                      <a:pt x="2378" y="250"/>
                    </a:lnTo>
                    <a:lnTo>
                      <a:pt x="2380" y="247"/>
                    </a:lnTo>
                    <a:lnTo>
                      <a:pt x="2375" y="244"/>
                    </a:lnTo>
                    <a:lnTo>
                      <a:pt x="2369" y="241"/>
                    </a:lnTo>
                    <a:lnTo>
                      <a:pt x="2366" y="243"/>
                    </a:lnTo>
                    <a:lnTo>
                      <a:pt x="2364" y="243"/>
                    </a:lnTo>
                    <a:lnTo>
                      <a:pt x="2363" y="243"/>
                    </a:lnTo>
                    <a:lnTo>
                      <a:pt x="2361" y="241"/>
                    </a:lnTo>
                    <a:lnTo>
                      <a:pt x="2363" y="238"/>
                    </a:lnTo>
                    <a:lnTo>
                      <a:pt x="2364" y="236"/>
                    </a:lnTo>
                    <a:lnTo>
                      <a:pt x="2364" y="233"/>
                    </a:lnTo>
                    <a:lnTo>
                      <a:pt x="2364" y="230"/>
                    </a:lnTo>
                    <a:lnTo>
                      <a:pt x="2366" y="228"/>
                    </a:lnTo>
                    <a:lnTo>
                      <a:pt x="2366" y="228"/>
                    </a:lnTo>
                    <a:lnTo>
                      <a:pt x="2369" y="221"/>
                    </a:lnTo>
                    <a:lnTo>
                      <a:pt x="2375" y="211"/>
                    </a:lnTo>
                    <a:lnTo>
                      <a:pt x="2385" y="205"/>
                    </a:lnTo>
                    <a:lnTo>
                      <a:pt x="2389" y="200"/>
                    </a:lnTo>
                    <a:lnTo>
                      <a:pt x="2391" y="197"/>
                    </a:lnTo>
                    <a:lnTo>
                      <a:pt x="2395" y="189"/>
                    </a:lnTo>
                    <a:lnTo>
                      <a:pt x="2400" y="183"/>
                    </a:lnTo>
                    <a:lnTo>
                      <a:pt x="2402" y="181"/>
                    </a:lnTo>
                    <a:lnTo>
                      <a:pt x="2405" y="178"/>
                    </a:lnTo>
                    <a:lnTo>
                      <a:pt x="2406" y="171"/>
                    </a:lnTo>
                    <a:lnTo>
                      <a:pt x="2408" y="169"/>
                    </a:lnTo>
                    <a:lnTo>
                      <a:pt x="2410" y="167"/>
                    </a:lnTo>
                    <a:lnTo>
                      <a:pt x="2413" y="164"/>
                    </a:lnTo>
                    <a:lnTo>
                      <a:pt x="2417" y="161"/>
                    </a:lnTo>
                    <a:lnTo>
                      <a:pt x="2420" y="160"/>
                    </a:lnTo>
                    <a:lnTo>
                      <a:pt x="2425" y="160"/>
                    </a:lnTo>
                    <a:lnTo>
                      <a:pt x="2430" y="161"/>
                    </a:lnTo>
                    <a:lnTo>
                      <a:pt x="2431" y="161"/>
                    </a:lnTo>
                    <a:lnTo>
                      <a:pt x="2435" y="158"/>
                    </a:lnTo>
                    <a:lnTo>
                      <a:pt x="2439" y="160"/>
                    </a:lnTo>
                    <a:lnTo>
                      <a:pt x="2444" y="158"/>
                    </a:lnTo>
                    <a:lnTo>
                      <a:pt x="2449" y="155"/>
                    </a:lnTo>
                    <a:lnTo>
                      <a:pt x="2450" y="155"/>
                    </a:lnTo>
                    <a:lnTo>
                      <a:pt x="2452" y="155"/>
                    </a:lnTo>
                    <a:lnTo>
                      <a:pt x="2453" y="160"/>
                    </a:lnTo>
                    <a:lnTo>
                      <a:pt x="2455" y="160"/>
                    </a:lnTo>
                    <a:lnTo>
                      <a:pt x="2456" y="163"/>
                    </a:lnTo>
                    <a:lnTo>
                      <a:pt x="2460" y="161"/>
                    </a:lnTo>
                    <a:lnTo>
                      <a:pt x="2467" y="155"/>
                    </a:lnTo>
                    <a:lnTo>
                      <a:pt x="2469" y="155"/>
                    </a:lnTo>
                    <a:lnTo>
                      <a:pt x="2469" y="156"/>
                    </a:lnTo>
                    <a:lnTo>
                      <a:pt x="2471" y="158"/>
                    </a:lnTo>
                    <a:lnTo>
                      <a:pt x="2469" y="160"/>
                    </a:lnTo>
                    <a:lnTo>
                      <a:pt x="2469" y="164"/>
                    </a:lnTo>
                    <a:lnTo>
                      <a:pt x="2467" y="169"/>
                    </a:lnTo>
                    <a:lnTo>
                      <a:pt x="2463" y="177"/>
                    </a:lnTo>
                    <a:lnTo>
                      <a:pt x="2463" y="178"/>
                    </a:lnTo>
                    <a:lnTo>
                      <a:pt x="2463" y="180"/>
                    </a:lnTo>
                    <a:lnTo>
                      <a:pt x="2463" y="185"/>
                    </a:lnTo>
                    <a:lnTo>
                      <a:pt x="2461" y="188"/>
                    </a:lnTo>
                    <a:lnTo>
                      <a:pt x="2461" y="191"/>
                    </a:lnTo>
                    <a:lnTo>
                      <a:pt x="2463" y="191"/>
                    </a:lnTo>
                    <a:lnTo>
                      <a:pt x="2464" y="188"/>
                    </a:lnTo>
                    <a:lnTo>
                      <a:pt x="2467" y="186"/>
                    </a:lnTo>
                    <a:lnTo>
                      <a:pt x="2469" y="188"/>
                    </a:lnTo>
                    <a:lnTo>
                      <a:pt x="2471" y="188"/>
                    </a:lnTo>
                    <a:lnTo>
                      <a:pt x="2467" y="194"/>
                    </a:lnTo>
                    <a:lnTo>
                      <a:pt x="2467" y="199"/>
                    </a:lnTo>
                    <a:lnTo>
                      <a:pt x="2467" y="200"/>
                    </a:lnTo>
                    <a:lnTo>
                      <a:pt x="2467" y="202"/>
                    </a:lnTo>
                    <a:lnTo>
                      <a:pt x="2469" y="200"/>
                    </a:lnTo>
                    <a:lnTo>
                      <a:pt x="2471" y="199"/>
                    </a:lnTo>
                    <a:lnTo>
                      <a:pt x="2472" y="199"/>
                    </a:lnTo>
                    <a:lnTo>
                      <a:pt x="2478" y="197"/>
                    </a:lnTo>
                    <a:lnTo>
                      <a:pt x="2480" y="192"/>
                    </a:lnTo>
                    <a:lnTo>
                      <a:pt x="2483" y="189"/>
                    </a:lnTo>
                    <a:lnTo>
                      <a:pt x="2502" y="169"/>
                    </a:lnTo>
                    <a:lnTo>
                      <a:pt x="2506" y="164"/>
                    </a:lnTo>
                    <a:lnTo>
                      <a:pt x="2508" y="164"/>
                    </a:lnTo>
                    <a:lnTo>
                      <a:pt x="2510" y="164"/>
                    </a:lnTo>
                    <a:lnTo>
                      <a:pt x="2511" y="164"/>
                    </a:lnTo>
                    <a:lnTo>
                      <a:pt x="2511" y="163"/>
                    </a:lnTo>
                    <a:lnTo>
                      <a:pt x="2513" y="163"/>
                    </a:lnTo>
                    <a:lnTo>
                      <a:pt x="2514" y="163"/>
                    </a:lnTo>
                    <a:lnTo>
                      <a:pt x="2516" y="167"/>
                    </a:lnTo>
                    <a:lnTo>
                      <a:pt x="2517" y="169"/>
                    </a:lnTo>
                    <a:lnTo>
                      <a:pt x="2517" y="169"/>
                    </a:lnTo>
                    <a:lnTo>
                      <a:pt x="2519" y="167"/>
                    </a:lnTo>
                    <a:lnTo>
                      <a:pt x="2519" y="166"/>
                    </a:lnTo>
                    <a:lnTo>
                      <a:pt x="2521" y="166"/>
                    </a:lnTo>
                    <a:lnTo>
                      <a:pt x="2521" y="163"/>
                    </a:lnTo>
                    <a:lnTo>
                      <a:pt x="2521" y="161"/>
                    </a:lnTo>
                    <a:lnTo>
                      <a:pt x="2517" y="160"/>
                    </a:lnTo>
                    <a:lnTo>
                      <a:pt x="2517" y="156"/>
                    </a:lnTo>
                    <a:lnTo>
                      <a:pt x="2519" y="150"/>
                    </a:lnTo>
                    <a:lnTo>
                      <a:pt x="2519" y="145"/>
                    </a:lnTo>
                    <a:lnTo>
                      <a:pt x="2519" y="142"/>
                    </a:lnTo>
                    <a:lnTo>
                      <a:pt x="2521" y="141"/>
                    </a:lnTo>
                    <a:lnTo>
                      <a:pt x="2521" y="139"/>
                    </a:lnTo>
                    <a:lnTo>
                      <a:pt x="2522" y="138"/>
                    </a:lnTo>
                    <a:lnTo>
                      <a:pt x="2521" y="135"/>
                    </a:lnTo>
                    <a:lnTo>
                      <a:pt x="2522" y="133"/>
                    </a:lnTo>
                    <a:lnTo>
                      <a:pt x="2522" y="131"/>
                    </a:lnTo>
                    <a:lnTo>
                      <a:pt x="2539" y="125"/>
                    </a:lnTo>
                    <a:lnTo>
                      <a:pt x="2542" y="125"/>
                    </a:lnTo>
                    <a:lnTo>
                      <a:pt x="2544" y="127"/>
                    </a:lnTo>
                    <a:lnTo>
                      <a:pt x="2549" y="130"/>
                    </a:lnTo>
                    <a:lnTo>
                      <a:pt x="2553" y="133"/>
                    </a:lnTo>
                    <a:lnTo>
                      <a:pt x="2558" y="133"/>
                    </a:lnTo>
                    <a:lnTo>
                      <a:pt x="2560" y="135"/>
                    </a:lnTo>
                    <a:lnTo>
                      <a:pt x="2557" y="135"/>
                    </a:lnTo>
                    <a:lnTo>
                      <a:pt x="2555" y="135"/>
                    </a:lnTo>
                    <a:lnTo>
                      <a:pt x="2557" y="136"/>
                    </a:lnTo>
                    <a:lnTo>
                      <a:pt x="2555" y="138"/>
                    </a:lnTo>
                    <a:lnTo>
                      <a:pt x="2553" y="136"/>
                    </a:lnTo>
                    <a:lnTo>
                      <a:pt x="2550" y="136"/>
                    </a:lnTo>
                    <a:lnTo>
                      <a:pt x="2546" y="135"/>
                    </a:lnTo>
                    <a:lnTo>
                      <a:pt x="2546" y="135"/>
                    </a:lnTo>
                    <a:lnTo>
                      <a:pt x="2539" y="139"/>
                    </a:lnTo>
                    <a:lnTo>
                      <a:pt x="2538" y="141"/>
                    </a:lnTo>
                    <a:lnTo>
                      <a:pt x="2536" y="150"/>
                    </a:lnTo>
                    <a:lnTo>
                      <a:pt x="2536" y="156"/>
                    </a:lnTo>
                    <a:lnTo>
                      <a:pt x="2535" y="163"/>
                    </a:lnTo>
                    <a:lnTo>
                      <a:pt x="2531" y="166"/>
                    </a:lnTo>
                    <a:lnTo>
                      <a:pt x="2531" y="169"/>
                    </a:lnTo>
                    <a:lnTo>
                      <a:pt x="2531" y="172"/>
                    </a:lnTo>
                    <a:lnTo>
                      <a:pt x="2535" y="174"/>
                    </a:lnTo>
                    <a:lnTo>
                      <a:pt x="2535" y="175"/>
                    </a:lnTo>
                    <a:lnTo>
                      <a:pt x="2535" y="177"/>
                    </a:lnTo>
                    <a:lnTo>
                      <a:pt x="2533" y="180"/>
                    </a:lnTo>
                    <a:lnTo>
                      <a:pt x="2528" y="185"/>
                    </a:lnTo>
                    <a:lnTo>
                      <a:pt x="2527" y="186"/>
                    </a:lnTo>
                    <a:lnTo>
                      <a:pt x="2527" y="188"/>
                    </a:lnTo>
                    <a:lnTo>
                      <a:pt x="2530" y="192"/>
                    </a:lnTo>
                    <a:lnTo>
                      <a:pt x="2527" y="192"/>
                    </a:lnTo>
                    <a:lnTo>
                      <a:pt x="2525" y="194"/>
                    </a:lnTo>
                    <a:lnTo>
                      <a:pt x="2524" y="196"/>
                    </a:lnTo>
                    <a:lnTo>
                      <a:pt x="2516" y="197"/>
                    </a:lnTo>
                    <a:lnTo>
                      <a:pt x="2511" y="200"/>
                    </a:lnTo>
                    <a:lnTo>
                      <a:pt x="2503" y="205"/>
                    </a:lnTo>
                    <a:lnTo>
                      <a:pt x="2500" y="208"/>
                    </a:lnTo>
                    <a:lnTo>
                      <a:pt x="2499" y="210"/>
                    </a:lnTo>
                    <a:lnTo>
                      <a:pt x="2497" y="216"/>
                    </a:lnTo>
                    <a:lnTo>
                      <a:pt x="2496" y="219"/>
                    </a:lnTo>
                    <a:lnTo>
                      <a:pt x="2489" y="224"/>
                    </a:lnTo>
                    <a:lnTo>
                      <a:pt x="2486" y="230"/>
                    </a:lnTo>
                    <a:lnTo>
                      <a:pt x="2480" y="238"/>
                    </a:lnTo>
                    <a:lnTo>
                      <a:pt x="2477" y="238"/>
                    </a:lnTo>
                    <a:lnTo>
                      <a:pt x="2474" y="239"/>
                    </a:lnTo>
                    <a:lnTo>
                      <a:pt x="2471" y="246"/>
                    </a:lnTo>
                    <a:lnTo>
                      <a:pt x="2461" y="255"/>
                    </a:lnTo>
                    <a:lnTo>
                      <a:pt x="2456" y="266"/>
                    </a:lnTo>
                    <a:lnTo>
                      <a:pt x="2455" y="269"/>
                    </a:lnTo>
                    <a:lnTo>
                      <a:pt x="2452" y="272"/>
                    </a:lnTo>
                    <a:lnTo>
                      <a:pt x="2450" y="275"/>
                    </a:lnTo>
                    <a:lnTo>
                      <a:pt x="2447" y="279"/>
                    </a:lnTo>
                    <a:lnTo>
                      <a:pt x="2441" y="283"/>
                    </a:lnTo>
                    <a:lnTo>
                      <a:pt x="2436" y="286"/>
                    </a:lnTo>
                    <a:lnTo>
                      <a:pt x="2435" y="289"/>
                    </a:lnTo>
                    <a:lnTo>
                      <a:pt x="2435" y="293"/>
                    </a:lnTo>
                    <a:lnTo>
                      <a:pt x="2433" y="291"/>
                    </a:lnTo>
                    <a:lnTo>
                      <a:pt x="2428" y="293"/>
                    </a:lnTo>
                    <a:lnTo>
                      <a:pt x="2424" y="291"/>
                    </a:lnTo>
                    <a:lnTo>
                      <a:pt x="2419" y="299"/>
                    </a:lnTo>
                    <a:lnTo>
                      <a:pt x="2416" y="300"/>
                    </a:lnTo>
                    <a:lnTo>
                      <a:pt x="2411" y="297"/>
                    </a:lnTo>
                    <a:lnTo>
                      <a:pt x="2410" y="299"/>
                    </a:lnTo>
                    <a:lnTo>
                      <a:pt x="2408" y="300"/>
                    </a:lnTo>
                    <a:lnTo>
                      <a:pt x="2408" y="300"/>
                    </a:lnTo>
                    <a:lnTo>
                      <a:pt x="2410" y="304"/>
                    </a:lnTo>
                    <a:lnTo>
                      <a:pt x="2411" y="305"/>
                    </a:lnTo>
                    <a:lnTo>
                      <a:pt x="2411" y="307"/>
                    </a:lnTo>
                    <a:lnTo>
                      <a:pt x="2411" y="310"/>
                    </a:lnTo>
                    <a:lnTo>
                      <a:pt x="2410" y="316"/>
                    </a:lnTo>
                    <a:lnTo>
                      <a:pt x="2406" y="321"/>
                    </a:lnTo>
                    <a:lnTo>
                      <a:pt x="2403" y="324"/>
                    </a:lnTo>
                    <a:lnTo>
                      <a:pt x="2395" y="332"/>
                    </a:lnTo>
                    <a:lnTo>
                      <a:pt x="2394" y="333"/>
                    </a:lnTo>
                    <a:lnTo>
                      <a:pt x="2394" y="335"/>
                    </a:lnTo>
                    <a:lnTo>
                      <a:pt x="2389" y="355"/>
                    </a:lnTo>
                    <a:lnTo>
                      <a:pt x="2388" y="363"/>
                    </a:lnTo>
                    <a:lnTo>
                      <a:pt x="2386" y="377"/>
                    </a:lnTo>
                    <a:lnTo>
                      <a:pt x="2386" y="382"/>
                    </a:lnTo>
                    <a:lnTo>
                      <a:pt x="2388" y="391"/>
                    </a:lnTo>
                    <a:lnTo>
                      <a:pt x="2389" y="402"/>
                    </a:lnTo>
                    <a:lnTo>
                      <a:pt x="2392" y="419"/>
                    </a:lnTo>
                    <a:lnTo>
                      <a:pt x="2392" y="426"/>
                    </a:lnTo>
                    <a:lnTo>
                      <a:pt x="2395" y="448"/>
                    </a:lnTo>
                    <a:lnTo>
                      <a:pt x="2395" y="451"/>
                    </a:lnTo>
                    <a:lnTo>
                      <a:pt x="2397" y="455"/>
                    </a:lnTo>
                    <a:lnTo>
                      <a:pt x="2399" y="458"/>
                    </a:lnTo>
                    <a:lnTo>
                      <a:pt x="2400" y="462"/>
                    </a:lnTo>
                    <a:lnTo>
                      <a:pt x="2400" y="466"/>
                    </a:lnTo>
                    <a:lnTo>
                      <a:pt x="2403" y="479"/>
                    </a:lnTo>
                    <a:lnTo>
                      <a:pt x="2403" y="491"/>
                    </a:lnTo>
                    <a:lnTo>
                      <a:pt x="2403" y="494"/>
                    </a:lnTo>
                    <a:lnTo>
                      <a:pt x="2403" y="496"/>
                    </a:lnTo>
                    <a:lnTo>
                      <a:pt x="2406" y="498"/>
                    </a:lnTo>
                    <a:lnTo>
                      <a:pt x="2406" y="501"/>
                    </a:lnTo>
                    <a:lnTo>
                      <a:pt x="2406" y="502"/>
                    </a:lnTo>
                    <a:lnTo>
                      <a:pt x="2406" y="505"/>
                    </a:lnTo>
                    <a:lnTo>
                      <a:pt x="2410" y="504"/>
                    </a:lnTo>
                    <a:lnTo>
                      <a:pt x="2416" y="499"/>
                    </a:lnTo>
                    <a:lnTo>
                      <a:pt x="2420" y="493"/>
                    </a:lnTo>
                    <a:lnTo>
                      <a:pt x="2420" y="491"/>
                    </a:lnTo>
                    <a:lnTo>
                      <a:pt x="2422" y="490"/>
                    </a:lnTo>
                    <a:lnTo>
                      <a:pt x="2425" y="487"/>
                    </a:lnTo>
                    <a:lnTo>
                      <a:pt x="2431" y="482"/>
                    </a:lnTo>
                    <a:lnTo>
                      <a:pt x="2435" y="474"/>
                    </a:lnTo>
                    <a:lnTo>
                      <a:pt x="2438" y="468"/>
                    </a:lnTo>
                    <a:lnTo>
                      <a:pt x="2438" y="465"/>
                    </a:lnTo>
                    <a:lnTo>
                      <a:pt x="2438" y="463"/>
                    </a:lnTo>
                    <a:lnTo>
                      <a:pt x="2438" y="458"/>
                    </a:lnTo>
                    <a:lnTo>
                      <a:pt x="2438" y="457"/>
                    </a:lnTo>
                    <a:lnTo>
                      <a:pt x="2439" y="451"/>
                    </a:lnTo>
                    <a:lnTo>
                      <a:pt x="2439" y="449"/>
                    </a:lnTo>
                    <a:lnTo>
                      <a:pt x="2436" y="449"/>
                    </a:lnTo>
                    <a:lnTo>
                      <a:pt x="2438" y="446"/>
                    </a:lnTo>
                    <a:lnTo>
                      <a:pt x="2439" y="446"/>
                    </a:lnTo>
                    <a:lnTo>
                      <a:pt x="2441" y="448"/>
                    </a:lnTo>
                    <a:lnTo>
                      <a:pt x="2441" y="449"/>
                    </a:lnTo>
                    <a:lnTo>
                      <a:pt x="2442" y="451"/>
                    </a:lnTo>
                    <a:lnTo>
                      <a:pt x="2446" y="446"/>
                    </a:lnTo>
                    <a:lnTo>
                      <a:pt x="2449" y="444"/>
                    </a:lnTo>
                    <a:lnTo>
                      <a:pt x="2456" y="441"/>
                    </a:lnTo>
                    <a:lnTo>
                      <a:pt x="2460" y="441"/>
                    </a:lnTo>
                    <a:lnTo>
                      <a:pt x="2463" y="444"/>
                    </a:lnTo>
                    <a:lnTo>
                      <a:pt x="2464" y="444"/>
                    </a:lnTo>
                    <a:lnTo>
                      <a:pt x="2464" y="440"/>
                    </a:lnTo>
                    <a:lnTo>
                      <a:pt x="2463" y="437"/>
                    </a:lnTo>
                    <a:lnTo>
                      <a:pt x="2463" y="435"/>
                    </a:lnTo>
                    <a:lnTo>
                      <a:pt x="2463" y="432"/>
                    </a:lnTo>
                    <a:lnTo>
                      <a:pt x="2463" y="429"/>
                    </a:lnTo>
                    <a:lnTo>
                      <a:pt x="2461" y="427"/>
                    </a:lnTo>
                    <a:lnTo>
                      <a:pt x="2461" y="424"/>
                    </a:lnTo>
                    <a:lnTo>
                      <a:pt x="2463" y="418"/>
                    </a:lnTo>
                    <a:lnTo>
                      <a:pt x="2464" y="415"/>
                    </a:lnTo>
                    <a:lnTo>
                      <a:pt x="2466" y="412"/>
                    </a:lnTo>
                    <a:lnTo>
                      <a:pt x="2469" y="410"/>
                    </a:lnTo>
                    <a:lnTo>
                      <a:pt x="2474" y="405"/>
                    </a:lnTo>
                    <a:lnTo>
                      <a:pt x="2478" y="402"/>
                    </a:lnTo>
                    <a:lnTo>
                      <a:pt x="2480" y="401"/>
                    </a:lnTo>
                    <a:lnTo>
                      <a:pt x="2485" y="401"/>
                    </a:lnTo>
                    <a:lnTo>
                      <a:pt x="2486" y="402"/>
                    </a:lnTo>
                    <a:lnTo>
                      <a:pt x="2492" y="402"/>
                    </a:lnTo>
                    <a:lnTo>
                      <a:pt x="2494" y="402"/>
                    </a:lnTo>
                    <a:lnTo>
                      <a:pt x="2499" y="397"/>
                    </a:lnTo>
                    <a:lnTo>
                      <a:pt x="2502" y="396"/>
                    </a:lnTo>
                    <a:lnTo>
                      <a:pt x="2500" y="391"/>
                    </a:lnTo>
                    <a:lnTo>
                      <a:pt x="2499" y="388"/>
                    </a:lnTo>
                    <a:lnTo>
                      <a:pt x="2496" y="383"/>
                    </a:lnTo>
                    <a:lnTo>
                      <a:pt x="2496" y="382"/>
                    </a:lnTo>
                    <a:lnTo>
                      <a:pt x="2494" y="377"/>
                    </a:lnTo>
                    <a:lnTo>
                      <a:pt x="2494" y="372"/>
                    </a:lnTo>
                    <a:lnTo>
                      <a:pt x="2496" y="368"/>
                    </a:lnTo>
                    <a:lnTo>
                      <a:pt x="2499" y="361"/>
                    </a:lnTo>
                    <a:lnTo>
                      <a:pt x="2500" y="354"/>
                    </a:lnTo>
                    <a:lnTo>
                      <a:pt x="2502" y="352"/>
                    </a:lnTo>
                    <a:lnTo>
                      <a:pt x="2505" y="350"/>
                    </a:lnTo>
                    <a:lnTo>
                      <a:pt x="2508" y="349"/>
                    </a:lnTo>
                    <a:lnTo>
                      <a:pt x="2508" y="349"/>
                    </a:lnTo>
                    <a:lnTo>
                      <a:pt x="2508" y="344"/>
                    </a:lnTo>
                    <a:lnTo>
                      <a:pt x="2510" y="343"/>
                    </a:lnTo>
                    <a:lnTo>
                      <a:pt x="2511" y="341"/>
                    </a:lnTo>
                    <a:lnTo>
                      <a:pt x="2514" y="341"/>
                    </a:lnTo>
                    <a:lnTo>
                      <a:pt x="2516" y="341"/>
                    </a:lnTo>
                    <a:lnTo>
                      <a:pt x="2517" y="341"/>
                    </a:lnTo>
                    <a:lnTo>
                      <a:pt x="2516" y="343"/>
                    </a:lnTo>
                    <a:lnTo>
                      <a:pt x="2514" y="344"/>
                    </a:lnTo>
                    <a:lnTo>
                      <a:pt x="2511" y="346"/>
                    </a:lnTo>
                    <a:lnTo>
                      <a:pt x="2510" y="349"/>
                    </a:lnTo>
                    <a:lnTo>
                      <a:pt x="2514" y="355"/>
                    </a:lnTo>
                    <a:lnTo>
                      <a:pt x="2516" y="355"/>
                    </a:lnTo>
                    <a:lnTo>
                      <a:pt x="2517" y="355"/>
                    </a:lnTo>
                    <a:lnTo>
                      <a:pt x="2521" y="352"/>
                    </a:lnTo>
                    <a:lnTo>
                      <a:pt x="2522" y="352"/>
                    </a:lnTo>
                    <a:lnTo>
                      <a:pt x="2522" y="349"/>
                    </a:lnTo>
                    <a:lnTo>
                      <a:pt x="2522" y="343"/>
                    </a:lnTo>
                    <a:lnTo>
                      <a:pt x="2521" y="340"/>
                    </a:lnTo>
                    <a:lnTo>
                      <a:pt x="2521" y="335"/>
                    </a:lnTo>
                    <a:lnTo>
                      <a:pt x="2519" y="333"/>
                    </a:lnTo>
                    <a:lnTo>
                      <a:pt x="2517" y="333"/>
                    </a:lnTo>
                    <a:lnTo>
                      <a:pt x="2516" y="333"/>
                    </a:lnTo>
                    <a:lnTo>
                      <a:pt x="2514" y="333"/>
                    </a:lnTo>
                    <a:lnTo>
                      <a:pt x="2513" y="332"/>
                    </a:lnTo>
                    <a:lnTo>
                      <a:pt x="2513" y="329"/>
                    </a:lnTo>
                    <a:lnTo>
                      <a:pt x="2514" y="324"/>
                    </a:lnTo>
                    <a:lnTo>
                      <a:pt x="2513" y="322"/>
                    </a:lnTo>
                    <a:lnTo>
                      <a:pt x="2513" y="318"/>
                    </a:lnTo>
                    <a:lnTo>
                      <a:pt x="2513" y="316"/>
                    </a:lnTo>
                    <a:lnTo>
                      <a:pt x="2513" y="313"/>
                    </a:lnTo>
                    <a:lnTo>
                      <a:pt x="2516" y="310"/>
                    </a:lnTo>
                    <a:lnTo>
                      <a:pt x="2519" y="307"/>
                    </a:lnTo>
                    <a:lnTo>
                      <a:pt x="2521" y="305"/>
                    </a:lnTo>
                    <a:lnTo>
                      <a:pt x="2521" y="302"/>
                    </a:lnTo>
                    <a:lnTo>
                      <a:pt x="2521" y="299"/>
                    </a:lnTo>
                    <a:lnTo>
                      <a:pt x="2519" y="297"/>
                    </a:lnTo>
                    <a:lnTo>
                      <a:pt x="2511" y="294"/>
                    </a:lnTo>
                    <a:lnTo>
                      <a:pt x="2511" y="294"/>
                    </a:lnTo>
                    <a:lnTo>
                      <a:pt x="2508" y="296"/>
                    </a:lnTo>
                    <a:lnTo>
                      <a:pt x="2508" y="300"/>
                    </a:lnTo>
                    <a:lnTo>
                      <a:pt x="2506" y="302"/>
                    </a:lnTo>
                    <a:lnTo>
                      <a:pt x="2506" y="300"/>
                    </a:lnTo>
                    <a:lnTo>
                      <a:pt x="2506" y="300"/>
                    </a:lnTo>
                    <a:lnTo>
                      <a:pt x="2503" y="297"/>
                    </a:lnTo>
                    <a:lnTo>
                      <a:pt x="2500" y="297"/>
                    </a:lnTo>
                    <a:lnTo>
                      <a:pt x="2500" y="296"/>
                    </a:lnTo>
                    <a:lnTo>
                      <a:pt x="2499" y="293"/>
                    </a:lnTo>
                    <a:lnTo>
                      <a:pt x="2499" y="289"/>
                    </a:lnTo>
                    <a:lnTo>
                      <a:pt x="2500" y="283"/>
                    </a:lnTo>
                    <a:lnTo>
                      <a:pt x="2502" y="277"/>
                    </a:lnTo>
                    <a:lnTo>
                      <a:pt x="2506" y="269"/>
                    </a:lnTo>
                    <a:lnTo>
                      <a:pt x="2511" y="266"/>
                    </a:lnTo>
                    <a:lnTo>
                      <a:pt x="2514" y="261"/>
                    </a:lnTo>
                    <a:lnTo>
                      <a:pt x="2516" y="260"/>
                    </a:lnTo>
                    <a:lnTo>
                      <a:pt x="2516" y="260"/>
                    </a:lnTo>
                    <a:lnTo>
                      <a:pt x="2517" y="258"/>
                    </a:lnTo>
                    <a:lnTo>
                      <a:pt x="2516" y="255"/>
                    </a:lnTo>
                    <a:lnTo>
                      <a:pt x="2516" y="253"/>
                    </a:lnTo>
                    <a:lnTo>
                      <a:pt x="2517" y="253"/>
                    </a:lnTo>
                    <a:lnTo>
                      <a:pt x="2519" y="255"/>
                    </a:lnTo>
                    <a:lnTo>
                      <a:pt x="2522" y="249"/>
                    </a:lnTo>
                    <a:lnTo>
                      <a:pt x="2522" y="241"/>
                    </a:lnTo>
                    <a:lnTo>
                      <a:pt x="2522" y="235"/>
                    </a:lnTo>
                    <a:lnTo>
                      <a:pt x="2524" y="232"/>
                    </a:lnTo>
                    <a:lnTo>
                      <a:pt x="2524" y="230"/>
                    </a:lnTo>
                    <a:lnTo>
                      <a:pt x="2525" y="228"/>
                    </a:lnTo>
                    <a:lnTo>
                      <a:pt x="2527" y="227"/>
                    </a:lnTo>
                    <a:lnTo>
                      <a:pt x="2528" y="225"/>
                    </a:lnTo>
                    <a:lnTo>
                      <a:pt x="2530" y="224"/>
                    </a:lnTo>
                    <a:lnTo>
                      <a:pt x="2530" y="222"/>
                    </a:lnTo>
                    <a:lnTo>
                      <a:pt x="2533" y="224"/>
                    </a:lnTo>
                    <a:lnTo>
                      <a:pt x="2535" y="224"/>
                    </a:lnTo>
                    <a:lnTo>
                      <a:pt x="2536" y="225"/>
                    </a:lnTo>
                    <a:lnTo>
                      <a:pt x="2536" y="228"/>
                    </a:lnTo>
                    <a:lnTo>
                      <a:pt x="2539" y="225"/>
                    </a:lnTo>
                    <a:lnTo>
                      <a:pt x="2541" y="222"/>
                    </a:lnTo>
                    <a:lnTo>
                      <a:pt x="2542" y="222"/>
                    </a:lnTo>
                    <a:lnTo>
                      <a:pt x="2544" y="222"/>
                    </a:lnTo>
                    <a:lnTo>
                      <a:pt x="2546" y="224"/>
                    </a:lnTo>
                    <a:lnTo>
                      <a:pt x="2549" y="228"/>
                    </a:lnTo>
                    <a:lnTo>
                      <a:pt x="2549" y="230"/>
                    </a:lnTo>
                    <a:lnTo>
                      <a:pt x="2552" y="230"/>
                    </a:lnTo>
                    <a:lnTo>
                      <a:pt x="2552" y="228"/>
                    </a:lnTo>
                    <a:lnTo>
                      <a:pt x="2553" y="227"/>
                    </a:lnTo>
                    <a:lnTo>
                      <a:pt x="2553" y="221"/>
                    </a:lnTo>
                    <a:lnTo>
                      <a:pt x="2555" y="221"/>
                    </a:lnTo>
                    <a:lnTo>
                      <a:pt x="2557" y="219"/>
                    </a:lnTo>
                    <a:lnTo>
                      <a:pt x="2560" y="217"/>
                    </a:lnTo>
                    <a:lnTo>
                      <a:pt x="2563" y="216"/>
                    </a:lnTo>
                    <a:lnTo>
                      <a:pt x="2569" y="211"/>
                    </a:lnTo>
                    <a:lnTo>
                      <a:pt x="2572" y="207"/>
                    </a:lnTo>
                    <a:lnTo>
                      <a:pt x="2575" y="207"/>
                    </a:lnTo>
                    <a:lnTo>
                      <a:pt x="2575" y="210"/>
                    </a:lnTo>
                    <a:lnTo>
                      <a:pt x="2575" y="213"/>
                    </a:lnTo>
                    <a:lnTo>
                      <a:pt x="2574" y="217"/>
                    </a:lnTo>
                    <a:lnTo>
                      <a:pt x="2572" y="221"/>
                    </a:lnTo>
                    <a:lnTo>
                      <a:pt x="2572" y="225"/>
                    </a:lnTo>
                    <a:lnTo>
                      <a:pt x="2572" y="227"/>
                    </a:lnTo>
                    <a:lnTo>
                      <a:pt x="2572" y="230"/>
                    </a:lnTo>
                    <a:lnTo>
                      <a:pt x="2574" y="230"/>
                    </a:lnTo>
                    <a:lnTo>
                      <a:pt x="2575" y="228"/>
                    </a:lnTo>
                    <a:lnTo>
                      <a:pt x="2577" y="227"/>
                    </a:lnTo>
                    <a:lnTo>
                      <a:pt x="2586" y="213"/>
                    </a:lnTo>
                    <a:lnTo>
                      <a:pt x="2591" y="210"/>
                    </a:lnTo>
                    <a:lnTo>
                      <a:pt x="2599" y="208"/>
                    </a:lnTo>
                    <a:lnTo>
                      <a:pt x="2600" y="207"/>
                    </a:lnTo>
                    <a:lnTo>
                      <a:pt x="2607" y="203"/>
                    </a:lnTo>
                    <a:lnTo>
                      <a:pt x="2613" y="203"/>
                    </a:lnTo>
                    <a:lnTo>
                      <a:pt x="2616" y="205"/>
                    </a:lnTo>
                    <a:lnTo>
                      <a:pt x="2619" y="205"/>
                    </a:lnTo>
                    <a:lnTo>
                      <a:pt x="2625" y="203"/>
                    </a:lnTo>
                    <a:lnTo>
                      <a:pt x="2627" y="205"/>
                    </a:lnTo>
                    <a:lnTo>
                      <a:pt x="2633" y="208"/>
                    </a:lnTo>
                    <a:lnTo>
                      <a:pt x="2636" y="214"/>
                    </a:lnTo>
                    <a:lnTo>
                      <a:pt x="2638" y="216"/>
                    </a:lnTo>
                    <a:lnTo>
                      <a:pt x="2638" y="216"/>
                    </a:lnTo>
                    <a:lnTo>
                      <a:pt x="2638" y="219"/>
                    </a:lnTo>
                    <a:lnTo>
                      <a:pt x="2638" y="221"/>
                    </a:lnTo>
                    <a:lnTo>
                      <a:pt x="2639" y="222"/>
                    </a:lnTo>
                    <a:lnTo>
                      <a:pt x="2643" y="225"/>
                    </a:lnTo>
                    <a:lnTo>
                      <a:pt x="2646" y="225"/>
                    </a:lnTo>
                    <a:lnTo>
                      <a:pt x="2647" y="224"/>
                    </a:lnTo>
                    <a:lnTo>
                      <a:pt x="2647" y="222"/>
                    </a:lnTo>
                    <a:lnTo>
                      <a:pt x="2649" y="214"/>
                    </a:lnTo>
                    <a:lnTo>
                      <a:pt x="2650" y="213"/>
                    </a:lnTo>
                    <a:lnTo>
                      <a:pt x="2650" y="210"/>
                    </a:lnTo>
                    <a:lnTo>
                      <a:pt x="2650" y="210"/>
                    </a:lnTo>
                    <a:lnTo>
                      <a:pt x="2653" y="207"/>
                    </a:lnTo>
                    <a:lnTo>
                      <a:pt x="2657" y="207"/>
                    </a:lnTo>
                    <a:lnTo>
                      <a:pt x="2666" y="199"/>
                    </a:lnTo>
                    <a:lnTo>
                      <a:pt x="2671" y="194"/>
                    </a:lnTo>
                    <a:lnTo>
                      <a:pt x="2672" y="194"/>
                    </a:lnTo>
                    <a:lnTo>
                      <a:pt x="2674" y="194"/>
                    </a:lnTo>
                    <a:lnTo>
                      <a:pt x="2675" y="192"/>
                    </a:lnTo>
                    <a:lnTo>
                      <a:pt x="2675" y="192"/>
                    </a:lnTo>
                    <a:lnTo>
                      <a:pt x="2678" y="189"/>
                    </a:lnTo>
                    <a:lnTo>
                      <a:pt x="2682" y="186"/>
                    </a:lnTo>
                    <a:lnTo>
                      <a:pt x="2682" y="185"/>
                    </a:lnTo>
                    <a:lnTo>
                      <a:pt x="2682" y="183"/>
                    </a:lnTo>
                    <a:lnTo>
                      <a:pt x="2683" y="181"/>
                    </a:lnTo>
                    <a:lnTo>
                      <a:pt x="2685" y="181"/>
                    </a:lnTo>
                    <a:lnTo>
                      <a:pt x="2686" y="180"/>
                    </a:lnTo>
                    <a:lnTo>
                      <a:pt x="2686" y="178"/>
                    </a:lnTo>
                    <a:lnTo>
                      <a:pt x="2688" y="177"/>
                    </a:lnTo>
                    <a:lnTo>
                      <a:pt x="2688" y="177"/>
                    </a:lnTo>
                    <a:lnTo>
                      <a:pt x="2689" y="178"/>
                    </a:lnTo>
                    <a:lnTo>
                      <a:pt x="2691" y="177"/>
                    </a:lnTo>
                    <a:lnTo>
                      <a:pt x="2689" y="175"/>
                    </a:lnTo>
                    <a:lnTo>
                      <a:pt x="2689" y="172"/>
                    </a:lnTo>
                    <a:lnTo>
                      <a:pt x="2689" y="172"/>
                    </a:lnTo>
                    <a:lnTo>
                      <a:pt x="2693" y="174"/>
                    </a:lnTo>
                    <a:lnTo>
                      <a:pt x="2694" y="174"/>
                    </a:lnTo>
                    <a:lnTo>
                      <a:pt x="2699" y="169"/>
                    </a:lnTo>
                    <a:lnTo>
                      <a:pt x="2703" y="163"/>
                    </a:lnTo>
                    <a:lnTo>
                      <a:pt x="2707" y="164"/>
                    </a:lnTo>
                    <a:lnTo>
                      <a:pt x="2713" y="160"/>
                    </a:lnTo>
                    <a:lnTo>
                      <a:pt x="2714" y="158"/>
                    </a:lnTo>
                    <a:lnTo>
                      <a:pt x="2719" y="158"/>
                    </a:lnTo>
                    <a:lnTo>
                      <a:pt x="2721" y="156"/>
                    </a:lnTo>
                    <a:lnTo>
                      <a:pt x="2722" y="153"/>
                    </a:lnTo>
                    <a:lnTo>
                      <a:pt x="2724" y="155"/>
                    </a:lnTo>
                    <a:lnTo>
                      <a:pt x="2730" y="150"/>
                    </a:lnTo>
                    <a:lnTo>
                      <a:pt x="2732" y="149"/>
                    </a:lnTo>
                    <a:lnTo>
                      <a:pt x="2733" y="147"/>
                    </a:lnTo>
                    <a:lnTo>
                      <a:pt x="2735" y="147"/>
                    </a:lnTo>
                    <a:lnTo>
                      <a:pt x="2738" y="145"/>
                    </a:lnTo>
                    <a:lnTo>
                      <a:pt x="2738" y="44"/>
                    </a:lnTo>
                    <a:lnTo>
                      <a:pt x="2733" y="44"/>
                    </a:lnTo>
                    <a:lnTo>
                      <a:pt x="2729" y="44"/>
                    </a:lnTo>
                    <a:lnTo>
                      <a:pt x="2722" y="47"/>
                    </a:lnTo>
                    <a:lnTo>
                      <a:pt x="2719" y="47"/>
                    </a:lnTo>
                    <a:lnTo>
                      <a:pt x="2729" y="44"/>
                    </a:lnTo>
                    <a:lnTo>
                      <a:pt x="2735" y="42"/>
                    </a:lnTo>
                    <a:close/>
                    <a:moveTo>
                      <a:pt x="2081" y="386"/>
                    </a:moveTo>
                    <a:lnTo>
                      <a:pt x="2078" y="386"/>
                    </a:lnTo>
                    <a:lnTo>
                      <a:pt x="2077" y="385"/>
                    </a:lnTo>
                    <a:lnTo>
                      <a:pt x="2077" y="385"/>
                    </a:lnTo>
                    <a:lnTo>
                      <a:pt x="2070" y="382"/>
                    </a:lnTo>
                    <a:lnTo>
                      <a:pt x="2070" y="383"/>
                    </a:lnTo>
                    <a:lnTo>
                      <a:pt x="2069" y="388"/>
                    </a:lnTo>
                    <a:lnTo>
                      <a:pt x="2067" y="388"/>
                    </a:lnTo>
                    <a:lnTo>
                      <a:pt x="2066" y="391"/>
                    </a:lnTo>
                    <a:lnTo>
                      <a:pt x="2064" y="394"/>
                    </a:lnTo>
                    <a:lnTo>
                      <a:pt x="2066" y="394"/>
                    </a:lnTo>
                    <a:lnTo>
                      <a:pt x="2069" y="391"/>
                    </a:lnTo>
                    <a:lnTo>
                      <a:pt x="2070" y="393"/>
                    </a:lnTo>
                    <a:lnTo>
                      <a:pt x="2072" y="399"/>
                    </a:lnTo>
                    <a:lnTo>
                      <a:pt x="2073" y="397"/>
                    </a:lnTo>
                    <a:lnTo>
                      <a:pt x="2075" y="397"/>
                    </a:lnTo>
                    <a:lnTo>
                      <a:pt x="2077" y="396"/>
                    </a:lnTo>
                    <a:lnTo>
                      <a:pt x="2078" y="394"/>
                    </a:lnTo>
                    <a:lnTo>
                      <a:pt x="2078" y="393"/>
                    </a:lnTo>
                    <a:lnTo>
                      <a:pt x="2078" y="391"/>
                    </a:lnTo>
                    <a:lnTo>
                      <a:pt x="2080" y="388"/>
                    </a:lnTo>
                    <a:lnTo>
                      <a:pt x="2081" y="386"/>
                    </a:lnTo>
                    <a:lnTo>
                      <a:pt x="2081" y="386"/>
                    </a:lnTo>
                    <a:close/>
                    <a:moveTo>
                      <a:pt x="2064" y="385"/>
                    </a:moveTo>
                    <a:lnTo>
                      <a:pt x="2062" y="385"/>
                    </a:lnTo>
                    <a:lnTo>
                      <a:pt x="2061" y="385"/>
                    </a:lnTo>
                    <a:lnTo>
                      <a:pt x="2056" y="388"/>
                    </a:lnTo>
                    <a:lnTo>
                      <a:pt x="2056" y="390"/>
                    </a:lnTo>
                    <a:lnTo>
                      <a:pt x="2056" y="390"/>
                    </a:lnTo>
                    <a:lnTo>
                      <a:pt x="2059" y="390"/>
                    </a:lnTo>
                    <a:lnTo>
                      <a:pt x="2059" y="390"/>
                    </a:lnTo>
                    <a:lnTo>
                      <a:pt x="2061" y="390"/>
                    </a:lnTo>
                    <a:lnTo>
                      <a:pt x="2064" y="385"/>
                    </a:lnTo>
                    <a:lnTo>
                      <a:pt x="2064" y="385"/>
                    </a:lnTo>
                    <a:close/>
                    <a:moveTo>
                      <a:pt x="2605" y="401"/>
                    </a:moveTo>
                    <a:lnTo>
                      <a:pt x="2602" y="397"/>
                    </a:lnTo>
                    <a:lnTo>
                      <a:pt x="2600" y="394"/>
                    </a:lnTo>
                    <a:lnTo>
                      <a:pt x="2597" y="394"/>
                    </a:lnTo>
                    <a:lnTo>
                      <a:pt x="2596" y="393"/>
                    </a:lnTo>
                    <a:lnTo>
                      <a:pt x="2594" y="393"/>
                    </a:lnTo>
                    <a:lnTo>
                      <a:pt x="2596" y="394"/>
                    </a:lnTo>
                    <a:lnTo>
                      <a:pt x="2599" y="397"/>
                    </a:lnTo>
                    <a:lnTo>
                      <a:pt x="2607" y="402"/>
                    </a:lnTo>
                    <a:lnTo>
                      <a:pt x="2605" y="401"/>
                    </a:lnTo>
                    <a:close/>
                    <a:moveTo>
                      <a:pt x="2546" y="255"/>
                    </a:moveTo>
                    <a:lnTo>
                      <a:pt x="2544" y="252"/>
                    </a:lnTo>
                    <a:lnTo>
                      <a:pt x="2544" y="250"/>
                    </a:lnTo>
                    <a:lnTo>
                      <a:pt x="2538" y="255"/>
                    </a:lnTo>
                    <a:lnTo>
                      <a:pt x="2530" y="258"/>
                    </a:lnTo>
                    <a:lnTo>
                      <a:pt x="2530" y="260"/>
                    </a:lnTo>
                    <a:lnTo>
                      <a:pt x="2530" y="261"/>
                    </a:lnTo>
                    <a:lnTo>
                      <a:pt x="2530" y="266"/>
                    </a:lnTo>
                    <a:lnTo>
                      <a:pt x="2527" y="271"/>
                    </a:lnTo>
                    <a:lnTo>
                      <a:pt x="2524" y="274"/>
                    </a:lnTo>
                    <a:lnTo>
                      <a:pt x="2524" y="274"/>
                    </a:lnTo>
                    <a:lnTo>
                      <a:pt x="2525" y="275"/>
                    </a:lnTo>
                    <a:lnTo>
                      <a:pt x="2525" y="275"/>
                    </a:lnTo>
                    <a:lnTo>
                      <a:pt x="2528" y="272"/>
                    </a:lnTo>
                    <a:lnTo>
                      <a:pt x="2533" y="268"/>
                    </a:lnTo>
                    <a:lnTo>
                      <a:pt x="2539" y="264"/>
                    </a:lnTo>
                    <a:lnTo>
                      <a:pt x="2546" y="263"/>
                    </a:lnTo>
                    <a:lnTo>
                      <a:pt x="2546" y="260"/>
                    </a:lnTo>
                    <a:lnTo>
                      <a:pt x="2546" y="255"/>
                    </a:lnTo>
                    <a:close/>
                    <a:moveTo>
                      <a:pt x="2302" y="255"/>
                    </a:moveTo>
                    <a:lnTo>
                      <a:pt x="2300" y="253"/>
                    </a:lnTo>
                    <a:lnTo>
                      <a:pt x="2299" y="255"/>
                    </a:lnTo>
                    <a:lnTo>
                      <a:pt x="2297" y="257"/>
                    </a:lnTo>
                    <a:lnTo>
                      <a:pt x="2297" y="258"/>
                    </a:lnTo>
                    <a:lnTo>
                      <a:pt x="2297" y="258"/>
                    </a:lnTo>
                    <a:lnTo>
                      <a:pt x="2299" y="258"/>
                    </a:lnTo>
                    <a:lnTo>
                      <a:pt x="2302" y="255"/>
                    </a:lnTo>
                    <a:lnTo>
                      <a:pt x="2302" y="255"/>
                    </a:lnTo>
                    <a:close/>
                    <a:moveTo>
                      <a:pt x="2234" y="690"/>
                    </a:moveTo>
                    <a:lnTo>
                      <a:pt x="2233" y="690"/>
                    </a:lnTo>
                    <a:lnTo>
                      <a:pt x="2230" y="690"/>
                    </a:lnTo>
                    <a:lnTo>
                      <a:pt x="2230" y="692"/>
                    </a:lnTo>
                    <a:lnTo>
                      <a:pt x="2230" y="693"/>
                    </a:lnTo>
                    <a:lnTo>
                      <a:pt x="2230" y="693"/>
                    </a:lnTo>
                    <a:lnTo>
                      <a:pt x="2231" y="692"/>
                    </a:lnTo>
                    <a:lnTo>
                      <a:pt x="2234" y="692"/>
                    </a:lnTo>
                    <a:lnTo>
                      <a:pt x="2234" y="690"/>
                    </a:lnTo>
                    <a:close/>
                    <a:moveTo>
                      <a:pt x="2295" y="631"/>
                    </a:moveTo>
                    <a:lnTo>
                      <a:pt x="2294" y="632"/>
                    </a:lnTo>
                    <a:lnTo>
                      <a:pt x="2288" y="637"/>
                    </a:lnTo>
                    <a:lnTo>
                      <a:pt x="2284" y="640"/>
                    </a:lnTo>
                    <a:lnTo>
                      <a:pt x="2283" y="640"/>
                    </a:lnTo>
                    <a:lnTo>
                      <a:pt x="2278" y="646"/>
                    </a:lnTo>
                    <a:lnTo>
                      <a:pt x="2281" y="646"/>
                    </a:lnTo>
                    <a:lnTo>
                      <a:pt x="2283" y="646"/>
                    </a:lnTo>
                    <a:lnTo>
                      <a:pt x="2286" y="642"/>
                    </a:lnTo>
                    <a:lnTo>
                      <a:pt x="2288" y="642"/>
                    </a:lnTo>
                    <a:lnTo>
                      <a:pt x="2289" y="640"/>
                    </a:lnTo>
                    <a:lnTo>
                      <a:pt x="2292" y="638"/>
                    </a:lnTo>
                    <a:lnTo>
                      <a:pt x="2292" y="637"/>
                    </a:lnTo>
                    <a:lnTo>
                      <a:pt x="2299" y="631"/>
                    </a:lnTo>
                    <a:lnTo>
                      <a:pt x="2295" y="631"/>
                    </a:lnTo>
                    <a:close/>
                    <a:moveTo>
                      <a:pt x="2267" y="651"/>
                    </a:moveTo>
                    <a:lnTo>
                      <a:pt x="2269" y="651"/>
                    </a:lnTo>
                    <a:lnTo>
                      <a:pt x="2269" y="649"/>
                    </a:lnTo>
                    <a:lnTo>
                      <a:pt x="2267" y="649"/>
                    </a:lnTo>
                    <a:lnTo>
                      <a:pt x="2267" y="648"/>
                    </a:lnTo>
                    <a:lnTo>
                      <a:pt x="2266" y="649"/>
                    </a:lnTo>
                    <a:lnTo>
                      <a:pt x="2264" y="649"/>
                    </a:lnTo>
                    <a:lnTo>
                      <a:pt x="2259" y="654"/>
                    </a:lnTo>
                    <a:lnTo>
                      <a:pt x="2256" y="656"/>
                    </a:lnTo>
                    <a:lnTo>
                      <a:pt x="2255" y="656"/>
                    </a:lnTo>
                    <a:lnTo>
                      <a:pt x="2253" y="652"/>
                    </a:lnTo>
                    <a:lnTo>
                      <a:pt x="2252" y="652"/>
                    </a:lnTo>
                    <a:lnTo>
                      <a:pt x="2252" y="654"/>
                    </a:lnTo>
                    <a:lnTo>
                      <a:pt x="2252" y="656"/>
                    </a:lnTo>
                    <a:lnTo>
                      <a:pt x="2250" y="657"/>
                    </a:lnTo>
                    <a:lnTo>
                      <a:pt x="2247" y="659"/>
                    </a:lnTo>
                    <a:lnTo>
                      <a:pt x="2245" y="660"/>
                    </a:lnTo>
                    <a:lnTo>
                      <a:pt x="2244" y="663"/>
                    </a:lnTo>
                    <a:lnTo>
                      <a:pt x="2241" y="665"/>
                    </a:lnTo>
                    <a:lnTo>
                      <a:pt x="2239" y="668"/>
                    </a:lnTo>
                    <a:lnTo>
                      <a:pt x="2239" y="670"/>
                    </a:lnTo>
                    <a:lnTo>
                      <a:pt x="2236" y="673"/>
                    </a:lnTo>
                    <a:lnTo>
                      <a:pt x="2234" y="673"/>
                    </a:lnTo>
                    <a:lnTo>
                      <a:pt x="2234" y="676"/>
                    </a:lnTo>
                    <a:lnTo>
                      <a:pt x="2238" y="673"/>
                    </a:lnTo>
                    <a:lnTo>
                      <a:pt x="2239" y="673"/>
                    </a:lnTo>
                    <a:lnTo>
                      <a:pt x="2241" y="670"/>
                    </a:lnTo>
                    <a:lnTo>
                      <a:pt x="2245" y="665"/>
                    </a:lnTo>
                    <a:lnTo>
                      <a:pt x="2247" y="665"/>
                    </a:lnTo>
                    <a:lnTo>
                      <a:pt x="2247" y="663"/>
                    </a:lnTo>
                    <a:lnTo>
                      <a:pt x="2247" y="662"/>
                    </a:lnTo>
                    <a:lnTo>
                      <a:pt x="2250" y="662"/>
                    </a:lnTo>
                    <a:lnTo>
                      <a:pt x="2252" y="662"/>
                    </a:lnTo>
                    <a:lnTo>
                      <a:pt x="2253" y="660"/>
                    </a:lnTo>
                    <a:lnTo>
                      <a:pt x="2258" y="656"/>
                    </a:lnTo>
                    <a:lnTo>
                      <a:pt x="2261" y="656"/>
                    </a:lnTo>
                    <a:lnTo>
                      <a:pt x="2264" y="654"/>
                    </a:lnTo>
                    <a:lnTo>
                      <a:pt x="2267" y="654"/>
                    </a:lnTo>
                    <a:lnTo>
                      <a:pt x="2269" y="652"/>
                    </a:lnTo>
                    <a:lnTo>
                      <a:pt x="2267" y="651"/>
                    </a:lnTo>
                    <a:close/>
                    <a:moveTo>
                      <a:pt x="2217" y="699"/>
                    </a:moveTo>
                    <a:lnTo>
                      <a:pt x="2217" y="699"/>
                    </a:lnTo>
                    <a:lnTo>
                      <a:pt x="2217" y="699"/>
                    </a:lnTo>
                    <a:lnTo>
                      <a:pt x="2217" y="699"/>
                    </a:lnTo>
                    <a:lnTo>
                      <a:pt x="2216" y="699"/>
                    </a:lnTo>
                    <a:lnTo>
                      <a:pt x="2216" y="699"/>
                    </a:lnTo>
                    <a:lnTo>
                      <a:pt x="2216" y="699"/>
                    </a:lnTo>
                    <a:lnTo>
                      <a:pt x="2216" y="699"/>
                    </a:lnTo>
                    <a:lnTo>
                      <a:pt x="2217" y="699"/>
                    </a:lnTo>
                    <a:lnTo>
                      <a:pt x="2217" y="699"/>
                    </a:lnTo>
                    <a:lnTo>
                      <a:pt x="2217" y="699"/>
                    </a:lnTo>
                    <a:lnTo>
                      <a:pt x="2217" y="699"/>
                    </a:lnTo>
                    <a:lnTo>
                      <a:pt x="2217" y="699"/>
                    </a:lnTo>
                    <a:lnTo>
                      <a:pt x="2217" y="699"/>
                    </a:lnTo>
                    <a:close/>
                    <a:moveTo>
                      <a:pt x="2225" y="676"/>
                    </a:moveTo>
                    <a:lnTo>
                      <a:pt x="2222" y="674"/>
                    </a:lnTo>
                    <a:lnTo>
                      <a:pt x="2220" y="674"/>
                    </a:lnTo>
                    <a:lnTo>
                      <a:pt x="2217" y="679"/>
                    </a:lnTo>
                    <a:lnTo>
                      <a:pt x="2217" y="681"/>
                    </a:lnTo>
                    <a:lnTo>
                      <a:pt x="2216" y="682"/>
                    </a:lnTo>
                    <a:lnTo>
                      <a:pt x="2214" y="684"/>
                    </a:lnTo>
                    <a:lnTo>
                      <a:pt x="2214" y="684"/>
                    </a:lnTo>
                    <a:lnTo>
                      <a:pt x="2213" y="687"/>
                    </a:lnTo>
                    <a:lnTo>
                      <a:pt x="2209" y="690"/>
                    </a:lnTo>
                    <a:lnTo>
                      <a:pt x="2208" y="690"/>
                    </a:lnTo>
                    <a:lnTo>
                      <a:pt x="2208" y="693"/>
                    </a:lnTo>
                    <a:lnTo>
                      <a:pt x="2211" y="695"/>
                    </a:lnTo>
                    <a:lnTo>
                      <a:pt x="2211" y="690"/>
                    </a:lnTo>
                    <a:lnTo>
                      <a:pt x="2214" y="687"/>
                    </a:lnTo>
                    <a:lnTo>
                      <a:pt x="2217" y="685"/>
                    </a:lnTo>
                    <a:lnTo>
                      <a:pt x="2217" y="684"/>
                    </a:lnTo>
                    <a:lnTo>
                      <a:pt x="2220" y="681"/>
                    </a:lnTo>
                    <a:lnTo>
                      <a:pt x="2222" y="679"/>
                    </a:lnTo>
                    <a:lnTo>
                      <a:pt x="2223" y="679"/>
                    </a:lnTo>
                    <a:lnTo>
                      <a:pt x="2227" y="678"/>
                    </a:lnTo>
                    <a:lnTo>
                      <a:pt x="2228" y="678"/>
                    </a:lnTo>
                    <a:lnTo>
                      <a:pt x="2228" y="676"/>
                    </a:lnTo>
                    <a:lnTo>
                      <a:pt x="2225" y="676"/>
                    </a:lnTo>
                    <a:close/>
                    <a:moveTo>
                      <a:pt x="2225" y="695"/>
                    </a:moveTo>
                    <a:lnTo>
                      <a:pt x="2225" y="695"/>
                    </a:lnTo>
                    <a:lnTo>
                      <a:pt x="2223" y="695"/>
                    </a:lnTo>
                    <a:lnTo>
                      <a:pt x="2223" y="695"/>
                    </a:lnTo>
                    <a:lnTo>
                      <a:pt x="2223" y="695"/>
                    </a:lnTo>
                    <a:lnTo>
                      <a:pt x="2223" y="695"/>
                    </a:lnTo>
                    <a:lnTo>
                      <a:pt x="2225" y="695"/>
                    </a:lnTo>
                    <a:lnTo>
                      <a:pt x="2225" y="695"/>
                    </a:lnTo>
                    <a:lnTo>
                      <a:pt x="2225" y="695"/>
                    </a:lnTo>
                    <a:close/>
                    <a:moveTo>
                      <a:pt x="2220" y="699"/>
                    </a:moveTo>
                    <a:lnTo>
                      <a:pt x="2219" y="699"/>
                    </a:lnTo>
                    <a:lnTo>
                      <a:pt x="2219" y="699"/>
                    </a:lnTo>
                    <a:lnTo>
                      <a:pt x="2219" y="701"/>
                    </a:lnTo>
                    <a:lnTo>
                      <a:pt x="2219" y="701"/>
                    </a:lnTo>
                    <a:lnTo>
                      <a:pt x="2220" y="699"/>
                    </a:lnTo>
                    <a:lnTo>
                      <a:pt x="2220" y="699"/>
                    </a:lnTo>
                    <a:lnTo>
                      <a:pt x="2220" y="699"/>
                    </a:lnTo>
                    <a:lnTo>
                      <a:pt x="2220" y="699"/>
                    </a:lnTo>
                    <a:close/>
                    <a:moveTo>
                      <a:pt x="2363" y="562"/>
                    </a:moveTo>
                    <a:lnTo>
                      <a:pt x="2361" y="562"/>
                    </a:lnTo>
                    <a:lnTo>
                      <a:pt x="2361" y="563"/>
                    </a:lnTo>
                    <a:lnTo>
                      <a:pt x="2360" y="565"/>
                    </a:lnTo>
                    <a:lnTo>
                      <a:pt x="2360" y="565"/>
                    </a:lnTo>
                    <a:lnTo>
                      <a:pt x="2360" y="566"/>
                    </a:lnTo>
                    <a:lnTo>
                      <a:pt x="2361" y="565"/>
                    </a:lnTo>
                    <a:lnTo>
                      <a:pt x="2363" y="563"/>
                    </a:lnTo>
                    <a:lnTo>
                      <a:pt x="2363" y="562"/>
                    </a:lnTo>
                    <a:lnTo>
                      <a:pt x="2363" y="562"/>
                    </a:lnTo>
                    <a:close/>
                    <a:moveTo>
                      <a:pt x="2328" y="607"/>
                    </a:moveTo>
                    <a:lnTo>
                      <a:pt x="2327" y="609"/>
                    </a:lnTo>
                    <a:lnTo>
                      <a:pt x="2325" y="610"/>
                    </a:lnTo>
                    <a:lnTo>
                      <a:pt x="2322" y="615"/>
                    </a:lnTo>
                    <a:lnTo>
                      <a:pt x="2319" y="615"/>
                    </a:lnTo>
                    <a:lnTo>
                      <a:pt x="2319" y="615"/>
                    </a:lnTo>
                    <a:lnTo>
                      <a:pt x="2319" y="617"/>
                    </a:lnTo>
                    <a:lnTo>
                      <a:pt x="2320" y="617"/>
                    </a:lnTo>
                    <a:lnTo>
                      <a:pt x="2324" y="613"/>
                    </a:lnTo>
                    <a:lnTo>
                      <a:pt x="2328" y="607"/>
                    </a:lnTo>
                    <a:lnTo>
                      <a:pt x="2328" y="607"/>
                    </a:lnTo>
                    <a:close/>
                    <a:moveTo>
                      <a:pt x="2388" y="507"/>
                    </a:moveTo>
                    <a:lnTo>
                      <a:pt x="2386" y="505"/>
                    </a:lnTo>
                    <a:lnTo>
                      <a:pt x="2385" y="507"/>
                    </a:lnTo>
                    <a:lnTo>
                      <a:pt x="2385" y="509"/>
                    </a:lnTo>
                    <a:lnTo>
                      <a:pt x="2386" y="509"/>
                    </a:lnTo>
                    <a:lnTo>
                      <a:pt x="2386" y="510"/>
                    </a:lnTo>
                    <a:lnTo>
                      <a:pt x="2388" y="509"/>
                    </a:lnTo>
                    <a:lnTo>
                      <a:pt x="2388" y="509"/>
                    </a:lnTo>
                    <a:lnTo>
                      <a:pt x="2388" y="507"/>
                    </a:lnTo>
                    <a:close/>
                    <a:moveTo>
                      <a:pt x="2402" y="509"/>
                    </a:moveTo>
                    <a:lnTo>
                      <a:pt x="2400" y="509"/>
                    </a:lnTo>
                    <a:lnTo>
                      <a:pt x="2397" y="510"/>
                    </a:lnTo>
                    <a:lnTo>
                      <a:pt x="2397" y="512"/>
                    </a:lnTo>
                    <a:lnTo>
                      <a:pt x="2397" y="513"/>
                    </a:lnTo>
                    <a:lnTo>
                      <a:pt x="2400" y="515"/>
                    </a:lnTo>
                    <a:lnTo>
                      <a:pt x="2400" y="515"/>
                    </a:lnTo>
                    <a:lnTo>
                      <a:pt x="2402" y="513"/>
                    </a:lnTo>
                    <a:lnTo>
                      <a:pt x="2402" y="512"/>
                    </a:lnTo>
                    <a:lnTo>
                      <a:pt x="2403" y="509"/>
                    </a:lnTo>
                    <a:lnTo>
                      <a:pt x="2402" y="509"/>
                    </a:lnTo>
                    <a:close/>
                    <a:moveTo>
                      <a:pt x="2395" y="510"/>
                    </a:moveTo>
                    <a:lnTo>
                      <a:pt x="2394" y="512"/>
                    </a:lnTo>
                    <a:lnTo>
                      <a:pt x="2392" y="513"/>
                    </a:lnTo>
                    <a:lnTo>
                      <a:pt x="2391" y="518"/>
                    </a:lnTo>
                    <a:lnTo>
                      <a:pt x="2388" y="521"/>
                    </a:lnTo>
                    <a:lnTo>
                      <a:pt x="2385" y="521"/>
                    </a:lnTo>
                    <a:lnTo>
                      <a:pt x="2381" y="524"/>
                    </a:lnTo>
                    <a:lnTo>
                      <a:pt x="2380" y="524"/>
                    </a:lnTo>
                    <a:lnTo>
                      <a:pt x="2380" y="524"/>
                    </a:lnTo>
                    <a:lnTo>
                      <a:pt x="2381" y="526"/>
                    </a:lnTo>
                    <a:lnTo>
                      <a:pt x="2381" y="529"/>
                    </a:lnTo>
                    <a:lnTo>
                      <a:pt x="2381" y="530"/>
                    </a:lnTo>
                    <a:lnTo>
                      <a:pt x="2383" y="530"/>
                    </a:lnTo>
                    <a:lnTo>
                      <a:pt x="2385" y="530"/>
                    </a:lnTo>
                    <a:lnTo>
                      <a:pt x="2386" y="527"/>
                    </a:lnTo>
                    <a:lnTo>
                      <a:pt x="2388" y="527"/>
                    </a:lnTo>
                    <a:lnTo>
                      <a:pt x="2391" y="526"/>
                    </a:lnTo>
                    <a:lnTo>
                      <a:pt x="2392" y="524"/>
                    </a:lnTo>
                    <a:lnTo>
                      <a:pt x="2395" y="519"/>
                    </a:lnTo>
                    <a:lnTo>
                      <a:pt x="2395" y="516"/>
                    </a:lnTo>
                    <a:lnTo>
                      <a:pt x="2395" y="513"/>
                    </a:lnTo>
                    <a:lnTo>
                      <a:pt x="2395" y="510"/>
                    </a:lnTo>
                    <a:close/>
                    <a:moveTo>
                      <a:pt x="2342" y="590"/>
                    </a:moveTo>
                    <a:lnTo>
                      <a:pt x="2342" y="590"/>
                    </a:lnTo>
                    <a:lnTo>
                      <a:pt x="2341" y="593"/>
                    </a:lnTo>
                    <a:lnTo>
                      <a:pt x="2341" y="593"/>
                    </a:lnTo>
                    <a:lnTo>
                      <a:pt x="2342" y="593"/>
                    </a:lnTo>
                    <a:lnTo>
                      <a:pt x="2344" y="591"/>
                    </a:lnTo>
                    <a:lnTo>
                      <a:pt x="2342" y="590"/>
                    </a:lnTo>
                    <a:close/>
                    <a:moveTo>
                      <a:pt x="2375" y="541"/>
                    </a:moveTo>
                    <a:lnTo>
                      <a:pt x="2374" y="541"/>
                    </a:lnTo>
                    <a:lnTo>
                      <a:pt x="2369" y="549"/>
                    </a:lnTo>
                    <a:lnTo>
                      <a:pt x="2369" y="551"/>
                    </a:lnTo>
                    <a:lnTo>
                      <a:pt x="2372" y="552"/>
                    </a:lnTo>
                    <a:lnTo>
                      <a:pt x="2374" y="551"/>
                    </a:lnTo>
                    <a:lnTo>
                      <a:pt x="2374" y="549"/>
                    </a:lnTo>
                    <a:lnTo>
                      <a:pt x="2374" y="546"/>
                    </a:lnTo>
                    <a:lnTo>
                      <a:pt x="2375" y="543"/>
                    </a:lnTo>
                    <a:lnTo>
                      <a:pt x="2375" y="541"/>
                    </a:lnTo>
                    <a:close/>
                    <a:moveTo>
                      <a:pt x="2580" y="391"/>
                    </a:moveTo>
                    <a:lnTo>
                      <a:pt x="2578" y="390"/>
                    </a:lnTo>
                    <a:lnTo>
                      <a:pt x="2577" y="388"/>
                    </a:lnTo>
                    <a:lnTo>
                      <a:pt x="2574" y="383"/>
                    </a:lnTo>
                    <a:lnTo>
                      <a:pt x="2574" y="380"/>
                    </a:lnTo>
                    <a:lnTo>
                      <a:pt x="2574" y="379"/>
                    </a:lnTo>
                    <a:lnTo>
                      <a:pt x="2574" y="377"/>
                    </a:lnTo>
                    <a:lnTo>
                      <a:pt x="2569" y="377"/>
                    </a:lnTo>
                    <a:lnTo>
                      <a:pt x="2566" y="379"/>
                    </a:lnTo>
                    <a:lnTo>
                      <a:pt x="2566" y="379"/>
                    </a:lnTo>
                    <a:lnTo>
                      <a:pt x="2569" y="382"/>
                    </a:lnTo>
                    <a:lnTo>
                      <a:pt x="2571" y="383"/>
                    </a:lnTo>
                    <a:lnTo>
                      <a:pt x="2571" y="385"/>
                    </a:lnTo>
                    <a:lnTo>
                      <a:pt x="2572" y="386"/>
                    </a:lnTo>
                    <a:lnTo>
                      <a:pt x="2574" y="390"/>
                    </a:lnTo>
                    <a:lnTo>
                      <a:pt x="2575" y="391"/>
                    </a:lnTo>
                    <a:lnTo>
                      <a:pt x="2577" y="393"/>
                    </a:lnTo>
                    <a:lnTo>
                      <a:pt x="2578" y="393"/>
                    </a:lnTo>
                    <a:lnTo>
                      <a:pt x="2578" y="394"/>
                    </a:lnTo>
                    <a:lnTo>
                      <a:pt x="2582" y="397"/>
                    </a:lnTo>
                    <a:lnTo>
                      <a:pt x="2582" y="393"/>
                    </a:lnTo>
                    <a:lnTo>
                      <a:pt x="2580" y="391"/>
                    </a:lnTo>
                    <a:close/>
                    <a:moveTo>
                      <a:pt x="2195" y="563"/>
                    </a:moveTo>
                    <a:lnTo>
                      <a:pt x="2195" y="562"/>
                    </a:lnTo>
                    <a:lnTo>
                      <a:pt x="2194" y="560"/>
                    </a:lnTo>
                    <a:lnTo>
                      <a:pt x="2191" y="557"/>
                    </a:lnTo>
                    <a:lnTo>
                      <a:pt x="2189" y="554"/>
                    </a:lnTo>
                    <a:lnTo>
                      <a:pt x="2188" y="551"/>
                    </a:lnTo>
                    <a:lnTo>
                      <a:pt x="2188" y="548"/>
                    </a:lnTo>
                    <a:lnTo>
                      <a:pt x="2188" y="545"/>
                    </a:lnTo>
                    <a:lnTo>
                      <a:pt x="2186" y="541"/>
                    </a:lnTo>
                    <a:lnTo>
                      <a:pt x="2184" y="535"/>
                    </a:lnTo>
                    <a:lnTo>
                      <a:pt x="2180" y="524"/>
                    </a:lnTo>
                    <a:lnTo>
                      <a:pt x="2178" y="518"/>
                    </a:lnTo>
                    <a:lnTo>
                      <a:pt x="2175" y="498"/>
                    </a:lnTo>
                    <a:lnTo>
                      <a:pt x="2175" y="496"/>
                    </a:lnTo>
                    <a:lnTo>
                      <a:pt x="2173" y="496"/>
                    </a:lnTo>
                    <a:lnTo>
                      <a:pt x="2173" y="493"/>
                    </a:lnTo>
                    <a:lnTo>
                      <a:pt x="2173" y="491"/>
                    </a:lnTo>
                    <a:lnTo>
                      <a:pt x="2173" y="490"/>
                    </a:lnTo>
                    <a:lnTo>
                      <a:pt x="2172" y="488"/>
                    </a:lnTo>
                    <a:lnTo>
                      <a:pt x="2170" y="487"/>
                    </a:lnTo>
                    <a:lnTo>
                      <a:pt x="2170" y="483"/>
                    </a:lnTo>
                    <a:lnTo>
                      <a:pt x="2170" y="480"/>
                    </a:lnTo>
                    <a:lnTo>
                      <a:pt x="2169" y="477"/>
                    </a:lnTo>
                    <a:lnTo>
                      <a:pt x="2169" y="474"/>
                    </a:lnTo>
                    <a:lnTo>
                      <a:pt x="2169" y="466"/>
                    </a:lnTo>
                    <a:lnTo>
                      <a:pt x="2169" y="463"/>
                    </a:lnTo>
                    <a:lnTo>
                      <a:pt x="2170" y="463"/>
                    </a:lnTo>
                    <a:lnTo>
                      <a:pt x="2170" y="462"/>
                    </a:lnTo>
                    <a:lnTo>
                      <a:pt x="2172" y="458"/>
                    </a:lnTo>
                    <a:lnTo>
                      <a:pt x="2172" y="455"/>
                    </a:lnTo>
                    <a:lnTo>
                      <a:pt x="2172" y="449"/>
                    </a:lnTo>
                    <a:lnTo>
                      <a:pt x="2170" y="443"/>
                    </a:lnTo>
                    <a:lnTo>
                      <a:pt x="2170" y="441"/>
                    </a:lnTo>
                    <a:lnTo>
                      <a:pt x="2170" y="438"/>
                    </a:lnTo>
                    <a:lnTo>
                      <a:pt x="2167" y="433"/>
                    </a:lnTo>
                    <a:lnTo>
                      <a:pt x="2164" y="424"/>
                    </a:lnTo>
                    <a:lnTo>
                      <a:pt x="2164" y="424"/>
                    </a:lnTo>
                    <a:lnTo>
                      <a:pt x="2164" y="421"/>
                    </a:lnTo>
                    <a:lnTo>
                      <a:pt x="2164" y="419"/>
                    </a:lnTo>
                    <a:lnTo>
                      <a:pt x="2166" y="418"/>
                    </a:lnTo>
                    <a:lnTo>
                      <a:pt x="2166" y="415"/>
                    </a:lnTo>
                    <a:lnTo>
                      <a:pt x="2166" y="413"/>
                    </a:lnTo>
                    <a:lnTo>
                      <a:pt x="2161" y="407"/>
                    </a:lnTo>
                    <a:lnTo>
                      <a:pt x="2161" y="405"/>
                    </a:lnTo>
                    <a:lnTo>
                      <a:pt x="2159" y="407"/>
                    </a:lnTo>
                    <a:lnTo>
                      <a:pt x="2159" y="408"/>
                    </a:lnTo>
                    <a:lnTo>
                      <a:pt x="2158" y="410"/>
                    </a:lnTo>
                    <a:lnTo>
                      <a:pt x="2155" y="410"/>
                    </a:lnTo>
                    <a:lnTo>
                      <a:pt x="2156" y="413"/>
                    </a:lnTo>
                    <a:lnTo>
                      <a:pt x="2159" y="419"/>
                    </a:lnTo>
                    <a:lnTo>
                      <a:pt x="2161" y="421"/>
                    </a:lnTo>
                    <a:lnTo>
                      <a:pt x="2161" y="424"/>
                    </a:lnTo>
                    <a:lnTo>
                      <a:pt x="2159" y="426"/>
                    </a:lnTo>
                    <a:lnTo>
                      <a:pt x="2161" y="426"/>
                    </a:lnTo>
                    <a:lnTo>
                      <a:pt x="2161" y="427"/>
                    </a:lnTo>
                    <a:lnTo>
                      <a:pt x="2158" y="429"/>
                    </a:lnTo>
                    <a:lnTo>
                      <a:pt x="2158" y="430"/>
                    </a:lnTo>
                    <a:lnTo>
                      <a:pt x="2158" y="432"/>
                    </a:lnTo>
                    <a:lnTo>
                      <a:pt x="2158" y="435"/>
                    </a:lnTo>
                    <a:lnTo>
                      <a:pt x="2156" y="435"/>
                    </a:lnTo>
                    <a:lnTo>
                      <a:pt x="2155" y="435"/>
                    </a:lnTo>
                    <a:lnTo>
                      <a:pt x="2153" y="435"/>
                    </a:lnTo>
                    <a:lnTo>
                      <a:pt x="2152" y="433"/>
                    </a:lnTo>
                    <a:lnTo>
                      <a:pt x="2150" y="433"/>
                    </a:lnTo>
                    <a:lnTo>
                      <a:pt x="2147" y="433"/>
                    </a:lnTo>
                    <a:lnTo>
                      <a:pt x="2145" y="437"/>
                    </a:lnTo>
                    <a:lnTo>
                      <a:pt x="2145" y="438"/>
                    </a:lnTo>
                    <a:lnTo>
                      <a:pt x="2145" y="443"/>
                    </a:lnTo>
                    <a:lnTo>
                      <a:pt x="2145" y="446"/>
                    </a:lnTo>
                    <a:lnTo>
                      <a:pt x="2145" y="454"/>
                    </a:lnTo>
                    <a:lnTo>
                      <a:pt x="2145" y="460"/>
                    </a:lnTo>
                    <a:lnTo>
                      <a:pt x="2144" y="463"/>
                    </a:lnTo>
                    <a:lnTo>
                      <a:pt x="2142" y="466"/>
                    </a:lnTo>
                    <a:lnTo>
                      <a:pt x="2142" y="468"/>
                    </a:lnTo>
                    <a:lnTo>
                      <a:pt x="2142" y="479"/>
                    </a:lnTo>
                    <a:lnTo>
                      <a:pt x="2144" y="480"/>
                    </a:lnTo>
                    <a:lnTo>
                      <a:pt x="2145" y="482"/>
                    </a:lnTo>
                    <a:lnTo>
                      <a:pt x="2144" y="483"/>
                    </a:lnTo>
                    <a:lnTo>
                      <a:pt x="2144" y="483"/>
                    </a:lnTo>
                    <a:lnTo>
                      <a:pt x="2144" y="485"/>
                    </a:lnTo>
                    <a:lnTo>
                      <a:pt x="2145" y="487"/>
                    </a:lnTo>
                    <a:lnTo>
                      <a:pt x="2148" y="490"/>
                    </a:lnTo>
                    <a:lnTo>
                      <a:pt x="2150" y="493"/>
                    </a:lnTo>
                    <a:lnTo>
                      <a:pt x="2152" y="498"/>
                    </a:lnTo>
                    <a:lnTo>
                      <a:pt x="2152" y="504"/>
                    </a:lnTo>
                    <a:lnTo>
                      <a:pt x="2152" y="507"/>
                    </a:lnTo>
                    <a:lnTo>
                      <a:pt x="2150" y="510"/>
                    </a:lnTo>
                    <a:lnTo>
                      <a:pt x="2150" y="515"/>
                    </a:lnTo>
                    <a:lnTo>
                      <a:pt x="2150" y="518"/>
                    </a:lnTo>
                    <a:lnTo>
                      <a:pt x="2150" y="523"/>
                    </a:lnTo>
                    <a:lnTo>
                      <a:pt x="2152" y="526"/>
                    </a:lnTo>
                    <a:lnTo>
                      <a:pt x="2150" y="543"/>
                    </a:lnTo>
                    <a:lnTo>
                      <a:pt x="2150" y="548"/>
                    </a:lnTo>
                    <a:lnTo>
                      <a:pt x="2150" y="551"/>
                    </a:lnTo>
                    <a:lnTo>
                      <a:pt x="2148" y="557"/>
                    </a:lnTo>
                    <a:lnTo>
                      <a:pt x="2148" y="560"/>
                    </a:lnTo>
                    <a:lnTo>
                      <a:pt x="2145" y="565"/>
                    </a:lnTo>
                    <a:lnTo>
                      <a:pt x="2145" y="566"/>
                    </a:lnTo>
                    <a:lnTo>
                      <a:pt x="2147" y="568"/>
                    </a:lnTo>
                    <a:lnTo>
                      <a:pt x="2148" y="573"/>
                    </a:lnTo>
                    <a:lnTo>
                      <a:pt x="2150" y="577"/>
                    </a:lnTo>
                    <a:lnTo>
                      <a:pt x="2152" y="585"/>
                    </a:lnTo>
                    <a:lnTo>
                      <a:pt x="2152" y="588"/>
                    </a:lnTo>
                    <a:lnTo>
                      <a:pt x="2150" y="590"/>
                    </a:lnTo>
                    <a:lnTo>
                      <a:pt x="2148" y="593"/>
                    </a:lnTo>
                    <a:lnTo>
                      <a:pt x="2147" y="596"/>
                    </a:lnTo>
                    <a:lnTo>
                      <a:pt x="2147" y="598"/>
                    </a:lnTo>
                    <a:lnTo>
                      <a:pt x="2148" y="602"/>
                    </a:lnTo>
                    <a:lnTo>
                      <a:pt x="2148" y="606"/>
                    </a:lnTo>
                    <a:lnTo>
                      <a:pt x="2148" y="607"/>
                    </a:lnTo>
                    <a:lnTo>
                      <a:pt x="2148" y="610"/>
                    </a:lnTo>
                    <a:lnTo>
                      <a:pt x="2145" y="620"/>
                    </a:lnTo>
                    <a:lnTo>
                      <a:pt x="2145" y="626"/>
                    </a:lnTo>
                    <a:lnTo>
                      <a:pt x="2147" y="632"/>
                    </a:lnTo>
                    <a:lnTo>
                      <a:pt x="2147" y="634"/>
                    </a:lnTo>
                    <a:lnTo>
                      <a:pt x="2147" y="637"/>
                    </a:lnTo>
                    <a:lnTo>
                      <a:pt x="2148" y="637"/>
                    </a:lnTo>
                    <a:lnTo>
                      <a:pt x="2150" y="638"/>
                    </a:lnTo>
                    <a:lnTo>
                      <a:pt x="2152" y="637"/>
                    </a:lnTo>
                    <a:lnTo>
                      <a:pt x="2152" y="634"/>
                    </a:lnTo>
                    <a:lnTo>
                      <a:pt x="2153" y="627"/>
                    </a:lnTo>
                    <a:lnTo>
                      <a:pt x="2155" y="624"/>
                    </a:lnTo>
                    <a:lnTo>
                      <a:pt x="2155" y="623"/>
                    </a:lnTo>
                    <a:lnTo>
                      <a:pt x="2156" y="620"/>
                    </a:lnTo>
                    <a:lnTo>
                      <a:pt x="2158" y="618"/>
                    </a:lnTo>
                    <a:lnTo>
                      <a:pt x="2159" y="618"/>
                    </a:lnTo>
                    <a:lnTo>
                      <a:pt x="2161" y="618"/>
                    </a:lnTo>
                    <a:lnTo>
                      <a:pt x="2161" y="620"/>
                    </a:lnTo>
                    <a:lnTo>
                      <a:pt x="2163" y="621"/>
                    </a:lnTo>
                    <a:lnTo>
                      <a:pt x="2163" y="621"/>
                    </a:lnTo>
                    <a:lnTo>
                      <a:pt x="2167" y="621"/>
                    </a:lnTo>
                    <a:lnTo>
                      <a:pt x="2170" y="623"/>
                    </a:lnTo>
                    <a:lnTo>
                      <a:pt x="2172" y="624"/>
                    </a:lnTo>
                    <a:lnTo>
                      <a:pt x="2172" y="627"/>
                    </a:lnTo>
                    <a:lnTo>
                      <a:pt x="2173" y="631"/>
                    </a:lnTo>
                    <a:lnTo>
                      <a:pt x="2173" y="635"/>
                    </a:lnTo>
                    <a:lnTo>
                      <a:pt x="2173" y="635"/>
                    </a:lnTo>
                    <a:lnTo>
                      <a:pt x="2175" y="634"/>
                    </a:lnTo>
                    <a:lnTo>
                      <a:pt x="2175" y="632"/>
                    </a:lnTo>
                    <a:lnTo>
                      <a:pt x="2175" y="631"/>
                    </a:lnTo>
                    <a:lnTo>
                      <a:pt x="2177" y="627"/>
                    </a:lnTo>
                    <a:lnTo>
                      <a:pt x="2177" y="626"/>
                    </a:lnTo>
                    <a:lnTo>
                      <a:pt x="2175" y="623"/>
                    </a:lnTo>
                    <a:lnTo>
                      <a:pt x="2175" y="618"/>
                    </a:lnTo>
                    <a:lnTo>
                      <a:pt x="2173" y="617"/>
                    </a:lnTo>
                    <a:lnTo>
                      <a:pt x="2172" y="617"/>
                    </a:lnTo>
                    <a:lnTo>
                      <a:pt x="2172" y="617"/>
                    </a:lnTo>
                    <a:lnTo>
                      <a:pt x="2170" y="617"/>
                    </a:lnTo>
                    <a:lnTo>
                      <a:pt x="2169" y="615"/>
                    </a:lnTo>
                    <a:lnTo>
                      <a:pt x="2167" y="612"/>
                    </a:lnTo>
                    <a:lnTo>
                      <a:pt x="2166" y="606"/>
                    </a:lnTo>
                    <a:lnTo>
                      <a:pt x="2164" y="602"/>
                    </a:lnTo>
                    <a:lnTo>
                      <a:pt x="2164" y="602"/>
                    </a:lnTo>
                    <a:lnTo>
                      <a:pt x="2164" y="601"/>
                    </a:lnTo>
                    <a:lnTo>
                      <a:pt x="2163" y="601"/>
                    </a:lnTo>
                    <a:lnTo>
                      <a:pt x="2161" y="599"/>
                    </a:lnTo>
                    <a:lnTo>
                      <a:pt x="2159" y="598"/>
                    </a:lnTo>
                    <a:lnTo>
                      <a:pt x="2158" y="593"/>
                    </a:lnTo>
                    <a:lnTo>
                      <a:pt x="2158" y="591"/>
                    </a:lnTo>
                    <a:lnTo>
                      <a:pt x="2158" y="588"/>
                    </a:lnTo>
                    <a:lnTo>
                      <a:pt x="2158" y="584"/>
                    </a:lnTo>
                    <a:lnTo>
                      <a:pt x="2159" y="579"/>
                    </a:lnTo>
                    <a:lnTo>
                      <a:pt x="2166" y="562"/>
                    </a:lnTo>
                    <a:lnTo>
                      <a:pt x="2166" y="555"/>
                    </a:lnTo>
                    <a:lnTo>
                      <a:pt x="2167" y="554"/>
                    </a:lnTo>
                    <a:lnTo>
                      <a:pt x="2170" y="552"/>
                    </a:lnTo>
                    <a:lnTo>
                      <a:pt x="2172" y="551"/>
                    </a:lnTo>
                    <a:lnTo>
                      <a:pt x="2178" y="551"/>
                    </a:lnTo>
                    <a:lnTo>
                      <a:pt x="2180" y="551"/>
                    </a:lnTo>
                    <a:lnTo>
                      <a:pt x="2183" y="551"/>
                    </a:lnTo>
                    <a:lnTo>
                      <a:pt x="2184" y="552"/>
                    </a:lnTo>
                    <a:lnTo>
                      <a:pt x="2186" y="554"/>
                    </a:lnTo>
                    <a:lnTo>
                      <a:pt x="2189" y="557"/>
                    </a:lnTo>
                    <a:lnTo>
                      <a:pt x="2191" y="559"/>
                    </a:lnTo>
                    <a:lnTo>
                      <a:pt x="2192" y="562"/>
                    </a:lnTo>
                    <a:lnTo>
                      <a:pt x="2194" y="563"/>
                    </a:lnTo>
                    <a:lnTo>
                      <a:pt x="2195" y="568"/>
                    </a:lnTo>
                    <a:lnTo>
                      <a:pt x="2195" y="568"/>
                    </a:lnTo>
                    <a:lnTo>
                      <a:pt x="2195" y="563"/>
                    </a:lnTo>
                    <a:close/>
                    <a:moveTo>
                      <a:pt x="53" y="404"/>
                    </a:moveTo>
                    <a:lnTo>
                      <a:pt x="53" y="401"/>
                    </a:lnTo>
                    <a:lnTo>
                      <a:pt x="55" y="399"/>
                    </a:lnTo>
                    <a:lnTo>
                      <a:pt x="56" y="393"/>
                    </a:lnTo>
                    <a:lnTo>
                      <a:pt x="56" y="391"/>
                    </a:lnTo>
                    <a:lnTo>
                      <a:pt x="55" y="390"/>
                    </a:lnTo>
                    <a:lnTo>
                      <a:pt x="53" y="388"/>
                    </a:lnTo>
                    <a:lnTo>
                      <a:pt x="52" y="386"/>
                    </a:lnTo>
                    <a:lnTo>
                      <a:pt x="52" y="386"/>
                    </a:lnTo>
                    <a:lnTo>
                      <a:pt x="49" y="386"/>
                    </a:lnTo>
                    <a:lnTo>
                      <a:pt x="44" y="386"/>
                    </a:lnTo>
                    <a:lnTo>
                      <a:pt x="44" y="386"/>
                    </a:lnTo>
                    <a:lnTo>
                      <a:pt x="39" y="385"/>
                    </a:lnTo>
                    <a:lnTo>
                      <a:pt x="36" y="383"/>
                    </a:lnTo>
                    <a:lnTo>
                      <a:pt x="35" y="382"/>
                    </a:lnTo>
                    <a:lnTo>
                      <a:pt x="33" y="380"/>
                    </a:lnTo>
                    <a:lnTo>
                      <a:pt x="31" y="379"/>
                    </a:lnTo>
                    <a:lnTo>
                      <a:pt x="30" y="380"/>
                    </a:lnTo>
                    <a:lnTo>
                      <a:pt x="28" y="380"/>
                    </a:lnTo>
                    <a:lnTo>
                      <a:pt x="28" y="385"/>
                    </a:lnTo>
                    <a:lnTo>
                      <a:pt x="28" y="390"/>
                    </a:lnTo>
                    <a:lnTo>
                      <a:pt x="24" y="391"/>
                    </a:lnTo>
                    <a:lnTo>
                      <a:pt x="22" y="391"/>
                    </a:lnTo>
                    <a:lnTo>
                      <a:pt x="20" y="390"/>
                    </a:lnTo>
                    <a:lnTo>
                      <a:pt x="19" y="390"/>
                    </a:lnTo>
                    <a:lnTo>
                      <a:pt x="17" y="388"/>
                    </a:lnTo>
                    <a:lnTo>
                      <a:pt x="22" y="382"/>
                    </a:lnTo>
                    <a:lnTo>
                      <a:pt x="24" y="379"/>
                    </a:lnTo>
                    <a:lnTo>
                      <a:pt x="22" y="379"/>
                    </a:lnTo>
                    <a:lnTo>
                      <a:pt x="22" y="380"/>
                    </a:lnTo>
                    <a:lnTo>
                      <a:pt x="19" y="385"/>
                    </a:lnTo>
                    <a:lnTo>
                      <a:pt x="16" y="388"/>
                    </a:lnTo>
                    <a:lnTo>
                      <a:pt x="14" y="390"/>
                    </a:lnTo>
                    <a:lnTo>
                      <a:pt x="10" y="390"/>
                    </a:lnTo>
                    <a:lnTo>
                      <a:pt x="6" y="390"/>
                    </a:lnTo>
                    <a:lnTo>
                      <a:pt x="6" y="393"/>
                    </a:lnTo>
                    <a:lnTo>
                      <a:pt x="6" y="396"/>
                    </a:lnTo>
                    <a:lnTo>
                      <a:pt x="5" y="399"/>
                    </a:lnTo>
                    <a:lnTo>
                      <a:pt x="3" y="402"/>
                    </a:lnTo>
                    <a:lnTo>
                      <a:pt x="0" y="404"/>
                    </a:lnTo>
                    <a:lnTo>
                      <a:pt x="0" y="405"/>
                    </a:lnTo>
                    <a:lnTo>
                      <a:pt x="5" y="405"/>
                    </a:lnTo>
                    <a:lnTo>
                      <a:pt x="11" y="405"/>
                    </a:lnTo>
                    <a:lnTo>
                      <a:pt x="19" y="405"/>
                    </a:lnTo>
                    <a:lnTo>
                      <a:pt x="27" y="407"/>
                    </a:lnTo>
                    <a:lnTo>
                      <a:pt x="36" y="407"/>
                    </a:lnTo>
                    <a:lnTo>
                      <a:pt x="46" y="407"/>
                    </a:lnTo>
                    <a:lnTo>
                      <a:pt x="55" y="407"/>
                    </a:lnTo>
                    <a:lnTo>
                      <a:pt x="55" y="407"/>
                    </a:lnTo>
                    <a:lnTo>
                      <a:pt x="55" y="405"/>
                    </a:lnTo>
                    <a:lnTo>
                      <a:pt x="53" y="40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8" name="Freeform 175">
                <a:extLst>
                  <a:ext uri="{FF2B5EF4-FFF2-40B4-BE49-F238E27FC236}">
                    <a16:creationId xmlns:a16="http://schemas.microsoft.com/office/drawing/2014/main" id="{CE6F5371-273D-FAB8-D2F5-0A0C5B22F5DD}"/>
                  </a:ext>
                </a:extLst>
              </p:cNvPr>
              <p:cNvSpPr>
                <a:spLocks/>
              </p:cNvSpPr>
              <p:nvPr/>
            </p:nvSpPr>
            <p:spPr bwMode="gray">
              <a:xfrm>
                <a:off x="3182" y="1596"/>
                <a:ext cx="34" cy="30"/>
              </a:xfrm>
              <a:custGeom>
                <a:avLst/>
                <a:gdLst>
                  <a:gd name="T0" fmla="*/ 28 w 34"/>
                  <a:gd name="T1" fmla="*/ 0 h 30"/>
                  <a:gd name="T2" fmla="*/ 28 w 34"/>
                  <a:gd name="T3" fmla="*/ 2 h 30"/>
                  <a:gd name="T4" fmla="*/ 33 w 34"/>
                  <a:gd name="T5" fmla="*/ 5 h 30"/>
                  <a:gd name="T6" fmla="*/ 34 w 34"/>
                  <a:gd name="T7" fmla="*/ 8 h 30"/>
                  <a:gd name="T8" fmla="*/ 34 w 34"/>
                  <a:gd name="T9" fmla="*/ 13 h 30"/>
                  <a:gd name="T10" fmla="*/ 34 w 34"/>
                  <a:gd name="T11" fmla="*/ 16 h 30"/>
                  <a:gd name="T12" fmla="*/ 34 w 34"/>
                  <a:gd name="T13" fmla="*/ 21 h 30"/>
                  <a:gd name="T14" fmla="*/ 34 w 34"/>
                  <a:gd name="T15" fmla="*/ 22 h 30"/>
                  <a:gd name="T16" fmla="*/ 33 w 34"/>
                  <a:gd name="T17" fmla="*/ 22 h 30"/>
                  <a:gd name="T18" fmla="*/ 29 w 34"/>
                  <a:gd name="T19" fmla="*/ 22 h 30"/>
                  <a:gd name="T20" fmla="*/ 29 w 34"/>
                  <a:gd name="T21" fmla="*/ 22 h 30"/>
                  <a:gd name="T22" fmla="*/ 26 w 34"/>
                  <a:gd name="T23" fmla="*/ 21 h 30"/>
                  <a:gd name="T24" fmla="*/ 23 w 34"/>
                  <a:gd name="T25" fmla="*/ 22 h 30"/>
                  <a:gd name="T26" fmla="*/ 22 w 34"/>
                  <a:gd name="T27" fmla="*/ 24 h 30"/>
                  <a:gd name="T28" fmla="*/ 22 w 34"/>
                  <a:gd name="T29" fmla="*/ 24 h 30"/>
                  <a:gd name="T30" fmla="*/ 19 w 34"/>
                  <a:gd name="T31" fmla="*/ 22 h 30"/>
                  <a:gd name="T32" fmla="*/ 17 w 34"/>
                  <a:gd name="T33" fmla="*/ 27 h 30"/>
                  <a:gd name="T34" fmla="*/ 15 w 34"/>
                  <a:gd name="T35" fmla="*/ 30 h 30"/>
                  <a:gd name="T36" fmla="*/ 14 w 34"/>
                  <a:gd name="T37" fmla="*/ 30 h 30"/>
                  <a:gd name="T38" fmla="*/ 9 w 34"/>
                  <a:gd name="T39" fmla="*/ 30 h 30"/>
                  <a:gd name="T40" fmla="*/ 8 w 34"/>
                  <a:gd name="T41" fmla="*/ 27 h 30"/>
                  <a:gd name="T42" fmla="*/ 3 w 34"/>
                  <a:gd name="T43" fmla="*/ 27 h 30"/>
                  <a:gd name="T44" fmla="*/ 3 w 34"/>
                  <a:gd name="T45" fmla="*/ 27 h 30"/>
                  <a:gd name="T46" fmla="*/ 0 w 34"/>
                  <a:gd name="T47" fmla="*/ 28 h 30"/>
                  <a:gd name="T48" fmla="*/ 0 w 34"/>
                  <a:gd name="T49" fmla="*/ 25 h 30"/>
                  <a:gd name="T50" fmla="*/ 0 w 34"/>
                  <a:gd name="T51" fmla="*/ 22 h 30"/>
                  <a:gd name="T52" fmla="*/ 1 w 34"/>
                  <a:gd name="T53" fmla="*/ 21 h 30"/>
                  <a:gd name="T54" fmla="*/ 4 w 34"/>
                  <a:gd name="T55" fmla="*/ 19 h 30"/>
                  <a:gd name="T56" fmla="*/ 4 w 34"/>
                  <a:gd name="T57" fmla="*/ 16 h 30"/>
                  <a:gd name="T58" fmla="*/ 4 w 34"/>
                  <a:gd name="T59" fmla="*/ 13 h 30"/>
                  <a:gd name="T60" fmla="*/ 6 w 34"/>
                  <a:gd name="T61" fmla="*/ 10 h 30"/>
                  <a:gd name="T62" fmla="*/ 9 w 34"/>
                  <a:gd name="T63" fmla="*/ 6 h 30"/>
                  <a:gd name="T64" fmla="*/ 11 w 34"/>
                  <a:gd name="T65" fmla="*/ 5 h 30"/>
                  <a:gd name="T66" fmla="*/ 12 w 34"/>
                  <a:gd name="T67" fmla="*/ 5 h 30"/>
                  <a:gd name="T68" fmla="*/ 17 w 34"/>
                  <a:gd name="T69" fmla="*/ 5 h 30"/>
                  <a:gd name="T70" fmla="*/ 17 w 34"/>
                  <a:gd name="T71" fmla="*/ 6 h 30"/>
                  <a:gd name="T72" fmla="*/ 19 w 34"/>
                  <a:gd name="T73" fmla="*/ 6 h 30"/>
                  <a:gd name="T74" fmla="*/ 22 w 34"/>
                  <a:gd name="T75" fmla="*/ 3 h 30"/>
                  <a:gd name="T76" fmla="*/ 25 w 34"/>
                  <a:gd name="T77" fmla="*/ 2 h 30"/>
                  <a:gd name="T78" fmla="*/ 26 w 34"/>
                  <a:gd name="T79" fmla="*/ 0 h 30"/>
                  <a:gd name="T80" fmla="*/ 28 w 34"/>
                  <a:gd name="T8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30">
                    <a:moveTo>
                      <a:pt x="28" y="0"/>
                    </a:moveTo>
                    <a:lnTo>
                      <a:pt x="28" y="0"/>
                    </a:lnTo>
                    <a:lnTo>
                      <a:pt x="28" y="0"/>
                    </a:lnTo>
                    <a:lnTo>
                      <a:pt x="28" y="2"/>
                    </a:lnTo>
                    <a:lnTo>
                      <a:pt x="31" y="5"/>
                    </a:lnTo>
                    <a:lnTo>
                      <a:pt x="33" y="5"/>
                    </a:lnTo>
                    <a:lnTo>
                      <a:pt x="33" y="6"/>
                    </a:lnTo>
                    <a:lnTo>
                      <a:pt x="34" y="8"/>
                    </a:lnTo>
                    <a:lnTo>
                      <a:pt x="34" y="11"/>
                    </a:lnTo>
                    <a:lnTo>
                      <a:pt x="34" y="13"/>
                    </a:lnTo>
                    <a:lnTo>
                      <a:pt x="34" y="16"/>
                    </a:lnTo>
                    <a:lnTo>
                      <a:pt x="34" y="16"/>
                    </a:lnTo>
                    <a:lnTo>
                      <a:pt x="34" y="19"/>
                    </a:lnTo>
                    <a:lnTo>
                      <a:pt x="34" y="21"/>
                    </a:lnTo>
                    <a:lnTo>
                      <a:pt x="34" y="22"/>
                    </a:lnTo>
                    <a:lnTo>
                      <a:pt x="34" y="22"/>
                    </a:lnTo>
                    <a:lnTo>
                      <a:pt x="33" y="22"/>
                    </a:lnTo>
                    <a:lnTo>
                      <a:pt x="33" y="22"/>
                    </a:lnTo>
                    <a:lnTo>
                      <a:pt x="31" y="22"/>
                    </a:lnTo>
                    <a:lnTo>
                      <a:pt x="29" y="22"/>
                    </a:lnTo>
                    <a:lnTo>
                      <a:pt x="29" y="22"/>
                    </a:lnTo>
                    <a:lnTo>
                      <a:pt x="29" y="22"/>
                    </a:lnTo>
                    <a:lnTo>
                      <a:pt x="28" y="22"/>
                    </a:lnTo>
                    <a:lnTo>
                      <a:pt x="26" y="21"/>
                    </a:lnTo>
                    <a:lnTo>
                      <a:pt x="25" y="22"/>
                    </a:lnTo>
                    <a:lnTo>
                      <a:pt x="23" y="22"/>
                    </a:lnTo>
                    <a:lnTo>
                      <a:pt x="23" y="22"/>
                    </a:lnTo>
                    <a:lnTo>
                      <a:pt x="22" y="24"/>
                    </a:lnTo>
                    <a:lnTo>
                      <a:pt x="22" y="24"/>
                    </a:lnTo>
                    <a:lnTo>
                      <a:pt x="22" y="24"/>
                    </a:lnTo>
                    <a:lnTo>
                      <a:pt x="19" y="22"/>
                    </a:lnTo>
                    <a:lnTo>
                      <a:pt x="19" y="22"/>
                    </a:lnTo>
                    <a:lnTo>
                      <a:pt x="19" y="25"/>
                    </a:lnTo>
                    <a:lnTo>
                      <a:pt x="17" y="27"/>
                    </a:lnTo>
                    <a:lnTo>
                      <a:pt x="17" y="28"/>
                    </a:lnTo>
                    <a:lnTo>
                      <a:pt x="15" y="30"/>
                    </a:lnTo>
                    <a:lnTo>
                      <a:pt x="14" y="30"/>
                    </a:lnTo>
                    <a:lnTo>
                      <a:pt x="14" y="30"/>
                    </a:lnTo>
                    <a:lnTo>
                      <a:pt x="11" y="30"/>
                    </a:lnTo>
                    <a:lnTo>
                      <a:pt x="9" y="30"/>
                    </a:lnTo>
                    <a:lnTo>
                      <a:pt x="8" y="30"/>
                    </a:lnTo>
                    <a:lnTo>
                      <a:pt x="8" y="27"/>
                    </a:lnTo>
                    <a:lnTo>
                      <a:pt x="6" y="27"/>
                    </a:lnTo>
                    <a:lnTo>
                      <a:pt x="3" y="27"/>
                    </a:lnTo>
                    <a:lnTo>
                      <a:pt x="3" y="27"/>
                    </a:lnTo>
                    <a:lnTo>
                      <a:pt x="3" y="27"/>
                    </a:lnTo>
                    <a:lnTo>
                      <a:pt x="3" y="28"/>
                    </a:lnTo>
                    <a:lnTo>
                      <a:pt x="0" y="28"/>
                    </a:lnTo>
                    <a:lnTo>
                      <a:pt x="0" y="27"/>
                    </a:lnTo>
                    <a:lnTo>
                      <a:pt x="0" y="25"/>
                    </a:lnTo>
                    <a:lnTo>
                      <a:pt x="0" y="24"/>
                    </a:lnTo>
                    <a:lnTo>
                      <a:pt x="0" y="22"/>
                    </a:lnTo>
                    <a:lnTo>
                      <a:pt x="0" y="22"/>
                    </a:lnTo>
                    <a:lnTo>
                      <a:pt x="1" y="21"/>
                    </a:lnTo>
                    <a:lnTo>
                      <a:pt x="4" y="21"/>
                    </a:lnTo>
                    <a:lnTo>
                      <a:pt x="4" y="19"/>
                    </a:lnTo>
                    <a:lnTo>
                      <a:pt x="4" y="17"/>
                    </a:lnTo>
                    <a:lnTo>
                      <a:pt x="4" y="16"/>
                    </a:lnTo>
                    <a:lnTo>
                      <a:pt x="4" y="13"/>
                    </a:lnTo>
                    <a:lnTo>
                      <a:pt x="4" y="13"/>
                    </a:lnTo>
                    <a:lnTo>
                      <a:pt x="6" y="11"/>
                    </a:lnTo>
                    <a:lnTo>
                      <a:pt x="6" y="10"/>
                    </a:lnTo>
                    <a:lnTo>
                      <a:pt x="8" y="8"/>
                    </a:lnTo>
                    <a:lnTo>
                      <a:pt x="9" y="6"/>
                    </a:lnTo>
                    <a:lnTo>
                      <a:pt x="11" y="6"/>
                    </a:lnTo>
                    <a:lnTo>
                      <a:pt x="11" y="5"/>
                    </a:lnTo>
                    <a:lnTo>
                      <a:pt x="12" y="5"/>
                    </a:lnTo>
                    <a:lnTo>
                      <a:pt x="12" y="5"/>
                    </a:lnTo>
                    <a:lnTo>
                      <a:pt x="17" y="5"/>
                    </a:lnTo>
                    <a:lnTo>
                      <a:pt x="17" y="5"/>
                    </a:lnTo>
                    <a:lnTo>
                      <a:pt x="17" y="6"/>
                    </a:lnTo>
                    <a:lnTo>
                      <a:pt x="17" y="6"/>
                    </a:lnTo>
                    <a:lnTo>
                      <a:pt x="19" y="6"/>
                    </a:lnTo>
                    <a:lnTo>
                      <a:pt x="19" y="6"/>
                    </a:lnTo>
                    <a:lnTo>
                      <a:pt x="22" y="5"/>
                    </a:lnTo>
                    <a:lnTo>
                      <a:pt x="22" y="3"/>
                    </a:lnTo>
                    <a:lnTo>
                      <a:pt x="23" y="3"/>
                    </a:lnTo>
                    <a:lnTo>
                      <a:pt x="25" y="2"/>
                    </a:lnTo>
                    <a:lnTo>
                      <a:pt x="25" y="0"/>
                    </a:lnTo>
                    <a:lnTo>
                      <a:pt x="26" y="0"/>
                    </a:lnTo>
                    <a:lnTo>
                      <a:pt x="26" y="0"/>
                    </a:lnTo>
                    <a:lnTo>
                      <a:pt x="28" y="0"/>
                    </a:lnTo>
                    <a:lnTo>
                      <a:pt x="2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49" name="Freeform 176">
                <a:extLst>
                  <a:ext uri="{FF2B5EF4-FFF2-40B4-BE49-F238E27FC236}">
                    <a16:creationId xmlns:a16="http://schemas.microsoft.com/office/drawing/2014/main" id="{2661D97D-1432-9148-9AC8-586B8151D3AC}"/>
                  </a:ext>
                </a:extLst>
              </p:cNvPr>
              <p:cNvSpPr>
                <a:spLocks noEditPoints="1"/>
              </p:cNvSpPr>
              <p:nvPr/>
            </p:nvSpPr>
            <p:spPr bwMode="gray">
              <a:xfrm>
                <a:off x="3282" y="984"/>
                <a:ext cx="369" cy="304"/>
              </a:xfrm>
              <a:custGeom>
                <a:avLst/>
                <a:gdLst>
                  <a:gd name="T0" fmla="*/ 130 w 369"/>
                  <a:gd name="T1" fmla="*/ 295 h 304"/>
                  <a:gd name="T2" fmla="*/ 126 w 369"/>
                  <a:gd name="T3" fmla="*/ 296 h 304"/>
                  <a:gd name="T4" fmla="*/ 133 w 369"/>
                  <a:gd name="T5" fmla="*/ 299 h 304"/>
                  <a:gd name="T6" fmla="*/ 34 w 369"/>
                  <a:gd name="T7" fmla="*/ 130 h 304"/>
                  <a:gd name="T8" fmla="*/ 40 w 369"/>
                  <a:gd name="T9" fmla="*/ 133 h 304"/>
                  <a:gd name="T10" fmla="*/ 34 w 369"/>
                  <a:gd name="T11" fmla="*/ 127 h 304"/>
                  <a:gd name="T12" fmla="*/ 359 w 369"/>
                  <a:gd name="T13" fmla="*/ 188 h 304"/>
                  <a:gd name="T14" fmla="*/ 348 w 369"/>
                  <a:gd name="T15" fmla="*/ 187 h 304"/>
                  <a:gd name="T16" fmla="*/ 320 w 369"/>
                  <a:gd name="T17" fmla="*/ 182 h 304"/>
                  <a:gd name="T18" fmla="*/ 313 w 369"/>
                  <a:gd name="T19" fmla="*/ 179 h 304"/>
                  <a:gd name="T20" fmla="*/ 306 w 369"/>
                  <a:gd name="T21" fmla="*/ 171 h 304"/>
                  <a:gd name="T22" fmla="*/ 298 w 369"/>
                  <a:gd name="T23" fmla="*/ 160 h 304"/>
                  <a:gd name="T24" fmla="*/ 294 w 369"/>
                  <a:gd name="T25" fmla="*/ 152 h 304"/>
                  <a:gd name="T26" fmla="*/ 288 w 369"/>
                  <a:gd name="T27" fmla="*/ 151 h 304"/>
                  <a:gd name="T28" fmla="*/ 283 w 369"/>
                  <a:gd name="T29" fmla="*/ 143 h 304"/>
                  <a:gd name="T30" fmla="*/ 272 w 369"/>
                  <a:gd name="T31" fmla="*/ 124 h 304"/>
                  <a:gd name="T32" fmla="*/ 272 w 369"/>
                  <a:gd name="T33" fmla="*/ 113 h 304"/>
                  <a:gd name="T34" fmla="*/ 270 w 369"/>
                  <a:gd name="T35" fmla="*/ 107 h 304"/>
                  <a:gd name="T36" fmla="*/ 255 w 369"/>
                  <a:gd name="T37" fmla="*/ 93 h 304"/>
                  <a:gd name="T38" fmla="*/ 245 w 369"/>
                  <a:gd name="T39" fmla="*/ 77 h 304"/>
                  <a:gd name="T40" fmla="*/ 228 w 369"/>
                  <a:gd name="T41" fmla="*/ 69 h 304"/>
                  <a:gd name="T42" fmla="*/ 200 w 369"/>
                  <a:gd name="T43" fmla="*/ 61 h 304"/>
                  <a:gd name="T44" fmla="*/ 161 w 369"/>
                  <a:gd name="T45" fmla="*/ 46 h 304"/>
                  <a:gd name="T46" fmla="*/ 123 w 369"/>
                  <a:gd name="T47" fmla="*/ 16 h 304"/>
                  <a:gd name="T48" fmla="*/ 95 w 369"/>
                  <a:gd name="T49" fmla="*/ 4 h 304"/>
                  <a:gd name="T50" fmla="*/ 67 w 369"/>
                  <a:gd name="T51" fmla="*/ 5 h 304"/>
                  <a:gd name="T52" fmla="*/ 42 w 369"/>
                  <a:gd name="T53" fmla="*/ 13 h 304"/>
                  <a:gd name="T54" fmla="*/ 59 w 369"/>
                  <a:gd name="T55" fmla="*/ 33 h 304"/>
                  <a:gd name="T56" fmla="*/ 53 w 369"/>
                  <a:gd name="T57" fmla="*/ 39 h 304"/>
                  <a:gd name="T58" fmla="*/ 45 w 369"/>
                  <a:gd name="T59" fmla="*/ 44 h 304"/>
                  <a:gd name="T60" fmla="*/ 33 w 369"/>
                  <a:gd name="T61" fmla="*/ 54 h 304"/>
                  <a:gd name="T62" fmla="*/ 14 w 369"/>
                  <a:gd name="T63" fmla="*/ 58 h 304"/>
                  <a:gd name="T64" fmla="*/ 3 w 369"/>
                  <a:gd name="T65" fmla="*/ 80 h 304"/>
                  <a:gd name="T66" fmla="*/ 25 w 369"/>
                  <a:gd name="T67" fmla="*/ 105 h 304"/>
                  <a:gd name="T68" fmla="*/ 40 w 369"/>
                  <a:gd name="T69" fmla="*/ 130 h 304"/>
                  <a:gd name="T70" fmla="*/ 50 w 369"/>
                  <a:gd name="T71" fmla="*/ 152 h 304"/>
                  <a:gd name="T72" fmla="*/ 65 w 369"/>
                  <a:gd name="T73" fmla="*/ 163 h 304"/>
                  <a:gd name="T74" fmla="*/ 75 w 369"/>
                  <a:gd name="T75" fmla="*/ 182 h 304"/>
                  <a:gd name="T76" fmla="*/ 78 w 369"/>
                  <a:gd name="T77" fmla="*/ 199 h 304"/>
                  <a:gd name="T78" fmla="*/ 86 w 369"/>
                  <a:gd name="T79" fmla="*/ 223 h 304"/>
                  <a:gd name="T80" fmla="*/ 109 w 369"/>
                  <a:gd name="T81" fmla="*/ 241 h 304"/>
                  <a:gd name="T82" fmla="*/ 117 w 369"/>
                  <a:gd name="T83" fmla="*/ 262 h 304"/>
                  <a:gd name="T84" fmla="*/ 137 w 369"/>
                  <a:gd name="T85" fmla="*/ 290 h 304"/>
                  <a:gd name="T86" fmla="*/ 144 w 369"/>
                  <a:gd name="T87" fmla="*/ 302 h 304"/>
                  <a:gd name="T88" fmla="*/ 150 w 369"/>
                  <a:gd name="T89" fmla="*/ 298 h 304"/>
                  <a:gd name="T90" fmla="*/ 150 w 369"/>
                  <a:gd name="T91" fmla="*/ 288 h 304"/>
                  <a:gd name="T92" fmla="*/ 153 w 369"/>
                  <a:gd name="T93" fmla="*/ 284 h 304"/>
                  <a:gd name="T94" fmla="*/ 162 w 369"/>
                  <a:gd name="T95" fmla="*/ 285 h 304"/>
                  <a:gd name="T96" fmla="*/ 167 w 369"/>
                  <a:gd name="T97" fmla="*/ 285 h 304"/>
                  <a:gd name="T98" fmla="*/ 186 w 369"/>
                  <a:gd name="T99" fmla="*/ 284 h 304"/>
                  <a:gd name="T100" fmla="*/ 206 w 369"/>
                  <a:gd name="T101" fmla="*/ 288 h 304"/>
                  <a:gd name="T102" fmla="*/ 220 w 369"/>
                  <a:gd name="T103" fmla="*/ 293 h 304"/>
                  <a:gd name="T104" fmla="*/ 231 w 369"/>
                  <a:gd name="T105" fmla="*/ 279 h 304"/>
                  <a:gd name="T106" fmla="*/ 253 w 369"/>
                  <a:gd name="T107" fmla="*/ 263 h 304"/>
                  <a:gd name="T108" fmla="*/ 283 w 369"/>
                  <a:gd name="T109" fmla="*/ 259 h 304"/>
                  <a:gd name="T110" fmla="*/ 305 w 369"/>
                  <a:gd name="T111" fmla="*/ 255 h 304"/>
                  <a:gd name="T112" fmla="*/ 320 w 369"/>
                  <a:gd name="T113" fmla="*/ 251 h 304"/>
                  <a:gd name="T114" fmla="*/ 341 w 369"/>
                  <a:gd name="T115" fmla="*/ 243 h 304"/>
                  <a:gd name="T116" fmla="*/ 358 w 369"/>
                  <a:gd name="T117" fmla="*/ 234 h 304"/>
                  <a:gd name="T118" fmla="*/ 363 w 369"/>
                  <a:gd name="T119" fmla="*/ 223 h 304"/>
                  <a:gd name="T120" fmla="*/ 366 w 369"/>
                  <a:gd name="T121" fmla="*/ 213 h 304"/>
                  <a:gd name="T122" fmla="*/ 369 w 369"/>
                  <a:gd name="T123" fmla="*/ 19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04">
                    <a:moveTo>
                      <a:pt x="131" y="296"/>
                    </a:moveTo>
                    <a:lnTo>
                      <a:pt x="131" y="296"/>
                    </a:lnTo>
                    <a:lnTo>
                      <a:pt x="131" y="296"/>
                    </a:lnTo>
                    <a:lnTo>
                      <a:pt x="131" y="298"/>
                    </a:lnTo>
                    <a:lnTo>
                      <a:pt x="130" y="298"/>
                    </a:lnTo>
                    <a:lnTo>
                      <a:pt x="130" y="296"/>
                    </a:lnTo>
                    <a:lnTo>
                      <a:pt x="130" y="296"/>
                    </a:lnTo>
                    <a:lnTo>
                      <a:pt x="130" y="295"/>
                    </a:lnTo>
                    <a:lnTo>
                      <a:pt x="130" y="293"/>
                    </a:lnTo>
                    <a:lnTo>
                      <a:pt x="128" y="291"/>
                    </a:lnTo>
                    <a:lnTo>
                      <a:pt x="128" y="291"/>
                    </a:lnTo>
                    <a:lnTo>
                      <a:pt x="128" y="293"/>
                    </a:lnTo>
                    <a:lnTo>
                      <a:pt x="128" y="293"/>
                    </a:lnTo>
                    <a:lnTo>
                      <a:pt x="126" y="295"/>
                    </a:lnTo>
                    <a:lnTo>
                      <a:pt x="126" y="295"/>
                    </a:lnTo>
                    <a:lnTo>
                      <a:pt x="126" y="296"/>
                    </a:lnTo>
                    <a:lnTo>
                      <a:pt x="128" y="298"/>
                    </a:lnTo>
                    <a:lnTo>
                      <a:pt x="130" y="298"/>
                    </a:lnTo>
                    <a:lnTo>
                      <a:pt x="131" y="298"/>
                    </a:lnTo>
                    <a:lnTo>
                      <a:pt x="131" y="298"/>
                    </a:lnTo>
                    <a:lnTo>
                      <a:pt x="133" y="299"/>
                    </a:lnTo>
                    <a:lnTo>
                      <a:pt x="133" y="299"/>
                    </a:lnTo>
                    <a:lnTo>
                      <a:pt x="133" y="299"/>
                    </a:lnTo>
                    <a:lnTo>
                      <a:pt x="133" y="299"/>
                    </a:lnTo>
                    <a:lnTo>
                      <a:pt x="133" y="298"/>
                    </a:lnTo>
                    <a:lnTo>
                      <a:pt x="131" y="296"/>
                    </a:lnTo>
                    <a:close/>
                    <a:moveTo>
                      <a:pt x="40" y="133"/>
                    </a:moveTo>
                    <a:lnTo>
                      <a:pt x="37" y="132"/>
                    </a:lnTo>
                    <a:lnTo>
                      <a:pt x="36" y="130"/>
                    </a:lnTo>
                    <a:lnTo>
                      <a:pt x="34" y="130"/>
                    </a:lnTo>
                    <a:lnTo>
                      <a:pt x="34" y="129"/>
                    </a:lnTo>
                    <a:lnTo>
                      <a:pt x="34" y="130"/>
                    </a:lnTo>
                    <a:lnTo>
                      <a:pt x="34" y="130"/>
                    </a:lnTo>
                    <a:lnTo>
                      <a:pt x="37" y="132"/>
                    </a:lnTo>
                    <a:lnTo>
                      <a:pt x="39" y="132"/>
                    </a:lnTo>
                    <a:lnTo>
                      <a:pt x="39" y="133"/>
                    </a:lnTo>
                    <a:lnTo>
                      <a:pt x="40" y="135"/>
                    </a:lnTo>
                    <a:lnTo>
                      <a:pt x="40" y="135"/>
                    </a:lnTo>
                    <a:lnTo>
                      <a:pt x="42" y="133"/>
                    </a:lnTo>
                    <a:lnTo>
                      <a:pt x="40" y="133"/>
                    </a:lnTo>
                    <a:close/>
                    <a:moveTo>
                      <a:pt x="34" y="127"/>
                    </a:moveTo>
                    <a:lnTo>
                      <a:pt x="34" y="126"/>
                    </a:lnTo>
                    <a:lnTo>
                      <a:pt x="34" y="126"/>
                    </a:lnTo>
                    <a:lnTo>
                      <a:pt x="34" y="127"/>
                    </a:lnTo>
                    <a:lnTo>
                      <a:pt x="36" y="129"/>
                    </a:lnTo>
                    <a:lnTo>
                      <a:pt x="36" y="129"/>
                    </a:lnTo>
                    <a:lnTo>
                      <a:pt x="36" y="127"/>
                    </a:lnTo>
                    <a:lnTo>
                      <a:pt x="34" y="127"/>
                    </a:lnTo>
                    <a:close/>
                    <a:moveTo>
                      <a:pt x="369" y="198"/>
                    </a:moveTo>
                    <a:lnTo>
                      <a:pt x="367" y="194"/>
                    </a:lnTo>
                    <a:lnTo>
                      <a:pt x="366" y="193"/>
                    </a:lnTo>
                    <a:lnTo>
                      <a:pt x="364" y="190"/>
                    </a:lnTo>
                    <a:lnTo>
                      <a:pt x="363" y="188"/>
                    </a:lnTo>
                    <a:lnTo>
                      <a:pt x="361" y="187"/>
                    </a:lnTo>
                    <a:lnTo>
                      <a:pt x="361" y="188"/>
                    </a:lnTo>
                    <a:lnTo>
                      <a:pt x="359" y="188"/>
                    </a:lnTo>
                    <a:lnTo>
                      <a:pt x="358" y="187"/>
                    </a:lnTo>
                    <a:lnTo>
                      <a:pt x="358" y="187"/>
                    </a:lnTo>
                    <a:lnTo>
                      <a:pt x="356" y="187"/>
                    </a:lnTo>
                    <a:lnTo>
                      <a:pt x="356" y="187"/>
                    </a:lnTo>
                    <a:lnTo>
                      <a:pt x="355" y="187"/>
                    </a:lnTo>
                    <a:lnTo>
                      <a:pt x="352" y="187"/>
                    </a:lnTo>
                    <a:lnTo>
                      <a:pt x="352" y="187"/>
                    </a:lnTo>
                    <a:lnTo>
                      <a:pt x="348" y="187"/>
                    </a:lnTo>
                    <a:lnTo>
                      <a:pt x="345" y="185"/>
                    </a:lnTo>
                    <a:lnTo>
                      <a:pt x="342" y="185"/>
                    </a:lnTo>
                    <a:lnTo>
                      <a:pt x="338" y="185"/>
                    </a:lnTo>
                    <a:lnTo>
                      <a:pt x="334" y="183"/>
                    </a:lnTo>
                    <a:lnTo>
                      <a:pt x="330" y="183"/>
                    </a:lnTo>
                    <a:lnTo>
                      <a:pt x="327" y="183"/>
                    </a:lnTo>
                    <a:lnTo>
                      <a:pt x="323" y="182"/>
                    </a:lnTo>
                    <a:lnTo>
                      <a:pt x="320" y="182"/>
                    </a:lnTo>
                    <a:lnTo>
                      <a:pt x="319" y="182"/>
                    </a:lnTo>
                    <a:lnTo>
                      <a:pt x="319" y="182"/>
                    </a:lnTo>
                    <a:lnTo>
                      <a:pt x="317" y="182"/>
                    </a:lnTo>
                    <a:lnTo>
                      <a:pt x="317" y="182"/>
                    </a:lnTo>
                    <a:lnTo>
                      <a:pt x="316" y="182"/>
                    </a:lnTo>
                    <a:lnTo>
                      <a:pt x="314" y="180"/>
                    </a:lnTo>
                    <a:lnTo>
                      <a:pt x="314" y="179"/>
                    </a:lnTo>
                    <a:lnTo>
                      <a:pt x="313" y="179"/>
                    </a:lnTo>
                    <a:lnTo>
                      <a:pt x="311" y="177"/>
                    </a:lnTo>
                    <a:lnTo>
                      <a:pt x="311" y="176"/>
                    </a:lnTo>
                    <a:lnTo>
                      <a:pt x="311" y="176"/>
                    </a:lnTo>
                    <a:lnTo>
                      <a:pt x="309" y="174"/>
                    </a:lnTo>
                    <a:lnTo>
                      <a:pt x="309" y="173"/>
                    </a:lnTo>
                    <a:lnTo>
                      <a:pt x="309" y="173"/>
                    </a:lnTo>
                    <a:lnTo>
                      <a:pt x="308" y="173"/>
                    </a:lnTo>
                    <a:lnTo>
                      <a:pt x="306" y="171"/>
                    </a:lnTo>
                    <a:lnTo>
                      <a:pt x="306" y="169"/>
                    </a:lnTo>
                    <a:lnTo>
                      <a:pt x="305" y="168"/>
                    </a:lnTo>
                    <a:lnTo>
                      <a:pt x="303" y="166"/>
                    </a:lnTo>
                    <a:lnTo>
                      <a:pt x="303" y="166"/>
                    </a:lnTo>
                    <a:lnTo>
                      <a:pt x="302" y="163"/>
                    </a:lnTo>
                    <a:lnTo>
                      <a:pt x="300" y="162"/>
                    </a:lnTo>
                    <a:lnTo>
                      <a:pt x="298" y="160"/>
                    </a:lnTo>
                    <a:lnTo>
                      <a:pt x="298" y="160"/>
                    </a:lnTo>
                    <a:lnTo>
                      <a:pt x="298" y="158"/>
                    </a:lnTo>
                    <a:lnTo>
                      <a:pt x="298" y="157"/>
                    </a:lnTo>
                    <a:lnTo>
                      <a:pt x="298" y="155"/>
                    </a:lnTo>
                    <a:lnTo>
                      <a:pt x="297" y="155"/>
                    </a:lnTo>
                    <a:lnTo>
                      <a:pt x="297" y="155"/>
                    </a:lnTo>
                    <a:lnTo>
                      <a:pt x="295" y="155"/>
                    </a:lnTo>
                    <a:lnTo>
                      <a:pt x="294" y="155"/>
                    </a:lnTo>
                    <a:lnTo>
                      <a:pt x="294" y="152"/>
                    </a:lnTo>
                    <a:lnTo>
                      <a:pt x="295" y="151"/>
                    </a:lnTo>
                    <a:lnTo>
                      <a:pt x="295" y="151"/>
                    </a:lnTo>
                    <a:lnTo>
                      <a:pt x="294" y="151"/>
                    </a:lnTo>
                    <a:lnTo>
                      <a:pt x="292" y="149"/>
                    </a:lnTo>
                    <a:lnTo>
                      <a:pt x="291" y="151"/>
                    </a:lnTo>
                    <a:lnTo>
                      <a:pt x="289" y="151"/>
                    </a:lnTo>
                    <a:lnTo>
                      <a:pt x="289" y="151"/>
                    </a:lnTo>
                    <a:lnTo>
                      <a:pt x="288" y="151"/>
                    </a:lnTo>
                    <a:lnTo>
                      <a:pt x="288" y="151"/>
                    </a:lnTo>
                    <a:lnTo>
                      <a:pt x="288" y="151"/>
                    </a:lnTo>
                    <a:lnTo>
                      <a:pt x="288" y="149"/>
                    </a:lnTo>
                    <a:lnTo>
                      <a:pt x="286" y="147"/>
                    </a:lnTo>
                    <a:lnTo>
                      <a:pt x="284" y="146"/>
                    </a:lnTo>
                    <a:lnTo>
                      <a:pt x="284" y="146"/>
                    </a:lnTo>
                    <a:lnTo>
                      <a:pt x="283" y="144"/>
                    </a:lnTo>
                    <a:lnTo>
                      <a:pt x="283" y="143"/>
                    </a:lnTo>
                    <a:lnTo>
                      <a:pt x="280" y="140"/>
                    </a:lnTo>
                    <a:lnTo>
                      <a:pt x="280" y="137"/>
                    </a:lnTo>
                    <a:lnTo>
                      <a:pt x="278" y="133"/>
                    </a:lnTo>
                    <a:lnTo>
                      <a:pt x="275" y="132"/>
                    </a:lnTo>
                    <a:lnTo>
                      <a:pt x="275" y="130"/>
                    </a:lnTo>
                    <a:lnTo>
                      <a:pt x="273" y="127"/>
                    </a:lnTo>
                    <a:lnTo>
                      <a:pt x="273" y="126"/>
                    </a:lnTo>
                    <a:lnTo>
                      <a:pt x="272" y="124"/>
                    </a:lnTo>
                    <a:lnTo>
                      <a:pt x="270" y="121"/>
                    </a:lnTo>
                    <a:lnTo>
                      <a:pt x="272" y="121"/>
                    </a:lnTo>
                    <a:lnTo>
                      <a:pt x="272" y="121"/>
                    </a:lnTo>
                    <a:lnTo>
                      <a:pt x="273" y="121"/>
                    </a:lnTo>
                    <a:lnTo>
                      <a:pt x="273" y="121"/>
                    </a:lnTo>
                    <a:lnTo>
                      <a:pt x="273" y="116"/>
                    </a:lnTo>
                    <a:lnTo>
                      <a:pt x="273" y="115"/>
                    </a:lnTo>
                    <a:lnTo>
                      <a:pt x="272" y="113"/>
                    </a:lnTo>
                    <a:lnTo>
                      <a:pt x="270" y="113"/>
                    </a:lnTo>
                    <a:lnTo>
                      <a:pt x="270" y="111"/>
                    </a:lnTo>
                    <a:lnTo>
                      <a:pt x="270" y="110"/>
                    </a:lnTo>
                    <a:lnTo>
                      <a:pt x="270" y="108"/>
                    </a:lnTo>
                    <a:lnTo>
                      <a:pt x="272" y="110"/>
                    </a:lnTo>
                    <a:lnTo>
                      <a:pt x="273" y="110"/>
                    </a:lnTo>
                    <a:lnTo>
                      <a:pt x="273" y="110"/>
                    </a:lnTo>
                    <a:lnTo>
                      <a:pt x="270" y="107"/>
                    </a:lnTo>
                    <a:lnTo>
                      <a:pt x="266" y="104"/>
                    </a:lnTo>
                    <a:lnTo>
                      <a:pt x="263" y="101"/>
                    </a:lnTo>
                    <a:lnTo>
                      <a:pt x="259" y="99"/>
                    </a:lnTo>
                    <a:lnTo>
                      <a:pt x="258" y="97"/>
                    </a:lnTo>
                    <a:lnTo>
                      <a:pt x="256" y="94"/>
                    </a:lnTo>
                    <a:lnTo>
                      <a:pt x="258" y="93"/>
                    </a:lnTo>
                    <a:lnTo>
                      <a:pt x="256" y="93"/>
                    </a:lnTo>
                    <a:lnTo>
                      <a:pt x="255" y="93"/>
                    </a:lnTo>
                    <a:lnTo>
                      <a:pt x="252" y="91"/>
                    </a:lnTo>
                    <a:lnTo>
                      <a:pt x="250" y="90"/>
                    </a:lnTo>
                    <a:lnTo>
                      <a:pt x="250" y="88"/>
                    </a:lnTo>
                    <a:lnTo>
                      <a:pt x="250" y="88"/>
                    </a:lnTo>
                    <a:lnTo>
                      <a:pt x="250" y="85"/>
                    </a:lnTo>
                    <a:lnTo>
                      <a:pt x="248" y="85"/>
                    </a:lnTo>
                    <a:lnTo>
                      <a:pt x="247" y="80"/>
                    </a:lnTo>
                    <a:lnTo>
                      <a:pt x="245" y="77"/>
                    </a:lnTo>
                    <a:lnTo>
                      <a:pt x="244" y="74"/>
                    </a:lnTo>
                    <a:lnTo>
                      <a:pt x="244" y="72"/>
                    </a:lnTo>
                    <a:lnTo>
                      <a:pt x="241" y="72"/>
                    </a:lnTo>
                    <a:lnTo>
                      <a:pt x="236" y="72"/>
                    </a:lnTo>
                    <a:lnTo>
                      <a:pt x="233" y="72"/>
                    </a:lnTo>
                    <a:lnTo>
                      <a:pt x="230" y="72"/>
                    </a:lnTo>
                    <a:lnTo>
                      <a:pt x="228" y="71"/>
                    </a:lnTo>
                    <a:lnTo>
                      <a:pt x="228" y="69"/>
                    </a:lnTo>
                    <a:lnTo>
                      <a:pt x="227" y="66"/>
                    </a:lnTo>
                    <a:lnTo>
                      <a:pt x="225" y="63"/>
                    </a:lnTo>
                    <a:lnTo>
                      <a:pt x="220" y="63"/>
                    </a:lnTo>
                    <a:lnTo>
                      <a:pt x="217" y="63"/>
                    </a:lnTo>
                    <a:lnTo>
                      <a:pt x="212" y="61"/>
                    </a:lnTo>
                    <a:lnTo>
                      <a:pt x="209" y="61"/>
                    </a:lnTo>
                    <a:lnTo>
                      <a:pt x="206" y="63"/>
                    </a:lnTo>
                    <a:lnTo>
                      <a:pt x="200" y="61"/>
                    </a:lnTo>
                    <a:lnTo>
                      <a:pt x="192" y="61"/>
                    </a:lnTo>
                    <a:lnTo>
                      <a:pt x="184" y="60"/>
                    </a:lnTo>
                    <a:lnTo>
                      <a:pt x="178" y="60"/>
                    </a:lnTo>
                    <a:lnTo>
                      <a:pt x="178" y="60"/>
                    </a:lnTo>
                    <a:lnTo>
                      <a:pt x="177" y="60"/>
                    </a:lnTo>
                    <a:lnTo>
                      <a:pt x="172" y="55"/>
                    </a:lnTo>
                    <a:lnTo>
                      <a:pt x="167" y="50"/>
                    </a:lnTo>
                    <a:lnTo>
                      <a:pt x="161" y="46"/>
                    </a:lnTo>
                    <a:lnTo>
                      <a:pt x="155" y="41"/>
                    </a:lnTo>
                    <a:lnTo>
                      <a:pt x="150" y="36"/>
                    </a:lnTo>
                    <a:lnTo>
                      <a:pt x="145" y="33"/>
                    </a:lnTo>
                    <a:lnTo>
                      <a:pt x="141" y="29"/>
                    </a:lnTo>
                    <a:lnTo>
                      <a:pt x="136" y="25"/>
                    </a:lnTo>
                    <a:lnTo>
                      <a:pt x="131" y="22"/>
                    </a:lnTo>
                    <a:lnTo>
                      <a:pt x="126" y="19"/>
                    </a:lnTo>
                    <a:lnTo>
                      <a:pt x="123" y="16"/>
                    </a:lnTo>
                    <a:lnTo>
                      <a:pt x="117" y="13"/>
                    </a:lnTo>
                    <a:lnTo>
                      <a:pt x="112" y="11"/>
                    </a:lnTo>
                    <a:lnTo>
                      <a:pt x="109" y="8"/>
                    </a:lnTo>
                    <a:lnTo>
                      <a:pt x="109" y="8"/>
                    </a:lnTo>
                    <a:lnTo>
                      <a:pt x="103" y="5"/>
                    </a:lnTo>
                    <a:lnTo>
                      <a:pt x="101" y="4"/>
                    </a:lnTo>
                    <a:lnTo>
                      <a:pt x="101" y="4"/>
                    </a:lnTo>
                    <a:lnTo>
                      <a:pt x="95" y="4"/>
                    </a:lnTo>
                    <a:lnTo>
                      <a:pt x="89" y="2"/>
                    </a:lnTo>
                    <a:lnTo>
                      <a:pt x="84" y="0"/>
                    </a:lnTo>
                    <a:lnTo>
                      <a:pt x="84" y="0"/>
                    </a:lnTo>
                    <a:lnTo>
                      <a:pt x="80" y="0"/>
                    </a:lnTo>
                    <a:lnTo>
                      <a:pt x="78" y="2"/>
                    </a:lnTo>
                    <a:lnTo>
                      <a:pt x="76" y="4"/>
                    </a:lnTo>
                    <a:lnTo>
                      <a:pt x="73" y="4"/>
                    </a:lnTo>
                    <a:lnTo>
                      <a:pt x="67" y="5"/>
                    </a:lnTo>
                    <a:lnTo>
                      <a:pt x="65" y="7"/>
                    </a:lnTo>
                    <a:lnTo>
                      <a:pt x="64" y="7"/>
                    </a:lnTo>
                    <a:lnTo>
                      <a:pt x="62" y="7"/>
                    </a:lnTo>
                    <a:lnTo>
                      <a:pt x="56" y="8"/>
                    </a:lnTo>
                    <a:lnTo>
                      <a:pt x="51" y="10"/>
                    </a:lnTo>
                    <a:lnTo>
                      <a:pt x="47" y="11"/>
                    </a:lnTo>
                    <a:lnTo>
                      <a:pt x="45" y="11"/>
                    </a:lnTo>
                    <a:lnTo>
                      <a:pt x="42" y="13"/>
                    </a:lnTo>
                    <a:lnTo>
                      <a:pt x="42" y="13"/>
                    </a:lnTo>
                    <a:lnTo>
                      <a:pt x="44" y="16"/>
                    </a:lnTo>
                    <a:lnTo>
                      <a:pt x="48" y="21"/>
                    </a:lnTo>
                    <a:lnTo>
                      <a:pt x="51" y="22"/>
                    </a:lnTo>
                    <a:lnTo>
                      <a:pt x="55" y="27"/>
                    </a:lnTo>
                    <a:lnTo>
                      <a:pt x="56" y="30"/>
                    </a:lnTo>
                    <a:lnTo>
                      <a:pt x="59" y="33"/>
                    </a:lnTo>
                    <a:lnTo>
                      <a:pt x="59" y="33"/>
                    </a:lnTo>
                    <a:lnTo>
                      <a:pt x="59" y="33"/>
                    </a:lnTo>
                    <a:lnTo>
                      <a:pt x="58" y="35"/>
                    </a:lnTo>
                    <a:lnTo>
                      <a:pt x="55" y="36"/>
                    </a:lnTo>
                    <a:lnTo>
                      <a:pt x="53" y="36"/>
                    </a:lnTo>
                    <a:lnTo>
                      <a:pt x="53" y="36"/>
                    </a:lnTo>
                    <a:lnTo>
                      <a:pt x="53" y="38"/>
                    </a:lnTo>
                    <a:lnTo>
                      <a:pt x="53" y="38"/>
                    </a:lnTo>
                    <a:lnTo>
                      <a:pt x="53" y="39"/>
                    </a:lnTo>
                    <a:lnTo>
                      <a:pt x="51" y="41"/>
                    </a:lnTo>
                    <a:lnTo>
                      <a:pt x="51" y="41"/>
                    </a:lnTo>
                    <a:lnTo>
                      <a:pt x="51" y="41"/>
                    </a:lnTo>
                    <a:lnTo>
                      <a:pt x="51" y="43"/>
                    </a:lnTo>
                    <a:lnTo>
                      <a:pt x="50" y="44"/>
                    </a:lnTo>
                    <a:lnTo>
                      <a:pt x="50" y="44"/>
                    </a:lnTo>
                    <a:lnTo>
                      <a:pt x="50" y="44"/>
                    </a:lnTo>
                    <a:lnTo>
                      <a:pt x="45" y="44"/>
                    </a:lnTo>
                    <a:lnTo>
                      <a:pt x="44" y="46"/>
                    </a:lnTo>
                    <a:lnTo>
                      <a:pt x="44" y="46"/>
                    </a:lnTo>
                    <a:lnTo>
                      <a:pt x="42" y="46"/>
                    </a:lnTo>
                    <a:lnTo>
                      <a:pt x="40" y="46"/>
                    </a:lnTo>
                    <a:lnTo>
                      <a:pt x="37" y="46"/>
                    </a:lnTo>
                    <a:lnTo>
                      <a:pt x="37" y="47"/>
                    </a:lnTo>
                    <a:lnTo>
                      <a:pt x="36" y="50"/>
                    </a:lnTo>
                    <a:lnTo>
                      <a:pt x="33" y="54"/>
                    </a:lnTo>
                    <a:lnTo>
                      <a:pt x="33" y="54"/>
                    </a:lnTo>
                    <a:lnTo>
                      <a:pt x="31" y="55"/>
                    </a:lnTo>
                    <a:lnTo>
                      <a:pt x="30" y="57"/>
                    </a:lnTo>
                    <a:lnTo>
                      <a:pt x="26" y="60"/>
                    </a:lnTo>
                    <a:lnTo>
                      <a:pt x="25" y="60"/>
                    </a:lnTo>
                    <a:lnTo>
                      <a:pt x="22" y="60"/>
                    </a:lnTo>
                    <a:lnTo>
                      <a:pt x="17" y="58"/>
                    </a:lnTo>
                    <a:lnTo>
                      <a:pt x="14" y="58"/>
                    </a:lnTo>
                    <a:lnTo>
                      <a:pt x="11" y="57"/>
                    </a:lnTo>
                    <a:lnTo>
                      <a:pt x="6" y="57"/>
                    </a:lnTo>
                    <a:lnTo>
                      <a:pt x="3" y="69"/>
                    </a:lnTo>
                    <a:lnTo>
                      <a:pt x="3" y="74"/>
                    </a:lnTo>
                    <a:lnTo>
                      <a:pt x="1" y="79"/>
                    </a:lnTo>
                    <a:lnTo>
                      <a:pt x="0" y="80"/>
                    </a:lnTo>
                    <a:lnTo>
                      <a:pt x="0" y="82"/>
                    </a:lnTo>
                    <a:lnTo>
                      <a:pt x="3" y="80"/>
                    </a:lnTo>
                    <a:lnTo>
                      <a:pt x="5" y="82"/>
                    </a:lnTo>
                    <a:lnTo>
                      <a:pt x="9" y="82"/>
                    </a:lnTo>
                    <a:lnTo>
                      <a:pt x="11" y="83"/>
                    </a:lnTo>
                    <a:lnTo>
                      <a:pt x="14" y="88"/>
                    </a:lnTo>
                    <a:lnTo>
                      <a:pt x="17" y="94"/>
                    </a:lnTo>
                    <a:lnTo>
                      <a:pt x="20" y="97"/>
                    </a:lnTo>
                    <a:lnTo>
                      <a:pt x="22" y="102"/>
                    </a:lnTo>
                    <a:lnTo>
                      <a:pt x="25" y="105"/>
                    </a:lnTo>
                    <a:lnTo>
                      <a:pt x="26" y="108"/>
                    </a:lnTo>
                    <a:lnTo>
                      <a:pt x="30" y="111"/>
                    </a:lnTo>
                    <a:lnTo>
                      <a:pt x="34" y="121"/>
                    </a:lnTo>
                    <a:lnTo>
                      <a:pt x="36" y="122"/>
                    </a:lnTo>
                    <a:lnTo>
                      <a:pt x="37" y="124"/>
                    </a:lnTo>
                    <a:lnTo>
                      <a:pt x="37" y="127"/>
                    </a:lnTo>
                    <a:lnTo>
                      <a:pt x="40" y="129"/>
                    </a:lnTo>
                    <a:lnTo>
                      <a:pt x="40" y="130"/>
                    </a:lnTo>
                    <a:lnTo>
                      <a:pt x="45" y="137"/>
                    </a:lnTo>
                    <a:lnTo>
                      <a:pt x="47" y="140"/>
                    </a:lnTo>
                    <a:lnTo>
                      <a:pt x="47" y="141"/>
                    </a:lnTo>
                    <a:lnTo>
                      <a:pt x="47" y="143"/>
                    </a:lnTo>
                    <a:lnTo>
                      <a:pt x="47" y="144"/>
                    </a:lnTo>
                    <a:lnTo>
                      <a:pt x="45" y="146"/>
                    </a:lnTo>
                    <a:lnTo>
                      <a:pt x="48" y="149"/>
                    </a:lnTo>
                    <a:lnTo>
                      <a:pt x="50" y="152"/>
                    </a:lnTo>
                    <a:lnTo>
                      <a:pt x="51" y="155"/>
                    </a:lnTo>
                    <a:lnTo>
                      <a:pt x="53" y="155"/>
                    </a:lnTo>
                    <a:lnTo>
                      <a:pt x="55" y="155"/>
                    </a:lnTo>
                    <a:lnTo>
                      <a:pt x="56" y="157"/>
                    </a:lnTo>
                    <a:lnTo>
                      <a:pt x="58" y="158"/>
                    </a:lnTo>
                    <a:lnTo>
                      <a:pt x="59" y="158"/>
                    </a:lnTo>
                    <a:lnTo>
                      <a:pt x="61" y="160"/>
                    </a:lnTo>
                    <a:lnTo>
                      <a:pt x="65" y="163"/>
                    </a:lnTo>
                    <a:lnTo>
                      <a:pt x="69" y="166"/>
                    </a:lnTo>
                    <a:lnTo>
                      <a:pt x="69" y="169"/>
                    </a:lnTo>
                    <a:lnTo>
                      <a:pt x="72" y="174"/>
                    </a:lnTo>
                    <a:lnTo>
                      <a:pt x="73" y="177"/>
                    </a:lnTo>
                    <a:lnTo>
                      <a:pt x="73" y="179"/>
                    </a:lnTo>
                    <a:lnTo>
                      <a:pt x="75" y="180"/>
                    </a:lnTo>
                    <a:lnTo>
                      <a:pt x="76" y="182"/>
                    </a:lnTo>
                    <a:lnTo>
                      <a:pt x="75" y="182"/>
                    </a:lnTo>
                    <a:lnTo>
                      <a:pt x="76" y="183"/>
                    </a:lnTo>
                    <a:lnTo>
                      <a:pt x="78" y="185"/>
                    </a:lnTo>
                    <a:lnTo>
                      <a:pt x="78" y="187"/>
                    </a:lnTo>
                    <a:lnTo>
                      <a:pt x="78" y="188"/>
                    </a:lnTo>
                    <a:lnTo>
                      <a:pt x="80" y="191"/>
                    </a:lnTo>
                    <a:lnTo>
                      <a:pt x="78" y="194"/>
                    </a:lnTo>
                    <a:lnTo>
                      <a:pt x="78" y="196"/>
                    </a:lnTo>
                    <a:lnTo>
                      <a:pt x="78" y="199"/>
                    </a:lnTo>
                    <a:lnTo>
                      <a:pt x="76" y="201"/>
                    </a:lnTo>
                    <a:lnTo>
                      <a:pt x="78" y="204"/>
                    </a:lnTo>
                    <a:lnTo>
                      <a:pt x="80" y="205"/>
                    </a:lnTo>
                    <a:lnTo>
                      <a:pt x="80" y="208"/>
                    </a:lnTo>
                    <a:lnTo>
                      <a:pt x="80" y="210"/>
                    </a:lnTo>
                    <a:lnTo>
                      <a:pt x="80" y="212"/>
                    </a:lnTo>
                    <a:lnTo>
                      <a:pt x="83" y="218"/>
                    </a:lnTo>
                    <a:lnTo>
                      <a:pt x="86" y="223"/>
                    </a:lnTo>
                    <a:lnTo>
                      <a:pt x="87" y="227"/>
                    </a:lnTo>
                    <a:lnTo>
                      <a:pt x="91" y="229"/>
                    </a:lnTo>
                    <a:lnTo>
                      <a:pt x="94" y="230"/>
                    </a:lnTo>
                    <a:lnTo>
                      <a:pt x="97" y="232"/>
                    </a:lnTo>
                    <a:lnTo>
                      <a:pt x="103" y="237"/>
                    </a:lnTo>
                    <a:lnTo>
                      <a:pt x="106" y="240"/>
                    </a:lnTo>
                    <a:lnTo>
                      <a:pt x="108" y="241"/>
                    </a:lnTo>
                    <a:lnTo>
                      <a:pt x="109" y="241"/>
                    </a:lnTo>
                    <a:lnTo>
                      <a:pt x="109" y="243"/>
                    </a:lnTo>
                    <a:lnTo>
                      <a:pt x="109" y="244"/>
                    </a:lnTo>
                    <a:lnTo>
                      <a:pt x="111" y="246"/>
                    </a:lnTo>
                    <a:lnTo>
                      <a:pt x="114" y="254"/>
                    </a:lnTo>
                    <a:lnTo>
                      <a:pt x="116" y="255"/>
                    </a:lnTo>
                    <a:lnTo>
                      <a:pt x="116" y="257"/>
                    </a:lnTo>
                    <a:lnTo>
                      <a:pt x="117" y="260"/>
                    </a:lnTo>
                    <a:lnTo>
                      <a:pt x="117" y="262"/>
                    </a:lnTo>
                    <a:lnTo>
                      <a:pt x="120" y="265"/>
                    </a:lnTo>
                    <a:lnTo>
                      <a:pt x="122" y="270"/>
                    </a:lnTo>
                    <a:lnTo>
                      <a:pt x="123" y="273"/>
                    </a:lnTo>
                    <a:lnTo>
                      <a:pt x="125" y="276"/>
                    </a:lnTo>
                    <a:lnTo>
                      <a:pt x="131" y="279"/>
                    </a:lnTo>
                    <a:lnTo>
                      <a:pt x="136" y="284"/>
                    </a:lnTo>
                    <a:lnTo>
                      <a:pt x="136" y="287"/>
                    </a:lnTo>
                    <a:lnTo>
                      <a:pt x="137" y="290"/>
                    </a:lnTo>
                    <a:lnTo>
                      <a:pt x="139" y="291"/>
                    </a:lnTo>
                    <a:lnTo>
                      <a:pt x="139" y="293"/>
                    </a:lnTo>
                    <a:lnTo>
                      <a:pt x="139" y="295"/>
                    </a:lnTo>
                    <a:lnTo>
                      <a:pt x="142" y="296"/>
                    </a:lnTo>
                    <a:lnTo>
                      <a:pt x="142" y="296"/>
                    </a:lnTo>
                    <a:lnTo>
                      <a:pt x="142" y="298"/>
                    </a:lnTo>
                    <a:lnTo>
                      <a:pt x="142" y="299"/>
                    </a:lnTo>
                    <a:lnTo>
                      <a:pt x="144" y="302"/>
                    </a:lnTo>
                    <a:lnTo>
                      <a:pt x="144" y="304"/>
                    </a:lnTo>
                    <a:lnTo>
                      <a:pt x="144" y="304"/>
                    </a:lnTo>
                    <a:lnTo>
                      <a:pt x="147" y="301"/>
                    </a:lnTo>
                    <a:lnTo>
                      <a:pt x="148" y="299"/>
                    </a:lnTo>
                    <a:lnTo>
                      <a:pt x="148" y="299"/>
                    </a:lnTo>
                    <a:lnTo>
                      <a:pt x="150" y="298"/>
                    </a:lnTo>
                    <a:lnTo>
                      <a:pt x="150" y="298"/>
                    </a:lnTo>
                    <a:lnTo>
                      <a:pt x="150" y="298"/>
                    </a:lnTo>
                    <a:lnTo>
                      <a:pt x="151" y="296"/>
                    </a:lnTo>
                    <a:lnTo>
                      <a:pt x="151" y="295"/>
                    </a:lnTo>
                    <a:lnTo>
                      <a:pt x="150" y="295"/>
                    </a:lnTo>
                    <a:lnTo>
                      <a:pt x="150" y="293"/>
                    </a:lnTo>
                    <a:lnTo>
                      <a:pt x="150" y="291"/>
                    </a:lnTo>
                    <a:lnTo>
                      <a:pt x="150" y="290"/>
                    </a:lnTo>
                    <a:lnTo>
                      <a:pt x="150" y="288"/>
                    </a:lnTo>
                    <a:lnTo>
                      <a:pt x="150" y="288"/>
                    </a:lnTo>
                    <a:lnTo>
                      <a:pt x="150" y="288"/>
                    </a:lnTo>
                    <a:lnTo>
                      <a:pt x="151" y="287"/>
                    </a:lnTo>
                    <a:lnTo>
                      <a:pt x="151" y="287"/>
                    </a:lnTo>
                    <a:lnTo>
                      <a:pt x="151" y="285"/>
                    </a:lnTo>
                    <a:lnTo>
                      <a:pt x="151" y="285"/>
                    </a:lnTo>
                    <a:lnTo>
                      <a:pt x="151" y="285"/>
                    </a:lnTo>
                    <a:lnTo>
                      <a:pt x="153" y="284"/>
                    </a:lnTo>
                    <a:lnTo>
                      <a:pt x="153" y="284"/>
                    </a:lnTo>
                    <a:lnTo>
                      <a:pt x="155" y="282"/>
                    </a:lnTo>
                    <a:lnTo>
                      <a:pt x="156" y="282"/>
                    </a:lnTo>
                    <a:lnTo>
                      <a:pt x="158" y="282"/>
                    </a:lnTo>
                    <a:lnTo>
                      <a:pt x="158" y="284"/>
                    </a:lnTo>
                    <a:lnTo>
                      <a:pt x="159" y="284"/>
                    </a:lnTo>
                    <a:lnTo>
                      <a:pt x="159" y="285"/>
                    </a:lnTo>
                    <a:lnTo>
                      <a:pt x="162" y="285"/>
                    </a:lnTo>
                    <a:lnTo>
                      <a:pt x="162" y="285"/>
                    </a:lnTo>
                    <a:lnTo>
                      <a:pt x="162" y="285"/>
                    </a:lnTo>
                    <a:lnTo>
                      <a:pt x="164" y="285"/>
                    </a:lnTo>
                    <a:lnTo>
                      <a:pt x="164" y="285"/>
                    </a:lnTo>
                    <a:lnTo>
                      <a:pt x="164" y="285"/>
                    </a:lnTo>
                    <a:lnTo>
                      <a:pt x="166" y="285"/>
                    </a:lnTo>
                    <a:lnTo>
                      <a:pt x="167" y="285"/>
                    </a:lnTo>
                    <a:lnTo>
                      <a:pt x="167" y="285"/>
                    </a:lnTo>
                    <a:lnTo>
                      <a:pt x="167" y="285"/>
                    </a:lnTo>
                    <a:lnTo>
                      <a:pt x="169" y="285"/>
                    </a:lnTo>
                    <a:lnTo>
                      <a:pt x="172" y="284"/>
                    </a:lnTo>
                    <a:lnTo>
                      <a:pt x="175" y="285"/>
                    </a:lnTo>
                    <a:lnTo>
                      <a:pt x="178" y="284"/>
                    </a:lnTo>
                    <a:lnTo>
                      <a:pt x="181" y="284"/>
                    </a:lnTo>
                    <a:lnTo>
                      <a:pt x="186" y="284"/>
                    </a:lnTo>
                    <a:lnTo>
                      <a:pt x="186" y="284"/>
                    </a:lnTo>
                    <a:lnTo>
                      <a:pt x="186" y="284"/>
                    </a:lnTo>
                    <a:lnTo>
                      <a:pt x="187" y="285"/>
                    </a:lnTo>
                    <a:lnTo>
                      <a:pt x="191" y="287"/>
                    </a:lnTo>
                    <a:lnTo>
                      <a:pt x="192" y="287"/>
                    </a:lnTo>
                    <a:lnTo>
                      <a:pt x="197" y="287"/>
                    </a:lnTo>
                    <a:lnTo>
                      <a:pt x="197" y="287"/>
                    </a:lnTo>
                    <a:lnTo>
                      <a:pt x="202" y="287"/>
                    </a:lnTo>
                    <a:lnTo>
                      <a:pt x="206" y="288"/>
                    </a:lnTo>
                    <a:lnTo>
                      <a:pt x="206" y="288"/>
                    </a:lnTo>
                    <a:lnTo>
                      <a:pt x="209" y="287"/>
                    </a:lnTo>
                    <a:lnTo>
                      <a:pt x="212" y="287"/>
                    </a:lnTo>
                    <a:lnTo>
                      <a:pt x="212" y="287"/>
                    </a:lnTo>
                    <a:lnTo>
                      <a:pt x="214" y="288"/>
                    </a:lnTo>
                    <a:lnTo>
                      <a:pt x="216" y="290"/>
                    </a:lnTo>
                    <a:lnTo>
                      <a:pt x="217" y="293"/>
                    </a:lnTo>
                    <a:lnTo>
                      <a:pt x="217" y="293"/>
                    </a:lnTo>
                    <a:lnTo>
                      <a:pt x="220" y="293"/>
                    </a:lnTo>
                    <a:lnTo>
                      <a:pt x="222" y="291"/>
                    </a:lnTo>
                    <a:lnTo>
                      <a:pt x="225" y="291"/>
                    </a:lnTo>
                    <a:lnTo>
                      <a:pt x="225" y="290"/>
                    </a:lnTo>
                    <a:lnTo>
                      <a:pt x="227" y="287"/>
                    </a:lnTo>
                    <a:lnTo>
                      <a:pt x="228" y="284"/>
                    </a:lnTo>
                    <a:lnTo>
                      <a:pt x="228" y="284"/>
                    </a:lnTo>
                    <a:lnTo>
                      <a:pt x="230" y="280"/>
                    </a:lnTo>
                    <a:lnTo>
                      <a:pt x="231" y="279"/>
                    </a:lnTo>
                    <a:lnTo>
                      <a:pt x="231" y="279"/>
                    </a:lnTo>
                    <a:lnTo>
                      <a:pt x="234" y="276"/>
                    </a:lnTo>
                    <a:lnTo>
                      <a:pt x="236" y="274"/>
                    </a:lnTo>
                    <a:lnTo>
                      <a:pt x="239" y="271"/>
                    </a:lnTo>
                    <a:lnTo>
                      <a:pt x="241" y="270"/>
                    </a:lnTo>
                    <a:lnTo>
                      <a:pt x="245" y="266"/>
                    </a:lnTo>
                    <a:lnTo>
                      <a:pt x="250" y="265"/>
                    </a:lnTo>
                    <a:lnTo>
                      <a:pt x="253" y="263"/>
                    </a:lnTo>
                    <a:lnTo>
                      <a:pt x="255" y="263"/>
                    </a:lnTo>
                    <a:lnTo>
                      <a:pt x="256" y="262"/>
                    </a:lnTo>
                    <a:lnTo>
                      <a:pt x="261" y="262"/>
                    </a:lnTo>
                    <a:lnTo>
                      <a:pt x="266" y="260"/>
                    </a:lnTo>
                    <a:lnTo>
                      <a:pt x="272" y="260"/>
                    </a:lnTo>
                    <a:lnTo>
                      <a:pt x="277" y="259"/>
                    </a:lnTo>
                    <a:lnTo>
                      <a:pt x="277" y="259"/>
                    </a:lnTo>
                    <a:lnTo>
                      <a:pt x="283" y="259"/>
                    </a:lnTo>
                    <a:lnTo>
                      <a:pt x="283" y="259"/>
                    </a:lnTo>
                    <a:lnTo>
                      <a:pt x="288" y="257"/>
                    </a:lnTo>
                    <a:lnTo>
                      <a:pt x="292" y="257"/>
                    </a:lnTo>
                    <a:lnTo>
                      <a:pt x="297" y="257"/>
                    </a:lnTo>
                    <a:lnTo>
                      <a:pt x="297" y="257"/>
                    </a:lnTo>
                    <a:lnTo>
                      <a:pt x="302" y="255"/>
                    </a:lnTo>
                    <a:lnTo>
                      <a:pt x="302" y="255"/>
                    </a:lnTo>
                    <a:lnTo>
                      <a:pt x="305" y="255"/>
                    </a:lnTo>
                    <a:lnTo>
                      <a:pt x="305" y="255"/>
                    </a:lnTo>
                    <a:lnTo>
                      <a:pt x="305" y="255"/>
                    </a:lnTo>
                    <a:lnTo>
                      <a:pt x="308" y="254"/>
                    </a:lnTo>
                    <a:lnTo>
                      <a:pt x="311" y="254"/>
                    </a:lnTo>
                    <a:lnTo>
                      <a:pt x="314" y="252"/>
                    </a:lnTo>
                    <a:lnTo>
                      <a:pt x="317" y="251"/>
                    </a:lnTo>
                    <a:lnTo>
                      <a:pt x="320" y="251"/>
                    </a:lnTo>
                    <a:lnTo>
                      <a:pt x="320" y="251"/>
                    </a:lnTo>
                    <a:lnTo>
                      <a:pt x="323" y="249"/>
                    </a:lnTo>
                    <a:lnTo>
                      <a:pt x="325" y="248"/>
                    </a:lnTo>
                    <a:lnTo>
                      <a:pt x="328" y="248"/>
                    </a:lnTo>
                    <a:lnTo>
                      <a:pt x="331" y="246"/>
                    </a:lnTo>
                    <a:lnTo>
                      <a:pt x="331" y="246"/>
                    </a:lnTo>
                    <a:lnTo>
                      <a:pt x="334" y="244"/>
                    </a:lnTo>
                    <a:lnTo>
                      <a:pt x="338" y="244"/>
                    </a:lnTo>
                    <a:lnTo>
                      <a:pt x="341" y="243"/>
                    </a:lnTo>
                    <a:lnTo>
                      <a:pt x="344" y="241"/>
                    </a:lnTo>
                    <a:lnTo>
                      <a:pt x="347" y="240"/>
                    </a:lnTo>
                    <a:lnTo>
                      <a:pt x="347" y="240"/>
                    </a:lnTo>
                    <a:lnTo>
                      <a:pt x="350" y="240"/>
                    </a:lnTo>
                    <a:lnTo>
                      <a:pt x="353" y="238"/>
                    </a:lnTo>
                    <a:lnTo>
                      <a:pt x="356" y="237"/>
                    </a:lnTo>
                    <a:lnTo>
                      <a:pt x="358" y="237"/>
                    </a:lnTo>
                    <a:lnTo>
                      <a:pt x="358" y="234"/>
                    </a:lnTo>
                    <a:lnTo>
                      <a:pt x="358" y="234"/>
                    </a:lnTo>
                    <a:lnTo>
                      <a:pt x="359" y="232"/>
                    </a:lnTo>
                    <a:lnTo>
                      <a:pt x="359" y="232"/>
                    </a:lnTo>
                    <a:lnTo>
                      <a:pt x="359" y="230"/>
                    </a:lnTo>
                    <a:lnTo>
                      <a:pt x="361" y="227"/>
                    </a:lnTo>
                    <a:lnTo>
                      <a:pt x="361" y="226"/>
                    </a:lnTo>
                    <a:lnTo>
                      <a:pt x="361" y="224"/>
                    </a:lnTo>
                    <a:lnTo>
                      <a:pt x="363" y="223"/>
                    </a:lnTo>
                    <a:lnTo>
                      <a:pt x="363" y="221"/>
                    </a:lnTo>
                    <a:lnTo>
                      <a:pt x="363" y="219"/>
                    </a:lnTo>
                    <a:lnTo>
                      <a:pt x="363" y="219"/>
                    </a:lnTo>
                    <a:lnTo>
                      <a:pt x="364" y="218"/>
                    </a:lnTo>
                    <a:lnTo>
                      <a:pt x="364" y="216"/>
                    </a:lnTo>
                    <a:lnTo>
                      <a:pt x="364" y="216"/>
                    </a:lnTo>
                    <a:lnTo>
                      <a:pt x="366" y="213"/>
                    </a:lnTo>
                    <a:lnTo>
                      <a:pt x="366" y="213"/>
                    </a:lnTo>
                    <a:lnTo>
                      <a:pt x="366" y="212"/>
                    </a:lnTo>
                    <a:lnTo>
                      <a:pt x="366" y="210"/>
                    </a:lnTo>
                    <a:lnTo>
                      <a:pt x="367" y="207"/>
                    </a:lnTo>
                    <a:lnTo>
                      <a:pt x="367" y="205"/>
                    </a:lnTo>
                    <a:lnTo>
                      <a:pt x="369" y="204"/>
                    </a:lnTo>
                    <a:lnTo>
                      <a:pt x="369" y="201"/>
                    </a:lnTo>
                    <a:lnTo>
                      <a:pt x="369" y="199"/>
                    </a:lnTo>
                    <a:lnTo>
                      <a:pt x="369" y="198"/>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0" name="Freeform 177">
                <a:extLst>
                  <a:ext uri="{FF2B5EF4-FFF2-40B4-BE49-F238E27FC236}">
                    <a16:creationId xmlns:a16="http://schemas.microsoft.com/office/drawing/2014/main" id="{9EEE8410-9AF5-5198-AAAC-B30A1EF33F94}"/>
                  </a:ext>
                </a:extLst>
              </p:cNvPr>
              <p:cNvSpPr>
                <a:spLocks noEditPoints="1"/>
              </p:cNvSpPr>
              <p:nvPr/>
            </p:nvSpPr>
            <p:spPr bwMode="gray">
              <a:xfrm>
                <a:off x="5407" y="1693"/>
                <a:ext cx="198" cy="93"/>
              </a:xfrm>
              <a:custGeom>
                <a:avLst/>
                <a:gdLst>
                  <a:gd name="T0" fmla="*/ 197 w 198"/>
                  <a:gd name="T1" fmla="*/ 89 h 93"/>
                  <a:gd name="T2" fmla="*/ 76 w 198"/>
                  <a:gd name="T3" fmla="*/ 85 h 93"/>
                  <a:gd name="T4" fmla="*/ 79 w 198"/>
                  <a:gd name="T5" fmla="*/ 88 h 93"/>
                  <a:gd name="T6" fmla="*/ 86 w 198"/>
                  <a:gd name="T7" fmla="*/ 91 h 93"/>
                  <a:gd name="T8" fmla="*/ 179 w 198"/>
                  <a:gd name="T9" fmla="*/ 72 h 93"/>
                  <a:gd name="T10" fmla="*/ 179 w 198"/>
                  <a:gd name="T11" fmla="*/ 74 h 93"/>
                  <a:gd name="T12" fmla="*/ 184 w 198"/>
                  <a:gd name="T13" fmla="*/ 72 h 93"/>
                  <a:gd name="T14" fmla="*/ 109 w 198"/>
                  <a:gd name="T15" fmla="*/ 68 h 93"/>
                  <a:gd name="T16" fmla="*/ 100 w 198"/>
                  <a:gd name="T17" fmla="*/ 63 h 93"/>
                  <a:gd name="T18" fmla="*/ 103 w 198"/>
                  <a:gd name="T19" fmla="*/ 68 h 93"/>
                  <a:gd name="T20" fmla="*/ 114 w 198"/>
                  <a:gd name="T21" fmla="*/ 74 h 93"/>
                  <a:gd name="T22" fmla="*/ 101 w 198"/>
                  <a:gd name="T23" fmla="*/ 49 h 93"/>
                  <a:gd name="T24" fmla="*/ 101 w 198"/>
                  <a:gd name="T25" fmla="*/ 55 h 93"/>
                  <a:gd name="T26" fmla="*/ 89 w 198"/>
                  <a:gd name="T27" fmla="*/ 55 h 93"/>
                  <a:gd name="T28" fmla="*/ 76 w 198"/>
                  <a:gd name="T29" fmla="*/ 49 h 93"/>
                  <a:gd name="T30" fmla="*/ 70 w 198"/>
                  <a:gd name="T31" fmla="*/ 50 h 93"/>
                  <a:gd name="T32" fmla="*/ 83 w 198"/>
                  <a:gd name="T33" fmla="*/ 57 h 93"/>
                  <a:gd name="T34" fmla="*/ 90 w 198"/>
                  <a:gd name="T35" fmla="*/ 55 h 93"/>
                  <a:gd name="T36" fmla="*/ 78 w 198"/>
                  <a:gd name="T37" fmla="*/ 42 h 93"/>
                  <a:gd name="T38" fmla="*/ 83 w 198"/>
                  <a:gd name="T39" fmla="*/ 46 h 93"/>
                  <a:gd name="T40" fmla="*/ 61 w 198"/>
                  <a:gd name="T41" fmla="*/ 41 h 93"/>
                  <a:gd name="T42" fmla="*/ 62 w 198"/>
                  <a:gd name="T43" fmla="*/ 44 h 93"/>
                  <a:gd name="T44" fmla="*/ 31 w 198"/>
                  <a:gd name="T45" fmla="*/ 36 h 93"/>
                  <a:gd name="T46" fmla="*/ 45 w 198"/>
                  <a:gd name="T47" fmla="*/ 38 h 93"/>
                  <a:gd name="T48" fmla="*/ 45 w 198"/>
                  <a:gd name="T49" fmla="*/ 38 h 93"/>
                  <a:gd name="T50" fmla="*/ 40 w 198"/>
                  <a:gd name="T51" fmla="*/ 33 h 93"/>
                  <a:gd name="T52" fmla="*/ 42 w 198"/>
                  <a:gd name="T53" fmla="*/ 38 h 93"/>
                  <a:gd name="T54" fmla="*/ 31 w 198"/>
                  <a:gd name="T55" fmla="*/ 33 h 93"/>
                  <a:gd name="T56" fmla="*/ 31 w 198"/>
                  <a:gd name="T57" fmla="*/ 36 h 93"/>
                  <a:gd name="T58" fmla="*/ 68 w 198"/>
                  <a:gd name="T59" fmla="*/ 30 h 93"/>
                  <a:gd name="T60" fmla="*/ 70 w 198"/>
                  <a:gd name="T61" fmla="*/ 32 h 93"/>
                  <a:gd name="T62" fmla="*/ 97 w 198"/>
                  <a:gd name="T63" fmla="*/ 41 h 93"/>
                  <a:gd name="T64" fmla="*/ 93 w 198"/>
                  <a:gd name="T65" fmla="*/ 35 h 93"/>
                  <a:gd name="T66" fmla="*/ 87 w 198"/>
                  <a:gd name="T67" fmla="*/ 30 h 93"/>
                  <a:gd name="T68" fmla="*/ 95 w 198"/>
                  <a:gd name="T69" fmla="*/ 47 h 93"/>
                  <a:gd name="T70" fmla="*/ 39 w 198"/>
                  <a:gd name="T71" fmla="*/ 30 h 93"/>
                  <a:gd name="T72" fmla="*/ 31 w 198"/>
                  <a:gd name="T73" fmla="*/ 24 h 93"/>
                  <a:gd name="T74" fmla="*/ 29 w 198"/>
                  <a:gd name="T75" fmla="*/ 30 h 93"/>
                  <a:gd name="T76" fmla="*/ 36 w 198"/>
                  <a:gd name="T77" fmla="*/ 33 h 93"/>
                  <a:gd name="T78" fmla="*/ 39 w 198"/>
                  <a:gd name="T79" fmla="*/ 30 h 93"/>
                  <a:gd name="T80" fmla="*/ 17 w 198"/>
                  <a:gd name="T81" fmla="*/ 27 h 93"/>
                  <a:gd name="T82" fmla="*/ 25 w 198"/>
                  <a:gd name="T83" fmla="*/ 22 h 93"/>
                  <a:gd name="T84" fmla="*/ 26 w 198"/>
                  <a:gd name="T85" fmla="*/ 25 h 93"/>
                  <a:gd name="T86" fmla="*/ 15 w 198"/>
                  <a:gd name="T87" fmla="*/ 17 h 93"/>
                  <a:gd name="T88" fmla="*/ 18 w 198"/>
                  <a:gd name="T89" fmla="*/ 22 h 93"/>
                  <a:gd name="T90" fmla="*/ 73 w 198"/>
                  <a:gd name="T91" fmla="*/ 32 h 93"/>
                  <a:gd name="T92" fmla="*/ 61 w 198"/>
                  <a:gd name="T93" fmla="*/ 22 h 93"/>
                  <a:gd name="T94" fmla="*/ 50 w 198"/>
                  <a:gd name="T95" fmla="*/ 16 h 93"/>
                  <a:gd name="T96" fmla="*/ 56 w 198"/>
                  <a:gd name="T97" fmla="*/ 24 h 93"/>
                  <a:gd name="T98" fmla="*/ 70 w 198"/>
                  <a:gd name="T99" fmla="*/ 30 h 93"/>
                  <a:gd name="T100" fmla="*/ 1 w 198"/>
                  <a:gd name="T101" fmla="*/ 7 h 93"/>
                  <a:gd name="T102" fmla="*/ 32 w 198"/>
                  <a:gd name="T103" fmla="*/ 13 h 93"/>
                  <a:gd name="T104" fmla="*/ 25 w 198"/>
                  <a:gd name="T105" fmla="*/ 5 h 93"/>
                  <a:gd name="T106" fmla="*/ 14 w 198"/>
                  <a:gd name="T107" fmla="*/ 2 h 93"/>
                  <a:gd name="T108" fmla="*/ 29 w 198"/>
                  <a:gd name="T109" fmla="*/ 1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8" h="93">
                    <a:moveTo>
                      <a:pt x="197" y="88"/>
                    </a:moveTo>
                    <a:lnTo>
                      <a:pt x="197" y="88"/>
                    </a:lnTo>
                    <a:lnTo>
                      <a:pt x="195" y="88"/>
                    </a:lnTo>
                    <a:lnTo>
                      <a:pt x="195" y="88"/>
                    </a:lnTo>
                    <a:lnTo>
                      <a:pt x="195" y="89"/>
                    </a:lnTo>
                    <a:lnTo>
                      <a:pt x="197" y="89"/>
                    </a:lnTo>
                    <a:lnTo>
                      <a:pt x="198" y="89"/>
                    </a:lnTo>
                    <a:lnTo>
                      <a:pt x="197" y="88"/>
                    </a:lnTo>
                    <a:close/>
                    <a:moveTo>
                      <a:pt x="86" y="91"/>
                    </a:moveTo>
                    <a:lnTo>
                      <a:pt x="84" y="89"/>
                    </a:lnTo>
                    <a:lnTo>
                      <a:pt x="78" y="86"/>
                    </a:lnTo>
                    <a:lnTo>
                      <a:pt x="76" y="85"/>
                    </a:lnTo>
                    <a:lnTo>
                      <a:pt x="76" y="86"/>
                    </a:lnTo>
                    <a:lnTo>
                      <a:pt x="76" y="86"/>
                    </a:lnTo>
                    <a:lnTo>
                      <a:pt x="76" y="88"/>
                    </a:lnTo>
                    <a:lnTo>
                      <a:pt x="78" y="88"/>
                    </a:lnTo>
                    <a:lnTo>
                      <a:pt x="78" y="88"/>
                    </a:lnTo>
                    <a:lnTo>
                      <a:pt x="79" y="88"/>
                    </a:lnTo>
                    <a:lnTo>
                      <a:pt x="81" y="89"/>
                    </a:lnTo>
                    <a:lnTo>
                      <a:pt x="83" y="89"/>
                    </a:lnTo>
                    <a:lnTo>
                      <a:pt x="83" y="91"/>
                    </a:lnTo>
                    <a:lnTo>
                      <a:pt x="84" y="91"/>
                    </a:lnTo>
                    <a:lnTo>
                      <a:pt x="86" y="93"/>
                    </a:lnTo>
                    <a:lnTo>
                      <a:pt x="86" y="91"/>
                    </a:lnTo>
                    <a:lnTo>
                      <a:pt x="86" y="91"/>
                    </a:lnTo>
                    <a:close/>
                    <a:moveTo>
                      <a:pt x="184" y="72"/>
                    </a:moveTo>
                    <a:lnTo>
                      <a:pt x="184" y="71"/>
                    </a:lnTo>
                    <a:lnTo>
                      <a:pt x="183" y="71"/>
                    </a:lnTo>
                    <a:lnTo>
                      <a:pt x="179" y="71"/>
                    </a:lnTo>
                    <a:lnTo>
                      <a:pt x="179" y="72"/>
                    </a:lnTo>
                    <a:lnTo>
                      <a:pt x="178" y="72"/>
                    </a:lnTo>
                    <a:lnTo>
                      <a:pt x="178" y="72"/>
                    </a:lnTo>
                    <a:lnTo>
                      <a:pt x="178" y="74"/>
                    </a:lnTo>
                    <a:lnTo>
                      <a:pt x="178" y="74"/>
                    </a:lnTo>
                    <a:lnTo>
                      <a:pt x="179" y="74"/>
                    </a:lnTo>
                    <a:lnTo>
                      <a:pt x="179" y="74"/>
                    </a:lnTo>
                    <a:lnTo>
                      <a:pt x="181" y="74"/>
                    </a:lnTo>
                    <a:lnTo>
                      <a:pt x="183" y="74"/>
                    </a:lnTo>
                    <a:lnTo>
                      <a:pt x="183" y="74"/>
                    </a:lnTo>
                    <a:lnTo>
                      <a:pt x="184" y="72"/>
                    </a:lnTo>
                    <a:lnTo>
                      <a:pt x="184" y="72"/>
                    </a:lnTo>
                    <a:lnTo>
                      <a:pt x="184" y="72"/>
                    </a:lnTo>
                    <a:close/>
                    <a:moveTo>
                      <a:pt x="117" y="74"/>
                    </a:moveTo>
                    <a:lnTo>
                      <a:pt x="117" y="72"/>
                    </a:lnTo>
                    <a:lnTo>
                      <a:pt x="114" y="69"/>
                    </a:lnTo>
                    <a:lnTo>
                      <a:pt x="114" y="68"/>
                    </a:lnTo>
                    <a:lnTo>
                      <a:pt x="112" y="68"/>
                    </a:lnTo>
                    <a:lnTo>
                      <a:pt x="109" y="68"/>
                    </a:lnTo>
                    <a:lnTo>
                      <a:pt x="109" y="68"/>
                    </a:lnTo>
                    <a:lnTo>
                      <a:pt x="106" y="66"/>
                    </a:lnTo>
                    <a:lnTo>
                      <a:pt x="106" y="66"/>
                    </a:lnTo>
                    <a:lnTo>
                      <a:pt x="106" y="66"/>
                    </a:lnTo>
                    <a:lnTo>
                      <a:pt x="103" y="63"/>
                    </a:lnTo>
                    <a:lnTo>
                      <a:pt x="100" y="63"/>
                    </a:lnTo>
                    <a:lnTo>
                      <a:pt x="100" y="63"/>
                    </a:lnTo>
                    <a:lnTo>
                      <a:pt x="98" y="64"/>
                    </a:lnTo>
                    <a:lnTo>
                      <a:pt x="98" y="64"/>
                    </a:lnTo>
                    <a:lnTo>
                      <a:pt x="101" y="66"/>
                    </a:lnTo>
                    <a:lnTo>
                      <a:pt x="103" y="66"/>
                    </a:lnTo>
                    <a:lnTo>
                      <a:pt x="103" y="68"/>
                    </a:lnTo>
                    <a:lnTo>
                      <a:pt x="103" y="68"/>
                    </a:lnTo>
                    <a:lnTo>
                      <a:pt x="103" y="69"/>
                    </a:lnTo>
                    <a:lnTo>
                      <a:pt x="108" y="72"/>
                    </a:lnTo>
                    <a:lnTo>
                      <a:pt x="109" y="72"/>
                    </a:lnTo>
                    <a:lnTo>
                      <a:pt x="112" y="74"/>
                    </a:lnTo>
                    <a:lnTo>
                      <a:pt x="114" y="74"/>
                    </a:lnTo>
                    <a:lnTo>
                      <a:pt x="115" y="74"/>
                    </a:lnTo>
                    <a:lnTo>
                      <a:pt x="117" y="74"/>
                    </a:lnTo>
                    <a:lnTo>
                      <a:pt x="118" y="74"/>
                    </a:lnTo>
                    <a:lnTo>
                      <a:pt x="117" y="74"/>
                    </a:lnTo>
                    <a:close/>
                    <a:moveTo>
                      <a:pt x="103" y="53"/>
                    </a:moveTo>
                    <a:lnTo>
                      <a:pt x="101" y="49"/>
                    </a:lnTo>
                    <a:lnTo>
                      <a:pt x="100" y="47"/>
                    </a:lnTo>
                    <a:lnTo>
                      <a:pt x="101" y="50"/>
                    </a:lnTo>
                    <a:lnTo>
                      <a:pt x="101" y="50"/>
                    </a:lnTo>
                    <a:lnTo>
                      <a:pt x="101" y="52"/>
                    </a:lnTo>
                    <a:lnTo>
                      <a:pt x="101" y="53"/>
                    </a:lnTo>
                    <a:lnTo>
                      <a:pt x="101" y="55"/>
                    </a:lnTo>
                    <a:lnTo>
                      <a:pt x="103" y="53"/>
                    </a:lnTo>
                    <a:lnTo>
                      <a:pt x="103" y="55"/>
                    </a:lnTo>
                    <a:lnTo>
                      <a:pt x="103" y="55"/>
                    </a:lnTo>
                    <a:lnTo>
                      <a:pt x="103" y="53"/>
                    </a:lnTo>
                    <a:close/>
                    <a:moveTo>
                      <a:pt x="90" y="55"/>
                    </a:moveTo>
                    <a:lnTo>
                      <a:pt x="89" y="55"/>
                    </a:lnTo>
                    <a:lnTo>
                      <a:pt x="89" y="53"/>
                    </a:lnTo>
                    <a:lnTo>
                      <a:pt x="87" y="52"/>
                    </a:lnTo>
                    <a:lnTo>
                      <a:pt x="86" y="52"/>
                    </a:lnTo>
                    <a:lnTo>
                      <a:pt x="83" y="49"/>
                    </a:lnTo>
                    <a:lnTo>
                      <a:pt x="78" y="49"/>
                    </a:lnTo>
                    <a:lnTo>
                      <a:pt x="76" y="49"/>
                    </a:lnTo>
                    <a:lnTo>
                      <a:pt x="72" y="47"/>
                    </a:lnTo>
                    <a:lnTo>
                      <a:pt x="70" y="46"/>
                    </a:lnTo>
                    <a:lnTo>
                      <a:pt x="70" y="47"/>
                    </a:lnTo>
                    <a:lnTo>
                      <a:pt x="70" y="47"/>
                    </a:lnTo>
                    <a:lnTo>
                      <a:pt x="70" y="50"/>
                    </a:lnTo>
                    <a:lnTo>
                      <a:pt x="70" y="50"/>
                    </a:lnTo>
                    <a:lnTo>
                      <a:pt x="70" y="53"/>
                    </a:lnTo>
                    <a:lnTo>
                      <a:pt x="72" y="55"/>
                    </a:lnTo>
                    <a:lnTo>
                      <a:pt x="73" y="55"/>
                    </a:lnTo>
                    <a:lnTo>
                      <a:pt x="73" y="55"/>
                    </a:lnTo>
                    <a:lnTo>
                      <a:pt x="76" y="57"/>
                    </a:lnTo>
                    <a:lnTo>
                      <a:pt x="83" y="57"/>
                    </a:lnTo>
                    <a:lnTo>
                      <a:pt x="84" y="58"/>
                    </a:lnTo>
                    <a:lnTo>
                      <a:pt x="87" y="58"/>
                    </a:lnTo>
                    <a:lnTo>
                      <a:pt x="89" y="58"/>
                    </a:lnTo>
                    <a:lnTo>
                      <a:pt x="90" y="57"/>
                    </a:lnTo>
                    <a:lnTo>
                      <a:pt x="90" y="57"/>
                    </a:lnTo>
                    <a:lnTo>
                      <a:pt x="90" y="55"/>
                    </a:lnTo>
                    <a:close/>
                    <a:moveTo>
                      <a:pt x="83" y="42"/>
                    </a:moveTo>
                    <a:lnTo>
                      <a:pt x="81" y="42"/>
                    </a:lnTo>
                    <a:lnTo>
                      <a:pt x="79" y="42"/>
                    </a:lnTo>
                    <a:lnTo>
                      <a:pt x="79" y="41"/>
                    </a:lnTo>
                    <a:lnTo>
                      <a:pt x="78" y="42"/>
                    </a:lnTo>
                    <a:lnTo>
                      <a:pt x="78" y="42"/>
                    </a:lnTo>
                    <a:lnTo>
                      <a:pt x="79" y="42"/>
                    </a:lnTo>
                    <a:lnTo>
                      <a:pt x="81" y="44"/>
                    </a:lnTo>
                    <a:lnTo>
                      <a:pt x="81" y="44"/>
                    </a:lnTo>
                    <a:lnTo>
                      <a:pt x="81" y="44"/>
                    </a:lnTo>
                    <a:lnTo>
                      <a:pt x="81" y="44"/>
                    </a:lnTo>
                    <a:lnTo>
                      <a:pt x="83" y="46"/>
                    </a:lnTo>
                    <a:lnTo>
                      <a:pt x="84" y="44"/>
                    </a:lnTo>
                    <a:lnTo>
                      <a:pt x="83" y="42"/>
                    </a:lnTo>
                    <a:close/>
                    <a:moveTo>
                      <a:pt x="62" y="42"/>
                    </a:moveTo>
                    <a:lnTo>
                      <a:pt x="62" y="42"/>
                    </a:lnTo>
                    <a:lnTo>
                      <a:pt x="61" y="41"/>
                    </a:lnTo>
                    <a:lnTo>
                      <a:pt x="61" y="41"/>
                    </a:lnTo>
                    <a:lnTo>
                      <a:pt x="61" y="42"/>
                    </a:lnTo>
                    <a:lnTo>
                      <a:pt x="59" y="42"/>
                    </a:lnTo>
                    <a:lnTo>
                      <a:pt x="61" y="44"/>
                    </a:lnTo>
                    <a:lnTo>
                      <a:pt x="61" y="44"/>
                    </a:lnTo>
                    <a:lnTo>
                      <a:pt x="62" y="44"/>
                    </a:lnTo>
                    <a:lnTo>
                      <a:pt x="62" y="44"/>
                    </a:lnTo>
                    <a:lnTo>
                      <a:pt x="62" y="44"/>
                    </a:lnTo>
                    <a:lnTo>
                      <a:pt x="62" y="42"/>
                    </a:lnTo>
                    <a:close/>
                    <a:moveTo>
                      <a:pt x="34" y="36"/>
                    </a:moveTo>
                    <a:lnTo>
                      <a:pt x="34" y="36"/>
                    </a:lnTo>
                    <a:lnTo>
                      <a:pt x="32" y="36"/>
                    </a:lnTo>
                    <a:lnTo>
                      <a:pt x="31" y="36"/>
                    </a:lnTo>
                    <a:lnTo>
                      <a:pt x="31" y="36"/>
                    </a:lnTo>
                    <a:lnTo>
                      <a:pt x="34" y="38"/>
                    </a:lnTo>
                    <a:lnTo>
                      <a:pt x="34" y="38"/>
                    </a:lnTo>
                    <a:lnTo>
                      <a:pt x="36" y="38"/>
                    </a:lnTo>
                    <a:lnTo>
                      <a:pt x="34" y="36"/>
                    </a:lnTo>
                    <a:close/>
                    <a:moveTo>
                      <a:pt x="45" y="38"/>
                    </a:moveTo>
                    <a:lnTo>
                      <a:pt x="45" y="36"/>
                    </a:lnTo>
                    <a:lnTo>
                      <a:pt x="43" y="38"/>
                    </a:lnTo>
                    <a:lnTo>
                      <a:pt x="43" y="38"/>
                    </a:lnTo>
                    <a:lnTo>
                      <a:pt x="45" y="38"/>
                    </a:lnTo>
                    <a:lnTo>
                      <a:pt x="45" y="38"/>
                    </a:lnTo>
                    <a:lnTo>
                      <a:pt x="45" y="38"/>
                    </a:lnTo>
                    <a:close/>
                    <a:moveTo>
                      <a:pt x="43" y="35"/>
                    </a:moveTo>
                    <a:lnTo>
                      <a:pt x="42" y="35"/>
                    </a:lnTo>
                    <a:lnTo>
                      <a:pt x="43" y="33"/>
                    </a:lnTo>
                    <a:lnTo>
                      <a:pt x="43" y="33"/>
                    </a:lnTo>
                    <a:lnTo>
                      <a:pt x="40" y="33"/>
                    </a:lnTo>
                    <a:lnTo>
                      <a:pt x="40" y="33"/>
                    </a:lnTo>
                    <a:lnTo>
                      <a:pt x="40" y="35"/>
                    </a:lnTo>
                    <a:lnTo>
                      <a:pt x="39" y="35"/>
                    </a:lnTo>
                    <a:lnTo>
                      <a:pt x="39" y="35"/>
                    </a:lnTo>
                    <a:lnTo>
                      <a:pt x="39" y="36"/>
                    </a:lnTo>
                    <a:lnTo>
                      <a:pt x="40" y="36"/>
                    </a:lnTo>
                    <a:lnTo>
                      <a:pt x="42" y="38"/>
                    </a:lnTo>
                    <a:lnTo>
                      <a:pt x="43" y="36"/>
                    </a:lnTo>
                    <a:lnTo>
                      <a:pt x="43" y="35"/>
                    </a:lnTo>
                    <a:lnTo>
                      <a:pt x="43" y="35"/>
                    </a:lnTo>
                    <a:close/>
                    <a:moveTo>
                      <a:pt x="29" y="35"/>
                    </a:moveTo>
                    <a:lnTo>
                      <a:pt x="31" y="33"/>
                    </a:lnTo>
                    <a:lnTo>
                      <a:pt x="31" y="33"/>
                    </a:lnTo>
                    <a:lnTo>
                      <a:pt x="31" y="32"/>
                    </a:lnTo>
                    <a:lnTo>
                      <a:pt x="29" y="32"/>
                    </a:lnTo>
                    <a:lnTo>
                      <a:pt x="28" y="33"/>
                    </a:lnTo>
                    <a:lnTo>
                      <a:pt x="28" y="35"/>
                    </a:lnTo>
                    <a:lnTo>
                      <a:pt x="29" y="36"/>
                    </a:lnTo>
                    <a:lnTo>
                      <a:pt x="31" y="36"/>
                    </a:lnTo>
                    <a:lnTo>
                      <a:pt x="31" y="36"/>
                    </a:lnTo>
                    <a:lnTo>
                      <a:pt x="29" y="36"/>
                    </a:lnTo>
                    <a:lnTo>
                      <a:pt x="29" y="35"/>
                    </a:lnTo>
                    <a:close/>
                    <a:moveTo>
                      <a:pt x="70" y="32"/>
                    </a:moveTo>
                    <a:lnTo>
                      <a:pt x="70" y="32"/>
                    </a:lnTo>
                    <a:lnTo>
                      <a:pt x="68" y="30"/>
                    </a:lnTo>
                    <a:lnTo>
                      <a:pt x="68" y="32"/>
                    </a:lnTo>
                    <a:lnTo>
                      <a:pt x="68" y="32"/>
                    </a:lnTo>
                    <a:lnTo>
                      <a:pt x="68" y="33"/>
                    </a:lnTo>
                    <a:lnTo>
                      <a:pt x="70" y="33"/>
                    </a:lnTo>
                    <a:lnTo>
                      <a:pt x="70" y="33"/>
                    </a:lnTo>
                    <a:lnTo>
                      <a:pt x="70" y="32"/>
                    </a:lnTo>
                    <a:close/>
                    <a:moveTo>
                      <a:pt x="100" y="50"/>
                    </a:moveTo>
                    <a:lnTo>
                      <a:pt x="98" y="47"/>
                    </a:lnTo>
                    <a:lnTo>
                      <a:pt x="98" y="46"/>
                    </a:lnTo>
                    <a:lnTo>
                      <a:pt x="98" y="44"/>
                    </a:lnTo>
                    <a:lnTo>
                      <a:pt x="97" y="42"/>
                    </a:lnTo>
                    <a:lnTo>
                      <a:pt x="97" y="41"/>
                    </a:lnTo>
                    <a:lnTo>
                      <a:pt x="95" y="39"/>
                    </a:lnTo>
                    <a:lnTo>
                      <a:pt x="93" y="39"/>
                    </a:lnTo>
                    <a:lnTo>
                      <a:pt x="93" y="38"/>
                    </a:lnTo>
                    <a:lnTo>
                      <a:pt x="93" y="36"/>
                    </a:lnTo>
                    <a:lnTo>
                      <a:pt x="93" y="36"/>
                    </a:lnTo>
                    <a:lnTo>
                      <a:pt x="93" y="35"/>
                    </a:lnTo>
                    <a:lnTo>
                      <a:pt x="89" y="30"/>
                    </a:lnTo>
                    <a:lnTo>
                      <a:pt x="89" y="30"/>
                    </a:lnTo>
                    <a:lnTo>
                      <a:pt x="89" y="30"/>
                    </a:lnTo>
                    <a:lnTo>
                      <a:pt x="87" y="30"/>
                    </a:lnTo>
                    <a:lnTo>
                      <a:pt x="87" y="30"/>
                    </a:lnTo>
                    <a:lnTo>
                      <a:pt x="87" y="30"/>
                    </a:lnTo>
                    <a:lnTo>
                      <a:pt x="89" y="33"/>
                    </a:lnTo>
                    <a:lnTo>
                      <a:pt x="87" y="35"/>
                    </a:lnTo>
                    <a:lnTo>
                      <a:pt x="90" y="41"/>
                    </a:lnTo>
                    <a:lnTo>
                      <a:pt x="92" y="44"/>
                    </a:lnTo>
                    <a:lnTo>
                      <a:pt x="93" y="47"/>
                    </a:lnTo>
                    <a:lnTo>
                      <a:pt x="95" y="47"/>
                    </a:lnTo>
                    <a:lnTo>
                      <a:pt x="97" y="49"/>
                    </a:lnTo>
                    <a:lnTo>
                      <a:pt x="100" y="52"/>
                    </a:lnTo>
                    <a:lnTo>
                      <a:pt x="100" y="52"/>
                    </a:lnTo>
                    <a:lnTo>
                      <a:pt x="100" y="52"/>
                    </a:lnTo>
                    <a:lnTo>
                      <a:pt x="100" y="50"/>
                    </a:lnTo>
                    <a:close/>
                    <a:moveTo>
                      <a:pt x="39" y="30"/>
                    </a:moveTo>
                    <a:lnTo>
                      <a:pt x="37" y="28"/>
                    </a:lnTo>
                    <a:lnTo>
                      <a:pt x="36" y="28"/>
                    </a:lnTo>
                    <a:lnTo>
                      <a:pt x="34" y="27"/>
                    </a:lnTo>
                    <a:lnTo>
                      <a:pt x="34" y="24"/>
                    </a:lnTo>
                    <a:lnTo>
                      <a:pt x="32" y="24"/>
                    </a:lnTo>
                    <a:lnTo>
                      <a:pt x="31" y="24"/>
                    </a:lnTo>
                    <a:lnTo>
                      <a:pt x="29" y="25"/>
                    </a:lnTo>
                    <a:lnTo>
                      <a:pt x="29" y="27"/>
                    </a:lnTo>
                    <a:lnTo>
                      <a:pt x="28" y="28"/>
                    </a:lnTo>
                    <a:lnTo>
                      <a:pt x="28" y="28"/>
                    </a:lnTo>
                    <a:lnTo>
                      <a:pt x="28" y="30"/>
                    </a:lnTo>
                    <a:lnTo>
                      <a:pt x="29" y="30"/>
                    </a:lnTo>
                    <a:lnTo>
                      <a:pt x="29" y="28"/>
                    </a:lnTo>
                    <a:lnTo>
                      <a:pt x="32" y="28"/>
                    </a:lnTo>
                    <a:lnTo>
                      <a:pt x="34" y="28"/>
                    </a:lnTo>
                    <a:lnTo>
                      <a:pt x="34" y="30"/>
                    </a:lnTo>
                    <a:lnTo>
                      <a:pt x="34" y="32"/>
                    </a:lnTo>
                    <a:lnTo>
                      <a:pt x="36" y="33"/>
                    </a:lnTo>
                    <a:lnTo>
                      <a:pt x="37" y="33"/>
                    </a:lnTo>
                    <a:lnTo>
                      <a:pt x="37" y="35"/>
                    </a:lnTo>
                    <a:lnTo>
                      <a:pt x="39" y="35"/>
                    </a:lnTo>
                    <a:lnTo>
                      <a:pt x="39" y="35"/>
                    </a:lnTo>
                    <a:lnTo>
                      <a:pt x="39" y="33"/>
                    </a:lnTo>
                    <a:lnTo>
                      <a:pt x="39" y="30"/>
                    </a:lnTo>
                    <a:close/>
                    <a:moveTo>
                      <a:pt x="15" y="24"/>
                    </a:moveTo>
                    <a:lnTo>
                      <a:pt x="15" y="24"/>
                    </a:lnTo>
                    <a:lnTo>
                      <a:pt x="15" y="24"/>
                    </a:lnTo>
                    <a:lnTo>
                      <a:pt x="15" y="25"/>
                    </a:lnTo>
                    <a:lnTo>
                      <a:pt x="17" y="27"/>
                    </a:lnTo>
                    <a:lnTo>
                      <a:pt x="17" y="27"/>
                    </a:lnTo>
                    <a:lnTo>
                      <a:pt x="17" y="25"/>
                    </a:lnTo>
                    <a:lnTo>
                      <a:pt x="15" y="24"/>
                    </a:lnTo>
                    <a:close/>
                    <a:moveTo>
                      <a:pt x="26" y="24"/>
                    </a:moveTo>
                    <a:lnTo>
                      <a:pt x="26" y="22"/>
                    </a:lnTo>
                    <a:lnTo>
                      <a:pt x="25" y="22"/>
                    </a:lnTo>
                    <a:lnTo>
                      <a:pt x="25" y="22"/>
                    </a:lnTo>
                    <a:lnTo>
                      <a:pt x="23" y="22"/>
                    </a:lnTo>
                    <a:lnTo>
                      <a:pt x="23" y="24"/>
                    </a:lnTo>
                    <a:lnTo>
                      <a:pt x="25" y="27"/>
                    </a:lnTo>
                    <a:lnTo>
                      <a:pt x="26" y="27"/>
                    </a:lnTo>
                    <a:lnTo>
                      <a:pt x="26" y="25"/>
                    </a:lnTo>
                    <a:lnTo>
                      <a:pt x="26" y="25"/>
                    </a:lnTo>
                    <a:lnTo>
                      <a:pt x="28" y="24"/>
                    </a:lnTo>
                    <a:lnTo>
                      <a:pt x="26" y="24"/>
                    </a:lnTo>
                    <a:close/>
                    <a:moveTo>
                      <a:pt x="18" y="19"/>
                    </a:moveTo>
                    <a:lnTo>
                      <a:pt x="17" y="17"/>
                    </a:lnTo>
                    <a:lnTo>
                      <a:pt x="15" y="16"/>
                    </a:lnTo>
                    <a:lnTo>
                      <a:pt x="15" y="17"/>
                    </a:lnTo>
                    <a:lnTo>
                      <a:pt x="15" y="19"/>
                    </a:lnTo>
                    <a:lnTo>
                      <a:pt x="17" y="21"/>
                    </a:lnTo>
                    <a:lnTo>
                      <a:pt x="17" y="22"/>
                    </a:lnTo>
                    <a:lnTo>
                      <a:pt x="17" y="22"/>
                    </a:lnTo>
                    <a:lnTo>
                      <a:pt x="18" y="22"/>
                    </a:lnTo>
                    <a:lnTo>
                      <a:pt x="18" y="22"/>
                    </a:lnTo>
                    <a:lnTo>
                      <a:pt x="18" y="22"/>
                    </a:lnTo>
                    <a:lnTo>
                      <a:pt x="20" y="21"/>
                    </a:lnTo>
                    <a:lnTo>
                      <a:pt x="20" y="19"/>
                    </a:lnTo>
                    <a:lnTo>
                      <a:pt x="18" y="19"/>
                    </a:lnTo>
                    <a:close/>
                    <a:moveTo>
                      <a:pt x="73" y="32"/>
                    </a:moveTo>
                    <a:lnTo>
                      <a:pt x="73" y="32"/>
                    </a:lnTo>
                    <a:lnTo>
                      <a:pt x="73" y="30"/>
                    </a:lnTo>
                    <a:lnTo>
                      <a:pt x="67" y="25"/>
                    </a:lnTo>
                    <a:lnTo>
                      <a:pt x="65" y="24"/>
                    </a:lnTo>
                    <a:lnTo>
                      <a:pt x="64" y="24"/>
                    </a:lnTo>
                    <a:lnTo>
                      <a:pt x="62" y="22"/>
                    </a:lnTo>
                    <a:lnTo>
                      <a:pt x="61" y="22"/>
                    </a:lnTo>
                    <a:lnTo>
                      <a:pt x="59" y="21"/>
                    </a:lnTo>
                    <a:lnTo>
                      <a:pt x="58" y="21"/>
                    </a:lnTo>
                    <a:lnTo>
                      <a:pt x="56" y="19"/>
                    </a:lnTo>
                    <a:lnTo>
                      <a:pt x="54" y="17"/>
                    </a:lnTo>
                    <a:lnTo>
                      <a:pt x="50" y="16"/>
                    </a:lnTo>
                    <a:lnTo>
                      <a:pt x="50" y="16"/>
                    </a:lnTo>
                    <a:lnTo>
                      <a:pt x="51" y="17"/>
                    </a:lnTo>
                    <a:lnTo>
                      <a:pt x="51" y="19"/>
                    </a:lnTo>
                    <a:lnTo>
                      <a:pt x="53" y="21"/>
                    </a:lnTo>
                    <a:lnTo>
                      <a:pt x="54" y="22"/>
                    </a:lnTo>
                    <a:lnTo>
                      <a:pt x="56" y="22"/>
                    </a:lnTo>
                    <a:lnTo>
                      <a:pt x="56" y="24"/>
                    </a:lnTo>
                    <a:lnTo>
                      <a:pt x="58" y="25"/>
                    </a:lnTo>
                    <a:lnTo>
                      <a:pt x="61" y="25"/>
                    </a:lnTo>
                    <a:lnTo>
                      <a:pt x="62" y="27"/>
                    </a:lnTo>
                    <a:lnTo>
                      <a:pt x="64" y="27"/>
                    </a:lnTo>
                    <a:lnTo>
                      <a:pt x="65" y="28"/>
                    </a:lnTo>
                    <a:lnTo>
                      <a:pt x="70" y="30"/>
                    </a:lnTo>
                    <a:lnTo>
                      <a:pt x="72" y="33"/>
                    </a:lnTo>
                    <a:lnTo>
                      <a:pt x="75" y="33"/>
                    </a:lnTo>
                    <a:lnTo>
                      <a:pt x="75" y="33"/>
                    </a:lnTo>
                    <a:lnTo>
                      <a:pt x="73" y="32"/>
                    </a:lnTo>
                    <a:close/>
                    <a:moveTo>
                      <a:pt x="1" y="7"/>
                    </a:moveTo>
                    <a:lnTo>
                      <a:pt x="1" y="7"/>
                    </a:lnTo>
                    <a:lnTo>
                      <a:pt x="0" y="8"/>
                    </a:lnTo>
                    <a:lnTo>
                      <a:pt x="1" y="8"/>
                    </a:lnTo>
                    <a:lnTo>
                      <a:pt x="3" y="8"/>
                    </a:lnTo>
                    <a:lnTo>
                      <a:pt x="4" y="7"/>
                    </a:lnTo>
                    <a:lnTo>
                      <a:pt x="1" y="7"/>
                    </a:lnTo>
                    <a:close/>
                    <a:moveTo>
                      <a:pt x="32" y="13"/>
                    </a:moveTo>
                    <a:lnTo>
                      <a:pt x="31" y="11"/>
                    </a:lnTo>
                    <a:lnTo>
                      <a:pt x="31" y="11"/>
                    </a:lnTo>
                    <a:lnTo>
                      <a:pt x="29" y="11"/>
                    </a:lnTo>
                    <a:lnTo>
                      <a:pt x="26" y="10"/>
                    </a:lnTo>
                    <a:lnTo>
                      <a:pt x="26" y="8"/>
                    </a:lnTo>
                    <a:lnTo>
                      <a:pt x="25" y="5"/>
                    </a:lnTo>
                    <a:lnTo>
                      <a:pt x="25" y="5"/>
                    </a:lnTo>
                    <a:lnTo>
                      <a:pt x="20" y="2"/>
                    </a:lnTo>
                    <a:lnTo>
                      <a:pt x="17" y="0"/>
                    </a:lnTo>
                    <a:lnTo>
                      <a:pt x="14" y="0"/>
                    </a:lnTo>
                    <a:lnTo>
                      <a:pt x="14" y="0"/>
                    </a:lnTo>
                    <a:lnTo>
                      <a:pt x="14" y="2"/>
                    </a:lnTo>
                    <a:lnTo>
                      <a:pt x="15" y="2"/>
                    </a:lnTo>
                    <a:lnTo>
                      <a:pt x="18" y="5"/>
                    </a:lnTo>
                    <a:lnTo>
                      <a:pt x="22" y="10"/>
                    </a:lnTo>
                    <a:lnTo>
                      <a:pt x="25" y="13"/>
                    </a:lnTo>
                    <a:lnTo>
                      <a:pt x="28" y="13"/>
                    </a:lnTo>
                    <a:lnTo>
                      <a:pt x="29" y="13"/>
                    </a:lnTo>
                    <a:lnTo>
                      <a:pt x="29" y="13"/>
                    </a:lnTo>
                    <a:lnTo>
                      <a:pt x="29" y="13"/>
                    </a:lnTo>
                    <a:lnTo>
                      <a:pt x="31" y="14"/>
                    </a:lnTo>
                    <a:lnTo>
                      <a:pt x="32" y="13"/>
                    </a:lnTo>
                    <a:lnTo>
                      <a:pt x="32" y="1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1" name="Freeform 178">
                <a:extLst>
                  <a:ext uri="{FF2B5EF4-FFF2-40B4-BE49-F238E27FC236}">
                    <a16:creationId xmlns:a16="http://schemas.microsoft.com/office/drawing/2014/main" id="{B5DFC247-6086-2705-C5EB-0108C602F42C}"/>
                  </a:ext>
                </a:extLst>
              </p:cNvPr>
              <p:cNvSpPr>
                <a:spLocks/>
              </p:cNvSpPr>
              <p:nvPr/>
            </p:nvSpPr>
            <p:spPr bwMode="gray">
              <a:xfrm>
                <a:off x="3058" y="1180"/>
                <a:ext cx="294" cy="246"/>
              </a:xfrm>
              <a:custGeom>
                <a:avLst/>
                <a:gdLst>
                  <a:gd name="T0" fmla="*/ 200 w 294"/>
                  <a:gd name="T1" fmla="*/ 3 h 246"/>
                  <a:gd name="T2" fmla="*/ 247 w 294"/>
                  <a:gd name="T3" fmla="*/ 3 h 246"/>
                  <a:gd name="T4" fmla="*/ 271 w 294"/>
                  <a:gd name="T5" fmla="*/ 20 h 246"/>
                  <a:gd name="T6" fmla="*/ 271 w 294"/>
                  <a:gd name="T7" fmla="*/ 30 h 246"/>
                  <a:gd name="T8" fmla="*/ 277 w 294"/>
                  <a:gd name="T9" fmla="*/ 64 h 246"/>
                  <a:gd name="T10" fmla="*/ 289 w 294"/>
                  <a:gd name="T11" fmla="*/ 74 h 246"/>
                  <a:gd name="T12" fmla="*/ 289 w 294"/>
                  <a:gd name="T13" fmla="*/ 83 h 246"/>
                  <a:gd name="T14" fmla="*/ 285 w 294"/>
                  <a:gd name="T15" fmla="*/ 86 h 246"/>
                  <a:gd name="T16" fmla="*/ 277 w 294"/>
                  <a:gd name="T17" fmla="*/ 89 h 246"/>
                  <a:gd name="T18" fmla="*/ 268 w 294"/>
                  <a:gd name="T19" fmla="*/ 95 h 246"/>
                  <a:gd name="T20" fmla="*/ 264 w 294"/>
                  <a:gd name="T21" fmla="*/ 108 h 246"/>
                  <a:gd name="T22" fmla="*/ 257 w 294"/>
                  <a:gd name="T23" fmla="*/ 133 h 246"/>
                  <a:gd name="T24" fmla="*/ 254 w 294"/>
                  <a:gd name="T25" fmla="*/ 160 h 246"/>
                  <a:gd name="T26" fmla="*/ 249 w 294"/>
                  <a:gd name="T27" fmla="*/ 174 h 246"/>
                  <a:gd name="T28" fmla="*/ 233 w 294"/>
                  <a:gd name="T29" fmla="*/ 189 h 246"/>
                  <a:gd name="T30" fmla="*/ 229 w 294"/>
                  <a:gd name="T31" fmla="*/ 207 h 246"/>
                  <a:gd name="T32" fmla="*/ 219 w 294"/>
                  <a:gd name="T33" fmla="*/ 210 h 246"/>
                  <a:gd name="T34" fmla="*/ 214 w 294"/>
                  <a:gd name="T35" fmla="*/ 230 h 246"/>
                  <a:gd name="T36" fmla="*/ 211 w 294"/>
                  <a:gd name="T37" fmla="*/ 232 h 246"/>
                  <a:gd name="T38" fmla="*/ 213 w 294"/>
                  <a:gd name="T39" fmla="*/ 224 h 246"/>
                  <a:gd name="T40" fmla="*/ 211 w 294"/>
                  <a:gd name="T41" fmla="*/ 219 h 246"/>
                  <a:gd name="T42" fmla="*/ 199 w 294"/>
                  <a:gd name="T43" fmla="*/ 208 h 246"/>
                  <a:gd name="T44" fmla="*/ 197 w 294"/>
                  <a:gd name="T45" fmla="*/ 192 h 246"/>
                  <a:gd name="T46" fmla="*/ 199 w 294"/>
                  <a:gd name="T47" fmla="*/ 181 h 246"/>
                  <a:gd name="T48" fmla="*/ 191 w 294"/>
                  <a:gd name="T49" fmla="*/ 183 h 246"/>
                  <a:gd name="T50" fmla="*/ 185 w 294"/>
                  <a:gd name="T51" fmla="*/ 191 h 246"/>
                  <a:gd name="T52" fmla="*/ 186 w 294"/>
                  <a:gd name="T53" fmla="*/ 202 h 246"/>
                  <a:gd name="T54" fmla="*/ 172 w 294"/>
                  <a:gd name="T55" fmla="*/ 217 h 246"/>
                  <a:gd name="T56" fmla="*/ 157 w 294"/>
                  <a:gd name="T57" fmla="*/ 227 h 246"/>
                  <a:gd name="T58" fmla="*/ 136 w 294"/>
                  <a:gd name="T59" fmla="*/ 221 h 246"/>
                  <a:gd name="T60" fmla="*/ 125 w 294"/>
                  <a:gd name="T61" fmla="*/ 228 h 246"/>
                  <a:gd name="T62" fmla="*/ 107 w 294"/>
                  <a:gd name="T63" fmla="*/ 228 h 246"/>
                  <a:gd name="T64" fmla="*/ 75 w 294"/>
                  <a:gd name="T65" fmla="*/ 221 h 246"/>
                  <a:gd name="T66" fmla="*/ 69 w 294"/>
                  <a:gd name="T67" fmla="*/ 214 h 246"/>
                  <a:gd name="T68" fmla="*/ 55 w 294"/>
                  <a:gd name="T69" fmla="*/ 221 h 246"/>
                  <a:gd name="T70" fmla="*/ 50 w 294"/>
                  <a:gd name="T71" fmla="*/ 233 h 246"/>
                  <a:gd name="T72" fmla="*/ 44 w 294"/>
                  <a:gd name="T73" fmla="*/ 243 h 246"/>
                  <a:gd name="T74" fmla="*/ 32 w 294"/>
                  <a:gd name="T75" fmla="*/ 244 h 246"/>
                  <a:gd name="T76" fmla="*/ 32 w 294"/>
                  <a:gd name="T77" fmla="*/ 233 h 246"/>
                  <a:gd name="T78" fmla="*/ 21 w 294"/>
                  <a:gd name="T79" fmla="*/ 208 h 246"/>
                  <a:gd name="T80" fmla="*/ 17 w 294"/>
                  <a:gd name="T81" fmla="*/ 197 h 246"/>
                  <a:gd name="T82" fmla="*/ 11 w 294"/>
                  <a:gd name="T83" fmla="*/ 185 h 246"/>
                  <a:gd name="T84" fmla="*/ 5 w 294"/>
                  <a:gd name="T85" fmla="*/ 174 h 246"/>
                  <a:gd name="T86" fmla="*/ 3 w 294"/>
                  <a:gd name="T87" fmla="*/ 166 h 246"/>
                  <a:gd name="T88" fmla="*/ 5 w 294"/>
                  <a:gd name="T89" fmla="*/ 155 h 246"/>
                  <a:gd name="T90" fmla="*/ 11 w 294"/>
                  <a:gd name="T91" fmla="*/ 149 h 246"/>
                  <a:gd name="T92" fmla="*/ 10 w 294"/>
                  <a:gd name="T93" fmla="*/ 141 h 246"/>
                  <a:gd name="T94" fmla="*/ 16 w 294"/>
                  <a:gd name="T95" fmla="*/ 135 h 246"/>
                  <a:gd name="T96" fmla="*/ 21 w 294"/>
                  <a:gd name="T97" fmla="*/ 120 h 246"/>
                  <a:gd name="T98" fmla="*/ 38 w 294"/>
                  <a:gd name="T99" fmla="*/ 119 h 246"/>
                  <a:gd name="T100" fmla="*/ 38 w 294"/>
                  <a:gd name="T101" fmla="*/ 66 h 246"/>
                  <a:gd name="T102" fmla="*/ 47 w 294"/>
                  <a:gd name="T103" fmla="*/ 41 h 246"/>
                  <a:gd name="T104" fmla="*/ 55 w 294"/>
                  <a:gd name="T105" fmla="*/ 22 h 246"/>
                  <a:gd name="T106" fmla="*/ 96 w 294"/>
                  <a:gd name="T107" fmla="*/ 3 h 246"/>
                  <a:gd name="T108" fmla="*/ 149 w 294"/>
                  <a:gd name="T109" fmla="*/ 3 h 246"/>
                  <a:gd name="T110" fmla="*/ 169 w 294"/>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4" h="246">
                    <a:moveTo>
                      <a:pt x="169" y="2"/>
                    </a:moveTo>
                    <a:lnTo>
                      <a:pt x="169" y="3"/>
                    </a:lnTo>
                    <a:lnTo>
                      <a:pt x="172" y="3"/>
                    </a:lnTo>
                    <a:lnTo>
                      <a:pt x="177" y="3"/>
                    </a:lnTo>
                    <a:lnTo>
                      <a:pt x="183" y="3"/>
                    </a:lnTo>
                    <a:lnTo>
                      <a:pt x="189" y="3"/>
                    </a:lnTo>
                    <a:lnTo>
                      <a:pt x="196" y="3"/>
                    </a:lnTo>
                    <a:lnTo>
                      <a:pt x="200" y="3"/>
                    </a:lnTo>
                    <a:lnTo>
                      <a:pt x="207" y="3"/>
                    </a:lnTo>
                    <a:lnTo>
                      <a:pt x="213" y="3"/>
                    </a:lnTo>
                    <a:lnTo>
                      <a:pt x="218" y="3"/>
                    </a:lnTo>
                    <a:lnTo>
                      <a:pt x="224" y="3"/>
                    </a:lnTo>
                    <a:lnTo>
                      <a:pt x="230" y="3"/>
                    </a:lnTo>
                    <a:lnTo>
                      <a:pt x="235" y="3"/>
                    </a:lnTo>
                    <a:lnTo>
                      <a:pt x="241" y="3"/>
                    </a:lnTo>
                    <a:lnTo>
                      <a:pt x="247" y="3"/>
                    </a:lnTo>
                    <a:lnTo>
                      <a:pt x="252" y="3"/>
                    </a:lnTo>
                    <a:lnTo>
                      <a:pt x="258" y="3"/>
                    </a:lnTo>
                    <a:lnTo>
                      <a:pt x="264" y="3"/>
                    </a:lnTo>
                    <a:lnTo>
                      <a:pt x="264" y="8"/>
                    </a:lnTo>
                    <a:lnTo>
                      <a:pt x="264" y="11"/>
                    </a:lnTo>
                    <a:lnTo>
                      <a:pt x="268" y="16"/>
                    </a:lnTo>
                    <a:lnTo>
                      <a:pt x="271" y="19"/>
                    </a:lnTo>
                    <a:lnTo>
                      <a:pt x="271" y="20"/>
                    </a:lnTo>
                    <a:lnTo>
                      <a:pt x="271" y="20"/>
                    </a:lnTo>
                    <a:lnTo>
                      <a:pt x="271" y="22"/>
                    </a:lnTo>
                    <a:lnTo>
                      <a:pt x="271" y="20"/>
                    </a:lnTo>
                    <a:lnTo>
                      <a:pt x="269" y="20"/>
                    </a:lnTo>
                    <a:lnTo>
                      <a:pt x="269" y="22"/>
                    </a:lnTo>
                    <a:lnTo>
                      <a:pt x="269" y="23"/>
                    </a:lnTo>
                    <a:lnTo>
                      <a:pt x="269" y="27"/>
                    </a:lnTo>
                    <a:lnTo>
                      <a:pt x="271" y="30"/>
                    </a:lnTo>
                    <a:lnTo>
                      <a:pt x="269" y="33"/>
                    </a:lnTo>
                    <a:lnTo>
                      <a:pt x="269" y="38"/>
                    </a:lnTo>
                    <a:lnTo>
                      <a:pt x="271" y="44"/>
                    </a:lnTo>
                    <a:lnTo>
                      <a:pt x="271" y="48"/>
                    </a:lnTo>
                    <a:lnTo>
                      <a:pt x="272" y="58"/>
                    </a:lnTo>
                    <a:lnTo>
                      <a:pt x="274" y="63"/>
                    </a:lnTo>
                    <a:lnTo>
                      <a:pt x="275" y="64"/>
                    </a:lnTo>
                    <a:lnTo>
                      <a:pt x="277" y="64"/>
                    </a:lnTo>
                    <a:lnTo>
                      <a:pt x="279" y="64"/>
                    </a:lnTo>
                    <a:lnTo>
                      <a:pt x="283" y="67"/>
                    </a:lnTo>
                    <a:lnTo>
                      <a:pt x="285" y="70"/>
                    </a:lnTo>
                    <a:lnTo>
                      <a:pt x="286" y="72"/>
                    </a:lnTo>
                    <a:lnTo>
                      <a:pt x="288" y="74"/>
                    </a:lnTo>
                    <a:lnTo>
                      <a:pt x="288" y="72"/>
                    </a:lnTo>
                    <a:lnTo>
                      <a:pt x="289" y="72"/>
                    </a:lnTo>
                    <a:lnTo>
                      <a:pt x="289" y="74"/>
                    </a:lnTo>
                    <a:lnTo>
                      <a:pt x="294" y="77"/>
                    </a:lnTo>
                    <a:lnTo>
                      <a:pt x="294" y="77"/>
                    </a:lnTo>
                    <a:lnTo>
                      <a:pt x="293" y="78"/>
                    </a:lnTo>
                    <a:lnTo>
                      <a:pt x="291" y="81"/>
                    </a:lnTo>
                    <a:lnTo>
                      <a:pt x="291" y="81"/>
                    </a:lnTo>
                    <a:lnTo>
                      <a:pt x="291" y="81"/>
                    </a:lnTo>
                    <a:lnTo>
                      <a:pt x="291" y="83"/>
                    </a:lnTo>
                    <a:lnTo>
                      <a:pt x="289" y="83"/>
                    </a:lnTo>
                    <a:lnTo>
                      <a:pt x="289" y="84"/>
                    </a:lnTo>
                    <a:lnTo>
                      <a:pt x="288" y="84"/>
                    </a:lnTo>
                    <a:lnTo>
                      <a:pt x="288" y="84"/>
                    </a:lnTo>
                    <a:lnTo>
                      <a:pt x="288" y="86"/>
                    </a:lnTo>
                    <a:lnTo>
                      <a:pt x="286" y="86"/>
                    </a:lnTo>
                    <a:lnTo>
                      <a:pt x="286" y="86"/>
                    </a:lnTo>
                    <a:lnTo>
                      <a:pt x="285" y="86"/>
                    </a:lnTo>
                    <a:lnTo>
                      <a:pt x="285" y="86"/>
                    </a:lnTo>
                    <a:lnTo>
                      <a:pt x="283" y="86"/>
                    </a:lnTo>
                    <a:lnTo>
                      <a:pt x="283" y="86"/>
                    </a:lnTo>
                    <a:lnTo>
                      <a:pt x="282" y="88"/>
                    </a:lnTo>
                    <a:lnTo>
                      <a:pt x="280" y="88"/>
                    </a:lnTo>
                    <a:lnTo>
                      <a:pt x="280" y="88"/>
                    </a:lnTo>
                    <a:lnTo>
                      <a:pt x="279" y="88"/>
                    </a:lnTo>
                    <a:lnTo>
                      <a:pt x="279" y="89"/>
                    </a:lnTo>
                    <a:lnTo>
                      <a:pt x="277" y="89"/>
                    </a:lnTo>
                    <a:lnTo>
                      <a:pt x="275" y="89"/>
                    </a:lnTo>
                    <a:lnTo>
                      <a:pt x="275" y="91"/>
                    </a:lnTo>
                    <a:lnTo>
                      <a:pt x="274" y="94"/>
                    </a:lnTo>
                    <a:lnTo>
                      <a:pt x="274" y="95"/>
                    </a:lnTo>
                    <a:lnTo>
                      <a:pt x="272" y="95"/>
                    </a:lnTo>
                    <a:lnTo>
                      <a:pt x="271" y="95"/>
                    </a:lnTo>
                    <a:lnTo>
                      <a:pt x="269" y="95"/>
                    </a:lnTo>
                    <a:lnTo>
                      <a:pt x="268" y="95"/>
                    </a:lnTo>
                    <a:lnTo>
                      <a:pt x="266" y="95"/>
                    </a:lnTo>
                    <a:lnTo>
                      <a:pt x="266" y="95"/>
                    </a:lnTo>
                    <a:lnTo>
                      <a:pt x="266" y="99"/>
                    </a:lnTo>
                    <a:lnTo>
                      <a:pt x="266" y="100"/>
                    </a:lnTo>
                    <a:lnTo>
                      <a:pt x="264" y="100"/>
                    </a:lnTo>
                    <a:lnTo>
                      <a:pt x="264" y="103"/>
                    </a:lnTo>
                    <a:lnTo>
                      <a:pt x="264" y="106"/>
                    </a:lnTo>
                    <a:lnTo>
                      <a:pt x="264" y="108"/>
                    </a:lnTo>
                    <a:lnTo>
                      <a:pt x="263" y="113"/>
                    </a:lnTo>
                    <a:lnTo>
                      <a:pt x="263" y="114"/>
                    </a:lnTo>
                    <a:lnTo>
                      <a:pt x="261" y="117"/>
                    </a:lnTo>
                    <a:lnTo>
                      <a:pt x="261" y="119"/>
                    </a:lnTo>
                    <a:lnTo>
                      <a:pt x="258" y="125"/>
                    </a:lnTo>
                    <a:lnTo>
                      <a:pt x="258" y="128"/>
                    </a:lnTo>
                    <a:lnTo>
                      <a:pt x="257" y="130"/>
                    </a:lnTo>
                    <a:lnTo>
                      <a:pt x="257" y="133"/>
                    </a:lnTo>
                    <a:lnTo>
                      <a:pt x="257" y="136"/>
                    </a:lnTo>
                    <a:lnTo>
                      <a:pt x="257" y="141"/>
                    </a:lnTo>
                    <a:lnTo>
                      <a:pt x="258" y="146"/>
                    </a:lnTo>
                    <a:lnTo>
                      <a:pt x="257" y="150"/>
                    </a:lnTo>
                    <a:lnTo>
                      <a:pt x="257" y="153"/>
                    </a:lnTo>
                    <a:lnTo>
                      <a:pt x="255" y="156"/>
                    </a:lnTo>
                    <a:lnTo>
                      <a:pt x="255" y="158"/>
                    </a:lnTo>
                    <a:lnTo>
                      <a:pt x="254" y="160"/>
                    </a:lnTo>
                    <a:lnTo>
                      <a:pt x="254" y="161"/>
                    </a:lnTo>
                    <a:lnTo>
                      <a:pt x="252" y="163"/>
                    </a:lnTo>
                    <a:lnTo>
                      <a:pt x="252" y="166"/>
                    </a:lnTo>
                    <a:lnTo>
                      <a:pt x="250" y="169"/>
                    </a:lnTo>
                    <a:lnTo>
                      <a:pt x="250" y="172"/>
                    </a:lnTo>
                    <a:lnTo>
                      <a:pt x="250" y="172"/>
                    </a:lnTo>
                    <a:lnTo>
                      <a:pt x="250" y="174"/>
                    </a:lnTo>
                    <a:lnTo>
                      <a:pt x="249" y="174"/>
                    </a:lnTo>
                    <a:lnTo>
                      <a:pt x="246" y="174"/>
                    </a:lnTo>
                    <a:lnTo>
                      <a:pt x="244" y="174"/>
                    </a:lnTo>
                    <a:lnTo>
                      <a:pt x="243" y="175"/>
                    </a:lnTo>
                    <a:lnTo>
                      <a:pt x="241" y="177"/>
                    </a:lnTo>
                    <a:lnTo>
                      <a:pt x="239" y="180"/>
                    </a:lnTo>
                    <a:lnTo>
                      <a:pt x="238" y="183"/>
                    </a:lnTo>
                    <a:lnTo>
                      <a:pt x="236" y="186"/>
                    </a:lnTo>
                    <a:lnTo>
                      <a:pt x="233" y="189"/>
                    </a:lnTo>
                    <a:lnTo>
                      <a:pt x="233" y="191"/>
                    </a:lnTo>
                    <a:lnTo>
                      <a:pt x="232" y="192"/>
                    </a:lnTo>
                    <a:lnTo>
                      <a:pt x="232" y="196"/>
                    </a:lnTo>
                    <a:lnTo>
                      <a:pt x="230" y="199"/>
                    </a:lnTo>
                    <a:lnTo>
                      <a:pt x="230" y="200"/>
                    </a:lnTo>
                    <a:lnTo>
                      <a:pt x="230" y="205"/>
                    </a:lnTo>
                    <a:lnTo>
                      <a:pt x="230" y="207"/>
                    </a:lnTo>
                    <a:lnTo>
                      <a:pt x="229" y="207"/>
                    </a:lnTo>
                    <a:lnTo>
                      <a:pt x="229" y="208"/>
                    </a:lnTo>
                    <a:lnTo>
                      <a:pt x="227" y="208"/>
                    </a:lnTo>
                    <a:lnTo>
                      <a:pt x="225" y="207"/>
                    </a:lnTo>
                    <a:lnTo>
                      <a:pt x="224" y="207"/>
                    </a:lnTo>
                    <a:lnTo>
                      <a:pt x="224" y="207"/>
                    </a:lnTo>
                    <a:lnTo>
                      <a:pt x="222" y="207"/>
                    </a:lnTo>
                    <a:lnTo>
                      <a:pt x="221" y="208"/>
                    </a:lnTo>
                    <a:lnTo>
                      <a:pt x="219" y="210"/>
                    </a:lnTo>
                    <a:lnTo>
                      <a:pt x="219" y="213"/>
                    </a:lnTo>
                    <a:lnTo>
                      <a:pt x="219" y="217"/>
                    </a:lnTo>
                    <a:lnTo>
                      <a:pt x="219" y="217"/>
                    </a:lnTo>
                    <a:lnTo>
                      <a:pt x="219" y="219"/>
                    </a:lnTo>
                    <a:lnTo>
                      <a:pt x="218" y="224"/>
                    </a:lnTo>
                    <a:lnTo>
                      <a:pt x="216" y="224"/>
                    </a:lnTo>
                    <a:lnTo>
                      <a:pt x="216" y="227"/>
                    </a:lnTo>
                    <a:lnTo>
                      <a:pt x="214" y="230"/>
                    </a:lnTo>
                    <a:lnTo>
                      <a:pt x="214" y="232"/>
                    </a:lnTo>
                    <a:lnTo>
                      <a:pt x="214" y="232"/>
                    </a:lnTo>
                    <a:lnTo>
                      <a:pt x="214" y="232"/>
                    </a:lnTo>
                    <a:lnTo>
                      <a:pt x="211" y="232"/>
                    </a:lnTo>
                    <a:lnTo>
                      <a:pt x="211" y="232"/>
                    </a:lnTo>
                    <a:lnTo>
                      <a:pt x="211" y="232"/>
                    </a:lnTo>
                    <a:lnTo>
                      <a:pt x="211" y="232"/>
                    </a:lnTo>
                    <a:lnTo>
                      <a:pt x="211" y="232"/>
                    </a:lnTo>
                    <a:lnTo>
                      <a:pt x="211" y="230"/>
                    </a:lnTo>
                    <a:lnTo>
                      <a:pt x="211" y="230"/>
                    </a:lnTo>
                    <a:lnTo>
                      <a:pt x="211" y="228"/>
                    </a:lnTo>
                    <a:lnTo>
                      <a:pt x="211" y="227"/>
                    </a:lnTo>
                    <a:lnTo>
                      <a:pt x="213" y="224"/>
                    </a:lnTo>
                    <a:lnTo>
                      <a:pt x="213" y="224"/>
                    </a:lnTo>
                    <a:lnTo>
                      <a:pt x="213" y="224"/>
                    </a:lnTo>
                    <a:lnTo>
                      <a:pt x="213" y="224"/>
                    </a:lnTo>
                    <a:lnTo>
                      <a:pt x="213" y="224"/>
                    </a:lnTo>
                    <a:lnTo>
                      <a:pt x="213" y="224"/>
                    </a:lnTo>
                    <a:lnTo>
                      <a:pt x="213" y="222"/>
                    </a:lnTo>
                    <a:lnTo>
                      <a:pt x="213" y="222"/>
                    </a:lnTo>
                    <a:lnTo>
                      <a:pt x="213" y="221"/>
                    </a:lnTo>
                    <a:lnTo>
                      <a:pt x="213" y="221"/>
                    </a:lnTo>
                    <a:lnTo>
                      <a:pt x="213" y="221"/>
                    </a:lnTo>
                    <a:lnTo>
                      <a:pt x="211" y="219"/>
                    </a:lnTo>
                    <a:lnTo>
                      <a:pt x="211" y="217"/>
                    </a:lnTo>
                    <a:lnTo>
                      <a:pt x="204" y="211"/>
                    </a:lnTo>
                    <a:lnTo>
                      <a:pt x="204" y="210"/>
                    </a:lnTo>
                    <a:lnTo>
                      <a:pt x="202" y="210"/>
                    </a:lnTo>
                    <a:lnTo>
                      <a:pt x="202" y="210"/>
                    </a:lnTo>
                    <a:lnTo>
                      <a:pt x="199" y="208"/>
                    </a:lnTo>
                    <a:lnTo>
                      <a:pt x="199" y="208"/>
                    </a:lnTo>
                    <a:lnTo>
                      <a:pt x="199" y="208"/>
                    </a:lnTo>
                    <a:lnTo>
                      <a:pt x="199" y="208"/>
                    </a:lnTo>
                    <a:lnTo>
                      <a:pt x="199" y="207"/>
                    </a:lnTo>
                    <a:lnTo>
                      <a:pt x="199" y="207"/>
                    </a:lnTo>
                    <a:lnTo>
                      <a:pt x="199" y="207"/>
                    </a:lnTo>
                    <a:lnTo>
                      <a:pt x="197" y="194"/>
                    </a:lnTo>
                    <a:lnTo>
                      <a:pt x="197" y="192"/>
                    </a:lnTo>
                    <a:lnTo>
                      <a:pt x="197" y="192"/>
                    </a:lnTo>
                    <a:lnTo>
                      <a:pt x="197" y="192"/>
                    </a:lnTo>
                    <a:lnTo>
                      <a:pt x="197" y="192"/>
                    </a:lnTo>
                    <a:lnTo>
                      <a:pt x="197" y="192"/>
                    </a:lnTo>
                    <a:lnTo>
                      <a:pt x="199" y="191"/>
                    </a:lnTo>
                    <a:lnTo>
                      <a:pt x="199" y="191"/>
                    </a:lnTo>
                    <a:lnTo>
                      <a:pt x="199" y="189"/>
                    </a:lnTo>
                    <a:lnTo>
                      <a:pt x="199" y="188"/>
                    </a:lnTo>
                    <a:lnTo>
                      <a:pt x="199" y="183"/>
                    </a:lnTo>
                    <a:lnTo>
                      <a:pt x="199" y="181"/>
                    </a:lnTo>
                    <a:lnTo>
                      <a:pt x="191" y="181"/>
                    </a:lnTo>
                    <a:lnTo>
                      <a:pt x="191" y="181"/>
                    </a:lnTo>
                    <a:lnTo>
                      <a:pt x="191" y="181"/>
                    </a:lnTo>
                    <a:lnTo>
                      <a:pt x="191" y="181"/>
                    </a:lnTo>
                    <a:lnTo>
                      <a:pt x="191" y="183"/>
                    </a:lnTo>
                    <a:lnTo>
                      <a:pt x="191" y="183"/>
                    </a:lnTo>
                    <a:lnTo>
                      <a:pt x="191" y="183"/>
                    </a:lnTo>
                    <a:lnTo>
                      <a:pt x="191" y="183"/>
                    </a:lnTo>
                    <a:lnTo>
                      <a:pt x="191" y="183"/>
                    </a:lnTo>
                    <a:lnTo>
                      <a:pt x="191" y="185"/>
                    </a:lnTo>
                    <a:lnTo>
                      <a:pt x="191" y="185"/>
                    </a:lnTo>
                    <a:lnTo>
                      <a:pt x="191" y="185"/>
                    </a:lnTo>
                    <a:lnTo>
                      <a:pt x="191" y="185"/>
                    </a:lnTo>
                    <a:lnTo>
                      <a:pt x="191" y="186"/>
                    </a:lnTo>
                    <a:lnTo>
                      <a:pt x="180" y="186"/>
                    </a:lnTo>
                    <a:lnTo>
                      <a:pt x="185" y="191"/>
                    </a:lnTo>
                    <a:lnTo>
                      <a:pt x="185" y="191"/>
                    </a:lnTo>
                    <a:lnTo>
                      <a:pt x="185" y="191"/>
                    </a:lnTo>
                    <a:lnTo>
                      <a:pt x="185" y="191"/>
                    </a:lnTo>
                    <a:lnTo>
                      <a:pt x="185" y="194"/>
                    </a:lnTo>
                    <a:lnTo>
                      <a:pt x="185" y="196"/>
                    </a:lnTo>
                    <a:lnTo>
                      <a:pt x="185" y="199"/>
                    </a:lnTo>
                    <a:lnTo>
                      <a:pt x="185" y="199"/>
                    </a:lnTo>
                    <a:lnTo>
                      <a:pt x="186" y="202"/>
                    </a:lnTo>
                    <a:lnTo>
                      <a:pt x="186" y="202"/>
                    </a:lnTo>
                    <a:lnTo>
                      <a:pt x="186" y="203"/>
                    </a:lnTo>
                    <a:lnTo>
                      <a:pt x="177" y="210"/>
                    </a:lnTo>
                    <a:lnTo>
                      <a:pt x="177" y="210"/>
                    </a:lnTo>
                    <a:lnTo>
                      <a:pt x="175" y="213"/>
                    </a:lnTo>
                    <a:lnTo>
                      <a:pt x="175" y="214"/>
                    </a:lnTo>
                    <a:lnTo>
                      <a:pt x="174" y="216"/>
                    </a:lnTo>
                    <a:lnTo>
                      <a:pt x="172" y="217"/>
                    </a:lnTo>
                    <a:lnTo>
                      <a:pt x="164" y="225"/>
                    </a:lnTo>
                    <a:lnTo>
                      <a:pt x="164" y="225"/>
                    </a:lnTo>
                    <a:lnTo>
                      <a:pt x="160" y="225"/>
                    </a:lnTo>
                    <a:lnTo>
                      <a:pt x="158" y="225"/>
                    </a:lnTo>
                    <a:lnTo>
                      <a:pt x="158" y="225"/>
                    </a:lnTo>
                    <a:lnTo>
                      <a:pt x="158" y="225"/>
                    </a:lnTo>
                    <a:lnTo>
                      <a:pt x="157" y="227"/>
                    </a:lnTo>
                    <a:lnTo>
                      <a:pt x="157" y="227"/>
                    </a:lnTo>
                    <a:lnTo>
                      <a:pt x="157" y="227"/>
                    </a:lnTo>
                    <a:lnTo>
                      <a:pt x="157" y="227"/>
                    </a:lnTo>
                    <a:lnTo>
                      <a:pt x="152" y="222"/>
                    </a:lnTo>
                    <a:lnTo>
                      <a:pt x="144" y="216"/>
                    </a:lnTo>
                    <a:lnTo>
                      <a:pt x="143" y="217"/>
                    </a:lnTo>
                    <a:lnTo>
                      <a:pt x="138" y="219"/>
                    </a:lnTo>
                    <a:lnTo>
                      <a:pt x="136" y="221"/>
                    </a:lnTo>
                    <a:lnTo>
                      <a:pt x="136" y="221"/>
                    </a:lnTo>
                    <a:lnTo>
                      <a:pt x="136" y="222"/>
                    </a:lnTo>
                    <a:lnTo>
                      <a:pt x="136" y="224"/>
                    </a:lnTo>
                    <a:lnTo>
                      <a:pt x="135" y="225"/>
                    </a:lnTo>
                    <a:lnTo>
                      <a:pt x="130" y="227"/>
                    </a:lnTo>
                    <a:lnTo>
                      <a:pt x="128" y="227"/>
                    </a:lnTo>
                    <a:lnTo>
                      <a:pt x="125" y="228"/>
                    </a:lnTo>
                    <a:lnTo>
                      <a:pt x="125" y="228"/>
                    </a:lnTo>
                    <a:lnTo>
                      <a:pt x="125" y="228"/>
                    </a:lnTo>
                    <a:lnTo>
                      <a:pt x="125" y="230"/>
                    </a:lnTo>
                    <a:lnTo>
                      <a:pt x="124" y="232"/>
                    </a:lnTo>
                    <a:lnTo>
                      <a:pt x="122" y="233"/>
                    </a:lnTo>
                    <a:lnTo>
                      <a:pt x="124" y="233"/>
                    </a:lnTo>
                    <a:lnTo>
                      <a:pt x="110" y="233"/>
                    </a:lnTo>
                    <a:lnTo>
                      <a:pt x="108" y="233"/>
                    </a:lnTo>
                    <a:lnTo>
                      <a:pt x="107" y="228"/>
                    </a:lnTo>
                    <a:lnTo>
                      <a:pt x="107" y="228"/>
                    </a:lnTo>
                    <a:lnTo>
                      <a:pt x="105" y="228"/>
                    </a:lnTo>
                    <a:lnTo>
                      <a:pt x="92" y="228"/>
                    </a:lnTo>
                    <a:lnTo>
                      <a:pt x="91" y="228"/>
                    </a:lnTo>
                    <a:lnTo>
                      <a:pt x="86" y="230"/>
                    </a:lnTo>
                    <a:lnTo>
                      <a:pt x="85" y="230"/>
                    </a:lnTo>
                    <a:lnTo>
                      <a:pt x="83" y="230"/>
                    </a:lnTo>
                    <a:lnTo>
                      <a:pt x="77" y="222"/>
                    </a:lnTo>
                    <a:lnTo>
                      <a:pt x="75" y="221"/>
                    </a:lnTo>
                    <a:lnTo>
                      <a:pt x="74" y="221"/>
                    </a:lnTo>
                    <a:lnTo>
                      <a:pt x="74" y="219"/>
                    </a:lnTo>
                    <a:lnTo>
                      <a:pt x="72" y="219"/>
                    </a:lnTo>
                    <a:lnTo>
                      <a:pt x="71" y="217"/>
                    </a:lnTo>
                    <a:lnTo>
                      <a:pt x="71" y="217"/>
                    </a:lnTo>
                    <a:lnTo>
                      <a:pt x="71" y="216"/>
                    </a:lnTo>
                    <a:lnTo>
                      <a:pt x="71" y="214"/>
                    </a:lnTo>
                    <a:lnTo>
                      <a:pt x="69" y="214"/>
                    </a:lnTo>
                    <a:lnTo>
                      <a:pt x="61" y="216"/>
                    </a:lnTo>
                    <a:lnTo>
                      <a:pt x="60" y="216"/>
                    </a:lnTo>
                    <a:lnTo>
                      <a:pt x="58" y="216"/>
                    </a:lnTo>
                    <a:lnTo>
                      <a:pt x="57" y="216"/>
                    </a:lnTo>
                    <a:lnTo>
                      <a:pt x="57" y="217"/>
                    </a:lnTo>
                    <a:lnTo>
                      <a:pt x="57" y="219"/>
                    </a:lnTo>
                    <a:lnTo>
                      <a:pt x="57" y="219"/>
                    </a:lnTo>
                    <a:lnTo>
                      <a:pt x="55" y="221"/>
                    </a:lnTo>
                    <a:lnTo>
                      <a:pt x="55" y="222"/>
                    </a:lnTo>
                    <a:lnTo>
                      <a:pt x="52" y="224"/>
                    </a:lnTo>
                    <a:lnTo>
                      <a:pt x="52" y="225"/>
                    </a:lnTo>
                    <a:lnTo>
                      <a:pt x="52" y="228"/>
                    </a:lnTo>
                    <a:lnTo>
                      <a:pt x="52" y="230"/>
                    </a:lnTo>
                    <a:lnTo>
                      <a:pt x="52" y="230"/>
                    </a:lnTo>
                    <a:lnTo>
                      <a:pt x="50" y="232"/>
                    </a:lnTo>
                    <a:lnTo>
                      <a:pt x="50" y="233"/>
                    </a:lnTo>
                    <a:lnTo>
                      <a:pt x="50" y="233"/>
                    </a:lnTo>
                    <a:lnTo>
                      <a:pt x="50" y="235"/>
                    </a:lnTo>
                    <a:lnTo>
                      <a:pt x="49" y="236"/>
                    </a:lnTo>
                    <a:lnTo>
                      <a:pt x="49" y="238"/>
                    </a:lnTo>
                    <a:lnTo>
                      <a:pt x="47" y="239"/>
                    </a:lnTo>
                    <a:lnTo>
                      <a:pt x="47" y="241"/>
                    </a:lnTo>
                    <a:lnTo>
                      <a:pt x="47" y="241"/>
                    </a:lnTo>
                    <a:lnTo>
                      <a:pt x="44" y="243"/>
                    </a:lnTo>
                    <a:lnTo>
                      <a:pt x="42" y="244"/>
                    </a:lnTo>
                    <a:lnTo>
                      <a:pt x="41" y="244"/>
                    </a:lnTo>
                    <a:lnTo>
                      <a:pt x="41" y="246"/>
                    </a:lnTo>
                    <a:lnTo>
                      <a:pt x="41" y="246"/>
                    </a:lnTo>
                    <a:lnTo>
                      <a:pt x="39" y="244"/>
                    </a:lnTo>
                    <a:lnTo>
                      <a:pt x="36" y="244"/>
                    </a:lnTo>
                    <a:lnTo>
                      <a:pt x="33" y="244"/>
                    </a:lnTo>
                    <a:lnTo>
                      <a:pt x="32" y="244"/>
                    </a:lnTo>
                    <a:lnTo>
                      <a:pt x="30" y="243"/>
                    </a:lnTo>
                    <a:lnTo>
                      <a:pt x="30" y="241"/>
                    </a:lnTo>
                    <a:lnTo>
                      <a:pt x="30" y="239"/>
                    </a:lnTo>
                    <a:lnTo>
                      <a:pt x="28" y="239"/>
                    </a:lnTo>
                    <a:lnTo>
                      <a:pt x="28" y="238"/>
                    </a:lnTo>
                    <a:lnTo>
                      <a:pt x="28" y="238"/>
                    </a:lnTo>
                    <a:lnTo>
                      <a:pt x="32" y="235"/>
                    </a:lnTo>
                    <a:lnTo>
                      <a:pt x="32" y="233"/>
                    </a:lnTo>
                    <a:lnTo>
                      <a:pt x="32" y="228"/>
                    </a:lnTo>
                    <a:lnTo>
                      <a:pt x="32" y="227"/>
                    </a:lnTo>
                    <a:lnTo>
                      <a:pt x="32" y="225"/>
                    </a:lnTo>
                    <a:lnTo>
                      <a:pt x="30" y="221"/>
                    </a:lnTo>
                    <a:lnTo>
                      <a:pt x="28" y="219"/>
                    </a:lnTo>
                    <a:lnTo>
                      <a:pt x="27" y="214"/>
                    </a:lnTo>
                    <a:lnTo>
                      <a:pt x="25" y="213"/>
                    </a:lnTo>
                    <a:lnTo>
                      <a:pt x="21" y="208"/>
                    </a:lnTo>
                    <a:lnTo>
                      <a:pt x="19" y="208"/>
                    </a:lnTo>
                    <a:lnTo>
                      <a:pt x="17" y="205"/>
                    </a:lnTo>
                    <a:lnTo>
                      <a:pt x="19" y="203"/>
                    </a:lnTo>
                    <a:lnTo>
                      <a:pt x="19" y="200"/>
                    </a:lnTo>
                    <a:lnTo>
                      <a:pt x="19" y="199"/>
                    </a:lnTo>
                    <a:lnTo>
                      <a:pt x="19" y="197"/>
                    </a:lnTo>
                    <a:lnTo>
                      <a:pt x="17" y="197"/>
                    </a:lnTo>
                    <a:lnTo>
                      <a:pt x="17" y="197"/>
                    </a:lnTo>
                    <a:lnTo>
                      <a:pt x="16" y="196"/>
                    </a:lnTo>
                    <a:lnTo>
                      <a:pt x="16" y="196"/>
                    </a:lnTo>
                    <a:lnTo>
                      <a:pt x="14" y="194"/>
                    </a:lnTo>
                    <a:lnTo>
                      <a:pt x="13" y="194"/>
                    </a:lnTo>
                    <a:lnTo>
                      <a:pt x="13" y="192"/>
                    </a:lnTo>
                    <a:lnTo>
                      <a:pt x="13" y="186"/>
                    </a:lnTo>
                    <a:lnTo>
                      <a:pt x="13" y="185"/>
                    </a:lnTo>
                    <a:lnTo>
                      <a:pt x="11" y="185"/>
                    </a:lnTo>
                    <a:lnTo>
                      <a:pt x="11" y="185"/>
                    </a:lnTo>
                    <a:lnTo>
                      <a:pt x="11" y="183"/>
                    </a:lnTo>
                    <a:lnTo>
                      <a:pt x="11" y="180"/>
                    </a:lnTo>
                    <a:lnTo>
                      <a:pt x="10" y="178"/>
                    </a:lnTo>
                    <a:lnTo>
                      <a:pt x="10" y="177"/>
                    </a:lnTo>
                    <a:lnTo>
                      <a:pt x="10" y="174"/>
                    </a:lnTo>
                    <a:lnTo>
                      <a:pt x="7" y="174"/>
                    </a:lnTo>
                    <a:lnTo>
                      <a:pt x="5" y="174"/>
                    </a:lnTo>
                    <a:lnTo>
                      <a:pt x="3" y="174"/>
                    </a:lnTo>
                    <a:lnTo>
                      <a:pt x="2" y="174"/>
                    </a:lnTo>
                    <a:lnTo>
                      <a:pt x="0" y="174"/>
                    </a:lnTo>
                    <a:lnTo>
                      <a:pt x="0" y="172"/>
                    </a:lnTo>
                    <a:lnTo>
                      <a:pt x="0" y="172"/>
                    </a:lnTo>
                    <a:lnTo>
                      <a:pt x="0" y="171"/>
                    </a:lnTo>
                    <a:lnTo>
                      <a:pt x="2" y="167"/>
                    </a:lnTo>
                    <a:lnTo>
                      <a:pt x="3" y="166"/>
                    </a:lnTo>
                    <a:lnTo>
                      <a:pt x="7" y="164"/>
                    </a:lnTo>
                    <a:lnTo>
                      <a:pt x="7" y="163"/>
                    </a:lnTo>
                    <a:lnTo>
                      <a:pt x="7" y="163"/>
                    </a:lnTo>
                    <a:lnTo>
                      <a:pt x="7" y="161"/>
                    </a:lnTo>
                    <a:lnTo>
                      <a:pt x="7" y="160"/>
                    </a:lnTo>
                    <a:lnTo>
                      <a:pt x="7" y="158"/>
                    </a:lnTo>
                    <a:lnTo>
                      <a:pt x="5" y="156"/>
                    </a:lnTo>
                    <a:lnTo>
                      <a:pt x="5" y="155"/>
                    </a:lnTo>
                    <a:lnTo>
                      <a:pt x="5" y="153"/>
                    </a:lnTo>
                    <a:lnTo>
                      <a:pt x="5" y="153"/>
                    </a:lnTo>
                    <a:lnTo>
                      <a:pt x="7" y="152"/>
                    </a:lnTo>
                    <a:lnTo>
                      <a:pt x="8" y="150"/>
                    </a:lnTo>
                    <a:lnTo>
                      <a:pt x="8" y="150"/>
                    </a:lnTo>
                    <a:lnTo>
                      <a:pt x="10" y="150"/>
                    </a:lnTo>
                    <a:lnTo>
                      <a:pt x="10" y="149"/>
                    </a:lnTo>
                    <a:lnTo>
                      <a:pt x="11" y="149"/>
                    </a:lnTo>
                    <a:lnTo>
                      <a:pt x="13" y="147"/>
                    </a:lnTo>
                    <a:lnTo>
                      <a:pt x="13" y="147"/>
                    </a:lnTo>
                    <a:lnTo>
                      <a:pt x="11" y="146"/>
                    </a:lnTo>
                    <a:lnTo>
                      <a:pt x="11" y="146"/>
                    </a:lnTo>
                    <a:lnTo>
                      <a:pt x="11" y="144"/>
                    </a:lnTo>
                    <a:lnTo>
                      <a:pt x="11" y="142"/>
                    </a:lnTo>
                    <a:lnTo>
                      <a:pt x="10" y="141"/>
                    </a:lnTo>
                    <a:lnTo>
                      <a:pt x="10" y="141"/>
                    </a:lnTo>
                    <a:lnTo>
                      <a:pt x="10" y="139"/>
                    </a:lnTo>
                    <a:lnTo>
                      <a:pt x="11" y="139"/>
                    </a:lnTo>
                    <a:lnTo>
                      <a:pt x="13" y="138"/>
                    </a:lnTo>
                    <a:lnTo>
                      <a:pt x="14" y="138"/>
                    </a:lnTo>
                    <a:lnTo>
                      <a:pt x="14" y="138"/>
                    </a:lnTo>
                    <a:lnTo>
                      <a:pt x="14" y="136"/>
                    </a:lnTo>
                    <a:lnTo>
                      <a:pt x="14" y="135"/>
                    </a:lnTo>
                    <a:lnTo>
                      <a:pt x="16" y="135"/>
                    </a:lnTo>
                    <a:lnTo>
                      <a:pt x="16" y="131"/>
                    </a:lnTo>
                    <a:lnTo>
                      <a:pt x="17" y="131"/>
                    </a:lnTo>
                    <a:lnTo>
                      <a:pt x="19" y="130"/>
                    </a:lnTo>
                    <a:lnTo>
                      <a:pt x="19" y="130"/>
                    </a:lnTo>
                    <a:lnTo>
                      <a:pt x="21" y="128"/>
                    </a:lnTo>
                    <a:lnTo>
                      <a:pt x="21" y="127"/>
                    </a:lnTo>
                    <a:lnTo>
                      <a:pt x="19" y="122"/>
                    </a:lnTo>
                    <a:lnTo>
                      <a:pt x="21" y="120"/>
                    </a:lnTo>
                    <a:lnTo>
                      <a:pt x="22" y="119"/>
                    </a:lnTo>
                    <a:lnTo>
                      <a:pt x="25" y="119"/>
                    </a:lnTo>
                    <a:lnTo>
                      <a:pt x="28" y="119"/>
                    </a:lnTo>
                    <a:lnTo>
                      <a:pt x="32" y="119"/>
                    </a:lnTo>
                    <a:lnTo>
                      <a:pt x="33" y="119"/>
                    </a:lnTo>
                    <a:lnTo>
                      <a:pt x="38" y="119"/>
                    </a:lnTo>
                    <a:lnTo>
                      <a:pt x="38" y="119"/>
                    </a:lnTo>
                    <a:lnTo>
                      <a:pt x="38" y="119"/>
                    </a:lnTo>
                    <a:lnTo>
                      <a:pt x="38" y="117"/>
                    </a:lnTo>
                    <a:lnTo>
                      <a:pt x="38" y="116"/>
                    </a:lnTo>
                    <a:lnTo>
                      <a:pt x="38" y="108"/>
                    </a:lnTo>
                    <a:lnTo>
                      <a:pt x="38" y="99"/>
                    </a:lnTo>
                    <a:lnTo>
                      <a:pt x="38" y="91"/>
                    </a:lnTo>
                    <a:lnTo>
                      <a:pt x="38" y="83"/>
                    </a:lnTo>
                    <a:lnTo>
                      <a:pt x="38" y="75"/>
                    </a:lnTo>
                    <a:lnTo>
                      <a:pt x="38" y="66"/>
                    </a:lnTo>
                    <a:lnTo>
                      <a:pt x="38" y="58"/>
                    </a:lnTo>
                    <a:lnTo>
                      <a:pt x="38" y="50"/>
                    </a:lnTo>
                    <a:lnTo>
                      <a:pt x="38" y="47"/>
                    </a:lnTo>
                    <a:lnTo>
                      <a:pt x="38" y="45"/>
                    </a:lnTo>
                    <a:lnTo>
                      <a:pt x="38" y="42"/>
                    </a:lnTo>
                    <a:lnTo>
                      <a:pt x="38" y="41"/>
                    </a:lnTo>
                    <a:lnTo>
                      <a:pt x="42" y="41"/>
                    </a:lnTo>
                    <a:lnTo>
                      <a:pt x="47" y="41"/>
                    </a:lnTo>
                    <a:lnTo>
                      <a:pt x="50" y="41"/>
                    </a:lnTo>
                    <a:lnTo>
                      <a:pt x="55" y="41"/>
                    </a:lnTo>
                    <a:lnTo>
                      <a:pt x="55" y="41"/>
                    </a:lnTo>
                    <a:lnTo>
                      <a:pt x="55" y="41"/>
                    </a:lnTo>
                    <a:lnTo>
                      <a:pt x="55" y="41"/>
                    </a:lnTo>
                    <a:lnTo>
                      <a:pt x="55" y="41"/>
                    </a:lnTo>
                    <a:lnTo>
                      <a:pt x="55" y="31"/>
                    </a:lnTo>
                    <a:lnTo>
                      <a:pt x="55" y="22"/>
                    </a:lnTo>
                    <a:lnTo>
                      <a:pt x="55" y="12"/>
                    </a:lnTo>
                    <a:lnTo>
                      <a:pt x="55" y="3"/>
                    </a:lnTo>
                    <a:lnTo>
                      <a:pt x="63" y="3"/>
                    </a:lnTo>
                    <a:lnTo>
                      <a:pt x="69" y="3"/>
                    </a:lnTo>
                    <a:lnTo>
                      <a:pt x="75" y="3"/>
                    </a:lnTo>
                    <a:lnTo>
                      <a:pt x="82" y="3"/>
                    </a:lnTo>
                    <a:lnTo>
                      <a:pt x="89" y="3"/>
                    </a:lnTo>
                    <a:lnTo>
                      <a:pt x="96" y="3"/>
                    </a:lnTo>
                    <a:lnTo>
                      <a:pt x="102" y="3"/>
                    </a:lnTo>
                    <a:lnTo>
                      <a:pt x="110" y="3"/>
                    </a:lnTo>
                    <a:lnTo>
                      <a:pt x="116" y="3"/>
                    </a:lnTo>
                    <a:lnTo>
                      <a:pt x="122" y="3"/>
                    </a:lnTo>
                    <a:lnTo>
                      <a:pt x="128" y="3"/>
                    </a:lnTo>
                    <a:lnTo>
                      <a:pt x="136" y="3"/>
                    </a:lnTo>
                    <a:lnTo>
                      <a:pt x="143" y="3"/>
                    </a:lnTo>
                    <a:lnTo>
                      <a:pt x="149" y="3"/>
                    </a:lnTo>
                    <a:lnTo>
                      <a:pt x="157" y="3"/>
                    </a:lnTo>
                    <a:lnTo>
                      <a:pt x="163" y="3"/>
                    </a:lnTo>
                    <a:lnTo>
                      <a:pt x="164" y="3"/>
                    </a:lnTo>
                    <a:lnTo>
                      <a:pt x="166" y="3"/>
                    </a:lnTo>
                    <a:lnTo>
                      <a:pt x="168" y="0"/>
                    </a:lnTo>
                    <a:lnTo>
                      <a:pt x="168" y="0"/>
                    </a:lnTo>
                    <a:lnTo>
                      <a:pt x="169" y="0"/>
                    </a:lnTo>
                    <a:lnTo>
                      <a:pt x="169" y="0"/>
                    </a:lnTo>
                    <a:lnTo>
                      <a:pt x="169"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2" name="Freeform 179">
                <a:extLst>
                  <a:ext uri="{FF2B5EF4-FFF2-40B4-BE49-F238E27FC236}">
                    <a16:creationId xmlns:a16="http://schemas.microsoft.com/office/drawing/2014/main" id="{2E1B39DB-202F-B1C3-5B5E-9C7E279C8849}"/>
                  </a:ext>
                </a:extLst>
              </p:cNvPr>
              <p:cNvSpPr>
                <a:spLocks noEditPoints="1"/>
              </p:cNvSpPr>
              <p:nvPr/>
            </p:nvSpPr>
            <p:spPr bwMode="gray">
              <a:xfrm>
                <a:off x="2871" y="27"/>
                <a:ext cx="226" cy="383"/>
              </a:xfrm>
              <a:custGeom>
                <a:avLst/>
                <a:gdLst>
                  <a:gd name="T0" fmla="*/ 95 w 226"/>
                  <a:gd name="T1" fmla="*/ 335 h 383"/>
                  <a:gd name="T2" fmla="*/ 100 w 226"/>
                  <a:gd name="T3" fmla="*/ 331 h 383"/>
                  <a:gd name="T4" fmla="*/ 133 w 226"/>
                  <a:gd name="T5" fmla="*/ 303 h 383"/>
                  <a:gd name="T6" fmla="*/ 123 w 226"/>
                  <a:gd name="T7" fmla="*/ 324 h 383"/>
                  <a:gd name="T8" fmla="*/ 129 w 226"/>
                  <a:gd name="T9" fmla="*/ 325 h 383"/>
                  <a:gd name="T10" fmla="*/ 136 w 226"/>
                  <a:gd name="T11" fmla="*/ 306 h 383"/>
                  <a:gd name="T12" fmla="*/ 140 w 226"/>
                  <a:gd name="T13" fmla="*/ 302 h 383"/>
                  <a:gd name="T14" fmla="*/ 128 w 226"/>
                  <a:gd name="T15" fmla="*/ 261 h 383"/>
                  <a:gd name="T16" fmla="*/ 133 w 226"/>
                  <a:gd name="T17" fmla="*/ 247 h 383"/>
                  <a:gd name="T18" fmla="*/ 209 w 226"/>
                  <a:gd name="T19" fmla="*/ 9 h 383"/>
                  <a:gd name="T20" fmla="*/ 61 w 226"/>
                  <a:gd name="T21" fmla="*/ 6 h 383"/>
                  <a:gd name="T22" fmla="*/ 57 w 226"/>
                  <a:gd name="T23" fmla="*/ 29 h 383"/>
                  <a:gd name="T24" fmla="*/ 51 w 226"/>
                  <a:gd name="T25" fmla="*/ 65 h 383"/>
                  <a:gd name="T26" fmla="*/ 37 w 226"/>
                  <a:gd name="T27" fmla="*/ 78 h 383"/>
                  <a:gd name="T28" fmla="*/ 17 w 226"/>
                  <a:gd name="T29" fmla="*/ 97 h 383"/>
                  <a:gd name="T30" fmla="*/ 17 w 226"/>
                  <a:gd name="T31" fmla="*/ 126 h 383"/>
                  <a:gd name="T32" fmla="*/ 20 w 226"/>
                  <a:gd name="T33" fmla="*/ 170 h 383"/>
                  <a:gd name="T34" fmla="*/ 28 w 226"/>
                  <a:gd name="T35" fmla="*/ 191 h 383"/>
                  <a:gd name="T36" fmla="*/ 25 w 226"/>
                  <a:gd name="T37" fmla="*/ 211 h 383"/>
                  <a:gd name="T38" fmla="*/ 20 w 226"/>
                  <a:gd name="T39" fmla="*/ 231 h 383"/>
                  <a:gd name="T40" fmla="*/ 12 w 226"/>
                  <a:gd name="T41" fmla="*/ 238 h 383"/>
                  <a:gd name="T42" fmla="*/ 7 w 226"/>
                  <a:gd name="T43" fmla="*/ 267 h 383"/>
                  <a:gd name="T44" fmla="*/ 0 w 226"/>
                  <a:gd name="T45" fmla="*/ 267 h 383"/>
                  <a:gd name="T46" fmla="*/ 6 w 226"/>
                  <a:gd name="T47" fmla="*/ 299 h 383"/>
                  <a:gd name="T48" fmla="*/ 17 w 226"/>
                  <a:gd name="T49" fmla="*/ 324 h 383"/>
                  <a:gd name="T50" fmla="*/ 26 w 226"/>
                  <a:gd name="T51" fmla="*/ 349 h 383"/>
                  <a:gd name="T52" fmla="*/ 25 w 226"/>
                  <a:gd name="T53" fmla="*/ 358 h 383"/>
                  <a:gd name="T54" fmla="*/ 37 w 226"/>
                  <a:gd name="T55" fmla="*/ 383 h 383"/>
                  <a:gd name="T56" fmla="*/ 56 w 226"/>
                  <a:gd name="T57" fmla="*/ 364 h 383"/>
                  <a:gd name="T58" fmla="*/ 76 w 226"/>
                  <a:gd name="T59" fmla="*/ 356 h 383"/>
                  <a:gd name="T60" fmla="*/ 92 w 226"/>
                  <a:gd name="T61" fmla="*/ 338 h 383"/>
                  <a:gd name="T62" fmla="*/ 95 w 226"/>
                  <a:gd name="T63" fmla="*/ 310 h 383"/>
                  <a:gd name="T64" fmla="*/ 100 w 226"/>
                  <a:gd name="T65" fmla="*/ 283 h 383"/>
                  <a:gd name="T66" fmla="*/ 97 w 226"/>
                  <a:gd name="T67" fmla="*/ 277 h 383"/>
                  <a:gd name="T68" fmla="*/ 122 w 226"/>
                  <a:gd name="T69" fmla="*/ 263 h 383"/>
                  <a:gd name="T70" fmla="*/ 128 w 226"/>
                  <a:gd name="T71" fmla="*/ 252 h 383"/>
                  <a:gd name="T72" fmla="*/ 111 w 226"/>
                  <a:gd name="T73" fmla="*/ 255 h 383"/>
                  <a:gd name="T74" fmla="*/ 86 w 226"/>
                  <a:gd name="T75" fmla="*/ 249 h 383"/>
                  <a:gd name="T76" fmla="*/ 109 w 226"/>
                  <a:gd name="T77" fmla="*/ 249 h 383"/>
                  <a:gd name="T78" fmla="*/ 117 w 226"/>
                  <a:gd name="T79" fmla="*/ 252 h 383"/>
                  <a:gd name="T80" fmla="*/ 133 w 226"/>
                  <a:gd name="T81" fmla="*/ 242 h 383"/>
                  <a:gd name="T82" fmla="*/ 129 w 226"/>
                  <a:gd name="T83" fmla="*/ 225 h 383"/>
                  <a:gd name="T84" fmla="*/ 114 w 226"/>
                  <a:gd name="T85" fmla="*/ 211 h 383"/>
                  <a:gd name="T86" fmla="*/ 106 w 226"/>
                  <a:gd name="T87" fmla="*/ 197 h 383"/>
                  <a:gd name="T88" fmla="*/ 104 w 226"/>
                  <a:gd name="T89" fmla="*/ 177 h 383"/>
                  <a:gd name="T90" fmla="*/ 109 w 226"/>
                  <a:gd name="T91" fmla="*/ 159 h 383"/>
                  <a:gd name="T92" fmla="*/ 109 w 226"/>
                  <a:gd name="T93" fmla="*/ 139 h 383"/>
                  <a:gd name="T94" fmla="*/ 118 w 226"/>
                  <a:gd name="T95" fmla="*/ 134 h 383"/>
                  <a:gd name="T96" fmla="*/ 122 w 226"/>
                  <a:gd name="T97" fmla="*/ 126 h 383"/>
                  <a:gd name="T98" fmla="*/ 129 w 226"/>
                  <a:gd name="T99" fmla="*/ 120 h 383"/>
                  <a:gd name="T100" fmla="*/ 134 w 226"/>
                  <a:gd name="T101" fmla="*/ 112 h 383"/>
                  <a:gd name="T102" fmla="*/ 147 w 226"/>
                  <a:gd name="T103" fmla="*/ 103 h 383"/>
                  <a:gd name="T104" fmla="*/ 161 w 226"/>
                  <a:gd name="T105" fmla="*/ 92 h 383"/>
                  <a:gd name="T106" fmla="*/ 179 w 226"/>
                  <a:gd name="T107" fmla="*/ 59 h 383"/>
                  <a:gd name="T108" fmla="*/ 183 w 226"/>
                  <a:gd name="T109" fmla="*/ 33 h 383"/>
                  <a:gd name="T110" fmla="*/ 183 w 226"/>
                  <a:gd name="T111" fmla="*/ 26 h 383"/>
                  <a:gd name="T112" fmla="*/ 189 w 226"/>
                  <a:gd name="T113" fmla="*/ 18 h 383"/>
                  <a:gd name="T114" fmla="*/ 195 w 226"/>
                  <a:gd name="T115" fmla="*/ 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383">
                    <a:moveTo>
                      <a:pt x="104" y="320"/>
                    </a:moveTo>
                    <a:lnTo>
                      <a:pt x="104" y="320"/>
                    </a:lnTo>
                    <a:lnTo>
                      <a:pt x="103" y="320"/>
                    </a:lnTo>
                    <a:lnTo>
                      <a:pt x="103" y="320"/>
                    </a:lnTo>
                    <a:lnTo>
                      <a:pt x="101" y="324"/>
                    </a:lnTo>
                    <a:lnTo>
                      <a:pt x="101" y="325"/>
                    </a:lnTo>
                    <a:lnTo>
                      <a:pt x="100" y="328"/>
                    </a:lnTo>
                    <a:lnTo>
                      <a:pt x="98" y="335"/>
                    </a:lnTo>
                    <a:lnTo>
                      <a:pt x="95" y="335"/>
                    </a:lnTo>
                    <a:lnTo>
                      <a:pt x="92" y="346"/>
                    </a:lnTo>
                    <a:lnTo>
                      <a:pt x="92" y="347"/>
                    </a:lnTo>
                    <a:lnTo>
                      <a:pt x="92" y="353"/>
                    </a:lnTo>
                    <a:lnTo>
                      <a:pt x="92" y="355"/>
                    </a:lnTo>
                    <a:lnTo>
                      <a:pt x="93" y="355"/>
                    </a:lnTo>
                    <a:lnTo>
                      <a:pt x="93" y="353"/>
                    </a:lnTo>
                    <a:lnTo>
                      <a:pt x="98" y="338"/>
                    </a:lnTo>
                    <a:lnTo>
                      <a:pt x="100" y="336"/>
                    </a:lnTo>
                    <a:lnTo>
                      <a:pt x="100" y="331"/>
                    </a:lnTo>
                    <a:lnTo>
                      <a:pt x="103" y="324"/>
                    </a:lnTo>
                    <a:lnTo>
                      <a:pt x="103" y="324"/>
                    </a:lnTo>
                    <a:lnTo>
                      <a:pt x="103" y="322"/>
                    </a:lnTo>
                    <a:lnTo>
                      <a:pt x="104" y="320"/>
                    </a:lnTo>
                    <a:close/>
                    <a:moveTo>
                      <a:pt x="137" y="302"/>
                    </a:moveTo>
                    <a:lnTo>
                      <a:pt x="136" y="302"/>
                    </a:lnTo>
                    <a:lnTo>
                      <a:pt x="134" y="302"/>
                    </a:lnTo>
                    <a:lnTo>
                      <a:pt x="134" y="303"/>
                    </a:lnTo>
                    <a:lnTo>
                      <a:pt x="133" y="303"/>
                    </a:lnTo>
                    <a:lnTo>
                      <a:pt x="129" y="303"/>
                    </a:lnTo>
                    <a:lnTo>
                      <a:pt x="126" y="306"/>
                    </a:lnTo>
                    <a:lnTo>
                      <a:pt x="125" y="310"/>
                    </a:lnTo>
                    <a:lnTo>
                      <a:pt x="123" y="311"/>
                    </a:lnTo>
                    <a:lnTo>
                      <a:pt x="122" y="313"/>
                    </a:lnTo>
                    <a:lnTo>
                      <a:pt x="122" y="316"/>
                    </a:lnTo>
                    <a:lnTo>
                      <a:pt x="123" y="320"/>
                    </a:lnTo>
                    <a:lnTo>
                      <a:pt x="122" y="322"/>
                    </a:lnTo>
                    <a:lnTo>
                      <a:pt x="123" y="324"/>
                    </a:lnTo>
                    <a:lnTo>
                      <a:pt x="123" y="327"/>
                    </a:lnTo>
                    <a:lnTo>
                      <a:pt x="125" y="328"/>
                    </a:lnTo>
                    <a:lnTo>
                      <a:pt x="123" y="331"/>
                    </a:lnTo>
                    <a:lnTo>
                      <a:pt x="123" y="333"/>
                    </a:lnTo>
                    <a:lnTo>
                      <a:pt x="125" y="333"/>
                    </a:lnTo>
                    <a:lnTo>
                      <a:pt x="126" y="331"/>
                    </a:lnTo>
                    <a:lnTo>
                      <a:pt x="126" y="328"/>
                    </a:lnTo>
                    <a:lnTo>
                      <a:pt x="128" y="325"/>
                    </a:lnTo>
                    <a:lnTo>
                      <a:pt x="129" y="325"/>
                    </a:lnTo>
                    <a:lnTo>
                      <a:pt x="133" y="324"/>
                    </a:lnTo>
                    <a:lnTo>
                      <a:pt x="133" y="320"/>
                    </a:lnTo>
                    <a:lnTo>
                      <a:pt x="134" y="319"/>
                    </a:lnTo>
                    <a:lnTo>
                      <a:pt x="134" y="319"/>
                    </a:lnTo>
                    <a:lnTo>
                      <a:pt x="136" y="317"/>
                    </a:lnTo>
                    <a:lnTo>
                      <a:pt x="134" y="316"/>
                    </a:lnTo>
                    <a:lnTo>
                      <a:pt x="134" y="308"/>
                    </a:lnTo>
                    <a:lnTo>
                      <a:pt x="136" y="308"/>
                    </a:lnTo>
                    <a:lnTo>
                      <a:pt x="136" y="306"/>
                    </a:lnTo>
                    <a:lnTo>
                      <a:pt x="137" y="305"/>
                    </a:lnTo>
                    <a:lnTo>
                      <a:pt x="139" y="303"/>
                    </a:lnTo>
                    <a:lnTo>
                      <a:pt x="137" y="302"/>
                    </a:lnTo>
                    <a:close/>
                    <a:moveTo>
                      <a:pt x="142" y="299"/>
                    </a:moveTo>
                    <a:lnTo>
                      <a:pt x="140" y="299"/>
                    </a:lnTo>
                    <a:lnTo>
                      <a:pt x="139" y="302"/>
                    </a:lnTo>
                    <a:lnTo>
                      <a:pt x="139" y="303"/>
                    </a:lnTo>
                    <a:lnTo>
                      <a:pt x="140" y="303"/>
                    </a:lnTo>
                    <a:lnTo>
                      <a:pt x="140" y="302"/>
                    </a:lnTo>
                    <a:lnTo>
                      <a:pt x="143" y="300"/>
                    </a:lnTo>
                    <a:lnTo>
                      <a:pt x="142" y="299"/>
                    </a:lnTo>
                    <a:close/>
                    <a:moveTo>
                      <a:pt x="128" y="261"/>
                    </a:moveTo>
                    <a:lnTo>
                      <a:pt x="126" y="261"/>
                    </a:lnTo>
                    <a:lnTo>
                      <a:pt x="126" y="263"/>
                    </a:lnTo>
                    <a:lnTo>
                      <a:pt x="126" y="264"/>
                    </a:lnTo>
                    <a:lnTo>
                      <a:pt x="126" y="264"/>
                    </a:lnTo>
                    <a:lnTo>
                      <a:pt x="128" y="264"/>
                    </a:lnTo>
                    <a:lnTo>
                      <a:pt x="128" y="261"/>
                    </a:lnTo>
                    <a:lnTo>
                      <a:pt x="128" y="261"/>
                    </a:lnTo>
                    <a:close/>
                    <a:moveTo>
                      <a:pt x="131" y="245"/>
                    </a:moveTo>
                    <a:lnTo>
                      <a:pt x="129" y="247"/>
                    </a:lnTo>
                    <a:lnTo>
                      <a:pt x="129" y="249"/>
                    </a:lnTo>
                    <a:lnTo>
                      <a:pt x="129" y="249"/>
                    </a:lnTo>
                    <a:lnTo>
                      <a:pt x="129" y="250"/>
                    </a:lnTo>
                    <a:lnTo>
                      <a:pt x="131" y="249"/>
                    </a:lnTo>
                    <a:lnTo>
                      <a:pt x="131" y="249"/>
                    </a:lnTo>
                    <a:lnTo>
                      <a:pt x="133" y="247"/>
                    </a:lnTo>
                    <a:lnTo>
                      <a:pt x="133" y="247"/>
                    </a:lnTo>
                    <a:lnTo>
                      <a:pt x="131" y="245"/>
                    </a:lnTo>
                    <a:close/>
                    <a:moveTo>
                      <a:pt x="222" y="6"/>
                    </a:moveTo>
                    <a:lnTo>
                      <a:pt x="223" y="8"/>
                    </a:lnTo>
                    <a:lnTo>
                      <a:pt x="226" y="6"/>
                    </a:lnTo>
                    <a:lnTo>
                      <a:pt x="222" y="6"/>
                    </a:lnTo>
                    <a:close/>
                    <a:moveTo>
                      <a:pt x="206" y="6"/>
                    </a:moveTo>
                    <a:lnTo>
                      <a:pt x="206" y="6"/>
                    </a:lnTo>
                    <a:lnTo>
                      <a:pt x="209" y="9"/>
                    </a:lnTo>
                    <a:lnTo>
                      <a:pt x="211" y="8"/>
                    </a:lnTo>
                    <a:lnTo>
                      <a:pt x="211" y="6"/>
                    </a:lnTo>
                    <a:lnTo>
                      <a:pt x="214" y="6"/>
                    </a:lnTo>
                    <a:lnTo>
                      <a:pt x="206" y="6"/>
                    </a:lnTo>
                    <a:close/>
                    <a:moveTo>
                      <a:pt x="200" y="6"/>
                    </a:moveTo>
                    <a:lnTo>
                      <a:pt x="200" y="6"/>
                    </a:lnTo>
                    <a:lnTo>
                      <a:pt x="200" y="6"/>
                    </a:lnTo>
                    <a:lnTo>
                      <a:pt x="200" y="6"/>
                    </a:lnTo>
                    <a:close/>
                    <a:moveTo>
                      <a:pt x="61" y="6"/>
                    </a:moveTo>
                    <a:lnTo>
                      <a:pt x="61" y="4"/>
                    </a:lnTo>
                    <a:lnTo>
                      <a:pt x="61" y="0"/>
                    </a:lnTo>
                    <a:lnTo>
                      <a:pt x="61" y="0"/>
                    </a:lnTo>
                    <a:lnTo>
                      <a:pt x="61" y="4"/>
                    </a:lnTo>
                    <a:lnTo>
                      <a:pt x="61" y="6"/>
                    </a:lnTo>
                    <a:lnTo>
                      <a:pt x="61" y="9"/>
                    </a:lnTo>
                    <a:lnTo>
                      <a:pt x="59" y="12"/>
                    </a:lnTo>
                    <a:lnTo>
                      <a:pt x="57" y="28"/>
                    </a:lnTo>
                    <a:lnTo>
                      <a:pt x="57" y="29"/>
                    </a:lnTo>
                    <a:lnTo>
                      <a:pt x="56" y="33"/>
                    </a:lnTo>
                    <a:lnTo>
                      <a:pt x="51" y="42"/>
                    </a:lnTo>
                    <a:lnTo>
                      <a:pt x="48" y="48"/>
                    </a:lnTo>
                    <a:lnTo>
                      <a:pt x="48" y="48"/>
                    </a:lnTo>
                    <a:lnTo>
                      <a:pt x="43" y="58"/>
                    </a:lnTo>
                    <a:lnTo>
                      <a:pt x="43" y="58"/>
                    </a:lnTo>
                    <a:lnTo>
                      <a:pt x="47" y="59"/>
                    </a:lnTo>
                    <a:lnTo>
                      <a:pt x="51" y="62"/>
                    </a:lnTo>
                    <a:lnTo>
                      <a:pt x="51" y="65"/>
                    </a:lnTo>
                    <a:lnTo>
                      <a:pt x="53" y="70"/>
                    </a:lnTo>
                    <a:lnTo>
                      <a:pt x="51" y="73"/>
                    </a:lnTo>
                    <a:lnTo>
                      <a:pt x="51" y="76"/>
                    </a:lnTo>
                    <a:lnTo>
                      <a:pt x="50" y="80"/>
                    </a:lnTo>
                    <a:lnTo>
                      <a:pt x="50" y="80"/>
                    </a:lnTo>
                    <a:lnTo>
                      <a:pt x="50" y="80"/>
                    </a:lnTo>
                    <a:lnTo>
                      <a:pt x="48" y="80"/>
                    </a:lnTo>
                    <a:lnTo>
                      <a:pt x="43" y="80"/>
                    </a:lnTo>
                    <a:lnTo>
                      <a:pt x="37" y="78"/>
                    </a:lnTo>
                    <a:lnTo>
                      <a:pt x="36" y="78"/>
                    </a:lnTo>
                    <a:lnTo>
                      <a:pt x="32" y="78"/>
                    </a:lnTo>
                    <a:lnTo>
                      <a:pt x="28" y="81"/>
                    </a:lnTo>
                    <a:lnTo>
                      <a:pt x="26" y="83"/>
                    </a:lnTo>
                    <a:lnTo>
                      <a:pt x="26" y="83"/>
                    </a:lnTo>
                    <a:lnTo>
                      <a:pt x="23" y="87"/>
                    </a:lnTo>
                    <a:lnTo>
                      <a:pt x="20" y="94"/>
                    </a:lnTo>
                    <a:lnTo>
                      <a:pt x="20" y="94"/>
                    </a:lnTo>
                    <a:lnTo>
                      <a:pt x="17" y="97"/>
                    </a:lnTo>
                    <a:lnTo>
                      <a:pt x="18" y="101"/>
                    </a:lnTo>
                    <a:lnTo>
                      <a:pt x="14" y="109"/>
                    </a:lnTo>
                    <a:lnTo>
                      <a:pt x="17" y="117"/>
                    </a:lnTo>
                    <a:lnTo>
                      <a:pt x="17" y="117"/>
                    </a:lnTo>
                    <a:lnTo>
                      <a:pt x="18" y="120"/>
                    </a:lnTo>
                    <a:lnTo>
                      <a:pt x="17" y="122"/>
                    </a:lnTo>
                    <a:lnTo>
                      <a:pt x="17" y="123"/>
                    </a:lnTo>
                    <a:lnTo>
                      <a:pt x="17" y="123"/>
                    </a:lnTo>
                    <a:lnTo>
                      <a:pt x="17" y="126"/>
                    </a:lnTo>
                    <a:lnTo>
                      <a:pt x="17" y="131"/>
                    </a:lnTo>
                    <a:lnTo>
                      <a:pt x="17" y="133"/>
                    </a:lnTo>
                    <a:lnTo>
                      <a:pt x="17" y="136"/>
                    </a:lnTo>
                    <a:lnTo>
                      <a:pt x="20" y="147"/>
                    </a:lnTo>
                    <a:lnTo>
                      <a:pt x="20" y="150"/>
                    </a:lnTo>
                    <a:lnTo>
                      <a:pt x="20" y="151"/>
                    </a:lnTo>
                    <a:lnTo>
                      <a:pt x="18" y="159"/>
                    </a:lnTo>
                    <a:lnTo>
                      <a:pt x="17" y="169"/>
                    </a:lnTo>
                    <a:lnTo>
                      <a:pt x="20" y="170"/>
                    </a:lnTo>
                    <a:lnTo>
                      <a:pt x="23" y="173"/>
                    </a:lnTo>
                    <a:lnTo>
                      <a:pt x="25" y="175"/>
                    </a:lnTo>
                    <a:lnTo>
                      <a:pt x="28" y="178"/>
                    </a:lnTo>
                    <a:lnTo>
                      <a:pt x="29" y="181"/>
                    </a:lnTo>
                    <a:lnTo>
                      <a:pt x="29" y="184"/>
                    </a:lnTo>
                    <a:lnTo>
                      <a:pt x="29" y="186"/>
                    </a:lnTo>
                    <a:lnTo>
                      <a:pt x="28" y="189"/>
                    </a:lnTo>
                    <a:lnTo>
                      <a:pt x="28" y="191"/>
                    </a:lnTo>
                    <a:lnTo>
                      <a:pt x="28" y="191"/>
                    </a:lnTo>
                    <a:lnTo>
                      <a:pt x="26" y="192"/>
                    </a:lnTo>
                    <a:lnTo>
                      <a:pt x="26" y="194"/>
                    </a:lnTo>
                    <a:lnTo>
                      <a:pt x="23" y="194"/>
                    </a:lnTo>
                    <a:lnTo>
                      <a:pt x="20" y="194"/>
                    </a:lnTo>
                    <a:lnTo>
                      <a:pt x="20" y="195"/>
                    </a:lnTo>
                    <a:lnTo>
                      <a:pt x="20" y="195"/>
                    </a:lnTo>
                    <a:lnTo>
                      <a:pt x="20" y="198"/>
                    </a:lnTo>
                    <a:lnTo>
                      <a:pt x="22" y="206"/>
                    </a:lnTo>
                    <a:lnTo>
                      <a:pt x="25" y="211"/>
                    </a:lnTo>
                    <a:lnTo>
                      <a:pt x="25" y="214"/>
                    </a:lnTo>
                    <a:lnTo>
                      <a:pt x="25" y="217"/>
                    </a:lnTo>
                    <a:lnTo>
                      <a:pt x="23" y="219"/>
                    </a:lnTo>
                    <a:lnTo>
                      <a:pt x="23" y="220"/>
                    </a:lnTo>
                    <a:lnTo>
                      <a:pt x="23" y="222"/>
                    </a:lnTo>
                    <a:lnTo>
                      <a:pt x="23" y="227"/>
                    </a:lnTo>
                    <a:lnTo>
                      <a:pt x="22" y="228"/>
                    </a:lnTo>
                    <a:lnTo>
                      <a:pt x="20" y="231"/>
                    </a:lnTo>
                    <a:lnTo>
                      <a:pt x="20" y="231"/>
                    </a:lnTo>
                    <a:lnTo>
                      <a:pt x="20" y="231"/>
                    </a:lnTo>
                    <a:lnTo>
                      <a:pt x="17" y="233"/>
                    </a:lnTo>
                    <a:lnTo>
                      <a:pt x="17" y="233"/>
                    </a:lnTo>
                    <a:lnTo>
                      <a:pt x="15" y="234"/>
                    </a:lnTo>
                    <a:lnTo>
                      <a:pt x="15" y="234"/>
                    </a:lnTo>
                    <a:lnTo>
                      <a:pt x="14" y="234"/>
                    </a:lnTo>
                    <a:lnTo>
                      <a:pt x="14" y="234"/>
                    </a:lnTo>
                    <a:lnTo>
                      <a:pt x="14" y="234"/>
                    </a:lnTo>
                    <a:lnTo>
                      <a:pt x="12" y="238"/>
                    </a:lnTo>
                    <a:lnTo>
                      <a:pt x="12" y="241"/>
                    </a:lnTo>
                    <a:lnTo>
                      <a:pt x="9" y="244"/>
                    </a:lnTo>
                    <a:lnTo>
                      <a:pt x="9" y="245"/>
                    </a:lnTo>
                    <a:lnTo>
                      <a:pt x="11" y="250"/>
                    </a:lnTo>
                    <a:lnTo>
                      <a:pt x="11" y="255"/>
                    </a:lnTo>
                    <a:lnTo>
                      <a:pt x="11" y="259"/>
                    </a:lnTo>
                    <a:lnTo>
                      <a:pt x="9" y="264"/>
                    </a:lnTo>
                    <a:lnTo>
                      <a:pt x="9" y="267"/>
                    </a:lnTo>
                    <a:lnTo>
                      <a:pt x="7" y="267"/>
                    </a:lnTo>
                    <a:lnTo>
                      <a:pt x="6" y="269"/>
                    </a:lnTo>
                    <a:lnTo>
                      <a:pt x="6" y="269"/>
                    </a:lnTo>
                    <a:lnTo>
                      <a:pt x="6" y="267"/>
                    </a:lnTo>
                    <a:lnTo>
                      <a:pt x="4" y="264"/>
                    </a:lnTo>
                    <a:lnTo>
                      <a:pt x="3" y="263"/>
                    </a:lnTo>
                    <a:lnTo>
                      <a:pt x="0" y="263"/>
                    </a:lnTo>
                    <a:lnTo>
                      <a:pt x="0" y="263"/>
                    </a:lnTo>
                    <a:lnTo>
                      <a:pt x="0" y="266"/>
                    </a:lnTo>
                    <a:lnTo>
                      <a:pt x="0" y="267"/>
                    </a:lnTo>
                    <a:lnTo>
                      <a:pt x="1" y="269"/>
                    </a:lnTo>
                    <a:lnTo>
                      <a:pt x="1" y="275"/>
                    </a:lnTo>
                    <a:lnTo>
                      <a:pt x="1" y="283"/>
                    </a:lnTo>
                    <a:lnTo>
                      <a:pt x="1" y="285"/>
                    </a:lnTo>
                    <a:lnTo>
                      <a:pt x="1" y="286"/>
                    </a:lnTo>
                    <a:lnTo>
                      <a:pt x="3" y="286"/>
                    </a:lnTo>
                    <a:lnTo>
                      <a:pt x="4" y="288"/>
                    </a:lnTo>
                    <a:lnTo>
                      <a:pt x="4" y="294"/>
                    </a:lnTo>
                    <a:lnTo>
                      <a:pt x="6" y="299"/>
                    </a:lnTo>
                    <a:lnTo>
                      <a:pt x="9" y="299"/>
                    </a:lnTo>
                    <a:lnTo>
                      <a:pt x="9" y="306"/>
                    </a:lnTo>
                    <a:lnTo>
                      <a:pt x="11" y="308"/>
                    </a:lnTo>
                    <a:lnTo>
                      <a:pt x="12" y="310"/>
                    </a:lnTo>
                    <a:lnTo>
                      <a:pt x="12" y="311"/>
                    </a:lnTo>
                    <a:lnTo>
                      <a:pt x="14" y="314"/>
                    </a:lnTo>
                    <a:lnTo>
                      <a:pt x="14" y="317"/>
                    </a:lnTo>
                    <a:lnTo>
                      <a:pt x="15" y="317"/>
                    </a:lnTo>
                    <a:lnTo>
                      <a:pt x="17" y="324"/>
                    </a:lnTo>
                    <a:lnTo>
                      <a:pt x="22" y="335"/>
                    </a:lnTo>
                    <a:lnTo>
                      <a:pt x="25" y="336"/>
                    </a:lnTo>
                    <a:lnTo>
                      <a:pt x="28" y="342"/>
                    </a:lnTo>
                    <a:lnTo>
                      <a:pt x="28" y="342"/>
                    </a:lnTo>
                    <a:lnTo>
                      <a:pt x="29" y="344"/>
                    </a:lnTo>
                    <a:lnTo>
                      <a:pt x="31" y="347"/>
                    </a:lnTo>
                    <a:lnTo>
                      <a:pt x="29" y="349"/>
                    </a:lnTo>
                    <a:lnTo>
                      <a:pt x="28" y="349"/>
                    </a:lnTo>
                    <a:lnTo>
                      <a:pt x="26" y="349"/>
                    </a:lnTo>
                    <a:lnTo>
                      <a:pt x="26" y="350"/>
                    </a:lnTo>
                    <a:lnTo>
                      <a:pt x="28" y="352"/>
                    </a:lnTo>
                    <a:lnTo>
                      <a:pt x="28" y="355"/>
                    </a:lnTo>
                    <a:lnTo>
                      <a:pt x="28" y="355"/>
                    </a:lnTo>
                    <a:lnTo>
                      <a:pt x="26" y="355"/>
                    </a:lnTo>
                    <a:lnTo>
                      <a:pt x="23" y="353"/>
                    </a:lnTo>
                    <a:lnTo>
                      <a:pt x="23" y="353"/>
                    </a:lnTo>
                    <a:lnTo>
                      <a:pt x="23" y="355"/>
                    </a:lnTo>
                    <a:lnTo>
                      <a:pt x="25" y="358"/>
                    </a:lnTo>
                    <a:lnTo>
                      <a:pt x="29" y="366"/>
                    </a:lnTo>
                    <a:lnTo>
                      <a:pt x="31" y="369"/>
                    </a:lnTo>
                    <a:lnTo>
                      <a:pt x="31" y="371"/>
                    </a:lnTo>
                    <a:lnTo>
                      <a:pt x="31" y="372"/>
                    </a:lnTo>
                    <a:lnTo>
                      <a:pt x="31" y="375"/>
                    </a:lnTo>
                    <a:lnTo>
                      <a:pt x="31" y="377"/>
                    </a:lnTo>
                    <a:lnTo>
                      <a:pt x="31" y="378"/>
                    </a:lnTo>
                    <a:lnTo>
                      <a:pt x="29" y="382"/>
                    </a:lnTo>
                    <a:lnTo>
                      <a:pt x="37" y="383"/>
                    </a:lnTo>
                    <a:lnTo>
                      <a:pt x="47" y="380"/>
                    </a:lnTo>
                    <a:lnTo>
                      <a:pt x="51" y="382"/>
                    </a:lnTo>
                    <a:lnTo>
                      <a:pt x="53" y="382"/>
                    </a:lnTo>
                    <a:lnTo>
                      <a:pt x="56" y="377"/>
                    </a:lnTo>
                    <a:lnTo>
                      <a:pt x="54" y="374"/>
                    </a:lnTo>
                    <a:lnTo>
                      <a:pt x="53" y="371"/>
                    </a:lnTo>
                    <a:lnTo>
                      <a:pt x="53" y="367"/>
                    </a:lnTo>
                    <a:lnTo>
                      <a:pt x="54" y="366"/>
                    </a:lnTo>
                    <a:lnTo>
                      <a:pt x="56" y="364"/>
                    </a:lnTo>
                    <a:lnTo>
                      <a:pt x="57" y="363"/>
                    </a:lnTo>
                    <a:lnTo>
                      <a:pt x="59" y="361"/>
                    </a:lnTo>
                    <a:lnTo>
                      <a:pt x="61" y="363"/>
                    </a:lnTo>
                    <a:lnTo>
                      <a:pt x="62" y="361"/>
                    </a:lnTo>
                    <a:lnTo>
                      <a:pt x="62" y="358"/>
                    </a:lnTo>
                    <a:lnTo>
                      <a:pt x="64" y="358"/>
                    </a:lnTo>
                    <a:lnTo>
                      <a:pt x="68" y="358"/>
                    </a:lnTo>
                    <a:lnTo>
                      <a:pt x="73" y="358"/>
                    </a:lnTo>
                    <a:lnTo>
                      <a:pt x="76" y="356"/>
                    </a:lnTo>
                    <a:lnTo>
                      <a:pt x="78" y="356"/>
                    </a:lnTo>
                    <a:lnTo>
                      <a:pt x="79" y="358"/>
                    </a:lnTo>
                    <a:lnTo>
                      <a:pt x="81" y="360"/>
                    </a:lnTo>
                    <a:lnTo>
                      <a:pt x="82" y="358"/>
                    </a:lnTo>
                    <a:lnTo>
                      <a:pt x="84" y="356"/>
                    </a:lnTo>
                    <a:lnTo>
                      <a:pt x="87" y="347"/>
                    </a:lnTo>
                    <a:lnTo>
                      <a:pt x="89" y="344"/>
                    </a:lnTo>
                    <a:lnTo>
                      <a:pt x="90" y="341"/>
                    </a:lnTo>
                    <a:lnTo>
                      <a:pt x="92" y="338"/>
                    </a:lnTo>
                    <a:lnTo>
                      <a:pt x="93" y="333"/>
                    </a:lnTo>
                    <a:lnTo>
                      <a:pt x="93" y="328"/>
                    </a:lnTo>
                    <a:lnTo>
                      <a:pt x="93" y="327"/>
                    </a:lnTo>
                    <a:lnTo>
                      <a:pt x="93" y="325"/>
                    </a:lnTo>
                    <a:lnTo>
                      <a:pt x="93" y="322"/>
                    </a:lnTo>
                    <a:lnTo>
                      <a:pt x="95" y="317"/>
                    </a:lnTo>
                    <a:lnTo>
                      <a:pt x="97" y="314"/>
                    </a:lnTo>
                    <a:lnTo>
                      <a:pt x="95" y="313"/>
                    </a:lnTo>
                    <a:lnTo>
                      <a:pt x="95" y="310"/>
                    </a:lnTo>
                    <a:lnTo>
                      <a:pt x="95" y="306"/>
                    </a:lnTo>
                    <a:lnTo>
                      <a:pt x="95" y="305"/>
                    </a:lnTo>
                    <a:lnTo>
                      <a:pt x="95" y="302"/>
                    </a:lnTo>
                    <a:lnTo>
                      <a:pt x="97" y="302"/>
                    </a:lnTo>
                    <a:lnTo>
                      <a:pt x="97" y="294"/>
                    </a:lnTo>
                    <a:lnTo>
                      <a:pt x="98" y="291"/>
                    </a:lnTo>
                    <a:lnTo>
                      <a:pt x="97" y="288"/>
                    </a:lnTo>
                    <a:lnTo>
                      <a:pt x="97" y="285"/>
                    </a:lnTo>
                    <a:lnTo>
                      <a:pt x="100" y="283"/>
                    </a:lnTo>
                    <a:lnTo>
                      <a:pt x="101" y="281"/>
                    </a:lnTo>
                    <a:lnTo>
                      <a:pt x="98" y="278"/>
                    </a:lnTo>
                    <a:lnTo>
                      <a:pt x="97" y="278"/>
                    </a:lnTo>
                    <a:lnTo>
                      <a:pt x="93" y="278"/>
                    </a:lnTo>
                    <a:lnTo>
                      <a:pt x="92" y="278"/>
                    </a:lnTo>
                    <a:lnTo>
                      <a:pt x="90" y="278"/>
                    </a:lnTo>
                    <a:lnTo>
                      <a:pt x="89" y="277"/>
                    </a:lnTo>
                    <a:lnTo>
                      <a:pt x="90" y="277"/>
                    </a:lnTo>
                    <a:lnTo>
                      <a:pt x="97" y="277"/>
                    </a:lnTo>
                    <a:lnTo>
                      <a:pt x="101" y="277"/>
                    </a:lnTo>
                    <a:lnTo>
                      <a:pt x="104" y="275"/>
                    </a:lnTo>
                    <a:lnTo>
                      <a:pt x="109" y="272"/>
                    </a:lnTo>
                    <a:lnTo>
                      <a:pt x="111" y="270"/>
                    </a:lnTo>
                    <a:lnTo>
                      <a:pt x="114" y="267"/>
                    </a:lnTo>
                    <a:lnTo>
                      <a:pt x="115" y="266"/>
                    </a:lnTo>
                    <a:lnTo>
                      <a:pt x="117" y="266"/>
                    </a:lnTo>
                    <a:lnTo>
                      <a:pt x="120" y="264"/>
                    </a:lnTo>
                    <a:lnTo>
                      <a:pt x="122" y="263"/>
                    </a:lnTo>
                    <a:lnTo>
                      <a:pt x="125" y="261"/>
                    </a:lnTo>
                    <a:lnTo>
                      <a:pt x="125" y="261"/>
                    </a:lnTo>
                    <a:lnTo>
                      <a:pt x="126" y="259"/>
                    </a:lnTo>
                    <a:lnTo>
                      <a:pt x="126" y="255"/>
                    </a:lnTo>
                    <a:lnTo>
                      <a:pt x="128" y="255"/>
                    </a:lnTo>
                    <a:lnTo>
                      <a:pt x="131" y="253"/>
                    </a:lnTo>
                    <a:lnTo>
                      <a:pt x="129" y="252"/>
                    </a:lnTo>
                    <a:lnTo>
                      <a:pt x="129" y="252"/>
                    </a:lnTo>
                    <a:lnTo>
                      <a:pt x="128" y="252"/>
                    </a:lnTo>
                    <a:lnTo>
                      <a:pt x="126" y="252"/>
                    </a:lnTo>
                    <a:lnTo>
                      <a:pt x="126" y="252"/>
                    </a:lnTo>
                    <a:lnTo>
                      <a:pt x="125" y="252"/>
                    </a:lnTo>
                    <a:lnTo>
                      <a:pt x="123" y="253"/>
                    </a:lnTo>
                    <a:lnTo>
                      <a:pt x="122" y="255"/>
                    </a:lnTo>
                    <a:lnTo>
                      <a:pt x="120" y="253"/>
                    </a:lnTo>
                    <a:lnTo>
                      <a:pt x="117" y="256"/>
                    </a:lnTo>
                    <a:lnTo>
                      <a:pt x="112" y="256"/>
                    </a:lnTo>
                    <a:lnTo>
                      <a:pt x="111" y="255"/>
                    </a:lnTo>
                    <a:lnTo>
                      <a:pt x="109" y="255"/>
                    </a:lnTo>
                    <a:lnTo>
                      <a:pt x="108" y="256"/>
                    </a:lnTo>
                    <a:lnTo>
                      <a:pt x="106" y="253"/>
                    </a:lnTo>
                    <a:lnTo>
                      <a:pt x="103" y="252"/>
                    </a:lnTo>
                    <a:lnTo>
                      <a:pt x="101" y="250"/>
                    </a:lnTo>
                    <a:lnTo>
                      <a:pt x="98" y="250"/>
                    </a:lnTo>
                    <a:lnTo>
                      <a:pt x="95" y="250"/>
                    </a:lnTo>
                    <a:lnTo>
                      <a:pt x="87" y="250"/>
                    </a:lnTo>
                    <a:lnTo>
                      <a:pt x="86" y="249"/>
                    </a:lnTo>
                    <a:lnTo>
                      <a:pt x="89" y="249"/>
                    </a:lnTo>
                    <a:lnTo>
                      <a:pt x="93" y="247"/>
                    </a:lnTo>
                    <a:lnTo>
                      <a:pt x="95" y="244"/>
                    </a:lnTo>
                    <a:lnTo>
                      <a:pt x="97" y="245"/>
                    </a:lnTo>
                    <a:lnTo>
                      <a:pt x="98" y="247"/>
                    </a:lnTo>
                    <a:lnTo>
                      <a:pt x="100" y="245"/>
                    </a:lnTo>
                    <a:lnTo>
                      <a:pt x="101" y="245"/>
                    </a:lnTo>
                    <a:lnTo>
                      <a:pt x="103" y="245"/>
                    </a:lnTo>
                    <a:lnTo>
                      <a:pt x="109" y="249"/>
                    </a:lnTo>
                    <a:lnTo>
                      <a:pt x="109" y="245"/>
                    </a:lnTo>
                    <a:lnTo>
                      <a:pt x="112" y="247"/>
                    </a:lnTo>
                    <a:lnTo>
                      <a:pt x="114" y="247"/>
                    </a:lnTo>
                    <a:lnTo>
                      <a:pt x="114" y="244"/>
                    </a:lnTo>
                    <a:lnTo>
                      <a:pt x="115" y="244"/>
                    </a:lnTo>
                    <a:lnTo>
                      <a:pt x="115" y="244"/>
                    </a:lnTo>
                    <a:lnTo>
                      <a:pt x="117" y="245"/>
                    </a:lnTo>
                    <a:lnTo>
                      <a:pt x="115" y="250"/>
                    </a:lnTo>
                    <a:lnTo>
                      <a:pt x="117" y="252"/>
                    </a:lnTo>
                    <a:lnTo>
                      <a:pt x="118" y="253"/>
                    </a:lnTo>
                    <a:lnTo>
                      <a:pt x="123" y="250"/>
                    </a:lnTo>
                    <a:lnTo>
                      <a:pt x="123" y="250"/>
                    </a:lnTo>
                    <a:lnTo>
                      <a:pt x="125" y="250"/>
                    </a:lnTo>
                    <a:lnTo>
                      <a:pt x="126" y="249"/>
                    </a:lnTo>
                    <a:lnTo>
                      <a:pt x="126" y="249"/>
                    </a:lnTo>
                    <a:lnTo>
                      <a:pt x="129" y="245"/>
                    </a:lnTo>
                    <a:lnTo>
                      <a:pt x="131" y="244"/>
                    </a:lnTo>
                    <a:lnTo>
                      <a:pt x="133" y="242"/>
                    </a:lnTo>
                    <a:lnTo>
                      <a:pt x="136" y="239"/>
                    </a:lnTo>
                    <a:lnTo>
                      <a:pt x="137" y="239"/>
                    </a:lnTo>
                    <a:lnTo>
                      <a:pt x="137" y="236"/>
                    </a:lnTo>
                    <a:lnTo>
                      <a:pt x="136" y="233"/>
                    </a:lnTo>
                    <a:lnTo>
                      <a:pt x="136" y="231"/>
                    </a:lnTo>
                    <a:lnTo>
                      <a:pt x="134" y="230"/>
                    </a:lnTo>
                    <a:lnTo>
                      <a:pt x="134" y="228"/>
                    </a:lnTo>
                    <a:lnTo>
                      <a:pt x="131" y="227"/>
                    </a:lnTo>
                    <a:lnTo>
                      <a:pt x="129" y="225"/>
                    </a:lnTo>
                    <a:lnTo>
                      <a:pt x="129" y="222"/>
                    </a:lnTo>
                    <a:lnTo>
                      <a:pt x="126" y="219"/>
                    </a:lnTo>
                    <a:lnTo>
                      <a:pt x="125" y="217"/>
                    </a:lnTo>
                    <a:lnTo>
                      <a:pt x="123" y="216"/>
                    </a:lnTo>
                    <a:lnTo>
                      <a:pt x="120" y="213"/>
                    </a:lnTo>
                    <a:lnTo>
                      <a:pt x="118" y="209"/>
                    </a:lnTo>
                    <a:lnTo>
                      <a:pt x="117" y="209"/>
                    </a:lnTo>
                    <a:lnTo>
                      <a:pt x="115" y="211"/>
                    </a:lnTo>
                    <a:lnTo>
                      <a:pt x="114" y="211"/>
                    </a:lnTo>
                    <a:lnTo>
                      <a:pt x="114" y="209"/>
                    </a:lnTo>
                    <a:lnTo>
                      <a:pt x="112" y="208"/>
                    </a:lnTo>
                    <a:lnTo>
                      <a:pt x="112" y="208"/>
                    </a:lnTo>
                    <a:lnTo>
                      <a:pt x="111" y="208"/>
                    </a:lnTo>
                    <a:lnTo>
                      <a:pt x="109" y="208"/>
                    </a:lnTo>
                    <a:lnTo>
                      <a:pt x="106" y="205"/>
                    </a:lnTo>
                    <a:lnTo>
                      <a:pt x="108" y="203"/>
                    </a:lnTo>
                    <a:lnTo>
                      <a:pt x="108" y="202"/>
                    </a:lnTo>
                    <a:lnTo>
                      <a:pt x="106" y="197"/>
                    </a:lnTo>
                    <a:lnTo>
                      <a:pt x="106" y="195"/>
                    </a:lnTo>
                    <a:lnTo>
                      <a:pt x="106" y="189"/>
                    </a:lnTo>
                    <a:lnTo>
                      <a:pt x="106" y="186"/>
                    </a:lnTo>
                    <a:lnTo>
                      <a:pt x="104" y="184"/>
                    </a:lnTo>
                    <a:lnTo>
                      <a:pt x="106" y="183"/>
                    </a:lnTo>
                    <a:lnTo>
                      <a:pt x="106" y="181"/>
                    </a:lnTo>
                    <a:lnTo>
                      <a:pt x="104" y="181"/>
                    </a:lnTo>
                    <a:lnTo>
                      <a:pt x="104" y="178"/>
                    </a:lnTo>
                    <a:lnTo>
                      <a:pt x="104" y="177"/>
                    </a:lnTo>
                    <a:lnTo>
                      <a:pt x="104" y="173"/>
                    </a:lnTo>
                    <a:lnTo>
                      <a:pt x="106" y="170"/>
                    </a:lnTo>
                    <a:lnTo>
                      <a:pt x="106" y="169"/>
                    </a:lnTo>
                    <a:lnTo>
                      <a:pt x="108" y="169"/>
                    </a:lnTo>
                    <a:lnTo>
                      <a:pt x="111" y="170"/>
                    </a:lnTo>
                    <a:lnTo>
                      <a:pt x="109" y="167"/>
                    </a:lnTo>
                    <a:lnTo>
                      <a:pt x="109" y="166"/>
                    </a:lnTo>
                    <a:lnTo>
                      <a:pt x="109" y="162"/>
                    </a:lnTo>
                    <a:lnTo>
                      <a:pt x="109" y="159"/>
                    </a:lnTo>
                    <a:lnTo>
                      <a:pt x="111" y="158"/>
                    </a:lnTo>
                    <a:lnTo>
                      <a:pt x="111" y="151"/>
                    </a:lnTo>
                    <a:lnTo>
                      <a:pt x="112" y="150"/>
                    </a:lnTo>
                    <a:lnTo>
                      <a:pt x="114" y="150"/>
                    </a:lnTo>
                    <a:lnTo>
                      <a:pt x="112" y="148"/>
                    </a:lnTo>
                    <a:lnTo>
                      <a:pt x="109" y="145"/>
                    </a:lnTo>
                    <a:lnTo>
                      <a:pt x="109" y="142"/>
                    </a:lnTo>
                    <a:lnTo>
                      <a:pt x="109" y="141"/>
                    </a:lnTo>
                    <a:lnTo>
                      <a:pt x="109" y="139"/>
                    </a:lnTo>
                    <a:lnTo>
                      <a:pt x="111" y="139"/>
                    </a:lnTo>
                    <a:lnTo>
                      <a:pt x="112" y="141"/>
                    </a:lnTo>
                    <a:lnTo>
                      <a:pt x="114" y="141"/>
                    </a:lnTo>
                    <a:lnTo>
                      <a:pt x="115" y="139"/>
                    </a:lnTo>
                    <a:lnTo>
                      <a:pt x="117" y="139"/>
                    </a:lnTo>
                    <a:lnTo>
                      <a:pt x="118" y="136"/>
                    </a:lnTo>
                    <a:lnTo>
                      <a:pt x="120" y="136"/>
                    </a:lnTo>
                    <a:lnTo>
                      <a:pt x="120" y="134"/>
                    </a:lnTo>
                    <a:lnTo>
                      <a:pt x="118" y="134"/>
                    </a:lnTo>
                    <a:lnTo>
                      <a:pt x="118" y="133"/>
                    </a:lnTo>
                    <a:lnTo>
                      <a:pt x="118" y="133"/>
                    </a:lnTo>
                    <a:lnTo>
                      <a:pt x="120" y="131"/>
                    </a:lnTo>
                    <a:lnTo>
                      <a:pt x="118" y="128"/>
                    </a:lnTo>
                    <a:lnTo>
                      <a:pt x="118" y="126"/>
                    </a:lnTo>
                    <a:lnTo>
                      <a:pt x="118" y="125"/>
                    </a:lnTo>
                    <a:lnTo>
                      <a:pt x="118" y="125"/>
                    </a:lnTo>
                    <a:lnTo>
                      <a:pt x="118" y="126"/>
                    </a:lnTo>
                    <a:lnTo>
                      <a:pt x="122" y="126"/>
                    </a:lnTo>
                    <a:lnTo>
                      <a:pt x="122" y="126"/>
                    </a:lnTo>
                    <a:lnTo>
                      <a:pt x="122" y="128"/>
                    </a:lnTo>
                    <a:lnTo>
                      <a:pt x="123" y="128"/>
                    </a:lnTo>
                    <a:lnTo>
                      <a:pt x="123" y="126"/>
                    </a:lnTo>
                    <a:lnTo>
                      <a:pt x="125" y="126"/>
                    </a:lnTo>
                    <a:lnTo>
                      <a:pt x="128" y="123"/>
                    </a:lnTo>
                    <a:lnTo>
                      <a:pt x="128" y="123"/>
                    </a:lnTo>
                    <a:lnTo>
                      <a:pt x="128" y="122"/>
                    </a:lnTo>
                    <a:lnTo>
                      <a:pt x="129" y="120"/>
                    </a:lnTo>
                    <a:lnTo>
                      <a:pt x="125" y="120"/>
                    </a:lnTo>
                    <a:lnTo>
                      <a:pt x="126" y="119"/>
                    </a:lnTo>
                    <a:lnTo>
                      <a:pt x="126" y="119"/>
                    </a:lnTo>
                    <a:lnTo>
                      <a:pt x="129" y="117"/>
                    </a:lnTo>
                    <a:lnTo>
                      <a:pt x="129" y="116"/>
                    </a:lnTo>
                    <a:lnTo>
                      <a:pt x="131" y="112"/>
                    </a:lnTo>
                    <a:lnTo>
                      <a:pt x="131" y="112"/>
                    </a:lnTo>
                    <a:lnTo>
                      <a:pt x="133" y="112"/>
                    </a:lnTo>
                    <a:lnTo>
                      <a:pt x="134" y="112"/>
                    </a:lnTo>
                    <a:lnTo>
                      <a:pt x="136" y="112"/>
                    </a:lnTo>
                    <a:lnTo>
                      <a:pt x="134" y="111"/>
                    </a:lnTo>
                    <a:lnTo>
                      <a:pt x="134" y="111"/>
                    </a:lnTo>
                    <a:lnTo>
                      <a:pt x="134" y="109"/>
                    </a:lnTo>
                    <a:lnTo>
                      <a:pt x="137" y="111"/>
                    </a:lnTo>
                    <a:lnTo>
                      <a:pt x="142" y="106"/>
                    </a:lnTo>
                    <a:lnTo>
                      <a:pt x="142" y="103"/>
                    </a:lnTo>
                    <a:lnTo>
                      <a:pt x="143" y="101"/>
                    </a:lnTo>
                    <a:lnTo>
                      <a:pt x="147" y="103"/>
                    </a:lnTo>
                    <a:lnTo>
                      <a:pt x="147" y="101"/>
                    </a:lnTo>
                    <a:lnTo>
                      <a:pt x="147" y="100"/>
                    </a:lnTo>
                    <a:lnTo>
                      <a:pt x="148" y="101"/>
                    </a:lnTo>
                    <a:lnTo>
                      <a:pt x="148" y="101"/>
                    </a:lnTo>
                    <a:lnTo>
                      <a:pt x="150" y="101"/>
                    </a:lnTo>
                    <a:lnTo>
                      <a:pt x="151" y="98"/>
                    </a:lnTo>
                    <a:lnTo>
                      <a:pt x="153" y="97"/>
                    </a:lnTo>
                    <a:lnTo>
                      <a:pt x="159" y="94"/>
                    </a:lnTo>
                    <a:lnTo>
                      <a:pt x="161" y="92"/>
                    </a:lnTo>
                    <a:lnTo>
                      <a:pt x="162" y="89"/>
                    </a:lnTo>
                    <a:lnTo>
                      <a:pt x="167" y="87"/>
                    </a:lnTo>
                    <a:lnTo>
                      <a:pt x="168" y="86"/>
                    </a:lnTo>
                    <a:lnTo>
                      <a:pt x="173" y="73"/>
                    </a:lnTo>
                    <a:lnTo>
                      <a:pt x="176" y="69"/>
                    </a:lnTo>
                    <a:lnTo>
                      <a:pt x="181" y="65"/>
                    </a:lnTo>
                    <a:lnTo>
                      <a:pt x="181" y="64"/>
                    </a:lnTo>
                    <a:lnTo>
                      <a:pt x="181" y="62"/>
                    </a:lnTo>
                    <a:lnTo>
                      <a:pt x="179" y="59"/>
                    </a:lnTo>
                    <a:lnTo>
                      <a:pt x="178" y="54"/>
                    </a:lnTo>
                    <a:lnTo>
                      <a:pt x="178" y="51"/>
                    </a:lnTo>
                    <a:lnTo>
                      <a:pt x="176" y="50"/>
                    </a:lnTo>
                    <a:lnTo>
                      <a:pt x="175" y="48"/>
                    </a:lnTo>
                    <a:lnTo>
                      <a:pt x="176" y="45"/>
                    </a:lnTo>
                    <a:lnTo>
                      <a:pt x="178" y="42"/>
                    </a:lnTo>
                    <a:lnTo>
                      <a:pt x="179" y="39"/>
                    </a:lnTo>
                    <a:lnTo>
                      <a:pt x="183" y="34"/>
                    </a:lnTo>
                    <a:lnTo>
                      <a:pt x="183" y="33"/>
                    </a:lnTo>
                    <a:lnTo>
                      <a:pt x="183" y="31"/>
                    </a:lnTo>
                    <a:lnTo>
                      <a:pt x="181" y="29"/>
                    </a:lnTo>
                    <a:lnTo>
                      <a:pt x="179" y="28"/>
                    </a:lnTo>
                    <a:lnTo>
                      <a:pt x="179" y="26"/>
                    </a:lnTo>
                    <a:lnTo>
                      <a:pt x="181" y="26"/>
                    </a:lnTo>
                    <a:lnTo>
                      <a:pt x="183" y="29"/>
                    </a:lnTo>
                    <a:lnTo>
                      <a:pt x="183" y="29"/>
                    </a:lnTo>
                    <a:lnTo>
                      <a:pt x="183" y="28"/>
                    </a:lnTo>
                    <a:lnTo>
                      <a:pt x="183" y="26"/>
                    </a:lnTo>
                    <a:lnTo>
                      <a:pt x="183" y="26"/>
                    </a:lnTo>
                    <a:lnTo>
                      <a:pt x="181" y="25"/>
                    </a:lnTo>
                    <a:lnTo>
                      <a:pt x="183" y="23"/>
                    </a:lnTo>
                    <a:lnTo>
                      <a:pt x="183" y="23"/>
                    </a:lnTo>
                    <a:lnTo>
                      <a:pt x="184" y="23"/>
                    </a:lnTo>
                    <a:lnTo>
                      <a:pt x="187" y="22"/>
                    </a:lnTo>
                    <a:lnTo>
                      <a:pt x="189" y="22"/>
                    </a:lnTo>
                    <a:lnTo>
                      <a:pt x="189" y="20"/>
                    </a:lnTo>
                    <a:lnTo>
                      <a:pt x="189" y="18"/>
                    </a:lnTo>
                    <a:lnTo>
                      <a:pt x="189" y="17"/>
                    </a:lnTo>
                    <a:lnTo>
                      <a:pt x="192" y="17"/>
                    </a:lnTo>
                    <a:lnTo>
                      <a:pt x="192" y="17"/>
                    </a:lnTo>
                    <a:lnTo>
                      <a:pt x="192" y="15"/>
                    </a:lnTo>
                    <a:lnTo>
                      <a:pt x="192" y="15"/>
                    </a:lnTo>
                    <a:lnTo>
                      <a:pt x="192" y="14"/>
                    </a:lnTo>
                    <a:lnTo>
                      <a:pt x="195" y="15"/>
                    </a:lnTo>
                    <a:lnTo>
                      <a:pt x="195" y="14"/>
                    </a:lnTo>
                    <a:lnTo>
                      <a:pt x="195" y="9"/>
                    </a:lnTo>
                    <a:lnTo>
                      <a:pt x="195" y="8"/>
                    </a:lnTo>
                    <a:lnTo>
                      <a:pt x="197" y="6"/>
                    </a:lnTo>
                    <a:lnTo>
                      <a:pt x="197" y="6"/>
                    </a:lnTo>
                    <a:lnTo>
                      <a:pt x="61"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3" name="Freeform 180">
                <a:extLst>
                  <a:ext uri="{FF2B5EF4-FFF2-40B4-BE49-F238E27FC236}">
                    <a16:creationId xmlns:a16="http://schemas.microsoft.com/office/drawing/2014/main" id="{D5AD0A1B-9140-8FE2-8A4E-1E20A594EB18}"/>
                  </a:ext>
                </a:extLst>
              </p:cNvPr>
              <p:cNvSpPr>
                <a:spLocks/>
              </p:cNvSpPr>
              <p:nvPr/>
            </p:nvSpPr>
            <p:spPr bwMode="gray">
              <a:xfrm>
                <a:off x="4494" y="1552"/>
                <a:ext cx="6" cy="4"/>
              </a:xfrm>
              <a:custGeom>
                <a:avLst/>
                <a:gdLst>
                  <a:gd name="T0" fmla="*/ 6 w 6"/>
                  <a:gd name="T1" fmla="*/ 2 h 4"/>
                  <a:gd name="T2" fmla="*/ 3 w 6"/>
                  <a:gd name="T3" fmla="*/ 4 h 4"/>
                  <a:gd name="T4" fmla="*/ 0 w 6"/>
                  <a:gd name="T5" fmla="*/ 2 h 4"/>
                  <a:gd name="T6" fmla="*/ 1 w 6"/>
                  <a:gd name="T7" fmla="*/ 0 h 4"/>
                  <a:gd name="T8" fmla="*/ 3 w 6"/>
                  <a:gd name="T9" fmla="*/ 0 h 4"/>
                  <a:gd name="T10" fmla="*/ 4 w 6"/>
                  <a:gd name="T11" fmla="*/ 0 h 4"/>
                  <a:gd name="T12" fmla="*/ 6 w 6"/>
                  <a:gd name="T13" fmla="*/ 0 h 4"/>
                  <a:gd name="T14" fmla="*/ 6 w 6"/>
                  <a:gd name="T15" fmla="*/ 0 h 4"/>
                  <a:gd name="T16" fmla="*/ 6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2"/>
                    </a:moveTo>
                    <a:lnTo>
                      <a:pt x="3" y="4"/>
                    </a:lnTo>
                    <a:lnTo>
                      <a:pt x="0" y="2"/>
                    </a:lnTo>
                    <a:lnTo>
                      <a:pt x="1" y="0"/>
                    </a:lnTo>
                    <a:lnTo>
                      <a:pt x="3" y="0"/>
                    </a:lnTo>
                    <a:lnTo>
                      <a:pt x="4" y="0"/>
                    </a:lnTo>
                    <a:lnTo>
                      <a:pt x="6" y="0"/>
                    </a:lnTo>
                    <a:lnTo>
                      <a:pt x="6" y="0"/>
                    </a:lnTo>
                    <a:lnTo>
                      <a:pt x="6"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4" name="Freeform 181">
                <a:extLst>
                  <a:ext uri="{FF2B5EF4-FFF2-40B4-BE49-F238E27FC236}">
                    <a16:creationId xmlns:a16="http://schemas.microsoft.com/office/drawing/2014/main" id="{630C8AF4-0AC9-94C5-0E3C-4EB51E4F83F4}"/>
                  </a:ext>
                </a:extLst>
              </p:cNvPr>
              <p:cNvSpPr>
                <a:spLocks/>
              </p:cNvSpPr>
              <p:nvPr/>
            </p:nvSpPr>
            <p:spPr bwMode="gray">
              <a:xfrm>
                <a:off x="2910" y="648"/>
                <a:ext cx="54" cy="36"/>
              </a:xfrm>
              <a:custGeom>
                <a:avLst/>
                <a:gdLst>
                  <a:gd name="T0" fmla="*/ 51 w 54"/>
                  <a:gd name="T1" fmla="*/ 8 h 36"/>
                  <a:gd name="T2" fmla="*/ 50 w 54"/>
                  <a:gd name="T3" fmla="*/ 9 h 36"/>
                  <a:gd name="T4" fmla="*/ 48 w 54"/>
                  <a:gd name="T5" fmla="*/ 12 h 36"/>
                  <a:gd name="T6" fmla="*/ 45 w 54"/>
                  <a:gd name="T7" fmla="*/ 14 h 36"/>
                  <a:gd name="T8" fmla="*/ 40 w 54"/>
                  <a:gd name="T9" fmla="*/ 16 h 36"/>
                  <a:gd name="T10" fmla="*/ 39 w 54"/>
                  <a:gd name="T11" fmla="*/ 19 h 36"/>
                  <a:gd name="T12" fmla="*/ 40 w 54"/>
                  <a:gd name="T13" fmla="*/ 22 h 36"/>
                  <a:gd name="T14" fmla="*/ 39 w 54"/>
                  <a:gd name="T15" fmla="*/ 27 h 36"/>
                  <a:gd name="T16" fmla="*/ 33 w 54"/>
                  <a:gd name="T17" fmla="*/ 28 h 36"/>
                  <a:gd name="T18" fmla="*/ 33 w 54"/>
                  <a:gd name="T19" fmla="*/ 31 h 36"/>
                  <a:gd name="T20" fmla="*/ 34 w 54"/>
                  <a:gd name="T21" fmla="*/ 34 h 36"/>
                  <a:gd name="T22" fmla="*/ 29 w 54"/>
                  <a:gd name="T23" fmla="*/ 36 h 36"/>
                  <a:gd name="T24" fmla="*/ 25 w 54"/>
                  <a:gd name="T25" fmla="*/ 34 h 36"/>
                  <a:gd name="T26" fmla="*/ 22 w 54"/>
                  <a:gd name="T27" fmla="*/ 33 h 36"/>
                  <a:gd name="T28" fmla="*/ 20 w 54"/>
                  <a:gd name="T29" fmla="*/ 30 h 36"/>
                  <a:gd name="T30" fmla="*/ 18 w 54"/>
                  <a:gd name="T31" fmla="*/ 34 h 36"/>
                  <a:gd name="T32" fmla="*/ 14 w 54"/>
                  <a:gd name="T33" fmla="*/ 34 h 36"/>
                  <a:gd name="T34" fmla="*/ 11 w 54"/>
                  <a:gd name="T35" fmla="*/ 34 h 36"/>
                  <a:gd name="T36" fmla="*/ 9 w 54"/>
                  <a:gd name="T37" fmla="*/ 36 h 36"/>
                  <a:gd name="T38" fmla="*/ 4 w 54"/>
                  <a:gd name="T39" fmla="*/ 33 h 36"/>
                  <a:gd name="T40" fmla="*/ 8 w 54"/>
                  <a:gd name="T41" fmla="*/ 31 h 36"/>
                  <a:gd name="T42" fmla="*/ 6 w 54"/>
                  <a:gd name="T43" fmla="*/ 28 h 36"/>
                  <a:gd name="T44" fmla="*/ 3 w 54"/>
                  <a:gd name="T45" fmla="*/ 27 h 36"/>
                  <a:gd name="T46" fmla="*/ 1 w 54"/>
                  <a:gd name="T47" fmla="*/ 22 h 36"/>
                  <a:gd name="T48" fmla="*/ 1 w 54"/>
                  <a:gd name="T49" fmla="*/ 20 h 36"/>
                  <a:gd name="T50" fmla="*/ 4 w 54"/>
                  <a:gd name="T51" fmla="*/ 17 h 36"/>
                  <a:gd name="T52" fmla="*/ 1 w 54"/>
                  <a:gd name="T53" fmla="*/ 16 h 36"/>
                  <a:gd name="T54" fmla="*/ 0 w 54"/>
                  <a:gd name="T55" fmla="*/ 16 h 36"/>
                  <a:gd name="T56" fmla="*/ 1 w 54"/>
                  <a:gd name="T57" fmla="*/ 12 h 36"/>
                  <a:gd name="T58" fmla="*/ 4 w 54"/>
                  <a:gd name="T59" fmla="*/ 9 h 36"/>
                  <a:gd name="T60" fmla="*/ 8 w 54"/>
                  <a:gd name="T61" fmla="*/ 9 h 36"/>
                  <a:gd name="T62" fmla="*/ 12 w 54"/>
                  <a:gd name="T63" fmla="*/ 9 h 36"/>
                  <a:gd name="T64" fmla="*/ 18 w 54"/>
                  <a:gd name="T65" fmla="*/ 11 h 36"/>
                  <a:gd name="T66" fmla="*/ 20 w 54"/>
                  <a:gd name="T67" fmla="*/ 11 h 36"/>
                  <a:gd name="T68" fmla="*/ 23 w 54"/>
                  <a:gd name="T69" fmla="*/ 9 h 36"/>
                  <a:gd name="T70" fmla="*/ 26 w 54"/>
                  <a:gd name="T71" fmla="*/ 6 h 36"/>
                  <a:gd name="T72" fmla="*/ 33 w 54"/>
                  <a:gd name="T73" fmla="*/ 5 h 36"/>
                  <a:gd name="T74" fmla="*/ 39 w 54"/>
                  <a:gd name="T75" fmla="*/ 5 h 36"/>
                  <a:gd name="T76" fmla="*/ 45 w 54"/>
                  <a:gd name="T77" fmla="*/ 5 h 36"/>
                  <a:gd name="T78" fmla="*/ 45 w 54"/>
                  <a:gd name="T79" fmla="*/ 2 h 36"/>
                  <a:gd name="T80" fmla="*/ 51 w 54"/>
                  <a:gd name="T81" fmla="*/ 0 h 36"/>
                  <a:gd name="T82" fmla="*/ 51 w 54"/>
                  <a:gd name="T83" fmla="*/ 3 h 36"/>
                  <a:gd name="T84" fmla="*/ 53 w 54"/>
                  <a:gd name="T85" fmla="*/ 6 h 36"/>
                  <a:gd name="T86" fmla="*/ 54 w 54"/>
                  <a:gd name="T8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36">
                    <a:moveTo>
                      <a:pt x="54" y="9"/>
                    </a:moveTo>
                    <a:lnTo>
                      <a:pt x="53" y="8"/>
                    </a:lnTo>
                    <a:lnTo>
                      <a:pt x="51" y="8"/>
                    </a:lnTo>
                    <a:lnTo>
                      <a:pt x="51" y="8"/>
                    </a:lnTo>
                    <a:lnTo>
                      <a:pt x="50" y="9"/>
                    </a:lnTo>
                    <a:lnTo>
                      <a:pt x="50" y="9"/>
                    </a:lnTo>
                    <a:lnTo>
                      <a:pt x="50" y="12"/>
                    </a:lnTo>
                    <a:lnTo>
                      <a:pt x="50" y="12"/>
                    </a:lnTo>
                    <a:lnTo>
                      <a:pt x="48" y="12"/>
                    </a:lnTo>
                    <a:lnTo>
                      <a:pt x="47" y="12"/>
                    </a:lnTo>
                    <a:lnTo>
                      <a:pt x="45" y="14"/>
                    </a:lnTo>
                    <a:lnTo>
                      <a:pt x="45" y="14"/>
                    </a:lnTo>
                    <a:lnTo>
                      <a:pt x="43" y="16"/>
                    </a:lnTo>
                    <a:lnTo>
                      <a:pt x="42" y="16"/>
                    </a:lnTo>
                    <a:lnTo>
                      <a:pt x="40" y="16"/>
                    </a:lnTo>
                    <a:lnTo>
                      <a:pt x="39" y="17"/>
                    </a:lnTo>
                    <a:lnTo>
                      <a:pt x="39" y="17"/>
                    </a:lnTo>
                    <a:lnTo>
                      <a:pt x="39" y="19"/>
                    </a:lnTo>
                    <a:lnTo>
                      <a:pt x="39" y="19"/>
                    </a:lnTo>
                    <a:lnTo>
                      <a:pt x="40" y="20"/>
                    </a:lnTo>
                    <a:lnTo>
                      <a:pt x="40" y="22"/>
                    </a:lnTo>
                    <a:lnTo>
                      <a:pt x="40" y="23"/>
                    </a:lnTo>
                    <a:lnTo>
                      <a:pt x="40" y="25"/>
                    </a:lnTo>
                    <a:lnTo>
                      <a:pt x="39" y="27"/>
                    </a:lnTo>
                    <a:lnTo>
                      <a:pt x="36" y="27"/>
                    </a:lnTo>
                    <a:lnTo>
                      <a:pt x="33" y="28"/>
                    </a:lnTo>
                    <a:lnTo>
                      <a:pt x="33" y="28"/>
                    </a:lnTo>
                    <a:lnTo>
                      <a:pt x="34" y="30"/>
                    </a:lnTo>
                    <a:lnTo>
                      <a:pt x="34" y="31"/>
                    </a:lnTo>
                    <a:lnTo>
                      <a:pt x="33" y="31"/>
                    </a:lnTo>
                    <a:lnTo>
                      <a:pt x="33" y="33"/>
                    </a:lnTo>
                    <a:lnTo>
                      <a:pt x="33" y="33"/>
                    </a:lnTo>
                    <a:lnTo>
                      <a:pt x="34" y="34"/>
                    </a:lnTo>
                    <a:lnTo>
                      <a:pt x="34" y="34"/>
                    </a:lnTo>
                    <a:lnTo>
                      <a:pt x="33" y="36"/>
                    </a:lnTo>
                    <a:lnTo>
                      <a:pt x="29" y="36"/>
                    </a:lnTo>
                    <a:lnTo>
                      <a:pt x="28" y="34"/>
                    </a:lnTo>
                    <a:lnTo>
                      <a:pt x="26" y="34"/>
                    </a:lnTo>
                    <a:lnTo>
                      <a:pt x="25" y="34"/>
                    </a:lnTo>
                    <a:lnTo>
                      <a:pt x="25" y="34"/>
                    </a:lnTo>
                    <a:lnTo>
                      <a:pt x="23" y="34"/>
                    </a:lnTo>
                    <a:lnTo>
                      <a:pt x="22" y="33"/>
                    </a:lnTo>
                    <a:lnTo>
                      <a:pt x="22" y="31"/>
                    </a:lnTo>
                    <a:lnTo>
                      <a:pt x="22" y="30"/>
                    </a:lnTo>
                    <a:lnTo>
                      <a:pt x="20" y="30"/>
                    </a:lnTo>
                    <a:lnTo>
                      <a:pt x="20" y="31"/>
                    </a:lnTo>
                    <a:lnTo>
                      <a:pt x="20" y="31"/>
                    </a:lnTo>
                    <a:lnTo>
                      <a:pt x="18" y="34"/>
                    </a:lnTo>
                    <a:lnTo>
                      <a:pt x="17" y="34"/>
                    </a:lnTo>
                    <a:lnTo>
                      <a:pt x="15" y="34"/>
                    </a:lnTo>
                    <a:lnTo>
                      <a:pt x="14" y="34"/>
                    </a:lnTo>
                    <a:lnTo>
                      <a:pt x="12" y="34"/>
                    </a:lnTo>
                    <a:lnTo>
                      <a:pt x="11" y="34"/>
                    </a:lnTo>
                    <a:lnTo>
                      <a:pt x="11" y="34"/>
                    </a:lnTo>
                    <a:lnTo>
                      <a:pt x="11" y="34"/>
                    </a:lnTo>
                    <a:lnTo>
                      <a:pt x="9" y="36"/>
                    </a:lnTo>
                    <a:lnTo>
                      <a:pt x="9" y="36"/>
                    </a:lnTo>
                    <a:lnTo>
                      <a:pt x="4" y="34"/>
                    </a:lnTo>
                    <a:lnTo>
                      <a:pt x="3" y="34"/>
                    </a:lnTo>
                    <a:lnTo>
                      <a:pt x="4" y="33"/>
                    </a:lnTo>
                    <a:lnTo>
                      <a:pt x="6" y="31"/>
                    </a:lnTo>
                    <a:lnTo>
                      <a:pt x="6" y="33"/>
                    </a:lnTo>
                    <a:lnTo>
                      <a:pt x="8" y="31"/>
                    </a:lnTo>
                    <a:lnTo>
                      <a:pt x="9" y="31"/>
                    </a:lnTo>
                    <a:lnTo>
                      <a:pt x="8" y="30"/>
                    </a:lnTo>
                    <a:lnTo>
                      <a:pt x="6" y="28"/>
                    </a:lnTo>
                    <a:lnTo>
                      <a:pt x="4" y="27"/>
                    </a:lnTo>
                    <a:lnTo>
                      <a:pt x="3" y="27"/>
                    </a:lnTo>
                    <a:lnTo>
                      <a:pt x="3" y="27"/>
                    </a:lnTo>
                    <a:lnTo>
                      <a:pt x="4" y="22"/>
                    </a:lnTo>
                    <a:lnTo>
                      <a:pt x="3" y="22"/>
                    </a:lnTo>
                    <a:lnTo>
                      <a:pt x="1" y="22"/>
                    </a:lnTo>
                    <a:lnTo>
                      <a:pt x="1" y="22"/>
                    </a:lnTo>
                    <a:lnTo>
                      <a:pt x="1" y="22"/>
                    </a:lnTo>
                    <a:lnTo>
                      <a:pt x="1" y="20"/>
                    </a:lnTo>
                    <a:lnTo>
                      <a:pt x="3" y="19"/>
                    </a:lnTo>
                    <a:lnTo>
                      <a:pt x="4" y="19"/>
                    </a:lnTo>
                    <a:lnTo>
                      <a:pt x="4" y="17"/>
                    </a:lnTo>
                    <a:lnTo>
                      <a:pt x="4" y="17"/>
                    </a:lnTo>
                    <a:lnTo>
                      <a:pt x="3" y="17"/>
                    </a:lnTo>
                    <a:lnTo>
                      <a:pt x="1" y="16"/>
                    </a:lnTo>
                    <a:lnTo>
                      <a:pt x="1" y="16"/>
                    </a:lnTo>
                    <a:lnTo>
                      <a:pt x="0" y="16"/>
                    </a:lnTo>
                    <a:lnTo>
                      <a:pt x="0" y="16"/>
                    </a:lnTo>
                    <a:lnTo>
                      <a:pt x="0" y="16"/>
                    </a:lnTo>
                    <a:lnTo>
                      <a:pt x="0" y="14"/>
                    </a:lnTo>
                    <a:lnTo>
                      <a:pt x="1" y="12"/>
                    </a:lnTo>
                    <a:lnTo>
                      <a:pt x="3" y="11"/>
                    </a:lnTo>
                    <a:lnTo>
                      <a:pt x="4" y="11"/>
                    </a:lnTo>
                    <a:lnTo>
                      <a:pt x="4" y="9"/>
                    </a:lnTo>
                    <a:lnTo>
                      <a:pt x="6" y="8"/>
                    </a:lnTo>
                    <a:lnTo>
                      <a:pt x="6" y="9"/>
                    </a:lnTo>
                    <a:lnTo>
                      <a:pt x="8" y="9"/>
                    </a:lnTo>
                    <a:lnTo>
                      <a:pt x="9" y="9"/>
                    </a:lnTo>
                    <a:lnTo>
                      <a:pt x="11" y="9"/>
                    </a:lnTo>
                    <a:lnTo>
                      <a:pt x="12" y="9"/>
                    </a:lnTo>
                    <a:lnTo>
                      <a:pt x="15" y="11"/>
                    </a:lnTo>
                    <a:lnTo>
                      <a:pt x="18" y="11"/>
                    </a:lnTo>
                    <a:lnTo>
                      <a:pt x="18" y="11"/>
                    </a:lnTo>
                    <a:lnTo>
                      <a:pt x="20" y="11"/>
                    </a:lnTo>
                    <a:lnTo>
                      <a:pt x="20" y="11"/>
                    </a:lnTo>
                    <a:lnTo>
                      <a:pt x="20" y="11"/>
                    </a:lnTo>
                    <a:lnTo>
                      <a:pt x="22" y="11"/>
                    </a:lnTo>
                    <a:lnTo>
                      <a:pt x="23" y="9"/>
                    </a:lnTo>
                    <a:lnTo>
                      <a:pt x="23" y="9"/>
                    </a:lnTo>
                    <a:lnTo>
                      <a:pt x="25" y="8"/>
                    </a:lnTo>
                    <a:lnTo>
                      <a:pt x="25" y="6"/>
                    </a:lnTo>
                    <a:lnTo>
                      <a:pt x="26" y="6"/>
                    </a:lnTo>
                    <a:lnTo>
                      <a:pt x="28" y="6"/>
                    </a:lnTo>
                    <a:lnTo>
                      <a:pt x="28" y="6"/>
                    </a:lnTo>
                    <a:lnTo>
                      <a:pt x="33" y="5"/>
                    </a:lnTo>
                    <a:lnTo>
                      <a:pt x="36" y="6"/>
                    </a:lnTo>
                    <a:lnTo>
                      <a:pt x="37" y="5"/>
                    </a:lnTo>
                    <a:lnTo>
                      <a:pt x="39" y="5"/>
                    </a:lnTo>
                    <a:lnTo>
                      <a:pt x="42" y="3"/>
                    </a:lnTo>
                    <a:lnTo>
                      <a:pt x="42" y="3"/>
                    </a:lnTo>
                    <a:lnTo>
                      <a:pt x="45" y="5"/>
                    </a:lnTo>
                    <a:lnTo>
                      <a:pt x="45" y="5"/>
                    </a:lnTo>
                    <a:lnTo>
                      <a:pt x="45" y="3"/>
                    </a:lnTo>
                    <a:lnTo>
                      <a:pt x="45" y="2"/>
                    </a:lnTo>
                    <a:lnTo>
                      <a:pt x="47" y="0"/>
                    </a:lnTo>
                    <a:lnTo>
                      <a:pt x="47" y="0"/>
                    </a:lnTo>
                    <a:lnTo>
                      <a:pt x="51" y="0"/>
                    </a:lnTo>
                    <a:lnTo>
                      <a:pt x="51" y="0"/>
                    </a:lnTo>
                    <a:lnTo>
                      <a:pt x="51" y="2"/>
                    </a:lnTo>
                    <a:lnTo>
                      <a:pt x="51" y="3"/>
                    </a:lnTo>
                    <a:lnTo>
                      <a:pt x="53" y="3"/>
                    </a:lnTo>
                    <a:lnTo>
                      <a:pt x="53" y="5"/>
                    </a:lnTo>
                    <a:lnTo>
                      <a:pt x="53" y="6"/>
                    </a:lnTo>
                    <a:lnTo>
                      <a:pt x="53" y="6"/>
                    </a:lnTo>
                    <a:lnTo>
                      <a:pt x="54" y="8"/>
                    </a:lnTo>
                    <a:lnTo>
                      <a:pt x="54" y="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5" name="Freeform 182">
                <a:extLst>
                  <a:ext uri="{FF2B5EF4-FFF2-40B4-BE49-F238E27FC236}">
                    <a16:creationId xmlns:a16="http://schemas.microsoft.com/office/drawing/2014/main" id="{97CE392E-67FA-6DA0-FFB7-A630380DE197}"/>
                  </a:ext>
                </a:extLst>
              </p:cNvPr>
              <p:cNvSpPr>
                <a:spLocks/>
              </p:cNvSpPr>
              <p:nvPr/>
            </p:nvSpPr>
            <p:spPr bwMode="gray">
              <a:xfrm>
                <a:off x="2971" y="576"/>
                <a:ext cx="100" cy="48"/>
              </a:xfrm>
              <a:custGeom>
                <a:avLst/>
                <a:gdLst>
                  <a:gd name="T0" fmla="*/ 98 w 100"/>
                  <a:gd name="T1" fmla="*/ 16 h 48"/>
                  <a:gd name="T2" fmla="*/ 97 w 100"/>
                  <a:gd name="T3" fmla="*/ 22 h 48"/>
                  <a:gd name="T4" fmla="*/ 92 w 100"/>
                  <a:gd name="T5" fmla="*/ 31 h 48"/>
                  <a:gd name="T6" fmla="*/ 86 w 100"/>
                  <a:gd name="T7" fmla="*/ 33 h 48"/>
                  <a:gd name="T8" fmla="*/ 84 w 100"/>
                  <a:gd name="T9" fmla="*/ 31 h 48"/>
                  <a:gd name="T10" fmla="*/ 81 w 100"/>
                  <a:gd name="T11" fmla="*/ 28 h 48"/>
                  <a:gd name="T12" fmla="*/ 76 w 100"/>
                  <a:gd name="T13" fmla="*/ 28 h 48"/>
                  <a:gd name="T14" fmla="*/ 70 w 100"/>
                  <a:gd name="T15" fmla="*/ 28 h 48"/>
                  <a:gd name="T16" fmla="*/ 64 w 100"/>
                  <a:gd name="T17" fmla="*/ 30 h 48"/>
                  <a:gd name="T18" fmla="*/ 54 w 100"/>
                  <a:gd name="T19" fmla="*/ 39 h 48"/>
                  <a:gd name="T20" fmla="*/ 50 w 100"/>
                  <a:gd name="T21" fmla="*/ 38 h 48"/>
                  <a:gd name="T22" fmla="*/ 47 w 100"/>
                  <a:gd name="T23" fmla="*/ 38 h 48"/>
                  <a:gd name="T24" fmla="*/ 36 w 100"/>
                  <a:gd name="T25" fmla="*/ 41 h 48"/>
                  <a:gd name="T26" fmla="*/ 33 w 100"/>
                  <a:gd name="T27" fmla="*/ 45 h 48"/>
                  <a:gd name="T28" fmla="*/ 33 w 100"/>
                  <a:gd name="T29" fmla="*/ 48 h 48"/>
                  <a:gd name="T30" fmla="*/ 18 w 100"/>
                  <a:gd name="T31" fmla="*/ 48 h 48"/>
                  <a:gd name="T32" fmla="*/ 11 w 100"/>
                  <a:gd name="T33" fmla="*/ 45 h 48"/>
                  <a:gd name="T34" fmla="*/ 8 w 100"/>
                  <a:gd name="T35" fmla="*/ 42 h 48"/>
                  <a:gd name="T36" fmla="*/ 4 w 100"/>
                  <a:gd name="T37" fmla="*/ 41 h 48"/>
                  <a:gd name="T38" fmla="*/ 0 w 100"/>
                  <a:gd name="T39" fmla="*/ 33 h 48"/>
                  <a:gd name="T40" fmla="*/ 1 w 100"/>
                  <a:gd name="T41" fmla="*/ 28 h 48"/>
                  <a:gd name="T42" fmla="*/ 1 w 100"/>
                  <a:gd name="T43" fmla="*/ 25 h 48"/>
                  <a:gd name="T44" fmla="*/ 6 w 100"/>
                  <a:gd name="T45" fmla="*/ 20 h 48"/>
                  <a:gd name="T46" fmla="*/ 14 w 100"/>
                  <a:gd name="T47" fmla="*/ 20 h 48"/>
                  <a:gd name="T48" fmla="*/ 18 w 100"/>
                  <a:gd name="T49" fmla="*/ 17 h 48"/>
                  <a:gd name="T50" fmla="*/ 20 w 100"/>
                  <a:gd name="T51" fmla="*/ 16 h 48"/>
                  <a:gd name="T52" fmla="*/ 22 w 100"/>
                  <a:gd name="T53" fmla="*/ 11 h 48"/>
                  <a:gd name="T54" fmla="*/ 26 w 100"/>
                  <a:gd name="T55" fmla="*/ 6 h 48"/>
                  <a:gd name="T56" fmla="*/ 28 w 100"/>
                  <a:gd name="T57" fmla="*/ 5 h 48"/>
                  <a:gd name="T58" fmla="*/ 31 w 100"/>
                  <a:gd name="T59" fmla="*/ 3 h 48"/>
                  <a:gd name="T60" fmla="*/ 34 w 100"/>
                  <a:gd name="T61" fmla="*/ 2 h 48"/>
                  <a:gd name="T62" fmla="*/ 37 w 100"/>
                  <a:gd name="T63" fmla="*/ 5 h 48"/>
                  <a:gd name="T64" fmla="*/ 42 w 100"/>
                  <a:gd name="T65" fmla="*/ 2 h 48"/>
                  <a:gd name="T66" fmla="*/ 45 w 100"/>
                  <a:gd name="T67" fmla="*/ 0 h 48"/>
                  <a:gd name="T68" fmla="*/ 48 w 100"/>
                  <a:gd name="T69" fmla="*/ 5 h 48"/>
                  <a:gd name="T70" fmla="*/ 50 w 100"/>
                  <a:gd name="T71" fmla="*/ 5 h 48"/>
                  <a:gd name="T72" fmla="*/ 51 w 100"/>
                  <a:gd name="T73" fmla="*/ 9 h 48"/>
                  <a:gd name="T74" fmla="*/ 51 w 100"/>
                  <a:gd name="T75" fmla="*/ 11 h 48"/>
                  <a:gd name="T76" fmla="*/ 56 w 100"/>
                  <a:gd name="T77" fmla="*/ 11 h 48"/>
                  <a:gd name="T78" fmla="*/ 59 w 100"/>
                  <a:gd name="T79" fmla="*/ 6 h 48"/>
                  <a:gd name="T80" fmla="*/ 62 w 100"/>
                  <a:gd name="T81" fmla="*/ 6 h 48"/>
                  <a:gd name="T82" fmla="*/ 64 w 100"/>
                  <a:gd name="T83" fmla="*/ 6 h 48"/>
                  <a:gd name="T84" fmla="*/ 68 w 100"/>
                  <a:gd name="T85" fmla="*/ 8 h 48"/>
                  <a:gd name="T86" fmla="*/ 73 w 100"/>
                  <a:gd name="T87" fmla="*/ 6 h 48"/>
                  <a:gd name="T88" fmla="*/ 76 w 100"/>
                  <a:gd name="T89" fmla="*/ 5 h 48"/>
                  <a:gd name="T90" fmla="*/ 86 w 100"/>
                  <a:gd name="T91" fmla="*/ 6 h 48"/>
                  <a:gd name="T92" fmla="*/ 90 w 100"/>
                  <a:gd name="T93" fmla="*/ 9 h 48"/>
                  <a:gd name="T94" fmla="*/ 98 w 100"/>
                  <a:gd name="T95"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00" y="14"/>
                    </a:moveTo>
                    <a:lnTo>
                      <a:pt x="100" y="16"/>
                    </a:lnTo>
                    <a:lnTo>
                      <a:pt x="98" y="16"/>
                    </a:lnTo>
                    <a:lnTo>
                      <a:pt x="98" y="17"/>
                    </a:lnTo>
                    <a:lnTo>
                      <a:pt x="97" y="19"/>
                    </a:lnTo>
                    <a:lnTo>
                      <a:pt x="97" y="22"/>
                    </a:lnTo>
                    <a:lnTo>
                      <a:pt x="95" y="23"/>
                    </a:lnTo>
                    <a:lnTo>
                      <a:pt x="92" y="27"/>
                    </a:lnTo>
                    <a:lnTo>
                      <a:pt x="92" y="31"/>
                    </a:lnTo>
                    <a:lnTo>
                      <a:pt x="92" y="31"/>
                    </a:lnTo>
                    <a:lnTo>
                      <a:pt x="86" y="33"/>
                    </a:lnTo>
                    <a:lnTo>
                      <a:pt x="86" y="33"/>
                    </a:lnTo>
                    <a:lnTo>
                      <a:pt x="84" y="33"/>
                    </a:lnTo>
                    <a:lnTo>
                      <a:pt x="84" y="31"/>
                    </a:lnTo>
                    <a:lnTo>
                      <a:pt x="84" y="31"/>
                    </a:lnTo>
                    <a:lnTo>
                      <a:pt x="83" y="30"/>
                    </a:lnTo>
                    <a:lnTo>
                      <a:pt x="83" y="30"/>
                    </a:lnTo>
                    <a:lnTo>
                      <a:pt x="81" y="28"/>
                    </a:lnTo>
                    <a:lnTo>
                      <a:pt x="81" y="28"/>
                    </a:lnTo>
                    <a:lnTo>
                      <a:pt x="79" y="28"/>
                    </a:lnTo>
                    <a:lnTo>
                      <a:pt x="76" y="28"/>
                    </a:lnTo>
                    <a:lnTo>
                      <a:pt x="73" y="30"/>
                    </a:lnTo>
                    <a:lnTo>
                      <a:pt x="72" y="28"/>
                    </a:lnTo>
                    <a:lnTo>
                      <a:pt x="70" y="28"/>
                    </a:lnTo>
                    <a:lnTo>
                      <a:pt x="67" y="28"/>
                    </a:lnTo>
                    <a:lnTo>
                      <a:pt x="64" y="28"/>
                    </a:lnTo>
                    <a:lnTo>
                      <a:pt x="64" y="30"/>
                    </a:lnTo>
                    <a:lnTo>
                      <a:pt x="61" y="34"/>
                    </a:lnTo>
                    <a:lnTo>
                      <a:pt x="58" y="36"/>
                    </a:lnTo>
                    <a:lnTo>
                      <a:pt x="54" y="39"/>
                    </a:lnTo>
                    <a:lnTo>
                      <a:pt x="53" y="39"/>
                    </a:lnTo>
                    <a:lnTo>
                      <a:pt x="51" y="38"/>
                    </a:lnTo>
                    <a:lnTo>
                      <a:pt x="50" y="38"/>
                    </a:lnTo>
                    <a:lnTo>
                      <a:pt x="48" y="36"/>
                    </a:lnTo>
                    <a:lnTo>
                      <a:pt x="47" y="36"/>
                    </a:lnTo>
                    <a:lnTo>
                      <a:pt x="47" y="38"/>
                    </a:lnTo>
                    <a:lnTo>
                      <a:pt x="45" y="39"/>
                    </a:lnTo>
                    <a:lnTo>
                      <a:pt x="42" y="41"/>
                    </a:lnTo>
                    <a:lnTo>
                      <a:pt x="36" y="41"/>
                    </a:lnTo>
                    <a:lnTo>
                      <a:pt x="34" y="42"/>
                    </a:lnTo>
                    <a:lnTo>
                      <a:pt x="33" y="44"/>
                    </a:lnTo>
                    <a:lnTo>
                      <a:pt x="33" y="45"/>
                    </a:lnTo>
                    <a:lnTo>
                      <a:pt x="34" y="45"/>
                    </a:lnTo>
                    <a:lnTo>
                      <a:pt x="33" y="47"/>
                    </a:lnTo>
                    <a:lnTo>
                      <a:pt x="33" y="48"/>
                    </a:lnTo>
                    <a:lnTo>
                      <a:pt x="28" y="48"/>
                    </a:lnTo>
                    <a:lnTo>
                      <a:pt x="23" y="48"/>
                    </a:lnTo>
                    <a:lnTo>
                      <a:pt x="18" y="48"/>
                    </a:lnTo>
                    <a:lnTo>
                      <a:pt x="15" y="48"/>
                    </a:lnTo>
                    <a:lnTo>
                      <a:pt x="14" y="47"/>
                    </a:lnTo>
                    <a:lnTo>
                      <a:pt x="11" y="45"/>
                    </a:lnTo>
                    <a:lnTo>
                      <a:pt x="8" y="42"/>
                    </a:lnTo>
                    <a:lnTo>
                      <a:pt x="8" y="42"/>
                    </a:lnTo>
                    <a:lnTo>
                      <a:pt x="8" y="42"/>
                    </a:lnTo>
                    <a:lnTo>
                      <a:pt x="6" y="42"/>
                    </a:lnTo>
                    <a:lnTo>
                      <a:pt x="4" y="42"/>
                    </a:lnTo>
                    <a:lnTo>
                      <a:pt x="4" y="41"/>
                    </a:lnTo>
                    <a:lnTo>
                      <a:pt x="3" y="41"/>
                    </a:lnTo>
                    <a:lnTo>
                      <a:pt x="1" y="38"/>
                    </a:lnTo>
                    <a:lnTo>
                      <a:pt x="0" y="33"/>
                    </a:lnTo>
                    <a:lnTo>
                      <a:pt x="0" y="31"/>
                    </a:lnTo>
                    <a:lnTo>
                      <a:pt x="1" y="30"/>
                    </a:lnTo>
                    <a:lnTo>
                      <a:pt x="1" y="28"/>
                    </a:lnTo>
                    <a:lnTo>
                      <a:pt x="1" y="27"/>
                    </a:lnTo>
                    <a:lnTo>
                      <a:pt x="1" y="27"/>
                    </a:lnTo>
                    <a:lnTo>
                      <a:pt x="1" y="25"/>
                    </a:lnTo>
                    <a:lnTo>
                      <a:pt x="3" y="22"/>
                    </a:lnTo>
                    <a:lnTo>
                      <a:pt x="4" y="20"/>
                    </a:lnTo>
                    <a:lnTo>
                      <a:pt x="6" y="20"/>
                    </a:lnTo>
                    <a:lnTo>
                      <a:pt x="8" y="20"/>
                    </a:lnTo>
                    <a:lnTo>
                      <a:pt x="11" y="20"/>
                    </a:lnTo>
                    <a:lnTo>
                      <a:pt x="14" y="20"/>
                    </a:lnTo>
                    <a:lnTo>
                      <a:pt x="15" y="19"/>
                    </a:lnTo>
                    <a:lnTo>
                      <a:pt x="17" y="17"/>
                    </a:lnTo>
                    <a:lnTo>
                      <a:pt x="18" y="17"/>
                    </a:lnTo>
                    <a:lnTo>
                      <a:pt x="18" y="16"/>
                    </a:lnTo>
                    <a:lnTo>
                      <a:pt x="18" y="16"/>
                    </a:lnTo>
                    <a:lnTo>
                      <a:pt x="20" y="16"/>
                    </a:lnTo>
                    <a:lnTo>
                      <a:pt x="22" y="14"/>
                    </a:lnTo>
                    <a:lnTo>
                      <a:pt x="22" y="12"/>
                    </a:lnTo>
                    <a:lnTo>
                      <a:pt x="22" y="11"/>
                    </a:lnTo>
                    <a:lnTo>
                      <a:pt x="22" y="9"/>
                    </a:lnTo>
                    <a:lnTo>
                      <a:pt x="23" y="9"/>
                    </a:lnTo>
                    <a:lnTo>
                      <a:pt x="26" y="6"/>
                    </a:lnTo>
                    <a:lnTo>
                      <a:pt x="26" y="6"/>
                    </a:lnTo>
                    <a:lnTo>
                      <a:pt x="28" y="5"/>
                    </a:lnTo>
                    <a:lnTo>
                      <a:pt x="28" y="5"/>
                    </a:lnTo>
                    <a:lnTo>
                      <a:pt x="29" y="3"/>
                    </a:lnTo>
                    <a:lnTo>
                      <a:pt x="31" y="3"/>
                    </a:lnTo>
                    <a:lnTo>
                      <a:pt x="31" y="3"/>
                    </a:lnTo>
                    <a:lnTo>
                      <a:pt x="33" y="3"/>
                    </a:lnTo>
                    <a:lnTo>
                      <a:pt x="34" y="2"/>
                    </a:lnTo>
                    <a:lnTo>
                      <a:pt x="34" y="2"/>
                    </a:lnTo>
                    <a:lnTo>
                      <a:pt x="36" y="3"/>
                    </a:lnTo>
                    <a:lnTo>
                      <a:pt x="37" y="3"/>
                    </a:lnTo>
                    <a:lnTo>
                      <a:pt x="37" y="5"/>
                    </a:lnTo>
                    <a:lnTo>
                      <a:pt x="40" y="5"/>
                    </a:lnTo>
                    <a:lnTo>
                      <a:pt x="42" y="2"/>
                    </a:lnTo>
                    <a:lnTo>
                      <a:pt x="42" y="2"/>
                    </a:lnTo>
                    <a:lnTo>
                      <a:pt x="43" y="0"/>
                    </a:lnTo>
                    <a:lnTo>
                      <a:pt x="45" y="0"/>
                    </a:lnTo>
                    <a:lnTo>
                      <a:pt x="45" y="0"/>
                    </a:lnTo>
                    <a:lnTo>
                      <a:pt x="47" y="2"/>
                    </a:lnTo>
                    <a:lnTo>
                      <a:pt x="48" y="3"/>
                    </a:lnTo>
                    <a:lnTo>
                      <a:pt x="48" y="5"/>
                    </a:lnTo>
                    <a:lnTo>
                      <a:pt x="48" y="5"/>
                    </a:lnTo>
                    <a:lnTo>
                      <a:pt x="50" y="5"/>
                    </a:lnTo>
                    <a:lnTo>
                      <a:pt x="50" y="5"/>
                    </a:lnTo>
                    <a:lnTo>
                      <a:pt x="51" y="6"/>
                    </a:lnTo>
                    <a:lnTo>
                      <a:pt x="51" y="8"/>
                    </a:lnTo>
                    <a:lnTo>
                      <a:pt x="51" y="9"/>
                    </a:lnTo>
                    <a:lnTo>
                      <a:pt x="51" y="9"/>
                    </a:lnTo>
                    <a:lnTo>
                      <a:pt x="51" y="11"/>
                    </a:lnTo>
                    <a:lnTo>
                      <a:pt x="51" y="11"/>
                    </a:lnTo>
                    <a:lnTo>
                      <a:pt x="53" y="11"/>
                    </a:lnTo>
                    <a:lnTo>
                      <a:pt x="53" y="9"/>
                    </a:lnTo>
                    <a:lnTo>
                      <a:pt x="56" y="11"/>
                    </a:lnTo>
                    <a:lnTo>
                      <a:pt x="58" y="9"/>
                    </a:lnTo>
                    <a:lnTo>
                      <a:pt x="58" y="8"/>
                    </a:lnTo>
                    <a:lnTo>
                      <a:pt x="59" y="6"/>
                    </a:lnTo>
                    <a:lnTo>
                      <a:pt x="61" y="6"/>
                    </a:lnTo>
                    <a:lnTo>
                      <a:pt x="61" y="6"/>
                    </a:lnTo>
                    <a:lnTo>
                      <a:pt x="62" y="6"/>
                    </a:lnTo>
                    <a:lnTo>
                      <a:pt x="62" y="5"/>
                    </a:lnTo>
                    <a:lnTo>
                      <a:pt x="64" y="5"/>
                    </a:lnTo>
                    <a:lnTo>
                      <a:pt x="64" y="6"/>
                    </a:lnTo>
                    <a:lnTo>
                      <a:pt x="65" y="5"/>
                    </a:lnTo>
                    <a:lnTo>
                      <a:pt x="68" y="6"/>
                    </a:lnTo>
                    <a:lnTo>
                      <a:pt x="68" y="8"/>
                    </a:lnTo>
                    <a:lnTo>
                      <a:pt x="70" y="8"/>
                    </a:lnTo>
                    <a:lnTo>
                      <a:pt x="72" y="8"/>
                    </a:lnTo>
                    <a:lnTo>
                      <a:pt x="73" y="6"/>
                    </a:lnTo>
                    <a:lnTo>
                      <a:pt x="73" y="5"/>
                    </a:lnTo>
                    <a:lnTo>
                      <a:pt x="75" y="5"/>
                    </a:lnTo>
                    <a:lnTo>
                      <a:pt x="76" y="5"/>
                    </a:lnTo>
                    <a:lnTo>
                      <a:pt x="78" y="5"/>
                    </a:lnTo>
                    <a:lnTo>
                      <a:pt x="84" y="5"/>
                    </a:lnTo>
                    <a:lnTo>
                      <a:pt x="86" y="6"/>
                    </a:lnTo>
                    <a:lnTo>
                      <a:pt x="89" y="6"/>
                    </a:lnTo>
                    <a:lnTo>
                      <a:pt x="89" y="8"/>
                    </a:lnTo>
                    <a:lnTo>
                      <a:pt x="90" y="9"/>
                    </a:lnTo>
                    <a:lnTo>
                      <a:pt x="90" y="11"/>
                    </a:lnTo>
                    <a:lnTo>
                      <a:pt x="94" y="12"/>
                    </a:lnTo>
                    <a:lnTo>
                      <a:pt x="98" y="14"/>
                    </a:lnTo>
                    <a:lnTo>
                      <a:pt x="100" y="1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6" name="Freeform 183">
                <a:extLst>
                  <a:ext uri="{FF2B5EF4-FFF2-40B4-BE49-F238E27FC236}">
                    <a16:creationId xmlns:a16="http://schemas.microsoft.com/office/drawing/2014/main" id="{CFD279AD-AAA0-69ED-30ED-47C65CF047B9}"/>
                  </a:ext>
                </a:extLst>
              </p:cNvPr>
              <p:cNvSpPr>
                <a:spLocks noEditPoints="1"/>
              </p:cNvSpPr>
              <p:nvPr/>
            </p:nvSpPr>
            <p:spPr bwMode="gray">
              <a:xfrm>
                <a:off x="2442" y="1402"/>
                <a:ext cx="52" cy="53"/>
              </a:xfrm>
              <a:custGeom>
                <a:avLst/>
                <a:gdLst>
                  <a:gd name="T0" fmla="*/ 11 w 52"/>
                  <a:gd name="T1" fmla="*/ 41 h 53"/>
                  <a:gd name="T2" fmla="*/ 11 w 52"/>
                  <a:gd name="T3" fmla="*/ 44 h 53"/>
                  <a:gd name="T4" fmla="*/ 13 w 52"/>
                  <a:gd name="T5" fmla="*/ 42 h 53"/>
                  <a:gd name="T6" fmla="*/ 50 w 52"/>
                  <a:gd name="T7" fmla="*/ 27 h 53"/>
                  <a:gd name="T8" fmla="*/ 49 w 52"/>
                  <a:gd name="T9" fmla="*/ 28 h 53"/>
                  <a:gd name="T10" fmla="*/ 46 w 52"/>
                  <a:gd name="T11" fmla="*/ 28 h 53"/>
                  <a:gd name="T12" fmla="*/ 46 w 52"/>
                  <a:gd name="T13" fmla="*/ 30 h 53"/>
                  <a:gd name="T14" fmla="*/ 46 w 52"/>
                  <a:gd name="T15" fmla="*/ 28 h 53"/>
                  <a:gd name="T16" fmla="*/ 49 w 52"/>
                  <a:gd name="T17" fmla="*/ 24 h 53"/>
                  <a:gd name="T18" fmla="*/ 47 w 52"/>
                  <a:gd name="T19" fmla="*/ 19 h 53"/>
                  <a:gd name="T20" fmla="*/ 47 w 52"/>
                  <a:gd name="T21" fmla="*/ 16 h 53"/>
                  <a:gd name="T22" fmla="*/ 44 w 52"/>
                  <a:gd name="T23" fmla="*/ 14 h 53"/>
                  <a:gd name="T24" fmla="*/ 46 w 52"/>
                  <a:gd name="T25" fmla="*/ 13 h 53"/>
                  <a:gd name="T26" fmla="*/ 46 w 52"/>
                  <a:gd name="T27" fmla="*/ 11 h 53"/>
                  <a:gd name="T28" fmla="*/ 41 w 52"/>
                  <a:gd name="T29" fmla="*/ 5 h 53"/>
                  <a:gd name="T30" fmla="*/ 38 w 52"/>
                  <a:gd name="T31" fmla="*/ 2 h 53"/>
                  <a:gd name="T32" fmla="*/ 36 w 52"/>
                  <a:gd name="T33" fmla="*/ 0 h 53"/>
                  <a:gd name="T34" fmla="*/ 27 w 52"/>
                  <a:gd name="T35" fmla="*/ 0 h 53"/>
                  <a:gd name="T36" fmla="*/ 24 w 52"/>
                  <a:gd name="T37" fmla="*/ 0 h 53"/>
                  <a:gd name="T38" fmla="*/ 17 w 52"/>
                  <a:gd name="T39" fmla="*/ 0 h 53"/>
                  <a:gd name="T40" fmla="*/ 13 w 52"/>
                  <a:gd name="T41" fmla="*/ 2 h 53"/>
                  <a:gd name="T42" fmla="*/ 13 w 52"/>
                  <a:gd name="T43" fmla="*/ 3 h 53"/>
                  <a:gd name="T44" fmla="*/ 11 w 52"/>
                  <a:gd name="T45" fmla="*/ 6 h 53"/>
                  <a:gd name="T46" fmla="*/ 10 w 52"/>
                  <a:gd name="T47" fmla="*/ 8 h 53"/>
                  <a:gd name="T48" fmla="*/ 5 w 52"/>
                  <a:gd name="T49" fmla="*/ 13 h 53"/>
                  <a:gd name="T50" fmla="*/ 3 w 52"/>
                  <a:gd name="T51" fmla="*/ 16 h 53"/>
                  <a:gd name="T52" fmla="*/ 2 w 52"/>
                  <a:gd name="T53" fmla="*/ 16 h 53"/>
                  <a:gd name="T54" fmla="*/ 0 w 52"/>
                  <a:gd name="T55" fmla="*/ 16 h 53"/>
                  <a:gd name="T56" fmla="*/ 3 w 52"/>
                  <a:gd name="T57" fmla="*/ 19 h 53"/>
                  <a:gd name="T58" fmla="*/ 0 w 52"/>
                  <a:gd name="T59" fmla="*/ 22 h 53"/>
                  <a:gd name="T60" fmla="*/ 3 w 52"/>
                  <a:gd name="T61" fmla="*/ 25 h 53"/>
                  <a:gd name="T62" fmla="*/ 6 w 52"/>
                  <a:gd name="T63" fmla="*/ 24 h 53"/>
                  <a:gd name="T64" fmla="*/ 5 w 52"/>
                  <a:gd name="T65" fmla="*/ 25 h 53"/>
                  <a:gd name="T66" fmla="*/ 2 w 52"/>
                  <a:gd name="T67" fmla="*/ 27 h 53"/>
                  <a:gd name="T68" fmla="*/ 2 w 52"/>
                  <a:gd name="T69" fmla="*/ 28 h 53"/>
                  <a:gd name="T70" fmla="*/ 5 w 52"/>
                  <a:gd name="T71" fmla="*/ 33 h 53"/>
                  <a:gd name="T72" fmla="*/ 8 w 52"/>
                  <a:gd name="T73" fmla="*/ 38 h 53"/>
                  <a:gd name="T74" fmla="*/ 13 w 52"/>
                  <a:gd name="T75" fmla="*/ 41 h 53"/>
                  <a:gd name="T76" fmla="*/ 13 w 52"/>
                  <a:gd name="T77" fmla="*/ 41 h 53"/>
                  <a:gd name="T78" fmla="*/ 14 w 52"/>
                  <a:gd name="T79" fmla="*/ 46 h 53"/>
                  <a:gd name="T80" fmla="*/ 27 w 52"/>
                  <a:gd name="T81" fmla="*/ 50 h 53"/>
                  <a:gd name="T82" fmla="*/ 31 w 52"/>
                  <a:gd name="T83" fmla="*/ 53 h 53"/>
                  <a:gd name="T84" fmla="*/ 35 w 52"/>
                  <a:gd name="T85" fmla="*/ 49 h 53"/>
                  <a:gd name="T86" fmla="*/ 39 w 52"/>
                  <a:gd name="T87" fmla="*/ 44 h 53"/>
                  <a:gd name="T88" fmla="*/ 46 w 52"/>
                  <a:gd name="T89" fmla="*/ 39 h 53"/>
                  <a:gd name="T90" fmla="*/ 49 w 52"/>
                  <a:gd name="T91" fmla="*/ 33 h 53"/>
                  <a:gd name="T92" fmla="*/ 52 w 52"/>
                  <a:gd name="T93" fmla="*/ 31 h 53"/>
                  <a:gd name="T94" fmla="*/ 52 w 52"/>
                  <a:gd name="T9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53">
                    <a:moveTo>
                      <a:pt x="13" y="42"/>
                    </a:moveTo>
                    <a:lnTo>
                      <a:pt x="13" y="42"/>
                    </a:lnTo>
                    <a:lnTo>
                      <a:pt x="11" y="41"/>
                    </a:lnTo>
                    <a:lnTo>
                      <a:pt x="6" y="41"/>
                    </a:lnTo>
                    <a:lnTo>
                      <a:pt x="5" y="42"/>
                    </a:lnTo>
                    <a:lnTo>
                      <a:pt x="11" y="44"/>
                    </a:lnTo>
                    <a:lnTo>
                      <a:pt x="13" y="46"/>
                    </a:lnTo>
                    <a:lnTo>
                      <a:pt x="13" y="46"/>
                    </a:lnTo>
                    <a:lnTo>
                      <a:pt x="13" y="42"/>
                    </a:lnTo>
                    <a:lnTo>
                      <a:pt x="13" y="42"/>
                    </a:lnTo>
                    <a:close/>
                    <a:moveTo>
                      <a:pt x="52" y="27"/>
                    </a:moveTo>
                    <a:lnTo>
                      <a:pt x="50" y="27"/>
                    </a:lnTo>
                    <a:lnTo>
                      <a:pt x="50" y="27"/>
                    </a:lnTo>
                    <a:lnTo>
                      <a:pt x="50" y="27"/>
                    </a:lnTo>
                    <a:lnTo>
                      <a:pt x="49" y="28"/>
                    </a:lnTo>
                    <a:lnTo>
                      <a:pt x="47" y="30"/>
                    </a:lnTo>
                    <a:lnTo>
                      <a:pt x="47" y="30"/>
                    </a:lnTo>
                    <a:lnTo>
                      <a:pt x="46" y="28"/>
                    </a:lnTo>
                    <a:lnTo>
                      <a:pt x="46" y="28"/>
                    </a:lnTo>
                    <a:lnTo>
                      <a:pt x="46" y="28"/>
                    </a:lnTo>
                    <a:lnTo>
                      <a:pt x="46" y="30"/>
                    </a:lnTo>
                    <a:lnTo>
                      <a:pt x="46" y="28"/>
                    </a:lnTo>
                    <a:lnTo>
                      <a:pt x="46" y="28"/>
                    </a:lnTo>
                    <a:lnTo>
                      <a:pt x="46" y="28"/>
                    </a:lnTo>
                    <a:lnTo>
                      <a:pt x="46" y="25"/>
                    </a:lnTo>
                    <a:lnTo>
                      <a:pt x="47" y="24"/>
                    </a:lnTo>
                    <a:lnTo>
                      <a:pt x="49" y="24"/>
                    </a:lnTo>
                    <a:lnTo>
                      <a:pt x="49" y="22"/>
                    </a:lnTo>
                    <a:lnTo>
                      <a:pt x="47" y="22"/>
                    </a:lnTo>
                    <a:lnTo>
                      <a:pt x="47" y="19"/>
                    </a:lnTo>
                    <a:lnTo>
                      <a:pt x="47" y="17"/>
                    </a:lnTo>
                    <a:lnTo>
                      <a:pt x="47" y="16"/>
                    </a:lnTo>
                    <a:lnTo>
                      <a:pt x="47" y="16"/>
                    </a:lnTo>
                    <a:lnTo>
                      <a:pt x="44" y="16"/>
                    </a:lnTo>
                    <a:lnTo>
                      <a:pt x="44" y="16"/>
                    </a:lnTo>
                    <a:lnTo>
                      <a:pt x="44" y="14"/>
                    </a:lnTo>
                    <a:lnTo>
                      <a:pt x="44" y="14"/>
                    </a:lnTo>
                    <a:lnTo>
                      <a:pt x="46" y="13"/>
                    </a:lnTo>
                    <a:lnTo>
                      <a:pt x="46" y="13"/>
                    </a:lnTo>
                    <a:lnTo>
                      <a:pt x="46" y="13"/>
                    </a:lnTo>
                    <a:lnTo>
                      <a:pt x="46" y="13"/>
                    </a:lnTo>
                    <a:lnTo>
                      <a:pt x="46" y="11"/>
                    </a:lnTo>
                    <a:lnTo>
                      <a:pt x="44" y="11"/>
                    </a:lnTo>
                    <a:lnTo>
                      <a:pt x="42" y="8"/>
                    </a:lnTo>
                    <a:lnTo>
                      <a:pt x="41" y="5"/>
                    </a:lnTo>
                    <a:lnTo>
                      <a:pt x="39" y="3"/>
                    </a:lnTo>
                    <a:lnTo>
                      <a:pt x="39" y="3"/>
                    </a:lnTo>
                    <a:lnTo>
                      <a:pt x="38" y="2"/>
                    </a:lnTo>
                    <a:lnTo>
                      <a:pt x="36" y="0"/>
                    </a:lnTo>
                    <a:lnTo>
                      <a:pt x="36" y="0"/>
                    </a:lnTo>
                    <a:lnTo>
                      <a:pt x="36" y="0"/>
                    </a:lnTo>
                    <a:lnTo>
                      <a:pt x="35" y="0"/>
                    </a:lnTo>
                    <a:lnTo>
                      <a:pt x="31" y="0"/>
                    </a:lnTo>
                    <a:lnTo>
                      <a:pt x="27" y="0"/>
                    </a:lnTo>
                    <a:lnTo>
                      <a:pt x="24" y="0"/>
                    </a:lnTo>
                    <a:lnTo>
                      <a:pt x="24" y="0"/>
                    </a:lnTo>
                    <a:lnTo>
                      <a:pt x="24" y="0"/>
                    </a:lnTo>
                    <a:lnTo>
                      <a:pt x="24" y="0"/>
                    </a:lnTo>
                    <a:lnTo>
                      <a:pt x="21" y="2"/>
                    </a:lnTo>
                    <a:lnTo>
                      <a:pt x="17" y="0"/>
                    </a:lnTo>
                    <a:lnTo>
                      <a:pt x="14" y="2"/>
                    </a:lnTo>
                    <a:lnTo>
                      <a:pt x="14" y="2"/>
                    </a:lnTo>
                    <a:lnTo>
                      <a:pt x="13" y="2"/>
                    </a:lnTo>
                    <a:lnTo>
                      <a:pt x="13" y="2"/>
                    </a:lnTo>
                    <a:lnTo>
                      <a:pt x="13" y="3"/>
                    </a:lnTo>
                    <a:lnTo>
                      <a:pt x="13" y="3"/>
                    </a:lnTo>
                    <a:lnTo>
                      <a:pt x="13" y="5"/>
                    </a:lnTo>
                    <a:lnTo>
                      <a:pt x="11" y="5"/>
                    </a:lnTo>
                    <a:lnTo>
                      <a:pt x="11" y="6"/>
                    </a:lnTo>
                    <a:lnTo>
                      <a:pt x="11" y="6"/>
                    </a:lnTo>
                    <a:lnTo>
                      <a:pt x="11" y="8"/>
                    </a:lnTo>
                    <a:lnTo>
                      <a:pt x="10" y="8"/>
                    </a:lnTo>
                    <a:lnTo>
                      <a:pt x="10" y="11"/>
                    </a:lnTo>
                    <a:lnTo>
                      <a:pt x="8" y="11"/>
                    </a:lnTo>
                    <a:lnTo>
                      <a:pt x="5" y="13"/>
                    </a:lnTo>
                    <a:lnTo>
                      <a:pt x="5" y="14"/>
                    </a:lnTo>
                    <a:lnTo>
                      <a:pt x="5" y="16"/>
                    </a:lnTo>
                    <a:lnTo>
                      <a:pt x="3" y="16"/>
                    </a:lnTo>
                    <a:lnTo>
                      <a:pt x="2" y="16"/>
                    </a:lnTo>
                    <a:lnTo>
                      <a:pt x="2" y="16"/>
                    </a:lnTo>
                    <a:lnTo>
                      <a:pt x="2" y="16"/>
                    </a:lnTo>
                    <a:lnTo>
                      <a:pt x="0" y="16"/>
                    </a:lnTo>
                    <a:lnTo>
                      <a:pt x="0" y="16"/>
                    </a:lnTo>
                    <a:lnTo>
                      <a:pt x="0" y="16"/>
                    </a:lnTo>
                    <a:lnTo>
                      <a:pt x="0" y="17"/>
                    </a:lnTo>
                    <a:lnTo>
                      <a:pt x="2" y="19"/>
                    </a:lnTo>
                    <a:lnTo>
                      <a:pt x="3" y="19"/>
                    </a:lnTo>
                    <a:lnTo>
                      <a:pt x="3" y="21"/>
                    </a:lnTo>
                    <a:lnTo>
                      <a:pt x="2" y="21"/>
                    </a:lnTo>
                    <a:lnTo>
                      <a:pt x="0" y="22"/>
                    </a:lnTo>
                    <a:lnTo>
                      <a:pt x="0" y="22"/>
                    </a:lnTo>
                    <a:lnTo>
                      <a:pt x="2" y="25"/>
                    </a:lnTo>
                    <a:lnTo>
                      <a:pt x="3" y="25"/>
                    </a:lnTo>
                    <a:lnTo>
                      <a:pt x="3" y="24"/>
                    </a:lnTo>
                    <a:lnTo>
                      <a:pt x="5" y="24"/>
                    </a:lnTo>
                    <a:lnTo>
                      <a:pt x="6" y="24"/>
                    </a:lnTo>
                    <a:lnTo>
                      <a:pt x="6" y="24"/>
                    </a:lnTo>
                    <a:lnTo>
                      <a:pt x="6" y="25"/>
                    </a:lnTo>
                    <a:lnTo>
                      <a:pt x="5" y="25"/>
                    </a:lnTo>
                    <a:lnTo>
                      <a:pt x="3" y="27"/>
                    </a:lnTo>
                    <a:lnTo>
                      <a:pt x="2" y="27"/>
                    </a:lnTo>
                    <a:lnTo>
                      <a:pt x="2" y="27"/>
                    </a:lnTo>
                    <a:lnTo>
                      <a:pt x="0" y="27"/>
                    </a:lnTo>
                    <a:lnTo>
                      <a:pt x="0" y="27"/>
                    </a:lnTo>
                    <a:lnTo>
                      <a:pt x="2" y="28"/>
                    </a:lnTo>
                    <a:lnTo>
                      <a:pt x="2" y="31"/>
                    </a:lnTo>
                    <a:lnTo>
                      <a:pt x="5" y="31"/>
                    </a:lnTo>
                    <a:lnTo>
                      <a:pt x="5" y="33"/>
                    </a:lnTo>
                    <a:lnTo>
                      <a:pt x="6" y="35"/>
                    </a:lnTo>
                    <a:lnTo>
                      <a:pt x="6" y="38"/>
                    </a:lnTo>
                    <a:lnTo>
                      <a:pt x="8" y="38"/>
                    </a:lnTo>
                    <a:lnTo>
                      <a:pt x="8" y="39"/>
                    </a:lnTo>
                    <a:lnTo>
                      <a:pt x="10" y="39"/>
                    </a:lnTo>
                    <a:lnTo>
                      <a:pt x="13" y="41"/>
                    </a:lnTo>
                    <a:lnTo>
                      <a:pt x="13" y="39"/>
                    </a:lnTo>
                    <a:lnTo>
                      <a:pt x="14" y="39"/>
                    </a:lnTo>
                    <a:lnTo>
                      <a:pt x="13" y="41"/>
                    </a:lnTo>
                    <a:lnTo>
                      <a:pt x="14" y="42"/>
                    </a:lnTo>
                    <a:lnTo>
                      <a:pt x="14" y="44"/>
                    </a:lnTo>
                    <a:lnTo>
                      <a:pt x="14" y="46"/>
                    </a:lnTo>
                    <a:lnTo>
                      <a:pt x="16" y="47"/>
                    </a:lnTo>
                    <a:lnTo>
                      <a:pt x="24" y="49"/>
                    </a:lnTo>
                    <a:lnTo>
                      <a:pt x="27" y="50"/>
                    </a:lnTo>
                    <a:lnTo>
                      <a:pt x="30" y="53"/>
                    </a:lnTo>
                    <a:lnTo>
                      <a:pt x="31" y="53"/>
                    </a:lnTo>
                    <a:lnTo>
                      <a:pt x="31" y="53"/>
                    </a:lnTo>
                    <a:lnTo>
                      <a:pt x="31" y="53"/>
                    </a:lnTo>
                    <a:lnTo>
                      <a:pt x="33" y="50"/>
                    </a:lnTo>
                    <a:lnTo>
                      <a:pt x="35" y="49"/>
                    </a:lnTo>
                    <a:lnTo>
                      <a:pt x="36" y="47"/>
                    </a:lnTo>
                    <a:lnTo>
                      <a:pt x="38" y="46"/>
                    </a:lnTo>
                    <a:lnTo>
                      <a:pt x="39" y="44"/>
                    </a:lnTo>
                    <a:lnTo>
                      <a:pt x="42" y="42"/>
                    </a:lnTo>
                    <a:lnTo>
                      <a:pt x="46" y="39"/>
                    </a:lnTo>
                    <a:lnTo>
                      <a:pt x="46" y="39"/>
                    </a:lnTo>
                    <a:lnTo>
                      <a:pt x="47" y="36"/>
                    </a:lnTo>
                    <a:lnTo>
                      <a:pt x="47" y="33"/>
                    </a:lnTo>
                    <a:lnTo>
                      <a:pt x="49" y="33"/>
                    </a:lnTo>
                    <a:lnTo>
                      <a:pt x="50" y="31"/>
                    </a:lnTo>
                    <a:lnTo>
                      <a:pt x="50" y="31"/>
                    </a:lnTo>
                    <a:lnTo>
                      <a:pt x="52" y="31"/>
                    </a:lnTo>
                    <a:lnTo>
                      <a:pt x="52" y="30"/>
                    </a:lnTo>
                    <a:lnTo>
                      <a:pt x="52" y="27"/>
                    </a:lnTo>
                    <a:lnTo>
                      <a:pt x="52" y="27"/>
                    </a:lnTo>
                    <a:lnTo>
                      <a:pt x="52" y="2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7" name="Freeform 184">
                <a:extLst>
                  <a:ext uri="{FF2B5EF4-FFF2-40B4-BE49-F238E27FC236}">
                    <a16:creationId xmlns:a16="http://schemas.microsoft.com/office/drawing/2014/main" id="{9D1A568C-1C74-28AD-3820-7A035CB1108F}"/>
                  </a:ext>
                </a:extLst>
              </p:cNvPr>
              <p:cNvSpPr>
                <a:spLocks/>
              </p:cNvSpPr>
              <p:nvPr/>
            </p:nvSpPr>
            <p:spPr bwMode="gray">
              <a:xfrm>
                <a:off x="2893" y="720"/>
                <a:ext cx="1" cy="1"/>
              </a:xfrm>
              <a:custGeom>
                <a:avLst/>
                <a:gdLst>
                  <a:gd name="T0" fmla="*/ 1 w 1"/>
                  <a:gd name="T1" fmla="*/ 1 h 1"/>
                  <a:gd name="T2" fmla="*/ 0 w 1"/>
                  <a:gd name="T3" fmla="*/ 1 h 1"/>
                  <a:gd name="T4" fmla="*/ 0 w 1"/>
                  <a:gd name="T5" fmla="*/ 1 h 1"/>
                  <a:gd name="T6" fmla="*/ 0 w 1"/>
                  <a:gd name="T7" fmla="*/ 0 h 1"/>
                  <a:gd name="T8" fmla="*/ 1 w 1"/>
                  <a:gd name="T9" fmla="*/ 0 h 1"/>
                  <a:gd name="T10" fmla="*/ 1 w 1"/>
                  <a:gd name="T11" fmla="*/ 0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lnTo>
                      <a:pt x="0" y="1"/>
                    </a:lnTo>
                    <a:lnTo>
                      <a:pt x="0" y="1"/>
                    </a:lnTo>
                    <a:lnTo>
                      <a:pt x="0" y="0"/>
                    </a:lnTo>
                    <a:lnTo>
                      <a:pt x="1" y="0"/>
                    </a:lnTo>
                    <a:lnTo>
                      <a:pt x="1" y="0"/>
                    </a:lnTo>
                    <a:lnTo>
                      <a:pt x="1"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8" name="Freeform 185">
                <a:extLst>
                  <a:ext uri="{FF2B5EF4-FFF2-40B4-BE49-F238E27FC236}">
                    <a16:creationId xmlns:a16="http://schemas.microsoft.com/office/drawing/2014/main" id="{A41ACFFE-16A3-E0DC-0F64-98CC90A9D129}"/>
                  </a:ext>
                </a:extLst>
              </p:cNvPr>
              <p:cNvSpPr>
                <a:spLocks/>
              </p:cNvSpPr>
              <p:nvPr/>
            </p:nvSpPr>
            <p:spPr bwMode="gray">
              <a:xfrm>
                <a:off x="2367" y="1282"/>
                <a:ext cx="108" cy="78"/>
              </a:xfrm>
              <a:custGeom>
                <a:avLst/>
                <a:gdLst>
                  <a:gd name="T0" fmla="*/ 94 w 108"/>
                  <a:gd name="T1" fmla="*/ 40 h 78"/>
                  <a:gd name="T2" fmla="*/ 97 w 108"/>
                  <a:gd name="T3" fmla="*/ 45 h 78"/>
                  <a:gd name="T4" fmla="*/ 99 w 108"/>
                  <a:gd name="T5" fmla="*/ 50 h 78"/>
                  <a:gd name="T6" fmla="*/ 96 w 108"/>
                  <a:gd name="T7" fmla="*/ 54 h 78"/>
                  <a:gd name="T8" fmla="*/ 99 w 108"/>
                  <a:gd name="T9" fmla="*/ 59 h 78"/>
                  <a:gd name="T10" fmla="*/ 102 w 108"/>
                  <a:gd name="T11" fmla="*/ 59 h 78"/>
                  <a:gd name="T12" fmla="*/ 105 w 108"/>
                  <a:gd name="T13" fmla="*/ 62 h 78"/>
                  <a:gd name="T14" fmla="*/ 106 w 108"/>
                  <a:gd name="T15" fmla="*/ 67 h 78"/>
                  <a:gd name="T16" fmla="*/ 106 w 108"/>
                  <a:gd name="T17" fmla="*/ 73 h 78"/>
                  <a:gd name="T18" fmla="*/ 108 w 108"/>
                  <a:gd name="T19" fmla="*/ 76 h 78"/>
                  <a:gd name="T20" fmla="*/ 99 w 108"/>
                  <a:gd name="T21" fmla="*/ 76 h 78"/>
                  <a:gd name="T22" fmla="*/ 91 w 108"/>
                  <a:gd name="T23" fmla="*/ 78 h 78"/>
                  <a:gd name="T24" fmla="*/ 85 w 108"/>
                  <a:gd name="T25" fmla="*/ 76 h 78"/>
                  <a:gd name="T26" fmla="*/ 80 w 108"/>
                  <a:gd name="T27" fmla="*/ 75 h 78"/>
                  <a:gd name="T28" fmla="*/ 78 w 108"/>
                  <a:gd name="T29" fmla="*/ 75 h 78"/>
                  <a:gd name="T30" fmla="*/ 77 w 108"/>
                  <a:gd name="T31" fmla="*/ 73 h 78"/>
                  <a:gd name="T32" fmla="*/ 67 w 108"/>
                  <a:gd name="T33" fmla="*/ 72 h 78"/>
                  <a:gd name="T34" fmla="*/ 46 w 108"/>
                  <a:gd name="T35" fmla="*/ 72 h 78"/>
                  <a:gd name="T36" fmla="*/ 30 w 108"/>
                  <a:gd name="T37" fmla="*/ 76 h 78"/>
                  <a:gd name="T38" fmla="*/ 20 w 108"/>
                  <a:gd name="T39" fmla="*/ 78 h 78"/>
                  <a:gd name="T40" fmla="*/ 14 w 108"/>
                  <a:gd name="T41" fmla="*/ 76 h 78"/>
                  <a:gd name="T42" fmla="*/ 17 w 108"/>
                  <a:gd name="T43" fmla="*/ 73 h 78"/>
                  <a:gd name="T44" fmla="*/ 19 w 108"/>
                  <a:gd name="T45" fmla="*/ 73 h 78"/>
                  <a:gd name="T46" fmla="*/ 16 w 108"/>
                  <a:gd name="T47" fmla="*/ 73 h 78"/>
                  <a:gd name="T48" fmla="*/ 13 w 108"/>
                  <a:gd name="T49" fmla="*/ 72 h 78"/>
                  <a:gd name="T50" fmla="*/ 14 w 108"/>
                  <a:gd name="T51" fmla="*/ 65 h 78"/>
                  <a:gd name="T52" fmla="*/ 24 w 108"/>
                  <a:gd name="T53" fmla="*/ 64 h 78"/>
                  <a:gd name="T54" fmla="*/ 31 w 108"/>
                  <a:gd name="T55" fmla="*/ 61 h 78"/>
                  <a:gd name="T56" fmla="*/ 41 w 108"/>
                  <a:gd name="T57" fmla="*/ 59 h 78"/>
                  <a:gd name="T58" fmla="*/ 42 w 108"/>
                  <a:gd name="T59" fmla="*/ 56 h 78"/>
                  <a:gd name="T60" fmla="*/ 49 w 108"/>
                  <a:gd name="T61" fmla="*/ 59 h 78"/>
                  <a:gd name="T62" fmla="*/ 61 w 108"/>
                  <a:gd name="T63" fmla="*/ 61 h 78"/>
                  <a:gd name="T64" fmla="*/ 63 w 108"/>
                  <a:gd name="T65" fmla="*/ 56 h 78"/>
                  <a:gd name="T66" fmla="*/ 56 w 108"/>
                  <a:gd name="T67" fmla="*/ 58 h 78"/>
                  <a:gd name="T68" fmla="*/ 50 w 108"/>
                  <a:gd name="T69" fmla="*/ 54 h 78"/>
                  <a:gd name="T70" fmla="*/ 42 w 108"/>
                  <a:gd name="T71" fmla="*/ 51 h 78"/>
                  <a:gd name="T72" fmla="*/ 33 w 108"/>
                  <a:gd name="T73" fmla="*/ 56 h 78"/>
                  <a:gd name="T74" fmla="*/ 17 w 108"/>
                  <a:gd name="T75" fmla="*/ 54 h 78"/>
                  <a:gd name="T76" fmla="*/ 14 w 108"/>
                  <a:gd name="T77" fmla="*/ 48 h 78"/>
                  <a:gd name="T78" fmla="*/ 14 w 108"/>
                  <a:gd name="T79" fmla="*/ 48 h 78"/>
                  <a:gd name="T80" fmla="*/ 10 w 108"/>
                  <a:gd name="T81" fmla="*/ 40 h 78"/>
                  <a:gd name="T82" fmla="*/ 3 w 108"/>
                  <a:gd name="T83" fmla="*/ 36 h 78"/>
                  <a:gd name="T84" fmla="*/ 2 w 108"/>
                  <a:gd name="T85" fmla="*/ 34 h 78"/>
                  <a:gd name="T86" fmla="*/ 17 w 108"/>
                  <a:gd name="T87" fmla="*/ 15 h 78"/>
                  <a:gd name="T88" fmla="*/ 20 w 108"/>
                  <a:gd name="T89" fmla="*/ 8 h 78"/>
                  <a:gd name="T90" fmla="*/ 24 w 108"/>
                  <a:gd name="T91" fmla="*/ 3 h 78"/>
                  <a:gd name="T92" fmla="*/ 31 w 108"/>
                  <a:gd name="T93" fmla="*/ 3 h 78"/>
                  <a:gd name="T94" fmla="*/ 41 w 108"/>
                  <a:gd name="T95" fmla="*/ 1 h 78"/>
                  <a:gd name="T96" fmla="*/ 44 w 108"/>
                  <a:gd name="T97" fmla="*/ 0 h 78"/>
                  <a:gd name="T98" fmla="*/ 46 w 108"/>
                  <a:gd name="T99" fmla="*/ 0 h 78"/>
                  <a:gd name="T100" fmla="*/ 61 w 108"/>
                  <a:gd name="T101" fmla="*/ 4 h 78"/>
                  <a:gd name="T102" fmla="*/ 64 w 108"/>
                  <a:gd name="T103" fmla="*/ 9 h 78"/>
                  <a:gd name="T104" fmla="*/ 67 w 108"/>
                  <a:gd name="T105" fmla="*/ 9 h 78"/>
                  <a:gd name="T106" fmla="*/ 71 w 108"/>
                  <a:gd name="T107" fmla="*/ 11 h 78"/>
                  <a:gd name="T108" fmla="*/ 74 w 108"/>
                  <a:gd name="T109" fmla="*/ 12 h 78"/>
                  <a:gd name="T110" fmla="*/ 77 w 108"/>
                  <a:gd name="T111" fmla="*/ 18 h 78"/>
                  <a:gd name="T112" fmla="*/ 78 w 108"/>
                  <a:gd name="T113" fmla="*/ 22 h 78"/>
                  <a:gd name="T114" fmla="*/ 83 w 108"/>
                  <a:gd name="T115" fmla="*/ 25 h 78"/>
                  <a:gd name="T116" fmla="*/ 83 w 108"/>
                  <a:gd name="T117" fmla="*/ 26 h 78"/>
                  <a:gd name="T118" fmla="*/ 89 w 108"/>
                  <a:gd name="T119" fmla="*/ 3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78">
                    <a:moveTo>
                      <a:pt x="92" y="34"/>
                    </a:moveTo>
                    <a:lnTo>
                      <a:pt x="94" y="37"/>
                    </a:lnTo>
                    <a:lnTo>
                      <a:pt x="94" y="37"/>
                    </a:lnTo>
                    <a:lnTo>
                      <a:pt x="94" y="40"/>
                    </a:lnTo>
                    <a:lnTo>
                      <a:pt x="94" y="42"/>
                    </a:lnTo>
                    <a:lnTo>
                      <a:pt x="96" y="42"/>
                    </a:lnTo>
                    <a:lnTo>
                      <a:pt x="96" y="44"/>
                    </a:lnTo>
                    <a:lnTo>
                      <a:pt x="97" y="45"/>
                    </a:lnTo>
                    <a:lnTo>
                      <a:pt x="97" y="47"/>
                    </a:lnTo>
                    <a:lnTo>
                      <a:pt x="97" y="48"/>
                    </a:lnTo>
                    <a:lnTo>
                      <a:pt x="97" y="50"/>
                    </a:lnTo>
                    <a:lnTo>
                      <a:pt x="99" y="50"/>
                    </a:lnTo>
                    <a:lnTo>
                      <a:pt x="97" y="51"/>
                    </a:lnTo>
                    <a:lnTo>
                      <a:pt x="97" y="51"/>
                    </a:lnTo>
                    <a:lnTo>
                      <a:pt x="97" y="53"/>
                    </a:lnTo>
                    <a:lnTo>
                      <a:pt x="96" y="54"/>
                    </a:lnTo>
                    <a:lnTo>
                      <a:pt x="99" y="58"/>
                    </a:lnTo>
                    <a:lnTo>
                      <a:pt x="99" y="58"/>
                    </a:lnTo>
                    <a:lnTo>
                      <a:pt x="99" y="59"/>
                    </a:lnTo>
                    <a:lnTo>
                      <a:pt x="99" y="59"/>
                    </a:lnTo>
                    <a:lnTo>
                      <a:pt x="100" y="61"/>
                    </a:lnTo>
                    <a:lnTo>
                      <a:pt x="100" y="61"/>
                    </a:lnTo>
                    <a:lnTo>
                      <a:pt x="102" y="59"/>
                    </a:lnTo>
                    <a:lnTo>
                      <a:pt x="102" y="59"/>
                    </a:lnTo>
                    <a:lnTo>
                      <a:pt x="103" y="59"/>
                    </a:lnTo>
                    <a:lnTo>
                      <a:pt x="103" y="59"/>
                    </a:lnTo>
                    <a:lnTo>
                      <a:pt x="105" y="61"/>
                    </a:lnTo>
                    <a:lnTo>
                      <a:pt x="105" y="62"/>
                    </a:lnTo>
                    <a:lnTo>
                      <a:pt x="105" y="62"/>
                    </a:lnTo>
                    <a:lnTo>
                      <a:pt x="106" y="64"/>
                    </a:lnTo>
                    <a:lnTo>
                      <a:pt x="106" y="65"/>
                    </a:lnTo>
                    <a:lnTo>
                      <a:pt x="106" y="67"/>
                    </a:lnTo>
                    <a:lnTo>
                      <a:pt x="108" y="67"/>
                    </a:lnTo>
                    <a:lnTo>
                      <a:pt x="108" y="69"/>
                    </a:lnTo>
                    <a:lnTo>
                      <a:pt x="108" y="70"/>
                    </a:lnTo>
                    <a:lnTo>
                      <a:pt x="106" y="73"/>
                    </a:lnTo>
                    <a:lnTo>
                      <a:pt x="106" y="75"/>
                    </a:lnTo>
                    <a:lnTo>
                      <a:pt x="106" y="75"/>
                    </a:lnTo>
                    <a:lnTo>
                      <a:pt x="108" y="75"/>
                    </a:lnTo>
                    <a:lnTo>
                      <a:pt x="108" y="76"/>
                    </a:lnTo>
                    <a:lnTo>
                      <a:pt x="106" y="76"/>
                    </a:lnTo>
                    <a:lnTo>
                      <a:pt x="105" y="76"/>
                    </a:lnTo>
                    <a:lnTo>
                      <a:pt x="100" y="76"/>
                    </a:lnTo>
                    <a:lnTo>
                      <a:pt x="99" y="76"/>
                    </a:lnTo>
                    <a:lnTo>
                      <a:pt x="97" y="76"/>
                    </a:lnTo>
                    <a:lnTo>
                      <a:pt x="94" y="78"/>
                    </a:lnTo>
                    <a:lnTo>
                      <a:pt x="92" y="78"/>
                    </a:lnTo>
                    <a:lnTo>
                      <a:pt x="91" y="78"/>
                    </a:lnTo>
                    <a:lnTo>
                      <a:pt x="89" y="78"/>
                    </a:lnTo>
                    <a:lnTo>
                      <a:pt x="88" y="78"/>
                    </a:lnTo>
                    <a:lnTo>
                      <a:pt x="86" y="76"/>
                    </a:lnTo>
                    <a:lnTo>
                      <a:pt x="85" y="76"/>
                    </a:lnTo>
                    <a:lnTo>
                      <a:pt x="83" y="76"/>
                    </a:lnTo>
                    <a:lnTo>
                      <a:pt x="81" y="75"/>
                    </a:lnTo>
                    <a:lnTo>
                      <a:pt x="81" y="75"/>
                    </a:lnTo>
                    <a:lnTo>
                      <a:pt x="80" y="75"/>
                    </a:lnTo>
                    <a:lnTo>
                      <a:pt x="80" y="75"/>
                    </a:lnTo>
                    <a:lnTo>
                      <a:pt x="80" y="75"/>
                    </a:lnTo>
                    <a:lnTo>
                      <a:pt x="78" y="75"/>
                    </a:lnTo>
                    <a:lnTo>
                      <a:pt x="78" y="75"/>
                    </a:lnTo>
                    <a:lnTo>
                      <a:pt x="78" y="73"/>
                    </a:lnTo>
                    <a:lnTo>
                      <a:pt x="78" y="73"/>
                    </a:lnTo>
                    <a:lnTo>
                      <a:pt x="78" y="73"/>
                    </a:lnTo>
                    <a:lnTo>
                      <a:pt x="77" y="73"/>
                    </a:lnTo>
                    <a:lnTo>
                      <a:pt x="75" y="73"/>
                    </a:lnTo>
                    <a:lnTo>
                      <a:pt x="74" y="72"/>
                    </a:lnTo>
                    <a:lnTo>
                      <a:pt x="72" y="72"/>
                    </a:lnTo>
                    <a:lnTo>
                      <a:pt x="67" y="72"/>
                    </a:lnTo>
                    <a:lnTo>
                      <a:pt x="61" y="72"/>
                    </a:lnTo>
                    <a:lnTo>
                      <a:pt x="56" y="72"/>
                    </a:lnTo>
                    <a:lnTo>
                      <a:pt x="50" y="72"/>
                    </a:lnTo>
                    <a:lnTo>
                      <a:pt x="46" y="72"/>
                    </a:lnTo>
                    <a:lnTo>
                      <a:pt x="41" y="72"/>
                    </a:lnTo>
                    <a:lnTo>
                      <a:pt x="38" y="73"/>
                    </a:lnTo>
                    <a:lnTo>
                      <a:pt x="35" y="75"/>
                    </a:lnTo>
                    <a:lnTo>
                      <a:pt x="30" y="76"/>
                    </a:lnTo>
                    <a:lnTo>
                      <a:pt x="25" y="76"/>
                    </a:lnTo>
                    <a:lnTo>
                      <a:pt x="22" y="76"/>
                    </a:lnTo>
                    <a:lnTo>
                      <a:pt x="20" y="76"/>
                    </a:lnTo>
                    <a:lnTo>
                      <a:pt x="20" y="78"/>
                    </a:lnTo>
                    <a:lnTo>
                      <a:pt x="17" y="78"/>
                    </a:lnTo>
                    <a:lnTo>
                      <a:pt x="16" y="78"/>
                    </a:lnTo>
                    <a:lnTo>
                      <a:pt x="14" y="78"/>
                    </a:lnTo>
                    <a:lnTo>
                      <a:pt x="14" y="76"/>
                    </a:lnTo>
                    <a:lnTo>
                      <a:pt x="13" y="75"/>
                    </a:lnTo>
                    <a:lnTo>
                      <a:pt x="14" y="75"/>
                    </a:lnTo>
                    <a:lnTo>
                      <a:pt x="16" y="73"/>
                    </a:lnTo>
                    <a:lnTo>
                      <a:pt x="17" y="73"/>
                    </a:lnTo>
                    <a:lnTo>
                      <a:pt x="19" y="73"/>
                    </a:lnTo>
                    <a:lnTo>
                      <a:pt x="19" y="73"/>
                    </a:lnTo>
                    <a:lnTo>
                      <a:pt x="19" y="73"/>
                    </a:lnTo>
                    <a:lnTo>
                      <a:pt x="19" y="73"/>
                    </a:lnTo>
                    <a:lnTo>
                      <a:pt x="17" y="72"/>
                    </a:lnTo>
                    <a:lnTo>
                      <a:pt x="16" y="72"/>
                    </a:lnTo>
                    <a:lnTo>
                      <a:pt x="16" y="72"/>
                    </a:lnTo>
                    <a:lnTo>
                      <a:pt x="16" y="73"/>
                    </a:lnTo>
                    <a:lnTo>
                      <a:pt x="14" y="73"/>
                    </a:lnTo>
                    <a:lnTo>
                      <a:pt x="14" y="73"/>
                    </a:lnTo>
                    <a:lnTo>
                      <a:pt x="14" y="73"/>
                    </a:lnTo>
                    <a:lnTo>
                      <a:pt x="13" y="72"/>
                    </a:lnTo>
                    <a:lnTo>
                      <a:pt x="14" y="72"/>
                    </a:lnTo>
                    <a:lnTo>
                      <a:pt x="14" y="69"/>
                    </a:lnTo>
                    <a:lnTo>
                      <a:pt x="14" y="67"/>
                    </a:lnTo>
                    <a:lnTo>
                      <a:pt x="14" y="65"/>
                    </a:lnTo>
                    <a:lnTo>
                      <a:pt x="14" y="64"/>
                    </a:lnTo>
                    <a:lnTo>
                      <a:pt x="16" y="64"/>
                    </a:lnTo>
                    <a:lnTo>
                      <a:pt x="19" y="64"/>
                    </a:lnTo>
                    <a:lnTo>
                      <a:pt x="24" y="64"/>
                    </a:lnTo>
                    <a:lnTo>
                      <a:pt x="27" y="64"/>
                    </a:lnTo>
                    <a:lnTo>
                      <a:pt x="30" y="64"/>
                    </a:lnTo>
                    <a:lnTo>
                      <a:pt x="30" y="61"/>
                    </a:lnTo>
                    <a:lnTo>
                      <a:pt x="31" y="61"/>
                    </a:lnTo>
                    <a:lnTo>
                      <a:pt x="33" y="59"/>
                    </a:lnTo>
                    <a:lnTo>
                      <a:pt x="36" y="59"/>
                    </a:lnTo>
                    <a:lnTo>
                      <a:pt x="39" y="59"/>
                    </a:lnTo>
                    <a:lnTo>
                      <a:pt x="41" y="59"/>
                    </a:lnTo>
                    <a:lnTo>
                      <a:pt x="41" y="58"/>
                    </a:lnTo>
                    <a:lnTo>
                      <a:pt x="41" y="56"/>
                    </a:lnTo>
                    <a:lnTo>
                      <a:pt x="42" y="56"/>
                    </a:lnTo>
                    <a:lnTo>
                      <a:pt x="42" y="56"/>
                    </a:lnTo>
                    <a:lnTo>
                      <a:pt x="44" y="58"/>
                    </a:lnTo>
                    <a:lnTo>
                      <a:pt x="46" y="58"/>
                    </a:lnTo>
                    <a:lnTo>
                      <a:pt x="47" y="58"/>
                    </a:lnTo>
                    <a:lnTo>
                      <a:pt x="49" y="59"/>
                    </a:lnTo>
                    <a:lnTo>
                      <a:pt x="50" y="59"/>
                    </a:lnTo>
                    <a:lnTo>
                      <a:pt x="55" y="61"/>
                    </a:lnTo>
                    <a:lnTo>
                      <a:pt x="58" y="62"/>
                    </a:lnTo>
                    <a:lnTo>
                      <a:pt x="61" y="61"/>
                    </a:lnTo>
                    <a:lnTo>
                      <a:pt x="64" y="61"/>
                    </a:lnTo>
                    <a:lnTo>
                      <a:pt x="66" y="59"/>
                    </a:lnTo>
                    <a:lnTo>
                      <a:pt x="64" y="58"/>
                    </a:lnTo>
                    <a:lnTo>
                      <a:pt x="63" y="56"/>
                    </a:lnTo>
                    <a:lnTo>
                      <a:pt x="60" y="56"/>
                    </a:lnTo>
                    <a:lnTo>
                      <a:pt x="58" y="56"/>
                    </a:lnTo>
                    <a:lnTo>
                      <a:pt x="58" y="58"/>
                    </a:lnTo>
                    <a:lnTo>
                      <a:pt x="56" y="58"/>
                    </a:lnTo>
                    <a:lnTo>
                      <a:pt x="55" y="58"/>
                    </a:lnTo>
                    <a:lnTo>
                      <a:pt x="53" y="56"/>
                    </a:lnTo>
                    <a:lnTo>
                      <a:pt x="52" y="54"/>
                    </a:lnTo>
                    <a:lnTo>
                      <a:pt x="50" y="54"/>
                    </a:lnTo>
                    <a:lnTo>
                      <a:pt x="49" y="54"/>
                    </a:lnTo>
                    <a:lnTo>
                      <a:pt x="46" y="51"/>
                    </a:lnTo>
                    <a:lnTo>
                      <a:pt x="44" y="51"/>
                    </a:lnTo>
                    <a:lnTo>
                      <a:pt x="42" y="51"/>
                    </a:lnTo>
                    <a:lnTo>
                      <a:pt x="39" y="51"/>
                    </a:lnTo>
                    <a:lnTo>
                      <a:pt x="38" y="53"/>
                    </a:lnTo>
                    <a:lnTo>
                      <a:pt x="36" y="56"/>
                    </a:lnTo>
                    <a:lnTo>
                      <a:pt x="33" y="56"/>
                    </a:lnTo>
                    <a:lnTo>
                      <a:pt x="27" y="56"/>
                    </a:lnTo>
                    <a:lnTo>
                      <a:pt x="22" y="56"/>
                    </a:lnTo>
                    <a:lnTo>
                      <a:pt x="17" y="56"/>
                    </a:lnTo>
                    <a:lnTo>
                      <a:pt x="17" y="54"/>
                    </a:lnTo>
                    <a:lnTo>
                      <a:pt x="16" y="53"/>
                    </a:lnTo>
                    <a:lnTo>
                      <a:pt x="14" y="51"/>
                    </a:lnTo>
                    <a:lnTo>
                      <a:pt x="14" y="50"/>
                    </a:lnTo>
                    <a:lnTo>
                      <a:pt x="14" y="48"/>
                    </a:lnTo>
                    <a:lnTo>
                      <a:pt x="16" y="48"/>
                    </a:lnTo>
                    <a:lnTo>
                      <a:pt x="16" y="48"/>
                    </a:lnTo>
                    <a:lnTo>
                      <a:pt x="16" y="48"/>
                    </a:lnTo>
                    <a:lnTo>
                      <a:pt x="14" y="48"/>
                    </a:lnTo>
                    <a:lnTo>
                      <a:pt x="13" y="48"/>
                    </a:lnTo>
                    <a:lnTo>
                      <a:pt x="13" y="47"/>
                    </a:lnTo>
                    <a:lnTo>
                      <a:pt x="11" y="45"/>
                    </a:lnTo>
                    <a:lnTo>
                      <a:pt x="10" y="40"/>
                    </a:lnTo>
                    <a:lnTo>
                      <a:pt x="8" y="39"/>
                    </a:lnTo>
                    <a:lnTo>
                      <a:pt x="6" y="37"/>
                    </a:lnTo>
                    <a:lnTo>
                      <a:pt x="5" y="36"/>
                    </a:lnTo>
                    <a:lnTo>
                      <a:pt x="3" y="36"/>
                    </a:lnTo>
                    <a:lnTo>
                      <a:pt x="2" y="36"/>
                    </a:lnTo>
                    <a:lnTo>
                      <a:pt x="2" y="36"/>
                    </a:lnTo>
                    <a:lnTo>
                      <a:pt x="0" y="34"/>
                    </a:lnTo>
                    <a:lnTo>
                      <a:pt x="2" y="34"/>
                    </a:lnTo>
                    <a:lnTo>
                      <a:pt x="6" y="31"/>
                    </a:lnTo>
                    <a:lnTo>
                      <a:pt x="13" y="25"/>
                    </a:lnTo>
                    <a:lnTo>
                      <a:pt x="17" y="17"/>
                    </a:lnTo>
                    <a:lnTo>
                      <a:pt x="17" y="15"/>
                    </a:lnTo>
                    <a:lnTo>
                      <a:pt x="19" y="14"/>
                    </a:lnTo>
                    <a:lnTo>
                      <a:pt x="19" y="11"/>
                    </a:lnTo>
                    <a:lnTo>
                      <a:pt x="19" y="8"/>
                    </a:lnTo>
                    <a:lnTo>
                      <a:pt x="20" y="8"/>
                    </a:lnTo>
                    <a:lnTo>
                      <a:pt x="20" y="6"/>
                    </a:lnTo>
                    <a:lnTo>
                      <a:pt x="22" y="4"/>
                    </a:lnTo>
                    <a:lnTo>
                      <a:pt x="24" y="3"/>
                    </a:lnTo>
                    <a:lnTo>
                      <a:pt x="24" y="3"/>
                    </a:lnTo>
                    <a:lnTo>
                      <a:pt x="25" y="3"/>
                    </a:lnTo>
                    <a:lnTo>
                      <a:pt x="25" y="3"/>
                    </a:lnTo>
                    <a:lnTo>
                      <a:pt x="28" y="3"/>
                    </a:lnTo>
                    <a:lnTo>
                      <a:pt x="31" y="3"/>
                    </a:lnTo>
                    <a:lnTo>
                      <a:pt x="33" y="3"/>
                    </a:lnTo>
                    <a:lnTo>
                      <a:pt x="36" y="1"/>
                    </a:lnTo>
                    <a:lnTo>
                      <a:pt x="38" y="1"/>
                    </a:lnTo>
                    <a:lnTo>
                      <a:pt x="41" y="1"/>
                    </a:lnTo>
                    <a:lnTo>
                      <a:pt x="42" y="1"/>
                    </a:lnTo>
                    <a:lnTo>
                      <a:pt x="42" y="0"/>
                    </a:lnTo>
                    <a:lnTo>
                      <a:pt x="42" y="0"/>
                    </a:lnTo>
                    <a:lnTo>
                      <a:pt x="44" y="0"/>
                    </a:lnTo>
                    <a:lnTo>
                      <a:pt x="44" y="0"/>
                    </a:lnTo>
                    <a:lnTo>
                      <a:pt x="46" y="0"/>
                    </a:lnTo>
                    <a:lnTo>
                      <a:pt x="46" y="0"/>
                    </a:lnTo>
                    <a:lnTo>
                      <a:pt x="46" y="0"/>
                    </a:lnTo>
                    <a:lnTo>
                      <a:pt x="49" y="0"/>
                    </a:lnTo>
                    <a:lnTo>
                      <a:pt x="53" y="0"/>
                    </a:lnTo>
                    <a:lnTo>
                      <a:pt x="56" y="1"/>
                    </a:lnTo>
                    <a:lnTo>
                      <a:pt x="61" y="4"/>
                    </a:lnTo>
                    <a:lnTo>
                      <a:pt x="63" y="6"/>
                    </a:lnTo>
                    <a:lnTo>
                      <a:pt x="63" y="8"/>
                    </a:lnTo>
                    <a:lnTo>
                      <a:pt x="63" y="9"/>
                    </a:lnTo>
                    <a:lnTo>
                      <a:pt x="64" y="9"/>
                    </a:lnTo>
                    <a:lnTo>
                      <a:pt x="66" y="9"/>
                    </a:lnTo>
                    <a:lnTo>
                      <a:pt x="66" y="9"/>
                    </a:lnTo>
                    <a:lnTo>
                      <a:pt x="67" y="9"/>
                    </a:lnTo>
                    <a:lnTo>
                      <a:pt x="67" y="9"/>
                    </a:lnTo>
                    <a:lnTo>
                      <a:pt x="69" y="9"/>
                    </a:lnTo>
                    <a:lnTo>
                      <a:pt x="71" y="9"/>
                    </a:lnTo>
                    <a:lnTo>
                      <a:pt x="71" y="9"/>
                    </a:lnTo>
                    <a:lnTo>
                      <a:pt x="71" y="11"/>
                    </a:lnTo>
                    <a:lnTo>
                      <a:pt x="71" y="11"/>
                    </a:lnTo>
                    <a:lnTo>
                      <a:pt x="72" y="11"/>
                    </a:lnTo>
                    <a:lnTo>
                      <a:pt x="72" y="11"/>
                    </a:lnTo>
                    <a:lnTo>
                      <a:pt x="74" y="12"/>
                    </a:lnTo>
                    <a:lnTo>
                      <a:pt x="75" y="15"/>
                    </a:lnTo>
                    <a:lnTo>
                      <a:pt x="75" y="17"/>
                    </a:lnTo>
                    <a:lnTo>
                      <a:pt x="77" y="18"/>
                    </a:lnTo>
                    <a:lnTo>
                      <a:pt x="77" y="18"/>
                    </a:lnTo>
                    <a:lnTo>
                      <a:pt x="78" y="20"/>
                    </a:lnTo>
                    <a:lnTo>
                      <a:pt x="78" y="20"/>
                    </a:lnTo>
                    <a:lnTo>
                      <a:pt x="78" y="22"/>
                    </a:lnTo>
                    <a:lnTo>
                      <a:pt x="78" y="22"/>
                    </a:lnTo>
                    <a:lnTo>
                      <a:pt x="80" y="22"/>
                    </a:lnTo>
                    <a:lnTo>
                      <a:pt x="81" y="22"/>
                    </a:lnTo>
                    <a:lnTo>
                      <a:pt x="81" y="25"/>
                    </a:lnTo>
                    <a:lnTo>
                      <a:pt x="83" y="25"/>
                    </a:lnTo>
                    <a:lnTo>
                      <a:pt x="81" y="25"/>
                    </a:lnTo>
                    <a:lnTo>
                      <a:pt x="81" y="26"/>
                    </a:lnTo>
                    <a:lnTo>
                      <a:pt x="83" y="26"/>
                    </a:lnTo>
                    <a:lnTo>
                      <a:pt x="83" y="26"/>
                    </a:lnTo>
                    <a:lnTo>
                      <a:pt x="85" y="28"/>
                    </a:lnTo>
                    <a:lnTo>
                      <a:pt x="86" y="28"/>
                    </a:lnTo>
                    <a:lnTo>
                      <a:pt x="88" y="29"/>
                    </a:lnTo>
                    <a:lnTo>
                      <a:pt x="89" y="31"/>
                    </a:lnTo>
                    <a:lnTo>
                      <a:pt x="91" y="33"/>
                    </a:lnTo>
                    <a:lnTo>
                      <a:pt x="92" y="34"/>
                    </a:lnTo>
                    <a:lnTo>
                      <a:pt x="92" y="34"/>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59" name="Freeform 186">
                <a:extLst>
                  <a:ext uri="{FF2B5EF4-FFF2-40B4-BE49-F238E27FC236}">
                    <a16:creationId xmlns:a16="http://schemas.microsoft.com/office/drawing/2014/main" id="{6657A0D0-D5A1-3CE5-CDEA-E346989385CB}"/>
                  </a:ext>
                </a:extLst>
              </p:cNvPr>
              <p:cNvSpPr>
                <a:spLocks/>
              </p:cNvSpPr>
              <p:nvPr/>
            </p:nvSpPr>
            <p:spPr bwMode="gray">
              <a:xfrm>
                <a:off x="3394" y="1366"/>
                <a:ext cx="183" cy="241"/>
              </a:xfrm>
              <a:custGeom>
                <a:avLst/>
                <a:gdLst>
                  <a:gd name="T0" fmla="*/ 8 w 183"/>
                  <a:gd name="T1" fmla="*/ 236 h 241"/>
                  <a:gd name="T2" fmla="*/ 0 w 183"/>
                  <a:gd name="T3" fmla="*/ 224 h 241"/>
                  <a:gd name="T4" fmla="*/ 0 w 183"/>
                  <a:gd name="T5" fmla="*/ 172 h 241"/>
                  <a:gd name="T6" fmla="*/ 4 w 183"/>
                  <a:gd name="T7" fmla="*/ 158 h 241"/>
                  <a:gd name="T8" fmla="*/ 16 w 183"/>
                  <a:gd name="T9" fmla="*/ 141 h 241"/>
                  <a:gd name="T10" fmla="*/ 24 w 183"/>
                  <a:gd name="T11" fmla="*/ 138 h 241"/>
                  <a:gd name="T12" fmla="*/ 35 w 183"/>
                  <a:gd name="T13" fmla="*/ 133 h 241"/>
                  <a:gd name="T14" fmla="*/ 46 w 183"/>
                  <a:gd name="T15" fmla="*/ 127 h 241"/>
                  <a:gd name="T16" fmla="*/ 54 w 183"/>
                  <a:gd name="T17" fmla="*/ 124 h 241"/>
                  <a:gd name="T18" fmla="*/ 69 w 183"/>
                  <a:gd name="T19" fmla="*/ 125 h 241"/>
                  <a:gd name="T20" fmla="*/ 82 w 183"/>
                  <a:gd name="T21" fmla="*/ 111 h 241"/>
                  <a:gd name="T22" fmla="*/ 100 w 183"/>
                  <a:gd name="T23" fmla="*/ 93 h 241"/>
                  <a:gd name="T24" fmla="*/ 119 w 183"/>
                  <a:gd name="T25" fmla="*/ 75 h 241"/>
                  <a:gd name="T26" fmla="*/ 105 w 183"/>
                  <a:gd name="T27" fmla="*/ 71 h 241"/>
                  <a:gd name="T28" fmla="*/ 86 w 183"/>
                  <a:gd name="T29" fmla="*/ 64 h 241"/>
                  <a:gd name="T30" fmla="*/ 65 w 183"/>
                  <a:gd name="T31" fmla="*/ 57 h 241"/>
                  <a:gd name="T32" fmla="*/ 50 w 183"/>
                  <a:gd name="T33" fmla="*/ 50 h 241"/>
                  <a:gd name="T34" fmla="*/ 43 w 183"/>
                  <a:gd name="T35" fmla="*/ 44 h 241"/>
                  <a:gd name="T36" fmla="*/ 36 w 183"/>
                  <a:gd name="T37" fmla="*/ 36 h 241"/>
                  <a:gd name="T38" fmla="*/ 32 w 183"/>
                  <a:gd name="T39" fmla="*/ 31 h 241"/>
                  <a:gd name="T40" fmla="*/ 30 w 183"/>
                  <a:gd name="T41" fmla="*/ 25 h 241"/>
                  <a:gd name="T42" fmla="*/ 33 w 183"/>
                  <a:gd name="T43" fmla="*/ 19 h 241"/>
                  <a:gd name="T44" fmla="*/ 38 w 183"/>
                  <a:gd name="T45" fmla="*/ 11 h 241"/>
                  <a:gd name="T46" fmla="*/ 50 w 183"/>
                  <a:gd name="T47" fmla="*/ 22 h 241"/>
                  <a:gd name="T48" fmla="*/ 69 w 183"/>
                  <a:gd name="T49" fmla="*/ 28 h 241"/>
                  <a:gd name="T50" fmla="*/ 88 w 183"/>
                  <a:gd name="T51" fmla="*/ 22 h 241"/>
                  <a:gd name="T52" fmla="*/ 105 w 183"/>
                  <a:gd name="T53" fmla="*/ 19 h 241"/>
                  <a:gd name="T54" fmla="*/ 118 w 183"/>
                  <a:gd name="T55" fmla="*/ 16 h 241"/>
                  <a:gd name="T56" fmla="*/ 135 w 183"/>
                  <a:gd name="T57" fmla="*/ 13 h 241"/>
                  <a:gd name="T58" fmla="*/ 147 w 183"/>
                  <a:gd name="T59" fmla="*/ 11 h 241"/>
                  <a:gd name="T60" fmla="*/ 168 w 183"/>
                  <a:gd name="T61" fmla="*/ 3 h 241"/>
                  <a:gd name="T62" fmla="*/ 180 w 183"/>
                  <a:gd name="T63" fmla="*/ 3 h 241"/>
                  <a:gd name="T64" fmla="*/ 177 w 183"/>
                  <a:gd name="T65" fmla="*/ 11 h 241"/>
                  <a:gd name="T66" fmla="*/ 179 w 183"/>
                  <a:gd name="T67" fmla="*/ 27 h 241"/>
                  <a:gd name="T68" fmla="*/ 177 w 183"/>
                  <a:gd name="T69" fmla="*/ 28 h 241"/>
                  <a:gd name="T70" fmla="*/ 182 w 183"/>
                  <a:gd name="T71" fmla="*/ 27 h 241"/>
                  <a:gd name="T72" fmla="*/ 180 w 183"/>
                  <a:gd name="T73" fmla="*/ 28 h 241"/>
                  <a:gd name="T74" fmla="*/ 174 w 183"/>
                  <a:gd name="T75" fmla="*/ 31 h 241"/>
                  <a:gd name="T76" fmla="*/ 171 w 183"/>
                  <a:gd name="T77" fmla="*/ 49 h 241"/>
                  <a:gd name="T78" fmla="*/ 163 w 183"/>
                  <a:gd name="T79" fmla="*/ 61 h 241"/>
                  <a:gd name="T80" fmla="*/ 152 w 183"/>
                  <a:gd name="T81" fmla="*/ 80 h 241"/>
                  <a:gd name="T82" fmla="*/ 143 w 183"/>
                  <a:gd name="T83" fmla="*/ 99 h 241"/>
                  <a:gd name="T84" fmla="*/ 122 w 183"/>
                  <a:gd name="T85" fmla="*/ 132 h 241"/>
                  <a:gd name="T86" fmla="*/ 85 w 183"/>
                  <a:gd name="T87" fmla="*/ 171 h 241"/>
                  <a:gd name="T88" fmla="*/ 49 w 183"/>
                  <a:gd name="T89" fmla="*/ 196 h 241"/>
                  <a:gd name="T90" fmla="*/ 29 w 183"/>
                  <a:gd name="T91" fmla="*/ 216 h 241"/>
                  <a:gd name="T92" fmla="*/ 19 w 183"/>
                  <a:gd name="T93" fmla="*/ 226 h 241"/>
                  <a:gd name="T94" fmla="*/ 16 w 183"/>
                  <a:gd name="T95"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241">
                    <a:moveTo>
                      <a:pt x="10" y="241"/>
                    </a:moveTo>
                    <a:lnTo>
                      <a:pt x="10" y="240"/>
                    </a:lnTo>
                    <a:lnTo>
                      <a:pt x="10" y="238"/>
                    </a:lnTo>
                    <a:lnTo>
                      <a:pt x="8" y="236"/>
                    </a:lnTo>
                    <a:lnTo>
                      <a:pt x="5" y="232"/>
                    </a:lnTo>
                    <a:lnTo>
                      <a:pt x="2" y="229"/>
                    </a:lnTo>
                    <a:lnTo>
                      <a:pt x="0" y="226"/>
                    </a:lnTo>
                    <a:lnTo>
                      <a:pt x="0" y="224"/>
                    </a:lnTo>
                    <a:lnTo>
                      <a:pt x="0" y="216"/>
                    </a:lnTo>
                    <a:lnTo>
                      <a:pt x="0" y="202"/>
                    </a:lnTo>
                    <a:lnTo>
                      <a:pt x="0" y="186"/>
                    </a:lnTo>
                    <a:lnTo>
                      <a:pt x="0" y="172"/>
                    </a:lnTo>
                    <a:lnTo>
                      <a:pt x="0" y="164"/>
                    </a:lnTo>
                    <a:lnTo>
                      <a:pt x="0" y="161"/>
                    </a:lnTo>
                    <a:lnTo>
                      <a:pt x="0" y="161"/>
                    </a:lnTo>
                    <a:lnTo>
                      <a:pt x="4" y="158"/>
                    </a:lnTo>
                    <a:lnTo>
                      <a:pt x="7" y="155"/>
                    </a:lnTo>
                    <a:lnTo>
                      <a:pt x="11" y="149"/>
                    </a:lnTo>
                    <a:lnTo>
                      <a:pt x="14" y="144"/>
                    </a:lnTo>
                    <a:lnTo>
                      <a:pt x="16" y="141"/>
                    </a:lnTo>
                    <a:lnTo>
                      <a:pt x="16" y="141"/>
                    </a:lnTo>
                    <a:lnTo>
                      <a:pt x="19" y="138"/>
                    </a:lnTo>
                    <a:lnTo>
                      <a:pt x="22" y="138"/>
                    </a:lnTo>
                    <a:lnTo>
                      <a:pt x="24" y="138"/>
                    </a:lnTo>
                    <a:lnTo>
                      <a:pt x="32" y="136"/>
                    </a:lnTo>
                    <a:lnTo>
                      <a:pt x="33" y="135"/>
                    </a:lnTo>
                    <a:lnTo>
                      <a:pt x="33" y="135"/>
                    </a:lnTo>
                    <a:lnTo>
                      <a:pt x="35" y="133"/>
                    </a:lnTo>
                    <a:lnTo>
                      <a:pt x="36" y="132"/>
                    </a:lnTo>
                    <a:lnTo>
                      <a:pt x="38" y="130"/>
                    </a:lnTo>
                    <a:lnTo>
                      <a:pt x="41" y="129"/>
                    </a:lnTo>
                    <a:lnTo>
                      <a:pt x="46" y="127"/>
                    </a:lnTo>
                    <a:lnTo>
                      <a:pt x="46" y="125"/>
                    </a:lnTo>
                    <a:lnTo>
                      <a:pt x="50" y="125"/>
                    </a:lnTo>
                    <a:lnTo>
                      <a:pt x="52" y="125"/>
                    </a:lnTo>
                    <a:lnTo>
                      <a:pt x="54" y="124"/>
                    </a:lnTo>
                    <a:lnTo>
                      <a:pt x="54" y="124"/>
                    </a:lnTo>
                    <a:lnTo>
                      <a:pt x="60" y="125"/>
                    </a:lnTo>
                    <a:lnTo>
                      <a:pt x="65" y="125"/>
                    </a:lnTo>
                    <a:lnTo>
                      <a:pt x="69" y="125"/>
                    </a:lnTo>
                    <a:lnTo>
                      <a:pt x="69" y="125"/>
                    </a:lnTo>
                    <a:lnTo>
                      <a:pt x="72" y="121"/>
                    </a:lnTo>
                    <a:lnTo>
                      <a:pt x="79" y="116"/>
                    </a:lnTo>
                    <a:lnTo>
                      <a:pt x="82" y="111"/>
                    </a:lnTo>
                    <a:lnTo>
                      <a:pt x="86" y="107"/>
                    </a:lnTo>
                    <a:lnTo>
                      <a:pt x="91" y="102"/>
                    </a:lnTo>
                    <a:lnTo>
                      <a:pt x="96" y="97"/>
                    </a:lnTo>
                    <a:lnTo>
                      <a:pt x="100" y="93"/>
                    </a:lnTo>
                    <a:lnTo>
                      <a:pt x="105" y="88"/>
                    </a:lnTo>
                    <a:lnTo>
                      <a:pt x="108" y="85"/>
                    </a:lnTo>
                    <a:lnTo>
                      <a:pt x="115" y="80"/>
                    </a:lnTo>
                    <a:lnTo>
                      <a:pt x="119" y="75"/>
                    </a:lnTo>
                    <a:lnTo>
                      <a:pt x="122" y="71"/>
                    </a:lnTo>
                    <a:lnTo>
                      <a:pt x="118" y="71"/>
                    </a:lnTo>
                    <a:lnTo>
                      <a:pt x="111" y="71"/>
                    </a:lnTo>
                    <a:lnTo>
                      <a:pt x="105" y="71"/>
                    </a:lnTo>
                    <a:lnTo>
                      <a:pt x="105" y="71"/>
                    </a:lnTo>
                    <a:lnTo>
                      <a:pt x="99" y="69"/>
                    </a:lnTo>
                    <a:lnTo>
                      <a:pt x="94" y="67"/>
                    </a:lnTo>
                    <a:lnTo>
                      <a:pt x="86" y="64"/>
                    </a:lnTo>
                    <a:lnTo>
                      <a:pt x="80" y="63"/>
                    </a:lnTo>
                    <a:lnTo>
                      <a:pt x="75" y="61"/>
                    </a:lnTo>
                    <a:lnTo>
                      <a:pt x="69" y="58"/>
                    </a:lnTo>
                    <a:lnTo>
                      <a:pt x="65" y="57"/>
                    </a:lnTo>
                    <a:lnTo>
                      <a:pt x="58" y="55"/>
                    </a:lnTo>
                    <a:lnTo>
                      <a:pt x="54" y="53"/>
                    </a:lnTo>
                    <a:lnTo>
                      <a:pt x="54" y="53"/>
                    </a:lnTo>
                    <a:lnTo>
                      <a:pt x="50" y="50"/>
                    </a:lnTo>
                    <a:lnTo>
                      <a:pt x="46" y="47"/>
                    </a:lnTo>
                    <a:lnTo>
                      <a:pt x="46" y="47"/>
                    </a:lnTo>
                    <a:lnTo>
                      <a:pt x="44" y="47"/>
                    </a:lnTo>
                    <a:lnTo>
                      <a:pt x="43" y="44"/>
                    </a:lnTo>
                    <a:lnTo>
                      <a:pt x="41" y="42"/>
                    </a:lnTo>
                    <a:lnTo>
                      <a:pt x="39" y="39"/>
                    </a:lnTo>
                    <a:lnTo>
                      <a:pt x="39" y="38"/>
                    </a:lnTo>
                    <a:lnTo>
                      <a:pt x="36" y="36"/>
                    </a:lnTo>
                    <a:lnTo>
                      <a:pt x="36" y="35"/>
                    </a:lnTo>
                    <a:lnTo>
                      <a:pt x="35" y="33"/>
                    </a:lnTo>
                    <a:lnTo>
                      <a:pt x="33" y="31"/>
                    </a:lnTo>
                    <a:lnTo>
                      <a:pt x="32" y="31"/>
                    </a:lnTo>
                    <a:lnTo>
                      <a:pt x="32" y="28"/>
                    </a:lnTo>
                    <a:lnTo>
                      <a:pt x="30" y="27"/>
                    </a:lnTo>
                    <a:lnTo>
                      <a:pt x="30" y="25"/>
                    </a:lnTo>
                    <a:lnTo>
                      <a:pt x="30" y="25"/>
                    </a:lnTo>
                    <a:lnTo>
                      <a:pt x="30" y="25"/>
                    </a:lnTo>
                    <a:lnTo>
                      <a:pt x="32" y="22"/>
                    </a:lnTo>
                    <a:lnTo>
                      <a:pt x="32" y="21"/>
                    </a:lnTo>
                    <a:lnTo>
                      <a:pt x="33" y="19"/>
                    </a:lnTo>
                    <a:lnTo>
                      <a:pt x="33" y="19"/>
                    </a:lnTo>
                    <a:lnTo>
                      <a:pt x="35" y="17"/>
                    </a:lnTo>
                    <a:lnTo>
                      <a:pt x="36" y="14"/>
                    </a:lnTo>
                    <a:lnTo>
                      <a:pt x="38" y="11"/>
                    </a:lnTo>
                    <a:lnTo>
                      <a:pt x="39" y="10"/>
                    </a:lnTo>
                    <a:lnTo>
                      <a:pt x="43" y="11"/>
                    </a:lnTo>
                    <a:lnTo>
                      <a:pt x="47" y="17"/>
                    </a:lnTo>
                    <a:lnTo>
                      <a:pt x="50" y="22"/>
                    </a:lnTo>
                    <a:lnTo>
                      <a:pt x="57" y="25"/>
                    </a:lnTo>
                    <a:lnTo>
                      <a:pt x="58" y="27"/>
                    </a:lnTo>
                    <a:lnTo>
                      <a:pt x="60" y="28"/>
                    </a:lnTo>
                    <a:lnTo>
                      <a:pt x="69" y="28"/>
                    </a:lnTo>
                    <a:lnTo>
                      <a:pt x="77" y="24"/>
                    </a:lnTo>
                    <a:lnTo>
                      <a:pt x="83" y="21"/>
                    </a:lnTo>
                    <a:lnTo>
                      <a:pt x="85" y="21"/>
                    </a:lnTo>
                    <a:lnTo>
                      <a:pt x="88" y="22"/>
                    </a:lnTo>
                    <a:lnTo>
                      <a:pt x="93" y="22"/>
                    </a:lnTo>
                    <a:lnTo>
                      <a:pt x="96" y="22"/>
                    </a:lnTo>
                    <a:lnTo>
                      <a:pt x="99" y="22"/>
                    </a:lnTo>
                    <a:lnTo>
                      <a:pt x="105" y="19"/>
                    </a:lnTo>
                    <a:lnTo>
                      <a:pt x="110" y="16"/>
                    </a:lnTo>
                    <a:lnTo>
                      <a:pt x="113" y="14"/>
                    </a:lnTo>
                    <a:lnTo>
                      <a:pt x="115" y="14"/>
                    </a:lnTo>
                    <a:lnTo>
                      <a:pt x="118" y="16"/>
                    </a:lnTo>
                    <a:lnTo>
                      <a:pt x="124" y="16"/>
                    </a:lnTo>
                    <a:lnTo>
                      <a:pt x="132" y="13"/>
                    </a:lnTo>
                    <a:lnTo>
                      <a:pt x="133" y="13"/>
                    </a:lnTo>
                    <a:lnTo>
                      <a:pt x="135" y="13"/>
                    </a:lnTo>
                    <a:lnTo>
                      <a:pt x="140" y="13"/>
                    </a:lnTo>
                    <a:lnTo>
                      <a:pt x="140" y="13"/>
                    </a:lnTo>
                    <a:lnTo>
                      <a:pt x="143" y="13"/>
                    </a:lnTo>
                    <a:lnTo>
                      <a:pt x="147" y="11"/>
                    </a:lnTo>
                    <a:lnTo>
                      <a:pt x="152" y="10"/>
                    </a:lnTo>
                    <a:lnTo>
                      <a:pt x="160" y="8"/>
                    </a:lnTo>
                    <a:lnTo>
                      <a:pt x="166" y="5"/>
                    </a:lnTo>
                    <a:lnTo>
                      <a:pt x="168" y="3"/>
                    </a:lnTo>
                    <a:lnTo>
                      <a:pt x="169" y="2"/>
                    </a:lnTo>
                    <a:lnTo>
                      <a:pt x="172" y="0"/>
                    </a:lnTo>
                    <a:lnTo>
                      <a:pt x="179" y="3"/>
                    </a:lnTo>
                    <a:lnTo>
                      <a:pt x="180" y="3"/>
                    </a:lnTo>
                    <a:lnTo>
                      <a:pt x="180" y="5"/>
                    </a:lnTo>
                    <a:lnTo>
                      <a:pt x="180" y="6"/>
                    </a:lnTo>
                    <a:lnTo>
                      <a:pt x="179" y="10"/>
                    </a:lnTo>
                    <a:lnTo>
                      <a:pt x="177" y="11"/>
                    </a:lnTo>
                    <a:lnTo>
                      <a:pt x="179" y="16"/>
                    </a:lnTo>
                    <a:lnTo>
                      <a:pt x="179" y="24"/>
                    </a:lnTo>
                    <a:lnTo>
                      <a:pt x="179" y="25"/>
                    </a:lnTo>
                    <a:lnTo>
                      <a:pt x="179" y="27"/>
                    </a:lnTo>
                    <a:lnTo>
                      <a:pt x="177" y="27"/>
                    </a:lnTo>
                    <a:lnTo>
                      <a:pt x="177" y="27"/>
                    </a:lnTo>
                    <a:lnTo>
                      <a:pt x="177" y="28"/>
                    </a:lnTo>
                    <a:lnTo>
                      <a:pt x="177" y="28"/>
                    </a:lnTo>
                    <a:lnTo>
                      <a:pt x="179" y="27"/>
                    </a:lnTo>
                    <a:lnTo>
                      <a:pt x="179" y="27"/>
                    </a:lnTo>
                    <a:lnTo>
                      <a:pt x="179" y="25"/>
                    </a:lnTo>
                    <a:lnTo>
                      <a:pt x="182" y="27"/>
                    </a:lnTo>
                    <a:lnTo>
                      <a:pt x="182" y="27"/>
                    </a:lnTo>
                    <a:lnTo>
                      <a:pt x="183" y="28"/>
                    </a:lnTo>
                    <a:lnTo>
                      <a:pt x="183" y="28"/>
                    </a:lnTo>
                    <a:lnTo>
                      <a:pt x="180" y="28"/>
                    </a:lnTo>
                    <a:lnTo>
                      <a:pt x="180" y="28"/>
                    </a:lnTo>
                    <a:lnTo>
                      <a:pt x="177" y="28"/>
                    </a:lnTo>
                    <a:lnTo>
                      <a:pt x="176" y="30"/>
                    </a:lnTo>
                    <a:lnTo>
                      <a:pt x="174" y="31"/>
                    </a:lnTo>
                    <a:lnTo>
                      <a:pt x="174" y="36"/>
                    </a:lnTo>
                    <a:lnTo>
                      <a:pt x="172" y="41"/>
                    </a:lnTo>
                    <a:lnTo>
                      <a:pt x="172" y="46"/>
                    </a:lnTo>
                    <a:lnTo>
                      <a:pt x="171" y="49"/>
                    </a:lnTo>
                    <a:lnTo>
                      <a:pt x="169" y="52"/>
                    </a:lnTo>
                    <a:lnTo>
                      <a:pt x="166" y="57"/>
                    </a:lnTo>
                    <a:lnTo>
                      <a:pt x="165" y="60"/>
                    </a:lnTo>
                    <a:lnTo>
                      <a:pt x="163" y="61"/>
                    </a:lnTo>
                    <a:lnTo>
                      <a:pt x="160" y="67"/>
                    </a:lnTo>
                    <a:lnTo>
                      <a:pt x="155" y="72"/>
                    </a:lnTo>
                    <a:lnTo>
                      <a:pt x="154" y="77"/>
                    </a:lnTo>
                    <a:lnTo>
                      <a:pt x="152" y="80"/>
                    </a:lnTo>
                    <a:lnTo>
                      <a:pt x="151" y="83"/>
                    </a:lnTo>
                    <a:lnTo>
                      <a:pt x="147" y="89"/>
                    </a:lnTo>
                    <a:lnTo>
                      <a:pt x="146" y="93"/>
                    </a:lnTo>
                    <a:lnTo>
                      <a:pt x="143" y="99"/>
                    </a:lnTo>
                    <a:lnTo>
                      <a:pt x="141" y="103"/>
                    </a:lnTo>
                    <a:lnTo>
                      <a:pt x="135" y="114"/>
                    </a:lnTo>
                    <a:lnTo>
                      <a:pt x="127" y="124"/>
                    </a:lnTo>
                    <a:lnTo>
                      <a:pt x="122" y="132"/>
                    </a:lnTo>
                    <a:lnTo>
                      <a:pt x="115" y="141"/>
                    </a:lnTo>
                    <a:lnTo>
                      <a:pt x="104" y="154"/>
                    </a:lnTo>
                    <a:lnTo>
                      <a:pt x="90" y="168"/>
                    </a:lnTo>
                    <a:lnTo>
                      <a:pt x="85" y="171"/>
                    </a:lnTo>
                    <a:lnTo>
                      <a:pt x="69" y="179"/>
                    </a:lnTo>
                    <a:lnTo>
                      <a:pt x="58" y="186"/>
                    </a:lnTo>
                    <a:lnTo>
                      <a:pt x="54" y="191"/>
                    </a:lnTo>
                    <a:lnTo>
                      <a:pt x="49" y="196"/>
                    </a:lnTo>
                    <a:lnTo>
                      <a:pt x="44" y="200"/>
                    </a:lnTo>
                    <a:lnTo>
                      <a:pt x="30" y="215"/>
                    </a:lnTo>
                    <a:lnTo>
                      <a:pt x="29" y="215"/>
                    </a:lnTo>
                    <a:lnTo>
                      <a:pt x="29" y="216"/>
                    </a:lnTo>
                    <a:lnTo>
                      <a:pt x="27" y="219"/>
                    </a:lnTo>
                    <a:lnTo>
                      <a:pt x="25" y="219"/>
                    </a:lnTo>
                    <a:lnTo>
                      <a:pt x="22" y="224"/>
                    </a:lnTo>
                    <a:lnTo>
                      <a:pt x="19" y="226"/>
                    </a:lnTo>
                    <a:lnTo>
                      <a:pt x="18" y="229"/>
                    </a:lnTo>
                    <a:lnTo>
                      <a:pt x="16" y="229"/>
                    </a:lnTo>
                    <a:lnTo>
                      <a:pt x="16" y="232"/>
                    </a:lnTo>
                    <a:lnTo>
                      <a:pt x="16" y="232"/>
                    </a:lnTo>
                    <a:lnTo>
                      <a:pt x="13" y="236"/>
                    </a:lnTo>
                    <a:lnTo>
                      <a:pt x="11" y="238"/>
                    </a:lnTo>
                    <a:lnTo>
                      <a:pt x="10" y="24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0" name="Freeform 187">
                <a:extLst>
                  <a:ext uri="{FF2B5EF4-FFF2-40B4-BE49-F238E27FC236}">
                    <a16:creationId xmlns:a16="http://schemas.microsoft.com/office/drawing/2014/main" id="{FE54184B-BB37-AAA4-F0B2-EBBAA759F3E4}"/>
                  </a:ext>
                </a:extLst>
              </p:cNvPr>
              <p:cNvSpPr>
                <a:spLocks/>
              </p:cNvSpPr>
              <p:nvPr/>
            </p:nvSpPr>
            <p:spPr bwMode="gray">
              <a:xfrm>
                <a:off x="1656" y="1473"/>
                <a:ext cx="72" cy="72"/>
              </a:xfrm>
              <a:custGeom>
                <a:avLst/>
                <a:gdLst>
                  <a:gd name="T0" fmla="*/ 65 w 72"/>
                  <a:gd name="T1" fmla="*/ 14 h 72"/>
                  <a:gd name="T2" fmla="*/ 62 w 72"/>
                  <a:gd name="T3" fmla="*/ 18 h 72"/>
                  <a:gd name="T4" fmla="*/ 64 w 72"/>
                  <a:gd name="T5" fmla="*/ 22 h 72"/>
                  <a:gd name="T6" fmla="*/ 64 w 72"/>
                  <a:gd name="T7" fmla="*/ 26 h 72"/>
                  <a:gd name="T8" fmla="*/ 64 w 72"/>
                  <a:gd name="T9" fmla="*/ 31 h 72"/>
                  <a:gd name="T10" fmla="*/ 65 w 72"/>
                  <a:gd name="T11" fmla="*/ 32 h 72"/>
                  <a:gd name="T12" fmla="*/ 69 w 72"/>
                  <a:gd name="T13" fmla="*/ 39 h 72"/>
                  <a:gd name="T14" fmla="*/ 72 w 72"/>
                  <a:gd name="T15" fmla="*/ 40 h 72"/>
                  <a:gd name="T16" fmla="*/ 70 w 72"/>
                  <a:gd name="T17" fmla="*/ 43 h 72"/>
                  <a:gd name="T18" fmla="*/ 67 w 72"/>
                  <a:gd name="T19" fmla="*/ 50 h 72"/>
                  <a:gd name="T20" fmla="*/ 67 w 72"/>
                  <a:gd name="T21" fmla="*/ 54 h 72"/>
                  <a:gd name="T22" fmla="*/ 62 w 72"/>
                  <a:gd name="T23" fmla="*/ 62 h 72"/>
                  <a:gd name="T24" fmla="*/ 61 w 72"/>
                  <a:gd name="T25" fmla="*/ 64 h 72"/>
                  <a:gd name="T26" fmla="*/ 59 w 72"/>
                  <a:gd name="T27" fmla="*/ 62 h 72"/>
                  <a:gd name="T28" fmla="*/ 58 w 72"/>
                  <a:gd name="T29" fmla="*/ 61 h 72"/>
                  <a:gd name="T30" fmla="*/ 54 w 72"/>
                  <a:gd name="T31" fmla="*/ 61 h 72"/>
                  <a:gd name="T32" fmla="*/ 53 w 72"/>
                  <a:gd name="T33" fmla="*/ 59 h 72"/>
                  <a:gd name="T34" fmla="*/ 51 w 72"/>
                  <a:gd name="T35" fmla="*/ 59 h 72"/>
                  <a:gd name="T36" fmla="*/ 48 w 72"/>
                  <a:gd name="T37" fmla="*/ 61 h 72"/>
                  <a:gd name="T38" fmla="*/ 40 w 72"/>
                  <a:gd name="T39" fmla="*/ 62 h 72"/>
                  <a:gd name="T40" fmla="*/ 37 w 72"/>
                  <a:gd name="T41" fmla="*/ 61 h 72"/>
                  <a:gd name="T42" fmla="*/ 36 w 72"/>
                  <a:gd name="T43" fmla="*/ 62 h 72"/>
                  <a:gd name="T44" fmla="*/ 34 w 72"/>
                  <a:gd name="T45" fmla="*/ 64 h 72"/>
                  <a:gd name="T46" fmla="*/ 36 w 72"/>
                  <a:gd name="T47" fmla="*/ 67 h 72"/>
                  <a:gd name="T48" fmla="*/ 37 w 72"/>
                  <a:gd name="T49" fmla="*/ 70 h 72"/>
                  <a:gd name="T50" fmla="*/ 36 w 72"/>
                  <a:gd name="T51" fmla="*/ 72 h 72"/>
                  <a:gd name="T52" fmla="*/ 28 w 72"/>
                  <a:gd name="T53" fmla="*/ 70 h 72"/>
                  <a:gd name="T54" fmla="*/ 26 w 72"/>
                  <a:gd name="T55" fmla="*/ 68 h 72"/>
                  <a:gd name="T56" fmla="*/ 23 w 72"/>
                  <a:gd name="T57" fmla="*/ 67 h 72"/>
                  <a:gd name="T58" fmla="*/ 20 w 72"/>
                  <a:gd name="T59" fmla="*/ 64 h 72"/>
                  <a:gd name="T60" fmla="*/ 19 w 72"/>
                  <a:gd name="T61" fmla="*/ 61 h 72"/>
                  <a:gd name="T62" fmla="*/ 19 w 72"/>
                  <a:gd name="T63" fmla="*/ 57 h 72"/>
                  <a:gd name="T64" fmla="*/ 17 w 72"/>
                  <a:gd name="T65" fmla="*/ 56 h 72"/>
                  <a:gd name="T66" fmla="*/ 15 w 72"/>
                  <a:gd name="T67" fmla="*/ 54 h 72"/>
                  <a:gd name="T68" fmla="*/ 15 w 72"/>
                  <a:gd name="T69" fmla="*/ 53 h 72"/>
                  <a:gd name="T70" fmla="*/ 14 w 72"/>
                  <a:gd name="T71" fmla="*/ 50 h 72"/>
                  <a:gd name="T72" fmla="*/ 14 w 72"/>
                  <a:gd name="T73" fmla="*/ 48 h 72"/>
                  <a:gd name="T74" fmla="*/ 11 w 72"/>
                  <a:gd name="T75" fmla="*/ 45 h 72"/>
                  <a:gd name="T76" fmla="*/ 9 w 72"/>
                  <a:gd name="T77" fmla="*/ 45 h 72"/>
                  <a:gd name="T78" fmla="*/ 8 w 72"/>
                  <a:gd name="T79" fmla="*/ 43 h 72"/>
                  <a:gd name="T80" fmla="*/ 4 w 72"/>
                  <a:gd name="T81" fmla="*/ 40 h 72"/>
                  <a:gd name="T82" fmla="*/ 0 w 72"/>
                  <a:gd name="T83" fmla="*/ 34 h 72"/>
                  <a:gd name="T84" fmla="*/ 1 w 72"/>
                  <a:gd name="T85" fmla="*/ 29 h 72"/>
                  <a:gd name="T86" fmla="*/ 3 w 72"/>
                  <a:gd name="T87" fmla="*/ 25 h 72"/>
                  <a:gd name="T88" fmla="*/ 3 w 72"/>
                  <a:gd name="T89" fmla="*/ 22 h 72"/>
                  <a:gd name="T90" fmla="*/ 3 w 72"/>
                  <a:gd name="T91" fmla="*/ 18 h 72"/>
                  <a:gd name="T92" fmla="*/ 4 w 72"/>
                  <a:gd name="T93" fmla="*/ 17 h 72"/>
                  <a:gd name="T94" fmla="*/ 9 w 72"/>
                  <a:gd name="T95" fmla="*/ 17 h 72"/>
                  <a:gd name="T96" fmla="*/ 12 w 72"/>
                  <a:gd name="T97" fmla="*/ 15 h 72"/>
                  <a:gd name="T98" fmla="*/ 14 w 72"/>
                  <a:gd name="T99" fmla="*/ 14 h 72"/>
                  <a:gd name="T100" fmla="*/ 14 w 72"/>
                  <a:gd name="T101" fmla="*/ 12 h 72"/>
                  <a:gd name="T102" fmla="*/ 12 w 72"/>
                  <a:gd name="T103" fmla="*/ 11 h 72"/>
                  <a:gd name="T104" fmla="*/ 14 w 72"/>
                  <a:gd name="T105" fmla="*/ 7 h 72"/>
                  <a:gd name="T106" fmla="*/ 15 w 72"/>
                  <a:gd name="T107" fmla="*/ 6 h 72"/>
                  <a:gd name="T108" fmla="*/ 17 w 72"/>
                  <a:gd name="T109" fmla="*/ 0 h 72"/>
                  <a:gd name="T110" fmla="*/ 33 w 72"/>
                  <a:gd name="T111" fmla="*/ 1 h 72"/>
                  <a:gd name="T112" fmla="*/ 37 w 72"/>
                  <a:gd name="T113" fmla="*/ 3 h 72"/>
                  <a:gd name="T114" fmla="*/ 42 w 72"/>
                  <a:gd name="T115" fmla="*/ 0 h 72"/>
                  <a:gd name="T116" fmla="*/ 56 w 72"/>
                  <a:gd name="T117" fmla="*/ 0 h 72"/>
                  <a:gd name="T118" fmla="*/ 70 w 72"/>
                  <a:gd name="T119" fmla="*/ 3 h 72"/>
                  <a:gd name="T120" fmla="*/ 70 w 72"/>
                  <a:gd name="T12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72">
                    <a:moveTo>
                      <a:pt x="69" y="11"/>
                    </a:moveTo>
                    <a:lnTo>
                      <a:pt x="67" y="12"/>
                    </a:lnTo>
                    <a:lnTo>
                      <a:pt x="65" y="14"/>
                    </a:lnTo>
                    <a:lnTo>
                      <a:pt x="64" y="17"/>
                    </a:lnTo>
                    <a:lnTo>
                      <a:pt x="64" y="17"/>
                    </a:lnTo>
                    <a:lnTo>
                      <a:pt x="62" y="18"/>
                    </a:lnTo>
                    <a:lnTo>
                      <a:pt x="62" y="20"/>
                    </a:lnTo>
                    <a:lnTo>
                      <a:pt x="62" y="22"/>
                    </a:lnTo>
                    <a:lnTo>
                      <a:pt x="64" y="22"/>
                    </a:lnTo>
                    <a:lnTo>
                      <a:pt x="64" y="25"/>
                    </a:lnTo>
                    <a:lnTo>
                      <a:pt x="64" y="26"/>
                    </a:lnTo>
                    <a:lnTo>
                      <a:pt x="64" y="26"/>
                    </a:lnTo>
                    <a:lnTo>
                      <a:pt x="64" y="28"/>
                    </a:lnTo>
                    <a:lnTo>
                      <a:pt x="64" y="29"/>
                    </a:lnTo>
                    <a:lnTo>
                      <a:pt x="64" y="31"/>
                    </a:lnTo>
                    <a:lnTo>
                      <a:pt x="64" y="31"/>
                    </a:lnTo>
                    <a:lnTo>
                      <a:pt x="65" y="31"/>
                    </a:lnTo>
                    <a:lnTo>
                      <a:pt x="65" y="32"/>
                    </a:lnTo>
                    <a:lnTo>
                      <a:pt x="67" y="36"/>
                    </a:lnTo>
                    <a:lnTo>
                      <a:pt x="67" y="37"/>
                    </a:lnTo>
                    <a:lnTo>
                      <a:pt x="69" y="39"/>
                    </a:lnTo>
                    <a:lnTo>
                      <a:pt x="70" y="39"/>
                    </a:lnTo>
                    <a:lnTo>
                      <a:pt x="70" y="40"/>
                    </a:lnTo>
                    <a:lnTo>
                      <a:pt x="72" y="40"/>
                    </a:lnTo>
                    <a:lnTo>
                      <a:pt x="72" y="42"/>
                    </a:lnTo>
                    <a:lnTo>
                      <a:pt x="72" y="42"/>
                    </a:lnTo>
                    <a:lnTo>
                      <a:pt x="70" y="43"/>
                    </a:lnTo>
                    <a:lnTo>
                      <a:pt x="70" y="45"/>
                    </a:lnTo>
                    <a:lnTo>
                      <a:pt x="67" y="48"/>
                    </a:lnTo>
                    <a:lnTo>
                      <a:pt x="67" y="50"/>
                    </a:lnTo>
                    <a:lnTo>
                      <a:pt x="69" y="51"/>
                    </a:lnTo>
                    <a:lnTo>
                      <a:pt x="67" y="54"/>
                    </a:lnTo>
                    <a:lnTo>
                      <a:pt x="67" y="54"/>
                    </a:lnTo>
                    <a:lnTo>
                      <a:pt x="67" y="56"/>
                    </a:lnTo>
                    <a:lnTo>
                      <a:pt x="64" y="61"/>
                    </a:lnTo>
                    <a:lnTo>
                      <a:pt x="62" y="62"/>
                    </a:lnTo>
                    <a:lnTo>
                      <a:pt x="62" y="64"/>
                    </a:lnTo>
                    <a:lnTo>
                      <a:pt x="61" y="64"/>
                    </a:lnTo>
                    <a:lnTo>
                      <a:pt x="61" y="64"/>
                    </a:lnTo>
                    <a:lnTo>
                      <a:pt x="61" y="64"/>
                    </a:lnTo>
                    <a:lnTo>
                      <a:pt x="59" y="64"/>
                    </a:lnTo>
                    <a:lnTo>
                      <a:pt x="59" y="62"/>
                    </a:lnTo>
                    <a:lnTo>
                      <a:pt x="59" y="62"/>
                    </a:lnTo>
                    <a:lnTo>
                      <a:pt x="58" y="61"/>
                    </a:lnTo>
                    <a:lnTo>
                      <a:pt x="58" y="61"/>
                    </a:lnTo>
                    <a:lnTo>
                      <a:pt x="56" y="61"/>
                    </a:lnTo>
                    <a:lnTo>
                      <a:pt x="56" y="61"/>
                    </a:lnTo>
                    <a:lnTo>
                      <a:pt x="54" y="61"/>
                    </a:lnTo>
                    <a:lnTo>
                      <a:pt x="54" y="59"/>
                    </a:lnTo>
                    <a:lnTo>
                      <a:pt x="54" y="59"/>
                    </a:lnTo>
                    <a:lnTo>
                      <a:pt x="53" y="59"/>
                    </a:lnTo>
                    <a:lnTo>
                      <a:pt x="53" y="59"/>
                    </a:lnTo>
                    <a:lnTo>
                      <a:pt x="51" y="59"/>
                    </a:lnTo>
                    <a:lnTo>
                      <a:pt x="51" y="59"/>
                    </a:lnTo>
                    <a:lnTo>
                      <a:pt x="50" y="59"/>
                    </a:lnTo>
                    <a:lnTo>
                      <a:pt x="48" y="61"/>
                    </a:lnTo>
                    <a:lnTo>
                      <a:pt x="48" y="61"/>
                    </a:lnTo>
                    <a:lnTo>
                      <a:pt x="47" y="61"/>
                    </a:lnTo>
                    <a:lnTo>
                      <a:pt x="42" y="62"/>
                    </a:lnTo>
                    <a:lnTo>
                      <a:pt x="40" y="62"/>
                    </a:lnTo>
                    <a:lnTo>
                      <a:pt x="37" y="61"/>
                    </a:lnTo>
                    <a:lnTo>
                      <a:pt x="37" y="61"/>
                    </a:lnTo>
                    <a:lnTo>
                      <a:pt x="37" y="61"/>
                    </a:lnTo>
                    <a:lnTo>
                      <a:pt x="36" y="61"/>
                    </a:lnTo>
                    <a:lnTo>
                      <a:pt x="36" y="61"/>
                    </a:lnTo>
                    <a:lnTo>
                      <a:pt x="36" y="62"/>
                    </a:lnTo>
                    <a:lnTo>
                      <a:pt x="36" y="62"/>
                    </a:lnTo>
                    <a:lnTo>
                      <a:pt x="34" y="64"/>
                    </a:lnTo>
                    <a:lnTo>
                      <a:pt x="34" y="64"/>
                    </a:lnTo>
                    <a:lnTo>
                      <a:pt x="34" y="64"/>
                    </a:lnTo>
                    <a:lnTo>
                      <a:pt x="34" y="65"/>
                    </a:lnTo>
                    <a:lnTo>
                      <a:pt x="36" y="67"/>
                    </a:lnTo>
                    <a:lnTo>
                      <a:pt x="37" y="67"/>
                    </a:lnTo>
                    <a:lnTo>
                      <a:pt x="37" y="68"/>
                    </a:lnTo>
                    <a:lnTo>
                      <a:pt x="37" y="70"/>
                    </a:lnTo>
                    <a:lnTo>
                      <a:pt x="37" y="72"/>
                    </a:lnTo>
                    <a:lnTo>
                      <a:pt x="37" y="72"/>
                    </a:lnTo>
                    <a:lnTo>
                      <a:pt x="36" y="72"/>
                    </a:lnTo>
                    <a:lnTo>
                      <a:pt x="33" y="72"/>
                    </a:lnTo>
                    <a:lnTo>
                      <a:pt x="29" y="70"/>
                    </a:lnTo>
                    <a:lnTo>
                      <a:pt x="28" y="70"/>
                    </a:lnTo>
                    <a:lnTo>
                      <a:pt x="28" y="70"/>
                    </a:lnTo>
                    <a:lnTo>
                      <a:pt x="26" y="70"/>
                    </a:lnTo>
                    <a:lnTo>
                      <a:pt x="26" y="68"/>
                    </a:lnTo>
                    <a:lnTo>
                      <a:pt x="25" y="68"/>
                    </a:lnTo>
                    <a:lnTo>
                      <a:pt x="23" y="68"/>
                    </a:lnTo>
                    <a:lnTo>
                      <a:pt x="23" y="67"/>
                    </a:lnTo>
                    <a:lnTo>
                      <a:pt x="22" y="65"/>
                    </a:lnTo>
                    <a:lnTo>
                      <a:pt x="22" y="64"/>
                    </a:lnTo>
                    <a:lnTo>
                      <a:pt x="20" y="64"/>
                    </a:lnTo>
                    <a:lnTo>
                      <a:pt x="20" y="62"/>
                    </a:lnTo>
                    <a:lnTo>
                      <a:pt x="20" y="61"/>
                    </a:lnTo>
                    <a:lnTo>
                      <a:pt x="19" y="61"/>
                    </a:lnTo>
                    <a:lnTo>
                      <a:pt x="19" y="59"/>
                    </a:lnTo>
                    <a:lnTo>
                      <a:pt x="19" y="59"/>
                    </a:lnTo>
                    <a:lnTo>
                      <a:pt x="19" y="57"/>
                    </a:lnTo>
                    <a:lnTo>
                      <a:pt x="17" y="57"/>
                    </a:lnTo>
                    <a:lnTo>
                      <a:pt x="17" y="57"/>
                    </a:lnTo>
                    <a:lnTo>
                      <a:pt x="17" y="56"/>
                    </a:lnTo>
                    <a:lnTo>
                      <a:pt x="17" y="56"/>
                    </a:lnTo>
                    <a:lnTo>
                      <a:pt x="17" y="56"/>
                    </a:lnTo>
                    <a:lnTo>
                      <a:pt x="15" y="54"/>
                    </a:lnTo>
                    <a:lnTo>
                      <a:pt x="15" y="54"/>
                    </a:lnTo>
                    <a:lnTo>
                      <a:pt x="15" y="54"/>
                    </a:lnTo>
                    <a:lnTo>
                      <a:pt x="15" y="53"/>
                    </a:lnTo>
                    <a:lnTo>
                      <a:pt x="14" y="51"/>
                    </a:lnTo>
                    <a:lnTo>
                      <a:pt x="14" y="50"/>
                    </a:lnTo>
                    <a:lnTo>
                      <a:pt x="14" y="50"/>
                    </a:lnTo>
                    <a:lnTo>
                      <a:pt x="14" y="50"/>
                    </a:lnTo>
                    <a:lnTo>
                      <a:pt x="14" y="48"/>
                    </a:lnTo>
                    <a:lnTo>
                      <a:pt x="14" y="48"/>
                    </a:lnTo>
                    <a:lnTo>
                      <a:pt x="14" y="45"/>
                    </a:lnTo>
                    <a:lnTo>
                      <a:pt x="14" y="45"/>
                    </a:lnTo>
                    <a:lnTo>
                      <a:pt x="11" y="45"/>
                    </a:lnTo>
                    <a:lnTo>
                      <a:pt x="11" y="45"/>
                    </a:lnTo>
                    <a:lnTo>
                      <a:pt x="9" y="45"/>
                    </a:lnTo>
                    <a:lnTo>
                      <a:pt x="9" y="45"/>
                    </a:lnTo>
                    <a:lnTo>
                      <a:pt x="8" y="45"/>
                    </a:lnTo>
                    <a:lnTo>
                      <a:pt x="8" y="45"/>
                    </a:lnTo>
                    <a:lnTo>
                      <a:pt x="8" y="43"/>
                    </a:lnTo>
                    <a:lnTo>
                      <a:pt x="8" y="42"/>
                    </a:lnTo>
                    <a:lnTo>
                      <a:pt x="6" y="42"/>
                    </a:lnTo>
                    <a:lnTo>
                      <a:pt x="4" y="40"/>
                    </a:lnTo>
                    <a:lnTo>
                      <a:pt x="3" y="37"/>
                    </a:lnTo>
                    <a:lnTo>
                      <a:pt x="3" y="37"/>
                    </a:lnTo>
                    <a:lnTo>
                      <a:pt x="0" y="34"/>
                    </a:lnTo>
                    <a:lnTo>
                      <a:pt x="0" y="32"/>
                    </a:lnTo>
                    <a:lnTo>
                      <a:pt x="0" y="31"/>
                    </a:lnTo>
                    <a:lnTo>
                      <a:pt x="1" y="29"/>
                    </a:lnTo>
                    <a:lnTo>
                      <a:pt x="1" y="28"/>
                    </a:lnTo>
                    <a:lnTo>
                      <a:pt x="3" y="26"/>
                    </a:lnTo>
                    <a:lnTo>
                      <a:pt x="3" y="25"/>
                    </a:lnTo>
                    <a:lnTo>
                      <a:pt x="3" y="25"/>
                    </a:lnTo>
                    <a:lnTo>
                      <a:pt x="3" y="23"/>
                    </a:lnTo>
                    <a:lnTo>
                      <a:pt x="3" y="22"/>
                    </a:lnTo>
                    <a:lnTo>
                      <a:pt x="3" y="20"/>
                    </a:lnTo>
                    <a:lnTo>
                      <a:pt x="3" y="20"/>
                    </a:lnTo>
                    <a:lnTo>
                      <a:pt x="3" y="18"/>
                    </a:lnTo>
                    <a:lnTo>
                      <a:pt x="3" y="18"/>
                    </a:lnTo>
                    <a:lnTo>
                      <a:pt x="4" y="18"/>
                    </a:lnTo>
                    <a:lnTo>
                      <a:pt x="4" y="17"/>
                    </a:lnTo>
                    <a:lnTo>
                      <a:pt x="6" y="17"/>
                    </a:lnTo>
                    <a:lnTo>
                      <a:pt x="8" y="17"/>
                    </a:lnTo>
                    <a:lnTo>
                      <a:pt x="9" y="17"/>
                    </a:lnTo>
                    <a:lnTo>
                      <a:pt x="11" y="17"/>
                    </a:lnTo>
                    <a:lnTo>
                      <a:pt x="12" y="17"/>
                    </a:lnTo>
                    <a:lnTo>
                      <a:pt x="12" y="15"/>
                    </a:lnTo>
                    <a:lnTo>
                      <a:pt x="12" y="15"/>
                    </a:lnTo>
                    <a:lnTo>
                      <a:pt x="14" y="14"/>
                    </a:lnTo>
                    <a:lnTo>
                      <a:pt x="14" y="14"/>
                    </a:lnTo>
                    <a:lnTo>
                      <a:pt x="15" y="14"/>
                    </a:lnTo>
                    <a:lnTo>
                      <a:pt x="15" y="12"/>
                    </a:lnTo>
                    <a:lnTo>
                      <a:pt x="14" y="12"/>
                    </a:lnTo>
                    <a:lnTo>
                      <a:pt x="14" y="12"/>
                    </a:lnTo>
                    <a:lnTo>
                      <a:pt x="14" y="12"/>
                    </a:lnTo>
                    <a:lnTo>
                      <a:pt x="12" y="11"/>
                    </a:lnTo>
                    <a:lnTo>
                      <a:pt x="14" y="11"/>
                    </a:lnTo>
                    <a:lnTo>
                      <a:pt x="14" y="9"/>
                    </a:lnTo>
                    <a:lnTo>
                      <a:pt x="14" y="7"/>
                    </a:lnTo>
                    <a:lnTo>
                      <a:pt x="15" y="7"/>
                    </a:lnTo>
                    <a:lnTo>
                      <a:pt x="15" y="7"/>
                    </a:lnTo>
                    <a:lnTo>
                      <a:pt x="15" y="6"/>
                    </a:lnTo>
                    <a:lnTo>
                      <a:pt x="15" y="4"/>
                    </a:lnTo>
                    <a:lnTo>
                      <a:pt x="17" y="3"/>
                    </a:lnTo>
                    <a:lnTo>
                      <a:pt x="17" y="0"/>
                    </a:lnTo>
                    <a:lnTo>
                      <a:pt x="19" y="0"/>
                    </a:lnTo>
                    <a:lnTo>
                      <a:pt x="28" y="0"/>
                    </a:lnTo>
                    <a:lnTo>
                      <a:pt x="33" y="1"/>
                    </a:lnTo>
                    <a:lnTo>
                      <a:pt x="37" y="3"/>
                    </a:lnTo>
                    <a:lnTo>
                      <a:pt x="37" y="4"/>
                    </a:lnTo>
                    <a:lnTo>
                      <a:pt x="37" y="3"/>
                    </a:lnTo>
                    <a:lnTo>
                      <a:pt x="37" y="1"/>
                    </a:lnTo>
                    <a:lnTo>
                      <a:pt x="39" y="0"/>
                    </a:lnTo>
                    <a:lnTo>
                      <a:pt x="42" y="0"/>
                    </a:lnTo>
                    <a:lnTo>
                      <a:pt x="47" y="0"/>
                    </a:lnTo>
                    <a:lnTo>
                      <a:pt x="51" y="0"/>
                    </a:lnTo>
                    <a:lnTo>
                      <a:pt x="56" y="0"/>
                    </a:lnTo>
                    <a:lnTo>
                      <a:pt x="65" y="1"/>
                    </a:lnTo>
                    <a:lnTo>
                      <a:pt x="69" y="1"/>
                    </a:lnTo>
                    <a:lnTo>
                      <a:pt x="70" y="3"/>
                    </a:lnTo>
                    <a:lnTo>
                      <a:pt x="70" y="4"/>
                    </a:lnTo>
                    <a:lnTo>
                      <a:pt x="70" y="6"/>
                    </a:lnTo>
                    <a:lnTo>
                      <a:pt x="70" y="7"/>
                    </a:lnTo>
                    <a:lnTo>
                      <a:pt x="69" y="1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1" name="Freeform 188">
                <a:extLst>
                  <a:ext uri="{FF2B5EF4-FFF2-40B4-BE49-F238E27FC236}">
                    <a16:creationId xmlns:a16="http://schemas.microsoft.com/office/drawing/2014/main" id="{70B99F3A-4153-3DF3-A8B6-383445BFDE68}"/>
                  </a:ext>
                </a:extLst>
              </p:cNvPr>
              <p:cNvSpPr>
                <a:spLocks/>
              </p:cNvSpPr>
              <p:nvPr/>
            </p:nvSpPr>
            <p:spPr bwMode="gray">
              <a:xfrm>
                <a:off x="3099" y="1361"/>
                <a:ext cx="195" cy="155"/>
              </a:xfrm>
              <a:custGeom>
                <a:avLst/>
                <a:gdLst>
                  <a:gd name="T0" fmla="*/ 170 w 195"/>
                  <a:gd name="T1" fmla="*/ 51 h 155"/>
                  <a:gd name="T2" fmla="*/ 173 w 195"/>
                  <a:gd name="T3" fmla="*/ 51 h 155"/>
                  <a:gd name="T4" fmla="*/ 175 w 195"/>
                  <a:gd name="T5" fmla="*/ 65 h 155"/>
                  <a:gd name="T6" fmla="*/ 166 w 195"/>
                  <a:gd name="T7" fmla="*/ 68 h 155"/>
                  <a:gd name="T8" fmla="*/ 156 w 195"/>
                  <a:gd name="T9" fmla="*/ 76 h 155"/>
                  <a:gd name="T10" fmla="*/ 163 w 195"/>
                  <a:gd name="T11" fmla="*/ 80 h 155"/>
                  <a:gd name="T12" fmla="*/ 173 w 195"/>
                  <a:gd name="T13" fmla="*/ 87 h 155"/>
                  <a:gd name="T14" fmla="*/ 183 w 195"/>
                  <a:gd name="T15" fmla="*/ 98 h 155"/>
                  <a:gd name="T16" fmla="*/ 189 w 195"/>
                  <a:gd name="T17" fmla="*/ 110 h 155"/>
                  <a:gd name="T18" fmla="*/ 195 w 195"/>
                  <a:gd name="T19" fmla="*/ 119 h 155"/>
                  <a:gd name="T20" fmla="*/ 172 w 195"/>
                  <a:gd name="T21" fmla="*/ 143 h 155"/>
                  <a:gd name="T22" fmla="*/ 158 w 195"/>
                  <a:gd name="T23" fmla="*/ 151 h 155"/>
                  <a:gd name="T24" fmla="*/ 144 w 195"/>
                  <a:gd name="T25" fmla="*/ 151 h 155"/>
                  <a:gd name="T26" fmla="*/ 139 w 195"/>
                  <a:gd name="T27" fmla="*/ 154 h 155"/>
                  <a:gd name="T28" fmla="*/ 130 w 195"/>
                  <a:gd name="T29" fmla="*/ 152 h 155"/>
                  <a:gd name="T30" fmla="*/ 119 w 195"/>
                  <a:gd name="T31" fmla="*/ 152 h 155"/>
                  <a:gd name="T32" fmla="*/ 114 w 195"/>
                  <a:gd name="T33" fmla="*/ 152 h 155"/>
                  <a:gd name="T34" fmla="*/ 111 w 195"/>
                  <a:gd name="T35" fmla="*/ 149 h 155"/>
                  <a:gd name="T36" fmla="*/ 98 w 195"/>
                  <a:gd name="T37" fmla="*/ 138 h 155"/>
                  <a:gd name="T38" fmla="*/ 87 w 195"/>
                  <a:gd name="T39" fmla="*/ 140 h 155"/>
                  <a:gd name="T40" fmla="*/ 75 w 195"/>
                  <a:gd name="T41" fmla="*/ 140 h 155"/>
                  <a:gd name="T42" fmla="*/ 67 w 195"/>
                  <a:gd name="T43" fmla="*/ 138 h 155"/>
                  <a:gd name="T44" fmla="*/ 62 w 195"/>
                  <a:gd name="T45" fmla="*/ 132 h 155"/>
                  <a:gd name="T46" fmla="*/ 55 w 195"/>
                  <a:gd name="T47" fmla="*/ 124 h 155"/>
                  <a:gd name="T48" fmla="*/ 51 w 195"/>
                  <a:gd name="T49" fmla="*/ 115 h 155"/>
                  <a:gd name="T50" fmla="*/ 41 w 195"/>
                  <a:gd name="T51" fmla="*/ 108 h 155"/>
                  <a:gd name="T52" fmla="*/ 37 w 195"/>
                  <a:gd name="T53" fmla="*/ 99 h 155"/>
                  <a:gd name="T54" fmla="*/ 22 w 195"/>
                  <a:gd name="T55" fmla="*/ 88 h 155"/>
                  <a:gd name="T56" fmla="*/ 19 w 195"/>
                  <a:gd name="T57" fmla="*/ 79 h 155"/>
                  <a:gd name="T58" fmla="*/ 1 w 195"/>
                  <a:gd name="T59" fmla="*/ 71 h 155"/>
                  <a:gd name="T60" fmla="*/ 0 w 195"/>
                  <a:gd name="T61" fmla="*/ 65 h 155"/>
                  <a:gd name="T62" fmla="*/ 6 w 195"/>
                  <a:gd name="T63" fmla="*/ 58 h 155"/>
                  <a:gd name="T64" fmla="*/ 9 w 195"/>
                  <a:gd name="T65" fmla="*/ 51 h 155"/>
                  <a:gd name="T66" fmla="*/ 14 w 195"/>
                  <a:gd name="T67" fmla="*/ 41 h 155"/>
                  <a:gd name="T68" fmla="*/ 17 w 195"/>
                  <a:gd name="T69" fmla="*/ 35 h 155"/>
                  <a:gd name="T70" fmla="*/ 30 w 195"/>
                  <a:gd name="T71" fmla="*/ 36 h 155"/>
                  <a:gd name="T72" fmla="*/ 36 w 195"/>
                  <a:gd name="T73" fmla="*/ 41 h 155"/>
                  <a:gd name="T74" fmla="*/ 64 w 195"/>
                  <a:gd name="T75" fmla="*/ 47 h 155"/>
                  <a:gd name="T76" fmla="*/ 81 w 195"/>
                  <a:gd name="T77" fmla="*/ 52 h 155"/>
                  <a:gd name="T78" fmla="*/ 87 w 195"/>
                  <a:gd name="T79" fmla="*/ 46 h 155"/>
                  <a:gd name="T80" fmla="*/ 95 w 195"/>
                  <a:gd name="T81" fmla="*/ 40 h 155"/>
                  <a:gd name="T82" fmla="*/ 116 w 195"/>
                  <a:gd name="T83" fmla="*/ 46 h 155"/>
                  <a:gd name="T84" fmla="*/ 119 w 195"/>
                  <a:gd name="T85" fmla="*/ 44 h 155"/>
                  <a:gd name="T86" fmla="*/ 134 w 195"/>
                  <a:gd name="T87" fmla="*/ 32 h 155"/>
                  <a:gd name="T88" fmla="*/ 144 w 195"/>
                  <a:gd name="T89" fmla="*/ 18 h 155"/>
                  <a:gd name="T90" fmla="*/ 144 w 195"/>
                  <a:gd name="T91" fmla="*/ 10 h 155"/>
                  <a:gd name="T92" fmla="*/ 150 w 195"/>
                  <a:gd name="T93" fmla="*/ 4 h 155"/>
                  <a:gd name="T94" fmla="*/ 150 w 195"/>
                  <a:gd name="T95" fmla="*/ 2 h 155"/>
                  <a:gd name="T96" fmla="*/ 158 w 195"/>
                  <a:gd name="T97" fmla="*/ 2 h 155"/>
                  <a:gd name="T98" fmla="*/ 156 w 195"/>
                  <a:gd name="T99" fmla="*/ 11 h 155"/>
                  <a:gd name="T100" fmla="*/ 158 w 195"/>
                  <a:gd name="T101" fmla="*/ 26 h 155"/>
                  <a:gd name="T102" fmla="*/ 161 w 195"/>
                  <a:gd name="T103" fmla="*/ 29 h 155"/>
                  <a:gd name="T104" fmla="*/ 172 w 195"/>
                  <a:gd name="T105" fmla="*/ 40 h 155"/>
                  <a:gd name="T106" fmla="*/ 172 w 195"/>
                  <a:gd name="T107"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5" h="155">
                    <a:moveTo>
                      <a:pt x="172" y="43"/>
                    </a:moveTo>
                    <a:lnTo>
                      <a:pt x="170" y="46"/>
                    </a:lnTo>
                    <a:lnTo>
                      <a:pt x="170" y="47"/>
                    </a:lnTo>
                    <a:lnTo>
                      <a:pt x="170" y="49"/>
                    </a:lnTo>
                    <a:lnTo>
                      <a:pt x="170" y="49"/>
                    </a:lnTo>
                    <a:lnTo>
                      <a:pt x="170" y="51"/>
                    </a:lnTo>
                    <a:lnTo>
                      <a:pt x="170" y="51"/>
                    </a:lnTo>
                    <a:lnTo>
                      <a:pt x="170" y="51"/>
                    </a:lnTo>
                    <a:lnTo>
                      <a:pt x="170" y="51"/>
                    </a:lnTo>
                    <a:lnTo>
                      <a:pt x="170" y="51"/>
                    </a:lnTo>
                    <a:lnTo>
                      <a:pt x="173" y="51"/>
                    </a:lnTo>
                    <a:lnTo>
                      <a:pt x="173" y="51"/>
                    </a:lnTo>
                    <a:lnTo>
                      <a:pt x="173" y="51"/>
                    </a:lnTo>
                    <a:lnTo>
                      <a:pt x="173" y="51"/>
                    </a:lnTo>
                    <a:lnTo>
                      <a:pt x="173" y="54"/>
                    </a:lnTo>
                    <a:lnTo>
                      <a:pt x="175" y="57"/>
                    </a:lnTo>
                    <a:lnTo>
                      <a:pt x="175" y="63"/>
                    </a:lnTo>
                    <a:lnTo>
                      <a:pt x="175" y="65"/>
                    </a:lnTo>
                    <a:lnTo>
                      <a:pt x="175" y="66"/>
                    </a:lnTo>
                    <a:lnTo>
                      <a:pt x="173" y="66"/>
                    </a:lnTo>
                    <a:lnTo>
                      <a:pt x="173" y="68"/>
                    </a:lnTo>
                    <a:lnTo>
                      <a:pt x="172" y="68"/>
                    </a:lnTo>
                    <a:lnTo>
                      <a:pt x="169" y="68"/>
                    </a:lnTo>
                    <a:lnTo>
                      <a:pt x="166" y="68"/>
                    </a:lnTo>
                    <a:lnTo>
                      <a:pt x="164" y="68"/>
                    </a:lnTo>
                    <a:lnTo>
                      <a:pt x="163" y="68"/>
                    </a:lnTo>
                    <a:lnTo>
                      <a:pt x="159" y="68"/>
                    </a:lnTo>
                    <a:lnTo>
                      <a:pt x="159" y="69"/>
                    </a:lnTo>
                    <a:lnTo>
                      <a:pt x="158" y="71"/>
                    </a:lnTo>
                    <a:lnTo>
                      <a:pt x="156" y="76"/>
                    </a:lnTo>
                    <a:lnTo>
                      <a:pt x="155" y="77"/>
                    </a:lnTo>
                    <a:lnTo>
                      <a:pt x="155" y="77"/>
                    </a:lnTo>
                    <a:lnTo>
                      <a:pt x="155" y="79"/>
                    </a:lnTo>
                    <a:lnTo>
                      <a:pt x="156" y="79"/>
                    </a:lnTo>
                    <a:lnTo>
                      <a:pt x="159" y="80"/>
                    </a:lnTo>
                    <a:lnTo>
                      <a:pt x="163" y="80"/>
                    </a:lnTo>
                    <a:lnTo>
                      <a:pt x="164" y="80"/>
                    </a:lnTo>
                    <a:lnTo>
                      <a:pt x="166" y="82"/>
                    </a:lnTo>
                    <a:lnTo>
                      <a:pt x="167" y="82"/>
                    </a:lnTo>
                    <a:lnTo>
                      <a:pt x="170" y="85"/>
                    </a:lnTo>
                    <a:lnTo>
                      <a:pt x="172" y="87"/>
                    </a:lnTo>
                    <a:lnTo>
                      <a:pt x="173" y="87"/>
                    </a:lnTo>
                    <a:lnTo>
                      <a:pt x="173" y="88"/>
                    </a:lnTo>
                    <a:lnTo>
                      <a:pt x="173" y="90"/>
                    </a:lnTo>
                    <a:lnTo>
                      <a:pt x="177" y="91"/>
                    </a:lnTo>
                    <a:lnTo>
                      <a:pt x="178" y="93"/>
                    </a:lnTo>
                    <a:lnTo>
                      <a:pt x="181" y="96"/>
                    </a:lnTo>
                    <a:lnTo>
                      <a:pt x="183" y="98"/>
                    </a:lnTo>
                    <a:lnTo>
                      <a:pt x="184" y="99"/>
                    </a:lnTo>
                    <a:lnTo>
                      <a:pt x="184" y="99"/>
                    </a:lnTo>
                    <a:lnTo>
                      <a:pt x="186" y="101"/>
                    </a:lnTo>
                    <a:lnTo>
                      <a:pt x="188" y="105"/>
                    </a:lnTo>
                    <a:lnTo>
                      <a:pt x="189" y="108"/>
                    </a:lnTo>
                    <a:lnTo>
                      <a:pt x="189" y="110"/>
                    </a:lnTo>
                    <a:lnTo>
                      <a:pt x="191" y="113"/>
                    </a:lnTo>
                    <a:lnTo>
                      <a:pt x="191" y="115"/>
                    </a:lnTo>
                    <a:lnTo>
                      <a:pt x="192" y="116"/>
                    </a:lnTo>
                    <a:lnTo>
                      <a:pt x="194" y="118"/>
                    </a:lnTo>
                    <a:lnTo>
                      <a:pt x="195" y="119"/>
                    </a:lnTo>
                    <a:lnTo>
                      <a:pt x="195" y="119"/>
                    </a:lnTo>
                    <a:lnTo>
                      <a:pt x="192" y="123"/>
                    </a:lnTo>
                    <a:lnTo>
                      <a:pt x="188" y="127"/>
                    </a:lnTo>
                    <a:lnTo>
                      <a:pt x="184" y="130"/>
                    </a:lnTo>
                    <a:lnTo>
                      <a:pt x="180" y="135"/>
                    </a:lnTo>
                    <a:lnTo>
                      <a:pt x="175" y="138"/>
                    </a:lnTo>
                    <a:lnTo>
                      <a:pt x="172" y="143"/>
                    </a:lnTo>
                    <a:lnTo>
                      <a:pt x="169" y="146"/>
                    </a:lnTo>
                    <a:lnTo>
                      <a:pt x="166" y="149"/>
                    </a:lnTo>
                    <a:lnTo>
                      <a:pt x="164" y="149"/>
                    </a:lnTo>
                    <a:lnTo>
                      <a:pt x="164" y="151"/>
                    </a:lnTo>
                    <a:lnTo>
                      <a:pt x="161" y="151"/>
                    </a:lnTo>
                    <a:lnTo>
                      <a:pt x="158" y="151"/>
                    </a:lnTo>
                    <a:lnTo>
                      <a:pt x="155" y="148"/>
                    </a:lnTo>
                    <a:lnTo>
                      <a:pt x="152" y="149"/>
                    </a:lnTo>
                    <a:lnTo>
                      <a:pt x="150" y="151"/>
                    </a:lnTo>
                    <a:lnTo>
                      <a:pt x="150" y="151"/>
                    </a:lnTo>
                    <a:lnTo>
                      <a:pt x="147" y="151"/>
                    </a:lnTo>
                    <a:lnTo>
                      <a:pt x="144" y="151"/>
                    </a:lnTo>
                    <a:lnTo>
                      <a:pt x="142" y="152"/>
                    </a:lnTo>
                    <a:lnTo>
                      <a:pt x="141" y="152"/>
                    </a:lnTo>
                    <a:lnTo>
                      <a:pt x="141" y="154"/>
                    </a:lnTo>
                    <a:lnTo>
                      <a:pt x="141" y="154"/>
                    </a:lnTo>
                    <a:lnTo>
                      <a:pt x="139" y="154"/>
                    </a:lnTo>
                    <a:lnTo>
                      <a:pt x="139" y="154"/>
                    </a:lnTo>
                    <a:lnTo>
                      <a:pt x="136" y="152"/>
                    </a:lnTo>
                    <a:lnTo>
                      <a:pt x="136" y="151"/>
                    </a:lnTo>
                    <a:lnTo>
                      <a:pt x="134" y="151"/>
                    </a:lnTo>
                    <a:lnTo>
                      <a:pt x="134" y="149"/>
                    </a:lnTo>
                    <a:lnTo>
                      <a:pt x="131" y="151"/>
                    </a:lnTo>
                    <a:lnTo>
                      <a:pt x="130" y="152"/>
                    </a:lnTo>
                    <a:lnTo>
                      <a:pt x="128" y="152"/>
                    </a:lnTo>
                    <a:lnTo>
                      <a:pt x="127" y="151"/>
                    </a:lnTo>
                    <a:lnTo>
                      <a:pt x="123" y="149"/>
                    </a:lnTo>
                    <a:lnTo>
                      <a:pt x="123" y="149"/>
                    </a:lnTo>
                    <a:lnTo>
                      <a:pt x="120" y="151"/>
                    </a:lnTo>
                    <a:lnTo>
                      <a:pt x="119" y="152"/>
                    </a:lnTo>
                    <a:lnTo>
                      <a:pt x="117" y="154"/>
                    </a:lnTo>
                    <a:lnTo>
                      <a:pt x="117" y="155"/>
                    </a:lnTo>
                    <a:lnTo>
                      <a:pt x="117" y="154"/>
                    </a:lnTo>
                    <a:lnTo>
                      <a:pt x="117" y="154"/>
                    </a:lnTo>
                    <a:lnTo>
                      <a:pt x="116" y="152"/>
                    </a:lnTo>
                    <a:lnTo>
                      <a:pt x="114" y="152"/>
                    </a:lnTo>
                    <a:lnTo>
                      <a:pt x="114" y="152"/>
                    </a:lnTo>
                    <a:lnTo>
                      <a:pt x="112" y="152"/>
                    </a:lnTo>
                    <a:lnTo>
                      <a:pt x="112" y="152"/>
                    </a:lnTo>
                    <a:lnTo>
                      <a:pt x="112" y="151"/>
                    </a:lnTo>
                    <a:lnTo>
                      <a:pt x="112" y="149"/>
                    </a:lnTo>
                    <a:lnTo>
                      <a:pt x="111" y="149"/>
                    </a:lnTo>
                    <a:lnTo>
                      <a:pt x="109" y="148"/>
                    </a:lnTo>
                    <a:lnTo>
                      <a:pt x="106" y="146"/>
                    </a:lnTo>
                    <a:lnTo>
                      <a:pt x="103" y="143"/>
                    </a:lnTo>
                    <a:lnTo>
                      <a:pt x="102" y="141"/>
                    </a:lnTo>
                    <a:lnTo>
                      <a:pt x="100" y="140"/>
                    </a:lnTo>
                    <a:lnTo>
                      <a:pt x="98" y="138"/>
                    </a:lnTo>
                    <a:lnTo>
                      <a:pt x="97" y="135"/>
                    </a:lnTo>
                    <a:lnTo>
                      <a:pt x="95" y="135"/>
                    </a:lnTo>
                    <a:lnTo>
                      <a:pt x="94" y="135"/>
                    </a:lnTo>
                    <a:lnTo>
                      <a:pt x="92" y="137"/>
                    </a:lnTo>
                    <a:lnTo>
                      <a:pt x="89" y="140"/>
                    </a:lnTo>
                    <a:lnTo>
                      <a:pt x="87" y="140"/>
                    </a:lnTo>
                    <a:lnTo>
                      <a:pt x="86" y="138"/>
                    </a:lnTo>
                    <a:lnTo>
                      <a:pt x="84" y="138"/>
                    </a:lnTo>
                    <a:lnTo>
                      <a:pt x="80" y="137"/>
                    </a:lnTo>
                    <a:lnTo>
                      <a:pt x="78" y="138"/>
                    </a:lnTo>
                    <a:lnTo>
                      <a:pt x="77" y="140"/>
                    </a:lnTo>
                    <a:lnTo>
                      <a:pt x="75" y="140"/>
                    </a:lnTo>
                    <a:lnTo>
                      <a:pt x="73" y="140"/>
                    </a:lnTo>
                    <a:lnTo>
                      <a:pt x="73" y="140"/>
                    </a:lnTo>
                    <a:lnTo>
                      <a:pt x="72" y="140"/>
                    </a:lnTo>
                    <a:lnTo>
                      <a:pt x="70" y="140"/>
                    </a:lnTo>
                    <a:lnTo>
                      <a:pt x="69" y="138"/>
                    </a:lnTo>
                    <a:lnTo>
                      <a:pt x="67" y="138"/>
                    </a:lnTo>
                    <a:lnTo>
                      <a:pt x="67" y="137"/>
                    </a:lnTo>
                    <a:lnTo>
                      <a:pt x="66" y="137"/>
                    </a:lnTo>
                    <a:lnTo>
                      <a:pt x="64" y="135"/>
                    </a:lnTo>
                    <a:lnTo>
                      <a:pt x="64" y="135"/>
                    </a:lnTo>
                    <a:lnTo>
                      <a:pt x="62" y="134"/>
                    </a:lnTo>
                    <a:lnTo>
                      <a:pt x="62" y="132"/>
                    </a:lnTo>
                    <a:lnTo>
                      <a:pt x="61" y="132"/>
                    </a:lnTo>
                    <a:lnTo>
                      <a:pt x="58" y="129"/>
                    </a:lnTo>
                    <a:lnTo>
                      <a:pt x="58" y="127"/>
                    </a:lnTo>
                    <a:lnTo>
                      <a:pt x="56" y="127"/>
                    </a:lnTo>
                    <a:lnTo>
                      <a:pt x="56" y="126"/>
                    </a:lnTo>
                    <a:lnTo>
                      <a:pt x="55" y="124"/>
                    </a:lnTo>
                    <a:lnTo>
                      <a:pt x="55" y="121"/>
                    </a:lnTo>
                    <a:lnTo>
                      <a:pt x="53" y="119"/>
                    </a:lnTo>
                    <a:lnTo>
                      <a:pt x="53" y="118"/>
                    </a:lnTo>
                    <a:lnTo>
                      <a:pt x="53" y="116"/>
                    </a:lnTo>
                    <a:lnTo>
                      <a:pt x="53" y="116"/>
                    </a:lnTo>
                    <a:lnTo>
                      <a:pt x="51" y="115"/>
                    </a:lnTo>
                    <a:lnTo>
                      <a:pt x="48" y="113"/>
                    </a:lnTo>
                    <a:lnTo>
                      <a:pt x="47" y="112"/>
                    </a:lnTo>
                    <a:lnTo>
                      <a:pt x="45" y="112"/>
                    </a:lnTo>
                    <a:lnTo>
                      <a:pt x="42" y="110"/>
                    </a:lnTo>
                    <a:lnTo>
                      <a:pt x="41" y="110"/>
                    </a:lnTo>
                    <a:lnTo>
                      <a:pt x="41" y="108"/>
                    </a:lnTo>
                    <a:lnTo>
                      <a:pt x="39" y="107"/>
                    </a:lnTo>
                    <a:lnTo>
                      <a:pt x="39" y="105"/>
                    </a:lnTo>
                    <a:lnTo>
                      <a:pt x="37" y="104"/>
                    </a:lnTo>
                    <a:lnTo>
                      <a:pt x="37" y="104"/>
                    </a:lnTo>
                    <a:lnTo>
                      <a:pt x="39" y="101"/>
                    </a:lnTo>
                    <a:lnTo>
                      <a:pt x="37" y="99"/>
                    </a:lnTo>
                    <a:lnTo>
                      <a:pt x="36" y="98"/>
                    </a:lnTo>
                    <a:lnTo>
                      <a:pt x="34" y="96"/>
                    </a:lnTo>
                    <a:lnTo>
                      <a:pt x="33" y="94"/>
                    </a:lnTo>
                    <a:lnTo>
                      <a:pt x="30" y="93"/>
                    </a:lnTo>
                    <a:lnTo>
                      <a:pt x="25" y="90"/>
                    </a:lnTo>
                    <a:lnTo>
                      <a:pt x="22" y="88"/>
                    </a:lnTo>
                    <a:lnTo>
                      <a:pt x="20" y="87"/>
                    </a:lnTo>
                    <a:lnTo>
                      <a:pt x="19" y="85"/>
                    </a:lnTo>
                    <a:lnTo>
                      <a:pt x="17" y="83"/>
                    </a:lnTo>
                    <a:lnTo>
                      <a:pt x="19" y="82"/>
                    </a:lnTo>
                    <a:lnTo>
                      <a:pt x="19" y="80"/>
                    </a:lnTo>
                    <a:lnTo>
                      <a:pt x="19" y="79"/>
                    </a:lnTo>
                    <a:lnTo>
                      <a:pt x="16" y="77"/>
                    </a:lnTo>
                    <a:lnTo>
                      <a:pt x="12" y="74"/>
                    </a:lnTo>
                    <a:lnTo>
                      <a:pt x="9" y="72"/>
                    </a:lnTo>
                    <a:lnTo>
                      <a:pt x="5" y="71"/>
                    </a:lnTo>
                    <a:lnTo>
                      <a:pt x="3" y="71"/>
                    </a:lnTo>
                    <a:lnTo>
                      <a:pt x="1" y="71"/>
                    </a:lnTo>
                    <a:lnTo>
                      <a:pt x="1" y="69"/>
                    </a:lnTo>
                    <a:lnTo>
                      <a:pt x="0" y="68"/>
                    </a:lnTo>
                    <a:lnTo>
                      <a:pt x="1" y="65"/>
                    </a:lnTo>
                    <a:lnTo>
                      <a:pt x="0" y="65"/>
                    </a:lnTo>
                    <a:lnTo>
                      <a:pt x="0" y="65"/>
                    </a:lnTo>
                    <a:lnTo>
                      <a:pt x="0" y="65"/>
                    </a:lnTo>
                    <a:lnTo>
                      <a:pt x="0" y="63"/>
                    </a:lnTo>
                    <a:lnTo>
                      <a:pt x="1" y="63"/>
                    </a:lnTo>
                    <a:lnTo>
                      <a:pt x="3" y="62"/>
                    </a:lnTo>
                    <a:lnTo>
                      <a:pt x="6" y="60"/>
                    </a:lnTo>
                    <a:lnTo>
                      <a:pt x="6" y="60"/>
                    </a:lnTo>
                    <a:lnTo>
                      <a:pt x="6" y="58"/>
                    </a:lnTo>
                    <a:lnTo>
                      <a:pt x="8" y="57"/>
                    </a:lnTo>
                    <a:lnTo>
                      <a:pt x="8" y="55"/>
                    </a:lnTo>
                    <a:lnTo>
                      <a:pt x="9" y="54"/>
                    </a:lnTo>
                    <a:lnTo>
                      <a:pt x="9" y="52"/>
                    </a:lnTo>
                    <a:lnTo>
                      <a:pt x="9" y="52"/>
                    </a:lnTo>
                    <a:lnTo>
                      <a:pt x="9" y="51"/>
                    </a:lnTo>
                    <a:lnTo>
                      <a:pt x="11" y="49"/>
                    </a:lnTo>
                    <a:lnTo>
                      <a:pt x="11" y="49"/>
                    </a:lnTo>
                    <a:lnTo>
                      <a:pt x="11" y="47"/>
                    </a:lnTo>
                    <a:lnTo>
                      <a:pt x="11" y="44"/>
                    </a:lnTo>
                    <a:lnTo>
                      <a:pt x="11" y="43"/>
                    </a:lnTo>
                    <a:lnTo>
                      <a:pt x="14" y="41"/>
                    </a:lnTo>
                    <a:lnTo>
                      <a:pt x="14" y="40"/>
                    </a:lnTo>
                    <a:lnTo>
                      <a:pt x="16" y="38"/>
                    </a:lnTo>
                    <a:lnTo>
                      <a:pt x="16" y="38"/>
                    </a:lnTo>
                    <a:lnTo>
                      <a:pt x="16" y="36"/>
                    </a:lnTo>
                    <a:lnTo>
                      <a:pt x="16" y="35"/>
                    </a:lnTo>
                    <a:lnTo>
                      <a:pt x="17" y="35"/>
                    </a:lnTo>
                    <a:lnTo>
                      <a:pt x="19" y="35"/>
                    </a:lnTo>
                    <a:lnTo>
                      <a:pt x="20" y="35"/>
                    </a:lnTo>
                    <a:lnTo>
                      <a:pt x="28" y="33"/>
                    </a:lnTo>
                    <a:lnTo>
                      <a:pt x="30" y="33"/>
                    </a:lnTo>
                    <a:lnTo>
                      <a:pt x="30" y="35"/>
                    </a:lnTo>
                    <a:lnTo>
                      <a:pt x="30" y="36"/>
                    </a:lnTo>
                    <a:lnTo>
                      <a:pt x="30" y="36"/>
                    </a:lnTo>
                    <a:lnTo>
                      <a:pt x="31" y="38"/>
                    </a:lnTo>
                    <a:lnTo>
                      <a:pt x="33" y="38"/>
                    </a:lnTo>
                    <a:lnTo>
                      <a:pt x="33" y="40"/>
                    </a:lnTo>
                    <a:lnTo>
                      <a:pt x="34" y="40"/>
                    </a:lnTo>
                    <a:lnTo>
                      <a:pt x="36" y="41"/>
                    </a:lnTo>
                    <a:lnTo>
                      <a:pt x="42" y="49"/>
                    </a:lnTo>
                    <a:lnTo>
                      <a:pt x="44" y="49"/>
                    </a:lnTo>
                    <a:lnTo>
                      <a:pt x="45" y="49"/>
                    </a:lnTo>
                    <a:lnTo>
                      <a:pt x="50" y="47"/>
                    </a:lnTo>
                    <a:lnTo>
                      <a:pt x="51" y="47"/>
                    </a:lnTo>
                    <a:lnTo>
                      <a:pt x="64" y="47"/>
                    </a:lnTo>
                    <a:lnTo>
                      <a:pt x="66" y="47"/>
                    </a:lnTo>
                    <a:lnTo>
                      <a:pt x="66" y="47"/>
                    </a:lnTo>
                    <a:lnTo>
                      <a:pt x="67" y="52"/>
                    </a:lnTo>
                    <a:lnTo>
                      <a:pt x="69" y="52"/>
                    </a:lnTo>
                    <a:lnTo>
                      <a:pt x="83" y="52"/>
                    </a:lnTo>
                    <a:lnTo>
                      <a:pt x="81" y="52"/>
                    </a:lnTo>
                    <a:lnTo>
                      <a:pt x="83" y="51"/>
                    </a:lnTo>
                    <a:lnTo>
                      <a:pt x="84" y="49"/>
                    </a:lnTo>
                    <a:lnTo>
                      <a:pt x="84" y="47"/>
                    </a:lnTo>
                    <a:lnTo>
                      <a:pt x="84" y="47"/>
                    </a:lnTo>
                    <a:lnTo>
                      <a:pt x="84" y="47"/>
                    </a:lnTo>
                    <a:lnTo>
                      <a:pt x="87" y="46"/>
                    </a:lnTo>
                    <a:lnTo>
                      <a:pt x="89" y="46"/>
                    </a:lnTo>
                    <a:lnTo>
                      <a:pt x="94" y="44"/>
                    </a:lnTo>
                    <a:lnTo>
                      <a:pt x="95" y="43"/>
                    </a:lnTo>
                    <a:lnTo>
                      <a:pt x="95" y="41"/>
                    </a:lnTo>
                    <a:lnTo>
                      <a:pt x="95" y="40"/>
                    </a:lnTo>
                    <a:lnTo>
                      <a:pt x="95" y="40"/>
                    </a:lnTo>
                    <a:lnTo>
                      <a:pt x="97" y="38"/>
                    </a:lnTo>
                    <a:lnTo>
                      <a:pt x="102" y="36"/>
                    </a:lnTo>
                    <a:lnTo>
                      <a:pt x="103" y="35"/>
                    </a:lnTo>
                    <a:lnTo>
                      <a:pt x="111" y="41"/>
                    </a:lnTo>
                    <a:lnTo>
                      <a:pt x="116" y="46"/>
                    </a:lnTo>
                    <a:lnTo>
                      <a:pt x="116" y="46"/>
                    </a:lnTo>
                    <a:lnTo>
                      <a:pt x="116" y="46"/>
                    </a:lnTo>
                    <a:lnTo>
                      <a:pt x="116" y="46"/>
                    </a:lnTo>
                    <a:lnTo>
                      <a:pt x="117" y="44"/>
                    </a:lnTo>
                    <a:lnTo>
                      <a:pt x="117" y="44"/>
                    </a:lnTo>
                    <a:lnTo>
                      <a:pt x="117" y="44"/>
                    </a:lnTo>
                    <a:lnTo>
                      <a:pt x="119" y="44"/>
                    </a:lnTo>
                    <a:lnTo>
                      <a:pt x="123" y="44"/>
                    </a:lnTo>
                    <a:lnTo>
                      <a:pt x="123" y="44"/>
                    </a:lnTo>
                    <a:lnTo>
                      <a:pt x="131" y="36"/>
                    </a:lnTo>
                    <a:lnTo>
                      <a:pt x="133" y="35"/>
                    </a:lnTo>
                    <a:lnTo>
                      <a:pt x="134" y="33"/>
                    </a:lnTo>
                    <a:lnTo>
                      <a:pt x="134" y="32"/>
                    </a:lnTo>
                    <a:lnTo>
                      <a:pt x="136" y="29"/>
                    </a:lnTo>
                    <a:lnTo>
                      <a:pt x="136" y="29"/>
                    </a:lnTo>
                    <a:lnTo>
                      <a:pt x="145" y="22"/>
                    </a:lnTo>
                    <a:lnTo>
                      <a:pt x="145" y="21"/>
                    </a:lnTo>
                    <a:lnTo>
                      <a:pt x="145" y="21"/>
                    </a:lnTo>
                    <a:lnTo>
                      <a:pt x="144" y="18"/>
                    </a:lnTo>
                    <a:lnTo>
                      <a:pt x="144" y="18"/>
                    </a:lnTo>
                    <a:lnTo>
                      <a:pt x="144" y="15"/>
                    </a:lnTo>
                    <a:lnTo>
                      <a:pt x="144" y="13"/>
                    </a:lnTo>
                    <a:lnTo>
                      <a:pt x="144" y="10"/>
                    </a:lnTo>
                    <a:lnTo>
                      <a:pt x="144" y="10"/>
                    </a:lnTo>
                    <a:lnTo>
                      <a:pt x="144" y="10"/>
                    </a:lnTo>
                    <a:lnTo>
                      <a:pt x="144" y="10"/>
                    </a:lnTo>
                    <a:lnTo>
                      <a:pt x="139" y="5"/>
                    </a:lnTo>
                    <a:lnTo>
                      <a:pt x="150" y="5"/>
                    </a:lnTo>
                    <a:lnTo>
                      <a:pt x="150" y="4"/>
                    </a:lnTo>
                    <a:lnTo>
                      <a:pt x="150" y="4"/>
                    </a:lnTo>
                    <a:lnTo>
                      <a:pt x="150" y="4"/>
                    </a:lnTo>
                    <a:lnTo>
                      <a:pt x="150" y="4"/>
                    </a:lnTo>
                    <a:lnTo>
                      <a:pt x="150" y="2"/>
                    </a:lnTo>
                    <a:lnTo>
                      <a:pt x="150" y="2"/>
                    </a:lnTo>
                    <a:lnTo>
                      <a:pt x="150" y="2"/>
                    </a:lnTo>
                    <a:lnTo>
                      <a:pt x="150" y="2"/>
                    </a:lnTo>
                    <a:lnTo>
                      <a:pt x="150" y="2"/>
                    </a:lnTo>
                    <a:lnTo>
                      <a:pt x="150" y="0"/>
                    </a:lnTo>
                    <a:lnTo>
                      <a:pt x="150" y="0"/>
                    </a:lnTo>
                    <a:lnTo>
                      <a:pt x="150" y="0"/>
                    </a:lnTo>
                    <a:lnTo>
                      <a:pt x="150" y="0"/>
                    </a:lnTo>
                    <a:lnTo>
                      <a:pt x="158" y="0"/>
                    </a:lnTo>
                    <a:lnTo>
                      <a:pt x="158" y="2"/>
                    </a:lnTo>
                    <a:lnTo>
                      <a:pt x="158" y="7"/>
                    </a:lnTo>
                    <a:lnTo>
                      <a:pt x="158" y="8"/>
                    </a:lnTo>
                    <a:lnTo>
                      <a:pt x="158" y="10"/>
                    </a:lnTo>
                    <a:lnTo>
                      <a:pt x="158" y="10"/>
                    </a:lnTo>
                    <a:lnTo>
                      <a:pt x="156" y="11"/>
                    </a:lnTo>
                    <a:lnTo>
                      <a:pt x="156" y="11"/>
                    </a:lnTo>
                    <a:lnTo>
                      <a:pt x="156" y="11"/>
                    </a:lnTo>
                    <a:lnTo>
                      <a:pt x="156" y="11"/>
                    </a:lnTo>
                    <a:lnTo>
                      <a:pt x="156" y="11"/>
                    </a:lnTo>
                    <a:lnTo>
                      <a:pt x="156" y="13"/>
                    </a:lnTo>
                    <a:lnTo>
                      <a:pt x="158" y="26"/>
                    </a:lnTo>
                    <a:lnTo>
                      <a:pt x="158" y="26"/>
                    </a:lnTo>
                    <a:lnTo>
                      <a:pt x="158" y="26"/>
                    </a:lnTo>
                    <a:lnTo>
                      <a:pt x="158" y="27"/>
                    </a:lnTo>
                    <a:lnTo>
                      <a:pt x="158" y="27"/>
                    </a:lnTo>
                    <a:lnTo>
                      <a:pt x="158" y="27"/>
                    </a:lnTo>
                    <a:lnTo>
                      <a:pt x="158" y="27"/>
                    </a:lnTo>
                    <a:lnTo>
                      <a:pt x="161" y="29"/>
                    </a:lnTo>
                    <a:lnTo>
                      <a:pt x="161" y="29"/>
                    </a:lnTo>
                    <a:lnTo>
                      <a:pt x="163" y="29"/>
                    </a:lnTo>
                    <a:lnTo>
                      <a:pt x="163" y="30"/>
                    </a:lnTo>
                    <a:lnTo>
                      <a:pt x="170" y="36"/>
                    </a:lnTo>
                    <a:lnTo>
                      <a:pt x="170" y="38"/>
                    </a:lnTo>
                    <a:lnTo>
                      <a:pt x="172" y="40"/>
                    </a:lnTo>
                    <a:lnTo>
                      <a:pt x="172" y="40"/>
                    </a:lnTo>
                    <a:lnTo>
                      <a:pt x="172" y="40"/>
                    </a:lnTo>
                    <a:lnTo>
                      <a:pt x="172" y="41"/>
                    </a:lnTo>
                    <a:lnTo>
                      <a:pt x="172" y="41"/>
                    </a:lnTo>
                    <a:lnTo>
                      <a:pt x="172" y="43"/>
                    </a:lnTo>
                    <a:lnTo>
                      <a:pt x="172" y="43"/>
                    </a:lnTo>
                    <a:lnTo>
                      <a:pt x="172" y="43"/>
                    </a:lnTo>
                    <a:lnTo>
                      <a:pt x="172" y="43"/>
                    </a:lnTo>
                    <a:lnTo>
                      <a:pt x="172" y="43"/>
                    </a:lnTo>
                    <a:lnTo>
                      <a:pt x="172" y="4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2" name="Freeform 189">
                <a:extLst>
                  <a:ext uri="{FF2B5EF4-FFF2-40B4-BE49-F238E27FC236}">
                    <a16:creationId xmlns:a16="http://schemas.microsoft.com/office/drawing/2014/main" id="{D38CE47F-F9F0-247D-4E7D-52338C79E0C3}"/>
                  </a:ext>
                </a:extLst>
              </p:cNvPr>
              <p:cNvSpPr>
                <a:spLocks noEditPoints="1"/>
              </p:cNvSpPr>
              <p:nvPr/>
            </p:nvSpPr>
            <p:spPr bwMode="gray">
              <a:xfrm>
                <a:off x="2788" y="1548"/>
                <a:ext cx="17" cy="28"/>
              </a:xfrm>
              <a:custGeom>
                <a:avLst/>
                <a:gdLst>
                  <a:gd name="T0" fmla="*/ 4 w 17"/>
                  <a:gd name="T1" fmla="*/ 22 h 28"/>
                  <a:gd name="T2" fmla="*/ 3 w 17"/>
                  <a:gd name="T3" fmla="*/ 22 h 28"/>
                  <a:gd name="T4" fmla="*/ 1 w 17"/>
                  <a:gd name="T5" fmla="*/ 23 h 28"/>
                  <a:gd name="T6" fmla="*/ 1 w 17"/>
                  <a:gd name="T7" fmla="*/ 25 h 28"/>
                  <a:gd name="T8" fmla="*/ 0 w 17"/>
                  <a:gd name="T9" fmla="*/ 25 h 28"/>
                  <a:gd name="T10" fmla="*/ 1 w 17"/>
                  <a:gd name="T11" fmla="*/ 26 h 28"/>
                  <a:gd name="T12" fmla="*/ 1 w 17"/>
                  <a:gd name="T13" fmla="*/ 28 h 28"/>
                  <a:gd name="T14" fmla="*/ 1 w 17"/>
                  <a:gd name="T15" fmla="*/ 28 h 28"/>
                  <a:gd name="T16" fmla="*/ 4 w 17"/>
                  <a:gd name="T17" fmla="*/ 26 h 28"/>
                  <a:gd name="T18" fmla="*/ 6 w 17"/>
                  <a:gd name="T19" fmla="*/ 25 h 28"/>
                  <a:gd name="T20" fmla="*/ 6 w 17"/>
                  <a:gd name="T21" fmla="*/ 23 h 28"/>
                  <a:gd name="T22" fmla="*/ 4 w 17"/>
                  <a:gd name="T23" fmla="*/ 22 h 28"/>
                  <a:gd name="T24" fmla="*/ 17 w 17"/>
                  <a:gd name="T25" fmla="*/ 0 h 28"/>
                  <a:gd name="T26" fmla="*/ 17 w 17"/>
                  <a:gd name="T27" fmla="*/ 0 h 28"/>
                  <a:gd name="T28" fmla="*/ 17 w 17"/>
                  <a:gd name="T29" fmla="*/ 0 h 28"/>
                  <a:gd name="T30" fmla="*/ 17 w 17"/>
                  <a:gd name="T31" fmla="*/ 0 h 28"/>
                  <a:gd name="T32" fmla="*/ 15 w 17"/>
                  <a:gd name="T33" fmla="*/ 1 h 28"/>
                  <a:gd name="T34" fmla="*/ 15 w 17"/>
                  <a:gd name="T35" fmla="*/ 1 h 28"/>
                  <a:gd name="T36" fmla="*/ 17 w 17"/>
                  <a:gd name="T37" fmla="*/ 1 h 28"/>
                  <a:gd name="T38" fmla="*/ 17 w 17"/>
                  <a:gd name="T39" fmla="*/ 1 h 28"/>
                  <a:gd name="T40" fmla="*/ 17 w 17"/>
                  <a:gd name="T41" fmla="*/ 0 h 28"/>
                  <a:gd name="T42" fmla="*/ 17 w 17"/>
                  <a:gd name="T4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8">
                    <a:moveTo>
                      <a:pt x="4" y="22"/>
                    </a:moveTo>
                    <a:lnTo>
                      <a:pt x="3" y="22"/>
                    </a:lnTo>
                    <a:lnTo>
                      <a:pt x="1" y="23"/>
                    </a:lnTo>
                    <a:lnTo>
                      <a:pt x="1" y="25"/>
                    </a:lnTo>
                    <a:lnTo>
                      <a:pt x="0" y="25"/>
                    </a:lnTo>
                    <a:lnTo>
                      <a:pt x="1" y="26"/>
                    </a:lnTo>
                    <a:lnTo>
                      <a:pt x="1" y="28"/>
                    </a:lnTo>
                    <a:lnTo>
                      <a:pt x="1" y="28"/>
                    </a:lnTo>
                    <a:lnTo>
                      <a:pt x="4" y="26"/>
                    </a:lnTo>
                    <a:lnTo>
                      <a:pt x="6" y="25"/>
                    </a:lnTo>
                    <a:lnTo>
                      <a:pt x="6" y="23"/>
                    </a:lnTo>
                    <a:lnTo>
                      <a:pt x="4" y="22"/>
                    </a:lnTo>
                    <a:close/>
                    <a:moveTo>
                      <a:pt x="17" y="0"/>
                    </a:moveTo>
                    <a:lnTo>
                      <a:pt x="17" y="0"/>
                    </a:lnTo>
                    <a:lnTo>
                      <a:pt x="17" y="0"/>
                    </a:lnTo>
                    <a:lnTo>
                      <a:pt x="17" y="0"/>
                    </a:lnTo>
                    <a:lnTo>
                      <a:pt x="15" y="1"/>
                    </a:lnTo>
                    <a:lnTo>
                      <a:pt x="15" y="1"/>
                    </a:lnTo>
                    <a:lnTo>
                      <a:pt x="17" y="1"/>
                    </a:lnTo>
                    <a:lnTo>
                      <a:pt x="17" y="1"/>
                    </a:lnTo>
                    <a:lnTo>
                      <a:pt x="17" y="0"/>
                    </a:lnTo>
                    <a:lnTo>
                      <a:pt x="17"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3" name="Freeform 190">
                <a:extLst>
                  <a:ext uri="{FF2B5EF4-FFF2-40B4-BE49-F238E27FC236}">
                    <a16:creationId xmlns:a16="http://schemas.microsoft.com/office/drawing/2014/main" id="{F24CF710-8B0C-9FAD-9911-D4D51D2251D4}"/>
                  </a:ext>
                </a:extLst>
              </p:cNvPr>
              <p:cNvSpPr>
                <a:spLocks/>
              </p:cNvSpPr>
              <p:nvPr/>
            </p:nvSpPr>
            <p:spPr bwMode="gray">
              <a:xfrm>
                <a:off x="1093" y="1322"/>
                <a:ext cx="42" cy="24"/>
              </a:xfrm>
              <a:custGeom>
                <a:avLst/>
                <a:gdLst>
                  <a:gd name="T0" fmla="*/ 14 w 42"/>
                  <a:gd name="T1" fmla="*/ 0 h 24"/>
                  <a:gd name="T2" fmla="*/ 17 w 42"/>
                  <a:gd name="T3" fmla="*/ 2 h 24"/>
                  <a:gd name="T4" fmla="*/ 19 w 42"/>
                  <a:gd name="T5" fmla="*/ 4 h 24"/>
                  <a:gd name="T6" fmla="*/ 22 w 42"/>
                  <a:gd name="T7" fmla="*/ 5 h 24"/>
                  <a:gd name="T8" fmla="*/ 25 w 42"/>
                  <a:gd name="T9" fmla="*/ 7 h 24"/>
                  <a:gd name="T10" fmla="*/ 25 w 42"/>
                  <a:gd name="T11" fmla="*/ 8 h 24"/>
                  <a:gd name="T12" fmla="*/ 28 w 42"/>
                  <a:gd name="T13" fmla="*/ 8 h 24"/>
                  <a:gd name="T14" fmla="*/ 28 w 42"/>
                  <a:gd name="T15" fmla="*/ 10 h 24"/>
                  <a:gd name="T16" fmla="*/ 30 w 42"/>
                  <a:gd name="T17" fmla="*/ 11 h 24"/>
                  <a:gd name="T18" fmla="*/ 33 w 42"/>
                  <a:gd name="T19" fmla="*/ 10 h 24"/>
                  <a:gd name="T20" fmla="*/ 36 w 42"/>
                  <a:gd name="T21" fmla="*/ 8 h 24"/>
                  <a:gd name="T22" fmla="*/ 37 w 42"/>
                  <a:gd name="T23" fmla="*/ 10 h 24"/>
                  <a:gd name="T24" fmla="*/ 41 w 42"/>
                  <a:gd name="T25" fmla="*/ 10 h 24"/>
                  <a:gd name="T26" fmla="*/ 42 w 42"/>
                  <a:gd name="T27" fmla="*/ 11 h 24"/>
                  <a:gd name="T28" fmla="*/ 41 w 42"/>
                  <a:gd name="T29" fmla="*/ 16 h 24"/>
                  <a:gd name="T30" fmla="*/ 42 w 42"/>
                  <a:gd name="T31" fmla="*/ 18 h 24"/>
                  <a:gd name="T32" fmla="*/ 42 w 42"/>
                  <a:gd name="T33" fmla="*/ 18 h 24"/>
                  <a:gd name="T34" fmla="*/ 41 w 42"/>
                  <a:gd name="T35" fmla="*/ 19 h 24"/>
                  <a:gd name="T36" fmla="*/ 39 w 42"/>
                  <a:gd name="T37" fmla="*/ 22 h 24"/>
                  <a:gd name="T38" fmla="*/ 37 w 42"/>
                  <a:gd name="T39" fmla="*/ 24 h 24"/>
                  <a:gd name="T40" fmla="*/ 30 w 42"/>
                  <a:gd name="T41" fmla="*/ 22 h 24"/>
                  <a:gd name="T42" fmla="*/ 25 w 42"/>
                  <a:gd name="T43" fmla="*/ 21 h 24"/>
                  <a:gd name="T44" fmla="*/ 26 w 42"/>
                  <a:gd name="T45" fmla="*/ 22 h 24"/>
                  <a:gd name="T46" fmla="*/ 28 w 42"/>
                  <a:gd name="T47" fmla="*/ 22 h 24"/>
                  <a:gd name="T48" fmla="*/ 16 w 42"/>
                  <a:gd name="T49" fmla="*/ 18 h 24"/>
                  <a:gd name="T50" fmla="*/ 6 w 42"/>
                  <a:gd name="T51" fmla="*/ 16 h 24"/>
                  <a:gd name="T52" fmla="*/ 0 w 42"/>
                  <a:gd name="T53" fmla="*/ 13 h 24"/>
                  <a:gd name="T54" fmla="*/ 0 w 42"/>
                  <a:gd name="T55" fmla="*/ 11 h 24"/>
                  <a:gd name="T56" fmla="*/ 3 w 42"/>
                  <a:gd name="T57" fmla="*/ 8 h 24"/>
                  <a:gd name="T58" fmla="*/ 5 w 42"/>
                  <a:gd name="T59" fmla="*/ 7 h 24"/>
                  <a:gd name="T60" fmla="*/ 6 w 42"/>
                  <a:gd name="T61" fmla="*/ 7 h 24"/>
                  <a:gd name="T62" fmla="*/ 8 w 42"/>
                  <a:gd name="T63" fmla="*/ 5 h 24"/>
                  <a:gd name="T64" fmla="*/ 11 w 42"/>
                  <a:gd name="T65" fmla="*/ 4 h 24"/>
                  <a:gd name="T66" fmla="*/ 9 w 42"/>
                  <a:gd name="T67" fmla="*/ 2 h 24"/>
                  <a:gd name="T68" fmla="*/ 11 w 42"/>
                  <a:gd name="T69" fmla="*/ 0 h 24"/>
                  <a:gd name="T70" fmla="*/ 12 w 42"/>
                  <a:gd name="T71" fmla="*/ 0 h 24"/>
                  <a:gd name="T72" fmla="*/ 14 w 42"/>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24">
                    <a:moveTo>
                      <a:pt x="14" y="0"/>
                    </a:moveTo>
                    <a:lnTo>
                      <a:pt x="14" y="0"/>
                    </a:lnTo>
                    <a:lnTo>
                      <a:pt x="17" y="2"/>
                    </a:lnTo>
                    <a:lnTo>
                      <a:pt x="17" y="2"/>
                    </a:lnTo>
                    <a:lnTo>
                      <a:pt x="19" y="2"/>
                    </a:lnTo>
                    <a:lnTo>
                      <a:pt x="19" y="4"/>
                    </a:lnTo>
                    <a:lnTo>
                      <a:pt x="20" y="4"/>
                    </a:lnTo>
                    <a:lnTo>
                      <a:pt x="22" y="5"/>
                    </a:lnTo>
                    <a:lnTo>
                      <a:pt x="22" y="7"/>
                    </a:lnTo>
                    <a:lnTo>
                      <a:pt x="25" y="7"/>
                    </a:lnTo>
                    <a:lnTo>
                      <a:pt x="25" y="8"/>
                    </a:lnTo>
                    <a:lnTo>
                      <a:pt x="25" y="8"/>
                    </a:lnTo>
                    <a:lnTo>
                      <a:pt x="26" y="8"/>
                    </a:lnTo>
                    <a:lnTo>
                      <a:pt x="28" y="8"/>
                    </a:lnTo>
                    <a:lnTo>
                      <a:pt x="28" y="8"/>
                    </a:lnTo>
                    <a:lnTo>
                      <a:pt x="28" y="10"/>
                    </a:lnTo>
                    <a:lnTo>
                      <a:pt x="28" y="11"/>
                    </a:lnTo>
                    <a:lnTo>
                      <a:pt x="30" y="11"/>
                    </a:lnTo>
                    <a:lnTo>
                      <a:pt x="30" y="10"/>
                    </a:lnTo>
                    <a:lnTo>
                      <a:pt x="33" y="10"/>
                    </a:lnTo>
                    <a:lnTo>
                      <a:pt x="34" y="8"/>
                    </a:lnTo>
                    <a:lnTo>
                      <a:pt x="36" y="8"/>
                    </a:lnTo>
                    <a:lnTo>
                      <a:pt x="36" y="10"/>
                    </a:lnTo>
                    <a:lnTo>
                      <a:pt x="37" y="10"/>
                    </a:lnTo>
                    <a:lnTo>
                      <a:pt x="39" y="10"/>
                    </a:lnTo>
                    <a:lnTo>
                      <a:pt x="41" y="10"/>
                    </a:lnTo>
                    <a:lnTo>
                      <a:pt x="42" y="11"/>
                    </a:lnTo>
                    <a:lnTo>
                      <a:pt x="42" y="11"/>
                    </a:lnTo>
                    <a:lnTo>
                      <a:pt x="42" y="14"/>
                    </a:lnTo>
                    <a:lnTo>
                      <a:pt x="41" y="16"/>
                    </a:lnTo>
                    <a:lnTo>
                      <a:pt x="41" y="16"/>
                    </a:lnTo>
                    <a:lnTo>
                      <a:pt x="42" y="18"/>
                    </a:lnTo>
                    <a:lnTo>
                      <a:pt x="42" y="18"/>
                    </a:lnTo>
                    <a:lnTo>
                      <a:pt x="42" y="18"/>
                    </a:lnTo>
                    <a:lnTo>
                      <a:pt x="41" y="19"/>
                    </a:lnTo>
                    <a:lnTo>
                      <a:pt x="41" y="19"/>
                    </a:lnTo>
                    <a:lnTo>
                      <a:pt x="41" y="21"/>
                    </a:lnTo>
                    <a:lnTo>
                      <a:pt x="39" y="22"/>
                    </a:lnTo>
                    <a:lnTo>
                      <a:pt x="39" y="22"/>
                    </a:lnTo>
                    <a:lnTo>
                      <a:pt x="37" y="24"/>
                    </a:lnTo>
                    <a:lnTo>
                      <a:pt x="34" y="24"/>
                    </a:lnTo>
                    <a:lnTo>
                      <a:pt x="30" y="22"/>
                    </a:lnTo>
                    <a:lnTo>
                      <a:pt x="26" y="21"/>
                    </a:lnTo>
                    <a:lnTo>
                      <a:pt x="25" y="21"/>
                    </a:lnTo>
                    <a:lnTo>
                      <a:pt x="26" y="21"/>
                    </a:lnTo>
                    <a:lnTo>
                      <a:pt x="26" y="22"/>
                    </a:lnTo>
                    <a:lnTo>
                      <a:pt x="28" y="22"/>
                    </a:lnTo>
                    <a:lnTo>
                      <a:pt x="28" y="22"/>
                    </a:lnTo>
                    <a:lnTo>
                      <a:pt x="22" y="21"/>
                    </a:lnTo>
                    <a:lnTo>
                      <a:pt x="16" y="18"/>
                    </a:lnTo>
                    <a:lnTo>
                      <a:pt x="11" y="18"/>
                    </a:lnTo>
                    <a:lnTo>
                      <a:pt x="6" y="16"/>
                    </a:lnTo>
                    <a:lnTo>
                      <a:pt x="3" y="14"/>
                    </a:lnTo>
                    <a:lnTo>
                      <a:pt x="0" y="13"/>
                    </a:lnTo>
                    <a:lnTo>
                      <a:pt x="0" y="11"/>
                    </a:lnTo>
                    <a:lnTo>
                      <a:pt x="0" y="11"/>
                    </a:lnTo>
                    <a:lnTo>
                      <a:pt x="1" y="10"/>
                    </a:lnTo>
                    <a:lnTo>
                      <a:pt x="3" y="8"/>
                    </a:lnTo>
                    <a:lnTo>
                      <a:pt x="5" y="7"/>
                    </a:lnTo>
                    <a:lnTo>
                      <a:pt x="5" y="7"/>
                    </a:lnTo>
                    <a:lnTo>
                      <a:pt x="6" y="7"/>
                    </a:lnTo>
                    <a:lnTo>
                      <a:pt x="6" y="7"/>
                    </a:lnTo>
                    <a:lnTo>
                      <a:pt x="8" y="5"/>
                    </a:lnTo>
                    <a:lnTo>
                      <a:pt x="8" y="5"/>
                    </a:lnTo>
                    <a:lnTo>
                      <a:pt x="9" y="4"/>
                    </a:lnTo>
                    <a:lnTo>
                      <a:pt x="11" y="4"/>
                    </a:lnTo>
                    <a:lnTo>
                      <a:pt x="9" y="4"/>
                    </a:lnTo>
                    <a:lnTo>
                      <a:pt x="9" y="2"/>
                    </a:lnTo>
                    <a:lnTo>
                      <a:pt x="9" y="0"/>
                    </a:lnTo>
                    <a:lnTo>
                      <a:pt x="11" y="0"/>
                    </a:lnTo>
                    <a:lnTo>
                      <a:pt x="11" y="0"/>
                    </a:lnTo>
                    <a:lnTo>
                      <a:pt x="12" y="0"/>
                    </a:lnTo>
                    <a:lnTo>
                      <a:pt x="12" y="0"/>
                    </a:lnTo>
                    <a:lnTo>
                      <a:pt x="14"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4" name="Freeform 191">
                <a:extLst>
                  <a:ext uri="{FF2B5EF4-FFF2-40B4-BE49-F238E27FC236}">
                    <a16:creationId xmlns:a16="http://schemas.microsoft.com/office/drawing/2014/main" id="{FD4D73CB-75BB-DBBA-8714-4BB2507428CE}"/>
                  </a:ext>
                </a:extLst>
              </p:cNvPr>
              <p:cNvSpPr>
                <a:spLocks/>
              </p:cNvSpPr>
              <p:nvPr/>
            </p:nvSpPr>
            <p:spPr bwMode="gray">
              <a:xfrm>
                <a:off x="1567" y="1257"/>
                <a:ext cx="1" cy="0"/>
              </a:xfrm>
              <a:custGeom>
                <a:avLst/>
                <a:gdLst>
                  <a:gd name="T0" fmla="*/ 0 w 1"/>
                  <a:gd name="T1" fmla="*/ 1 w 1"/>
                  <a:gd name="T2" fmla="*/ 1 w 1"/>
                  <a:gd name="T3" fmla="*/ 1 w 1"/>
                  <a:gd name="T4" fmla="*/ 1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lnTo>
                      <a:pt x="1" y="0"/>
                    </a:lnTo>
                    <a:lnTo>
                      <a:pt x="1" y="0"/>
                    </a:lnTo>
                    <a:lnTo>
                      <a:pt x="1" y="0"/>
                    </a:lnTo>
                    <a:lnTo>
                      <a:pt x="1" y="0"/>
                    </a:lnTo>
                    <a:lnTo>
                      <a:pt x="0"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5" name="Freeform 192">
                <a:extLst>
                  <a:ext uri="{FF2B5EF4-FFF2-40B4-BE49-F238E27FC236}">
                    <a16:creationId xmlns:a16="http://schemas.microsoft.com/office/drawing/2014/main" id="{8622F0EC-7BA2-0EE8-2940-B256F04A3702}"/>
                  </a:ext>
                </a:extLst>
              </p:cNvPr>
              <p:cNvSpPr>
                <a:spLocks/>
              </p:cNvSpPr>
              <p:nvPr/>
            </p:nvSpPr>
            <p:spPr bwMode="gray">
              <a:xfrm>
                <a:off x="3302" y="873"/>
                <a:ext cx="116" cy="107"/>
              </a:xfrm>
              <a:custGeom>
                <a:avLst/>
                <a:gdLst>
                  <a:gd name="T0" fmla="*/ 116 w 116"/>
                  <a:gd name="T1" fmla="*/ 7 h 107"/>
                  <a:gd name="T2" fmla="*/ 110 w 116"/>
                  <a:gd name="T3" fmla="*/ 13 h 107"/>
                  <a:gd name="T4" fmla="*/ 100 w 116"/>
                  <a:gd name="T5" fmla="*/ 17 h 107"/>
                  <a:gd name="T6" fmla="*/ 97 w 116"/>
                  <a:gd name="T7" fmla="*/ 24 h 107"/>
                  <a:gd name="T8" fmla="*/ 97 w 116"/>
                  <a:gd name="T9" fmla="*/ 30 h 107"/>
                  <a:gd name="T10" fmla="*/ 99 w 116"/>
                  <a:gd name="T11" fmla="*/ 36 h 107"/>
                  <a:gd name="T12" fmla="*/ 96 w 116"/>
                  <a:gd name="T13" fmla="*/ 44 h 107"/>
                  <a:gd name="T14" fmla="*/ 96 w 116"/>
                  <a:gd name="T15" fmla="*/ 55 h 107"/>
                  <a:gd name="T16" fmla="*/ 91 w 116"/>
                  <a:gd name="T17" fmla="*/ 64 h 107"/>
                  <a:gd name="T18" fmla="*/ 77 w 116"/>
                  <a:gd name="T19" fmla="*/ 71 h 107"/>
                  <a:gd name="T20" fmla="*/ 63 w 116"/>
                  <a:gd name="T21" fmla="*/ 80 h 107"/>
                  <a:gd name="T22" fmla="*/ 49 w 116"/>
                  <a:gd name="T23" fmla="*/ 88 h 107"/>
                  <a:gd name="T24" fmla="*/ 36 w 116"/>
                  <a:gd name="T25" fmla="*/ 96 h 107"/>
                  <a:gd name="T26" fmla="*/ 24 w 116"/>
                  <a:gd name="T27" fmla="*/ 104 h 107"/>
                  <a:gd name="T28" fmla="*/ 11 w 116"/>
                  <a:gd name="T29" fmla="*/ 105 h 107"/>
                  <a:gd name="T30" fmla="*/ 6 w 116"/>
                  <a:gd name="T31" fmla="*/ 102 h 107"/>
                  <a:gd name="T32" fmla="*/ 2 w 116"/>
                  <a:gd name="T33" fmla="*/ 99 h 107"/>
                  <a:gd name="T34" fmla="*/ 3 w 116"/>
                  <a:gd name="T35" fmla="*/ 94 h 107"/>
                  <a:gd name="T36" fmla="*/ 2 w 116"/>
                  <a:gd name="T37" fmla="*/ 91 h 107"/>
                  <a:gd name="T38" fmla="*/ 2 w 116"/>
                  <a:gd name="T39" fmla="*/ 88 h 107"/>
                  <a:gd name="T40" fmla="*/ 2 w 116"/>
                  <a:gd name="T41" fmla="*/ 85 h 107"/>
                  <a:gd name="T42" fmla="*/ 3 w 116"/>
                  <a:gd name="T43" fmla="*/ 83 h 107"/>
                  <a:gd name="T44" fmla="*/ 5 w 116"/>
                  <a:gd name="T45" fmla="*/ 80 h 107"/>
                  <a:gd name="T46" fmla="*/ 3 w 116"/>
                  <a:gd name="T47" fmla="*/ 79 h 107"/>
                  <a:gd name="T48" fmla="*/ 5 w 116"/>
                  <a:gd name="T49" fmla="*/ 77 h 107"/>
                  <a:gd name="T50" fmla="*/ 8 w 116"/>
                  <a:gd name="T51" fmla="*/ 75 h 107"/>
                  <a:gd name="T52" fmla="*/ 11 w 116"/>
                  <a:gd name="T53" fmla="*/ 75 h 107"/>
                  <a:gd name="T54" fmla="*/ 10 w 116"/>
                  <a:gd name="T55" fmla="*/ 74 h 107"/>
                  <a:gd name="T56" fmla="*/ 13 w 116"/>
                  <a:gd name="T57" fmla="*/ 71 h 107"/>
                  <a:gd name="T58" fmla="*/ 16 w 116"/>
                  <a:gd name="T59" fmla="*/ 68 h 107"/>
                  <a:gd name="T60" fmla="*/ 11 w 116"/>
                  <a:gd name="T61" fmla="*/ 61 h 107"/>
                  <a:gd name="T62" fmla="*/ 11 w 116"/>
                  <a:gd name="T63" fmla="*/ 60 h 107"/>
                  <a:gd name="T64" fmla="*/ 10 w 116"/>
                  <a:gd name="T65" fmla="*/ 58 h 107"/>
                  <a:gd name="T66" fmla="*/ 5 w 116"/>
                  <a:gd name="T67" fmla="*/ 58 h 107"/>
                  <a:gd name="T68" fmla="*/ 3 w 116"/>
                  <a:gd name="T69" fmla="*/ 49 h 107"/>
                  <a:gd name="T70" fmla="*/ 3 w 116"/>
                  <a:gd name="T71" fmla="*/ 43 h 107"/>
                  <a:gd name="T72" fmla="*/ 2 w 116"/>
                  <a:gd name="T73" fmla="*/ 33 h 107"/>
                  <a:gd name="T74" fmla="*/ 6 w 116"/>
                  <a:gd name="T75" fmla="*/ 33 h 107"/>
                  <a:gd name="T76" fmla="*/ 10 w 116"/>
                  <a:gd name="T77" fmla="*/ 30 h 107"/>
                  <a:gd name="T78" fmla="*/ 13 w 116"/>
                  <a:gd name="T79" fmla="*/ 25 h 107"/>
                  <a:gd name="T80" fmla="*/ 16 w 116"/>
                  <a:gd name="T81" fmla="*/ 24 h 107"/>
                  <a:gd name="T82" fmla="*/ 14 w 116"/>
                  <a:gd name="T83" fmla="*/ 17 h 107"/>
                  <a:gd name="T84" fmla="*/ 16 w 116"/>
                  <a:gd name="T85" fmla="*/ 11 h 107"/>
                  <a:gd name="T86" fmla="*/ 22 w 116"/>
                  <a:gd name="T87" fmla="*/ 14 h 107"/>
                  <a:gd name="T88" fmla="*/ 28 w 116"/>
                  <a:gd name="T89" fmla="*/ 16 h 107"/>
                  <a:gd name="T90" fmla="*/ 35 w 116"/>
                  <a:gd name="T91" fmla="*/ 13 h 107"/>
                  <a:gd name="T92" fmla="*/ 44 w 116"/>
                  <a:gd name="T93" fmla="*/ 10 h 107"/>
                  <a:gd name="T94" fmla="*/ 47 w 116"/>
                  <a:gd name="T95" fmla="*/ 11 h 107"/>
                  <a:gd name="T96" fmla="*/ 53 w 116"/>
                  <a:gd name="T97" fmla="*/ 14 h 107"/>
                  <a:gd name="T98" fmla="*/ 64 w 116"/>
                  <a:gd name="T99" fmla="*/ 14 h 107"/>
                  <a:gd name="T100" fmla="*/ 75 w 116"/>
                  <a:gd name="T101" fmla="*/ 11 h 107"/>
                  <a:gd name="T102" fmla="*/ 89 w 116"/>
                  <a:gd name="T103" fmla="*/ 5 h 107"/>
                  <a:gd name="T104" fmla="*/ 97 w 116"/>
                  <a:gd name="T105" fmla="*/ 7 h 107"/>
                  <a:gd name="T106" fmla="*/ 105 w 116"/>
                  <a:gd name="T107" fmla="*/ 5 h 107"/>
                  <a:gd name="T108" fmla="*/ 113 w 116"/>
                  <a:gd name="T109" fmla="*/ 2 h 107"/>
                  <a:gd name="T110" fmla="*/ 114 w 116"/>
                  <a:gd name="T111"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107">
                    <a:moveTo>
                      <a:pt x="116" y="5"/>
                    </a:moveTo>
                    <a:lnTo>
                      <a:pt x="116" y="5"/>
                    </a:lnTo>
                    <a:lnTo>
                      <a:pt x="116" y="7"/>
                    </a:lnTo>
                    <a:lnTo>
                      <a:pt x="114" y="8"/>
                    </a:lnTo>
                    <a:lnTo>
                      <a:pt x="111" y="11"/>
                    </a:lnTo>
                    <a:lnTo>
                      <a:pt x="110" y="13"/>
                    </a:lnTo>
                    <a:lnTo>
                      <a:pt x="106" y="16"/>
                    </a:lnTo>
                    <a:lnTo>
                      <a:pt x="103" y="17"/>
                    </a:lnTo>
                    <a:lnTo>
                      <a:pt x="100" y="17"/>
                    </a:lnTo>
                    <a:lnTo>
                      <a:pt x="99" y="19"/>
                    </a:lnTo>
                    <a:lnTo>
                      <a:pt x="97" y="21"/>
                    </a:lnTo>
                    <a:lnTo>
                      <a:pt x="97" y="24"/>
                    </a:lnTo>
                    <a:lnTo>
                      <a:pt x="97" y="25"/>
                    </a:lnTo>
                    <a:lnTo>
                      <a:pt x="97" y="28"/>
                    </a:lnTo>
                    <a:lnTo>
                      <a:pt x="97" y="30"/>
                    </a:lnTo>
                    <a:lnTo>
                      <a:pt x="99" y="33"/>
                    </a:lnTo>
                    <a:lnTo>
                      <a:pt x="99" y="35"/>
                    </a:lnTo>
                    <a:lnTo>
                      <a:pt x="99" y="36"/>
                    </a:lnTo>
                    <a:lnTo>
                      <a:pt x="97" y="39"/>
                    </a:lnTo>
                    <a:lnTo>
                      <a:pt x="97" y="41"/>
                    </a:lnTo>
                    <a:lnTo>
                      <a:pt x="96" y="44"/>
                    </a:lnTo>
                    <a:lnTo>
                      <a:pt x="96" y="50"/>
                    </a:lnTo>
                    <a:lnTo>
                      <a:pt x="96" y="55"/>
                    </a:lnTo>
                    <a:lnTo>
                      <a:pt x="96" y="55"/>
                    </a:lnTo>
                    <a:lnTo>
                      <a:pt x="94" y="60"/>
                    </a:lnTo>
                    <a:lnTo>
                      <a:pt x="92" y="63"/>
                    </a:lnTo>
                    <a:lnTo>
                      <a:pt x="91" y="64"/>
                    </a:lnTo>
                    <a:lnTo>
                      <a:pt x="88" y="64"/>
                    </a:lnTo>
                    <a:lnTo>
                      <a:pt x="83" y="68"/>
                    </a:lnTo>
                    <a:lnTo>
                      <a:pt x="77" y="71"/>
                    </a:lnTo>
                    <a:lnTo>
                      <a:pt x="72" y="74"/>
                    </a:lnTo>
                    <a:lnTo>
                      <a:pt x="67" y="77"/>
                    </a:lnTo>
                    <a:lnTo>
                      <a:pt x="63" y="80"/>
                    </a:lnTo>
                    <a:lnTo>
                      <a:pt x="58" y="82"/>
                    </a:lnTo>
                    <a:lnTo>
                      <a:pt x="53" y="85"/>
                    </a:lnTo>
                    <a:lnTo>
                      <a:pt x="49" y="88"/>
                    </a:lnTo>
                    <a:lnTo>
                      <a:pt x="44" y="91"/>
                    </a:lnTo>
                    <a:lnTo>
                      <a:pt x="41" y="93"/>
                    </a:lnTo>
                    <a:lnTo>
                      <a:pt x="36" y="96"/>
                    </a:lnTo>
                    <a:lnTo>
                      <a:pt x="33" y="99"/>
                    </a:lnTo>
                    <a:lnTo>
                      <a:pt x="28" y="102"/>
                    </a:lnTo>
                    <a:lnTo>
                      <a:pt x="24" y="104"/>
                    </a:lnTo>
                    <a:lnTo>
                      <a:pt x="19" y="107"/>
                    </a:lnTo>
                    <a:lnTo>
                      <a:pt x="13" y="107"/>
                    </a:lnTo>
                    <a:lnTo>
                      <a:pt x="11" y="105"/>
                    </a:lnTo>
                    <a:lnTo>
                      <a:pt x="10" y="104"/>
                    </a:lnTo>
                    <a:lnTo>
                      <a:pt x="8" y="104"/>
                    </a:lnTo>
                    <a:lnTo>
                      <a:pt x="6" y="102"/>
                    </a:lnTo>
                    <a:lnTo>
                      <a:pt x="3" y="100"/>
                    </a:lnTo>
                    <a:lnTo>
                      <a:pt x="3" y="99"/>
                    </a:lnTo>
                    <a:lnTo>
                      <a:pt x="2" y="99"/>
                    </a:lnTo>
                    <a:lnTo>
                      <a:pt x="2" y="97"/>
                    </a:lnTo>
                    <a:lnTo>
                      <a:pt x="2" y="96"/>
                    </a:lnTo>
                    <a:lnTo>
                      <a:pt x="3" y="94"/>
                    </a:lnTo>
                    <a:lnTo>
                      <a:pt x="3" y="93"/>
                    </a:lnTo>
                    <a:lnTo>
                      <a:pt x="2" y="93"/>
                    </a:lnTo>
                    <a:lnTo>
                      <a:pt x="2" y="91"/>
                    </a:lnTo>
                    <a:lnTo>
                      <a:pt x="3" y="89"/>
                    </a:lnTo>
                    <a:lnTo>
                      <a:pt x="3" y="89"/>
                    </a:lnTo>
                    <a:lnTo>
                      <a:pt x="2" y="88"/>
                    </a:lnTo>
                    <a:lnTo>
                      <a:pt x="2" y="86"/>
                    </a:lnTo>
                    <a:lnTo>
                      <a:pt x="2" y="86"/>
                    </a:lnTo>
                    <a:lnTo>
                      <a:pt x="2" y="85"/>
                    </a:lnTo>
                    <a:lnTo>
                      <a:pt x="2" y="83"/>
                    </a:lnTo>
                    <a:lnTo>
                      <a:pt x="3" y="83"/>
                    </a:lnTo>
                    <a:lnTo>
                      <a:pt x="3" y="83"/>
                    </a:lnTo>
                    <a:lnTo>
                      <a:pt x="5" y="82"/>
                    </a:lnTo>
                    <a:lnTo>
                      <a:pt x="5" y="82"/>
                    </a:lnTo>
                    <a:lnTo>
                      <a:pt x="5" y="80"/>
                    </a:lnTo>
                    <a:lnTo>
                      <a:pt x="5" y="80"/>
                    </a:lnTo>
                    <a:lnTo>
                      <a:pt x="5" y="80"/>
                    </a:lnTo>
                    <a:lnTo>
                      <a:pt x="3" y="79"/>
                    </a:lnTo>
                    <a:lnTo>
                      <a:pt x="5" y="77"/>
                    </a:lnTo>
                    <a:lnTo>
                      <a:pt x="5" y="77"/>
                    </a:lnTo>
                    <a:lnTo>
                      <a:pt x="5" y="77"/>
                    </a:lnTo>
                    <a:lnTo>
                      <a:pt x="6" y="75"/>
                    </a:lnTo>
                    <a:lnTo>
                      <a:pt x="8" y="75"/>
                    </a:lnTo>
                    <a:lnTo>
                      <a:pt x="8" y="75"/>
                    </a:lnTo>
                    <a:lnTo>
                      <a:pt x="10" y="75"/>
                    </a:lnTo>
                    <a:lnTo>
                      <a:pt x="11" y="75"/>
                    </a:lnTo>
                    <a:lnTo>
                      <a:pt x="11" y="75"/>
                    </a:lnTo>
                    <a:lnTo>
                      <a:pt x="11" y="75"/>
                    </a:lnTo>
                    <a:lnTo>
                      <a:pt x="10" y="74"/>
                    </a:lnTo>
                    <a:lnTo>
                      <a:pt x="10" y="74"/>
                    </a:lnTo>
                    <a:lnTo>
                      <a:pt x="10" y="72"/>
                    </a:lnTo>
                    <a:lnTo>
                      <a:pt x="11" y="72"/>
                    </a:lnTo>
                    <a:lnTo>
                      <a:pt x="13" y="71"/>
                    </a:lnTo>
                    <a:lnTo>
                      <a:pt x="13" y="71"/>
                    </a:lnTo>
                    <a:lnTo>
                      <a:pt x="14" y="69"/>
                    </a:lnTo>
                    <a:lnTo>
                      <a:pt x="16" y="68"/>
                    </a:lnTo>
                    <a:lnTo>
                      <a:pt x="14" y="63"/>
                    </a:lnTo>
                    <a:lnTo>
                      <a:pt x="13" y="63"/>
                    </a:lnTo>
                    <a:lnTo>
                      <a:pt x="11" y="61"/>
                    </a:lnTo>
                    <a:lnTo>
                      <a:pt x="11" y="61"/>
                    </a:lnTo>
                    <a:lnTo>
                      <a:pt x="11" y="61"/>
                    </a:lnTo>
                    <a:lnTo>
                      <a:pt x="11" y="60"/>
                    </a:lnTo>
                    <a:lnTo>
                      <a:pt x="13" y="60"/>
                    </a:lnTo>
                    <a:lnTo>
                      <a:pt x="11" y="58"/>
                    </a:lnTo>
                    <a:lnTo>
                      <a:pt x="10" y="58"/>
                    </a:lnTo>
                    <a:lnTo>
                      <a:pt x="10" y="58"/>
                    </a:lnTo>
                    <a:lnTo>
                      <a:pt x="8" y="58"/>
                    </a:lnTo>
                    <a:lnTo>
                      <a:pt x="5" y="58"/>
                    </a:lnTo>
                    <a:lnTo>
                      <a:pt x="3" y="53"/>
                    </a:lnTo>
                    <a:lnTo>
                      <a:pt x="3" y="52"/>
                    </a:lnTo>
                    <a:lnTo>
                      <a:pt x="3" y="49"/>
                    </a:lnTo>
                    <a:lnTo>
                      <a:pt x="3" y="46"/>
                    </a:lnTo>
                    <a:lnTo>
                      <a:pt x="3" y="44"/>
                    </a:lnTo>
                    <a:lnTo>
                      <a:pt x="3" y="43"/>
                    </a:lnTo>
                    <a:lnTo>
                      <a:pt x="3" y="41"/>
                    </a:lnTo>
                    <a:lnTo>
                      <a:pt x="0" y="38"/>
                    </a:lnTo>
                    <a:lnTo>
                      <a:pt x="2" y="33"/>
                    </a:lnTo>
                    <a:lnTo>
                      <a:pt x="3" y="32"/>
                    </a:lnTo>
                    <a:lnTo>
                      <a:pt x="5" y="32"/>
                    </a:lnTo>
                    <a:lnTo>
                      <a:pt x="6" y="33"/>
                    </a:lnTo>
                    <a:lnTo>
                      <a:pt x="8" y="33"/>
                    </a:lnTo>
                    <a:lnTo>
                      <a:pt x="8" y="30"/>
                    </a:lnTo>
                    <a:lnTo>
                      <a:pt x="10" y="30"/>
                    </a:lnTo>
                    <a:lnTo>
                      <a:pt x="11" y="28"/>
                    </a:lnTo>
                    <a:lnTo>
                      <a:pt x="11" y="25"/>
                    </a:lnTo>
                    <a:lnTo>
                      <a:pt x="13" y="25"/>
                    </a:lnTo>
                    <a:lnTo>
                      <a:pt x="13" y="24"/>
                    </a:lnTo>
                    <a:lnTo>
                      <a:pt x="14" y="24"/>
                    </a:lnTo>
                    <a:lnTo>
                      <a:pt x="16" y="24"/>
                    </a:lnTo>
                    <a:lnTo>
                      <a:pt x="16" y="24"/>
                    </a:lnTo>
                    <a:lnTo>
                      <a:pt x="14" y="19"/>
                    </a:lnTo>
                    <a:lnTo>
                      <a:pt x="14" y="17"/>
                    </a:lnTo>
                    <a:lnTo>
                      <a:pt x="16" y="14"/>
                    </a:lnTo>
                    <a:lnTo>
                      <a:pt x="16" y="13"/>
                    </a:lnTo>
                    <a:lnTo>
                      <a:pt x="16" y="11"/>
                    </a:lnTo>
                    <a:lnTo>
                      <a:pt x="19" y="13"/>
                    </a:lnTo>
                    <a:lnTo>
                      <a:pt x="22" y="13"/>
                    </a:lnTo>
                    <a:lnTo>
                      <a:pt x="22" y="14"/>
                    </a:lnTo>
                    <a:lnTo>
                      <a:pt x="24" y="14"/>
                    </a:lnTo>
                    <a:lnTo>
                      <a:pt x="25" y="14"/>
                    </a:lnTo>
                    <a:lnTo>
                      <a:pt x="28" y="16"/>
                    </a:lnTo>
                    <a:lnTo>
                      <a:pt x="30" y="16"/>
                    </a:lnTo>
                    <a:lnTo>
                      <a:pt x="31" y="14"/>
                    </a:lnTo>
                    <a:lnTo>
                      <a:pt x="35" y="13"/>
                    </a:lnTo>
                    <a:lnTo>
                      <a:pt x="36" y="13"/>
                    </a:lnTo>
                    <a:lnTo>
                      <a:pt x="38" y="11"/>
                    </a:lnTo>
                    <a:lnTo>
                      <a:pt x="44" y="10"/>
                    </a:lnTo>
                    <a:lnTo>
                      <a:pt x="45" y="10"/>
                    </a:lnTo>
                    <a:lnTo>
                      <a:pt x="47" y="10"/>
                    </a:lnTo>
                    <a:lnTo>
                      <a:pt x="47" y="11"/>
                    </a:lnTo>
                    <a:lnTo>
                      <a:pt x="50" y="13"/>
                    </a:lnTo>
                    <a:lnTo>
                      <a:pt x="52" y="14"/>
                    </a:lnTo>
                    <a:lnTo>
                      <a:pt x="53" y="14"/>
                    </a:lnTo>
                    <a:lnTo>
                      <a:pt x="56" y="14"/>
                    </a:lnTo>
                    <a:lnTo>
                      <a:pt x="60" y="14"/>
                    </a:lnTo>
                    <a:lnTo>
                      <a:pt x="64" y="14"/>
                    </a:lnTo>
                    <a:lnTo>
                      <a:pt x="66" y="14"/>
                    </a:lnTo>
                    <a:lnTo>
                      <a:pt x="69" y="13"/>
                    </a:lnTo>
                    <a:lnTo>
                      <a:pt x="75" y="11"/>
                    </a:lnTo>
                    <a:lnTo>
                      <a:pt x="83" y="7"/>
                    </a:lnTo>
                    <a:lnTo>
                      <a:pt x="88" y="5"/>
                    </a:lnTo>
                    <a:lnTo>
                      <a:pt x="89" y="5"/>
                    </a:lnTo>
                    <a:lnTo>
                      <a:pt x="92" y="5"/>
                    </a:lnTo>
                    <a:lnTo>
                      <a:pt x="94" y="5"/>
                    </a:lnTo>
                    <a:lnTo>
                      <a:pt x="97" y="7"/>
                    </a:lnTo>
                    <a:lnTo>
                      <a:pt x="99" y="7"/>
                    </a:lnTo>
                    <a:lnTo>
                      <a:pt x="102" y="5"/>
                    </a:lnTo>
                    <a:lnTo>
                      <a:pt x="105" y="5"/>
                    </a:lnTo>
                    <a:lnTo>
                      <a:pt x="108" y="3"/>
                    </a:lnTo>
                    <a:lnTo>
                      <a:pt x="111" y="3"/>
                    </a:lnTo>
                    <a:lnTo>
                      <a:pt x="113" y="2"/>
                    </a:lnTo>
                    <a:lnTo>
                      <a:pt x="114" y="0"/>
                    </a:lnTo>
                    <a:lnTo>
                      <a:pt x="114" y="2"/>
                    </a:lnTo>
                    <a:lnTo>
                      <a:pt x="114" y="2"/>
                    </a:lnTo>
                    <a:lnTo>
                      <a:pt x="116" y="2"/>
                    </a:lnTo>
                    <a:lnTo>
                      <a:pt x="116"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6" name="Freeform 193">
                <a:extLst>
                  <a:ext uri="{FF2B5EF4-FFF2-40B4-BE49-F238E27FC236}">
                    <a16:creationId xmlns:a16="http://schemas.microsoft.com/office/drawing/2014/main" id="{E4CC2997-ABAD-C8E3-F539-A1394AA98EB7}"/>
                  </a:ext>
                </a:extLst>
              </p:cNvPr>
              <p:cNvSpPr>
                <a:spLocks/>
              </p:cNvSpPr>
              <p:nvPr/>
            </p:nvSpPr>
            <p:spPr bwMode="gray">
              <a:xfrm>
                <a:off x="3215" y="2042"/>
                <a:ext cx="23" cy="31"/>
              </a:xfrm>
              <a:custGeom>
                <a:avLst/>
                <a:gdLst>
                  <a:gd name="T0" fmla="*/ 20 w 23"/>
                  <a:gd name="T1" fmla="*/ 5 h 31"/>
                  <a:gd name="T2" fmla="*/ 21 w 23"/>
                  <a:gd name="T3" fmla="*/ 5 h 31"/>
                  <a:gd name="T4" fmla="*/ 23 w 23"/>
                  <a:gd name="T5" fmla="*/ 5 h 31"/>
                  <a:gd name="T6" fmla="*/ 23 w 23"/>
                  <a:gd name="T7" fmla="*/ 8 h 31"/>
                  <a:gd name="T8" fmla="*/ 23 w 23"/>
                  <a:gd name="T9" fmla="*/ 10 h 31"/>
                  <a:gd name="T10" fmla="*/ 21 w 23"/>
                  <a:gd name="T11" fmla="*/ 11 h 31"/>
                  <a:gd name="T12" fmla="*/ 23 w 23"/>
                  <a:gd name="T13" fmla="*/ 13 h 31"/>
                  <a:gd name="T14" fmla="*/ 23 w 23"/>
                  <a:gd name="T15" fmla="*/ 14 h 31"/>
                  <a:gd name="T16" fmla="*/ 23 w 23"/>
                  <a:gd name="T17" fmla="*/ 16 h 31"/>
                  <a:gd name="T18" fmla="*/ 23 w 23"/>
                  <a:gd name="T19" fmla="*/ 22 h 31"/>
                  <a:gd name="T20" fmla="*/ 23 w 23"/>
                  <a:gd name="T21" fmla="*/ 22 h 31"/>
                  <a:gd name="T22" fmla="*/ 21 w 23"/>
                  <a:gd name="T23" fmla="*/ 21 h 31"/>
                  <a:gd name="T24" fmla="*/ 21 w 23"/>
                  <a:gd name="T25" fmla="*/ 21 h 31"/>
                  <a:gd name="T26" fmla="*/ 21 w 23"/>
                  <a:gd name="T27" fmla="*/ 24 h 31"/>
                  <a:gd name="T28" fmla="*/ 20 w 23"/>
                  <a:gd name="T29" fmla="*/ 28 h 31"/>
                  <a:gd name="T30" fmla="*/ 21 w 23"/>
                  <a:gd name="T31" fmla="*/ 31 h 31"/>
                  <a:gd name="T32" fmla="*/ 17 w 23"/>
                  <a:gd name="T33" fmla="*/ 31 h 31"/>
                  <a:gd name="T34" fmla="*/ 12 w 23"/>
                  <a:gd name="T35" fmla="*/ 30 h 31"/>
                  <a:gd name="T36" fmla="*/ 9 w 23"/>
                  <a:gd name="T37" fmla="*/ 30 h 31"/>
                  <a:gd name="T38" fmla="*/ 6 w 23"/>
                  <a:gd name="T39" fmla="*/ 27 h 31"/>
                  <a:gd name="T40" fmla="*/ 3 w 23"/>
                  <a:gd name="T41" fmla="*/ 24 h 31"/>
                  <a:gd name="T42" fmla="*/ 1 w 23"/>
                  <a:gd name="T43" fmla="*/ 21 h 31"/>
                  <a:gd name="T44" fmla="*/ 1 w 23"/>
                  <a:gd name="T45" fmla="*/ 21 h 31"/>
                  <a:gd name="T46" fmla="*/ 0 w 23"/>
                  <a:gd name="T47" fmla="*/ 21 h 31"/>
                  <a:gd name="T48" fmla="*/ 0 w 23"/>
                  <a:gd name="T49" fmla="*/ 17 h 31"/>
                  <a:gd name="T50" fmla="*/ 0 w 23"/>
                  <a:gd name="T51" fmla="*/ 14 h 31"/>
                  <a:gd name="T52" fmla="*/ 1 w 23"/>
                  <a:gd name="T53" fmla="*/ 13 h 31"/>
                  <a:gd name="T54" fmla="*/ 3 w 23"/>
                  <a:gd name="T55" fmla="*/ 10 h 31"/>
                  <a:gd name="T56" fmla="*/ 4 w 23"/>
                  <a:gd name="T57" fmla="*/ 6 h 31"/>
                  <a:gd name="T58" fmla="*/ 6 w 23"/>
                  <a:gd name="T59" fmla="*/ 5 h 31"/>
                  <a:gd name="T60" fmla="*/ 7 w 23"/>
                  <a:gd name="T61" fmla="*/ 2 h 31"/>
                  <a:gd name="T62" fmla="*/ 11 w 23"/>
                  <a:gd name="T63" fmla="*/ 0 h 31"/>
                  <a:gd name="T64" fmla="*/ 11 w 23"/>
                  <a:gd name="T65" fmla="*/ 0 h 31"/>
                  <a:gd name="T66" fmla="*/ 11 w 23"/>
                  <a:gd name="T67" fmla="*/ 0 h 31"/>
                  <a:gd name="T68" fmla="*/ 15 w 23"/>
                  <a:gd name="T69" fmla="*/ 3 h 31"/>
                  <a:gd name="T70" fmla="*/ 20 w 23"/>
                  <a:gd name="T71" fmla="*/ 5 h 31"/>
                  <a:gd name="T72" fmla="*/ 20 w 23"/>
                  <a:gd name="T73" fmla="*/ 5 h 31"/>
                  <a:gd name="T74" fmla="*/ 20 w 23"/>
                  <a:gd name="T7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31">
                    <a:moveTo>
                      <a:pt x="20" y="5"/>
                    </a:moveTo>
                    <a:lnTo>
                      <a:pt x="21" y="5"/>
                    </a:lnTo>
                    <a:lnTo>
                      <a:pt x="23" y="5"/>
                    </a:lnTo>
                    <a:lnTo>
                      <a:pt x="23" y="8"/>
                    </a:lnTo>
                    <a:lnTo>
                      <a:pt x="23" y="10"/>
                    </a:lnTo>
                    <a:lnTo>
                      <a:pt x="21" y="11"/>
                    </a:lnTo>
                    <a:lnTo>
                      <a:pt x="23" y="13"/>
                    </a:lnTo>
                    <a:lnTo>
                      <a:pt x="23" y="14"/>
                    </a:lnTo>
                    <a:lnTo>
                      <a:pt x="23" y="16"/>
                    </a:lnTo>
                    <a:lnTo>
                      <a:pt x="23" y="22"/>
                    </a:lnTo>
                    <a:lnTo>
                      <a:pt x="23" y="22"/>
                    </a:lnTo>
                    <a:lnTo>
                      <a:pt x="21" y="21"/>
                    </a:lnTo>
                    <a:lnTo>
                      <a:pt x="21" y="21"/>
                    </a:lnTo>
                    <a:lnTo>
                      <a:pt x="21" y="24"/>
                    </a:lnTo>
                    <a:lnTo>
                      <a:pt x="20" y="28"/>
                    </a:lnTo>
                    <a:lnTo>
                      <a:pt x="21" y="31"/>
                    </a:lnTo>
                    <a:lnTo>
                      <a:pt x="17" y="31"/>
                    </a:lnTo>
                    <a:lnTo>
                      <a:pt x="12" y="30"/>
                    </a:lnTo>
                    <a:lnTo>
                      <a:pt x="9" y="30"/>
                    </a:lnTo>
                    <a:lnTo>
                      <a:pt x="6" y="27"/>
                    </a:lnTo>
                    <a:lnTo>
                      <a:pt x="3" y="24"/>
                    </a:lnTo>
                    <a:lnTo>
                      <a:pt x="1" y="21"/>
                    </a:lnTo>
                    <a:lnTo>
                      <a:pt x="1" y="21"/>
                    </a:lnTo>
                    <a:lnTo>
                      <a:pt x="0" y="21"/>
                    </a:lnTo>
                    <a:lnTo>
                      <a:pt x="0" y="17"/>
                    </a:lnTo>
                    <a:lnTo>
                      <a:pt x="0" y="14"/>
                    </a:lnTo>
                    <a:lnTo>
                      <a:pt x="1" y="13"/>
                    </a:lnTo>
                    <a:lnTo>
                      <a:pt x="3" y="10"/>
                    </a:lnTo>
                    <a:lnTo>
                      <a:pt x="4" y="6"/>
                    </a:lnTo>
                    <a:lnTo>
                      <a:pt x="6" y="5"/>
                    </a:lnTo>
                    <a:lnTo>
                      <a:pt x="7" y="2"/>
                    </a:lnTo>
                    <a:lnTo>
                      <a:pt x="11" y="0"/>
                    </a:lnTo>
                    <a:lnTo>
                      <a:pt x="11" y="0"/>
                    </a:lnTo>
                    <a:lnTo>
                      <a:pt x="11" y="0"/>
                    </a:lnTo>
                    <a:lnTo>
                      <a:pt x="15" y="3"/>
                    </a:lnTo>
                    <a:lnTo>
                      <a:pt x="20" y="5"/>
                    </a:lnTo>
                    <a:lnTo>
                      <a:pt x="20" y="5"/>
                    </a:lnTo>
                    <a:lnTo>
                      <a:pt x="20" y="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7" name="Freeform 194">
                <a:extLst>
                  <a:ext uri="{FF2B5EF4-FFF2-40B4-BE49-F238E27FC236}">
                    <a16:creationId xmlns:a16="http://schemas.microsoft.com/office/drawing/2014/main" id="{3458A103-483F-7445-434A-60287EAAA821}"/>
                  </a:ext>
                </a:extLst>
              </p:cNvPr>
              <p:cNvSpPr>
                <a:spLocks noEditPoints="1"/>
              </p:cNvSpPr>
              <p:nvPr/>
            </p:nvSpPr>
            <p:spPr bwMode="gray">
              <a:xfrm>
                <a:off x="1406" y="1185"/>
                <a:ext cx="12" cy="3"/>
              </a:xfrm>
              <a:custGeom>
                <a:avLst/>
                <a:gdLst>
                  <a:gd name="T0" fmla="*/ 3 w 12"/>
                  <a:gd name="T1" fmla="*/ 1 h 3"/>
                  <a:gd name="T2" fmla="*/ 1 w 12"/>
                  <a:gd name="T3" fmla="*/ 1 h 3"/>
                  <a:gd name="T4" fmla="*/ 0 w 12"/>
                  <a:gd name="T5" fmla="*/ 1 h 3"/>
                  <a:gd name="T6" fmla="*/ 0 w 12"/>
                  <a:gd name="T7" fmla="*/ 1 h 3"/>
                  <a:gd name="T8" fmla="*/ 0 w 12"/>
                  <a:gd name="T9" fmla="*/ 3 h 3"/>
                  <a:gd name="T10" fmla="*/ 0 w 12"/>
                  <a:gd name="T11" fmla="*/ 3 h 3"/>
                  <a:gd name="T12" fmla="*/ 1 w 12"/>
                  <a:gd name="T13" fmla="*/ 3 h 3"/>
                  <a:gd name="T14" fmla="*/ 1 w 12"/>
                  <a:gd name="T15" fmla="*/ 3 h 3"/>
                  <a:gd name="T16" fmla="*/ 3 w 12"/>
                  <a:gd name="T17" fmla="*/ 3 h 3"/>
                  <a:gd name="T18" fmla="*/ 3 w 12"/>
                  <a:gd name="T19" fmla="*/ 1 h 3"/>
                  <a:gd name="T20" fmla="*/ 11 w 12"/>
                  <a:gd name="T21" fmla="*/ 1 h 3"/>
                  <a:gd name="T22" fmla="*/ 9 w 12"/>
                  <a:gd name="T23" fmla="*/ 1 h 3"/>
                  <a:gd name="T24" fmla="*/ 7 w 12"/>
                  <a:gd name="T25" fmla="*/ 1 h 3"/>
                  <a:gd name="T26" fmla="*/ 7 w 12"/>
                  <a:gd name="T27" fmla="*/ 3 h 3"/>
                  <a:gd name="T28" fmla="*/ 11 w 12"/>
                  <a:gd name="T29" fmla="*/ 3 h 3"/>
                  <a:gd name="T30" fmla="*/ 11 w 12"/>
                  <a:gd name="T31" fmla="*/ 3 h 3"/>
                  <a:gd name="T32" fmla="*/ 11 w 12"/>
                  <a:gd name="T33" fmla="*/ 3 h 3"/>
                  <a:gd name="T34" fmla="*/ 12 w 12"/>
                  <a:gd name="T35" fmla="*/ 3 h 3"/>
                  <a:gd name="T36" fmla="*/ 11 w 12"/>
                  <a:gd name="T37" fmla="*/ 1 h 3"/>
                  <a:gd name="T38" fmla="*/ 7 w 12"/>
                  <a:gd name="T39" fmla="*/ 1 h 3"/>
                  <a:gd name="T40" fmla="*/ 6 w 12"/>
                  <a:gd name="T41" fmla="*/ 0 h 3"/>
                  <a:gd name="T42" fmla="*/ 4 w 12"/>
                  <a:gd name="T43" fmla="*/ 0 h 3"/>
                  <a:gd name="T44" fmla="*/ 4 w 12"/>
                  <a:gd name="T45" fmla="*/ 0 h 3"/>
                  <a:gd name="T46" fmla="*/ 6 w 12"/>
                  <a:gd name="T47" fmla="*/ 0 h 3"/>
                  <a:gd name="T48" fmla="*/ 6 w 12"/>
                  <a:gd name="T49" fmla="*/ 0 h 3"/>
                  <a:gd name="T50" fmla="*/ 6 w 12"/>
                  <a:gd name="T51" fmla="*/ 1 h 3"/>
                  <a:gd name="T52" fmla="*/ 7 w 12"/>
                  <a:gd name="T53" fmla="*/ 1 h 3"/>
                  <a:gd name="T54" fmla="*/ 7 w 12"/>
                  <a:gd name="T55" fmla="*/ 1 h 3"/>
                  <a:gd name="T56" fmla="*/ 7 w 12"/>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3">
                    <a:moveTo>
                      <a:pt x="3" y="1"/>
                    </a:moveTo>
                    <a:lnTo>
                      <a:pt x="1" y="1"/>
                    </a:lnTo>
                    <a:lnTo>
                      <a:pt x="0" y="1"/>
                    </a:lnTo>
                    <a:lnTo>
                      <a:pt x="0" y="1"/>
                    </a:lnTo>
                    <a:lnTo>
                      <a:pt x="0" y="3"/>
                    </a:lnTo>
                    <a:lnTo>
                      <a:pt x="0" y="3"/>
                    </a:lnTo>
                    <a:lnTo>
                      <a:pt x="1" y="3"/>
                    </a:lnTo>
                    <a:lnTo>
                      <a:pt x="1" y="3"/>
                    </a:lnTo>
                    <a:lnTo>
                      <a:pt x="3" y="3"/>
                    </a:lnTo>
                    <a:lnTo>
                      <a:pt x="3" y="1"/>
                    </a:lnTo>
                    <a:close/>
                    <a:moveTo>
                      <a:pt x="11" y="1"/>
                    </a:moveTo>
                    <a:lnTo>
                      <a:pt x="9" y="1"/>
                    </a:lnTo>
                    <a:lnTo>
                      <a:pt x="7" y="1"/>
                    </a:lnTo>
                    <a:lnTo>
                      <a:pt x="7" y="3"/>
                    </a:lnTo>
                    <a:lnTo>
                      <a:pt x="11" y="3"/>
                    </a:lnTo>
                    <a:lnTo>
                      <a:pt x="11" y="3"/>
                    </a:lnTo>
                    <a:lnTo>
                      <a:pt x="11" y="3"/>
                    </a:lnTo>
                    <a:lnTo>
                      <a:pt x="12" y="3"/>
                    </a:lnTo>
                    <a:lnTo>
                      <a:pt x="11" y="1"/>
                    </a:lnTo>
                    <a:close/>
                    <a:moveTo>
                      <a:pt x="7" y="1"/>
                    </a:moveTo>
                    <a:lnTo>
                      <a:pt x="6" y="0"/>
                    </a:lnTo>
                    <a:lnTo>
                      <a:pt x="4" y="0"/>
                    </a:lnTo>
                    <a:lnTo>
                      <a:pt x="4" y="0"/>
                    </a:lnTo>
                    <a:lnTo>
                      <a:pt x="6" y="0"/>
                    </a:lnTo>
                    <a:lnTo>
                      <a:pt x="6" y="0"/>
                    </a:lnTo>
                    <a:lnTo>
                      <a:pt x="6" y="1"/>
                    </a:lnTo>
                    <a:lnTo>
                      <a:pt x="7" y="1"/>
                    </a:lnTo>
                    <a:lnTo>
                      <a:pt x="7" y="1"/>
                    </a:lnTo>
                    <a:lnTo>
                      <a:pt x="7"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8" name="Freeform 195">
                <a:extLst>
                  <a:ext uri="{FF2B5EF4-FFF2-40B4-BE49-F238E27FC236}">
                    <a16:creationId xmlns:a16="http://schemas.microsoft.com/office/drawing/2014/main" id="{01CD1A39-25F0-AC02-B6F5-0359D7CA4D14}"/>
                  </a:ext>
                </a:extLst>
              </p:cNvPr>
              <p:cNvSpPr>
                <a:spLocks/>
              </p:cNvSpPr>
              <p:nvPr/>
            </p:nvSpPr>
            <p:spPr bwMode="gray">
              <a:xfrm>
                <a:off x="2911" y="1157"/>
                <a:ext cx="185" cy="289"/>
              </a:xfrm>
              <a:custGeom>
                <a:avLst/>
                <a:gdLst>
                  <a:gd name="T0" fmla="*/ 185 w 185"/>
                  <a:gd name="T1" fmla="*/ 106 h 289"/>
                  <a:gd name="T2" fmla="*/ 185 w 185"/>
                  <a:gd name="T3" fmla="*/ 140 h 289"/>
                  <a:gd name="T4" fmla="*/ 179 w 185"/>
                  <a:gd name="T5" fmla="*/ 142 h 289"/>
                  <a:gd name="T6" fmla="*/ 166 w 185"/>
                  <a:gd name="T7" fmla="*/ 145 h 289"/>
                  <a:gd name="T8" fmla="*/ 164 w 185"/>
                  <a:gd name="T9" fmla="*/ 154 h 289"/>
                  <a:gd name="T10" fmla="*/ 161 w 185"/>
                  <a:gd name="T11" fmla="*/ 161 h 289"/>
                  <a:gd name="T12" fmla="*/ 157 w 185"/>
                  <a:gd name="T13" fmla="*/ 164 h 289"/>
                  <a:gd name="T14" fmla="*/ 158 w 185"/>
                  <a:gd name="T15" fmla="*/ 169 h 289"/>
                  <a:gd name="T16" fmla="*/ 157 w 185"/>
                  <a:gd name="T17" fmla="*/ 173 h 289"/>
                  <a:gd name="T18" fmla="*/ 152 w 185"/>
                  <a:gd name="T19" fmla="*/ 176 h 289"/>
                  <a:gd name="T20" fmla="*/ 154 w 185"/>
                  <a:gd name="T21" fmla="*/ 184 h 289"/>
                  <a:gd name="T22" fmla="*/ 149 w 185"/>
                  <a:gd name="T23" fmla="*/ 190 h 289"/>
                  <a:gd name="T24" fmla="*/ 149 w 185"/>
                  <a:gd name="T25" fmla="*/ 197 h 289"/>
                  <a:gd name="T26" fmla="*/ 157 w 185"/>
                  <a:gd name="T27" fmla="*/ 200 h 289"/>
                  <a:gd name="T28" fmla="*/ 158 w 185"/>
                  <a:gd name="T29" fmla="*/ 208 h 289"/>
                  <a:gd name="T30" fmla="*/ 161 w 185"/>
                  <a:gd name="T31" fmla="*/ 217 h 289"/>
                  <a:gd name="T32" fmla="*/ 166 w 185"/>
                  <a:gd name="T33" fmla="*/ 220 h 289"/>
                  <a:gd name="T34" fmla="*/ 164 w 185"/>
                  <a:gd name="T35" fmla="*/ 228 h 289"/>
                  <a:gd name="T36" fmla="*/ 154 w 185"/>
                  <a:gd name="T37" fmla="*/ 228 h 289"/>
                  <a:gd name="T38" fmla="*/ 150 w 185"/>
                  <a:gd name="T39" fmla="*/ 231 h 289"/>
                  <a:gd name="T40" fmla="*/ 144 w 185"/>
                  <a:gd name="T41" fmla="*/ 234 h 289"/>
                  <a:gd name="T42" fmla="*/ 143 w 185"/>
                  <a:gd name="T43" fmla="*/ 240 h 289"/>
                  <a:gd name="T44" fmla="*/ 138 w 185"/>
                  <a:gd name="T45" fmla="*/ 245 h 289"/>
                  <a:gd name="T46" fmla="*/ 127 w 185"/>
                  <a:gd name="T47" fmla="*/ 256 h 289"/>
                  <a:gd name="T48" fmla="*/ 116 w 185"/>
                  <a:gd name="T49" fmla="*/ 259 h 289"/>
                  <a:gd name="T50" fmla="*/ 105 w 185"/>
                  <a:gd name="T51" fmla="*/ 262 h 289"/>
                  <a:gd name="T52" fmla="*/ 96 w 185"/>
                  <a:gd name="T53" fmla="*/ 264 h 289"/>
                  <a:gd name="T54" fmla="*/ 99 w 185"/>
                  <a:gd name="T55" fmla="*/ 269 h 289"/>
                  <a:gd name="T56" fmla="*/ 93 w 185"/>
                  <a:gd name="T57" fmla="*/ 275 h 289"/>
                  <a:gd name="T58" fmla="*/ 88 w 185"/>
                  <a:gd name="T59" fmla="*/ 280 h 289"/>
                  <a:gd name="T60" fmla="*/ 71 w 185"/>
                  <a:gd name="T61" fmla="*/ 281 h 289"/>
                  <a:gd name="T62" fmla="*/ 63 w 185"/>
                  <a:gd name="T63" fmla="*/ 286 h 289"/>
                  <a:gd name="T64" fmla="*/ 55 w 185"/>
                  <a:gd name="T65" fmla="*/ 284 h 289"/>
                  <a:gd name="T66" fmla="*/ 52 w 185"/>
                  <a:gd name="T67" fmla="*/ 284 h 289"/>
                  <a:gd name="T68" fmla="*/ 42 w 185"/>
                  <a:gd name="T69" fmla="*/ 289 h 289"/>
                  <a:gd name="T70" fmla="*/ 36 w 185"/>
                  <a:gd name="T71" fmla="*/ 286 h 289"/>
                  <a:gd name="T72" fmla="*/ 33 w 185"/>
                  <a:gd name="T73" fmla="*/ 278 h 289"/>
                  <a:gd name="T74" fmla="*/ 24 w 185"/>
                  <a:gd name="T75" fmla="*/ 266 h 289"/>
                  <a:gd name="T76" fmla="*/ 14 w 185"/>
                  <a:gd name="T77" fmla="*/ 258 h 289"/>
                  <a:gd name="T78" fmla="*/ 11 w 185"/>
                  <a:gd name="T79" fmla="*/ 248 h 289"/>
                  <a:gd name="T80" fmla="*/ 24 w 185"/>
                  <a:gd name="T81" fmla="*/ 245 h 289"/>
                  <a:gd name="T82" fmla="*/ 36 w 185"/>
                  <a:gd name="T83" fmla="*/ 245 h 289"/>
                  <a:gd name="T84" fmla="*/ 30 w 185"/>
                  <a:gd name="T85" fmla="*/ 236 h 289"/>
                  <a:gd name="T86" fmla="*/ 28 w 185"/>
                  <a:gd name="T87" fmla="*/ 220 h 289"/>
                  <a:gd name="T88" fmla="*/ 28 w 185"/>
                  <a:gd name="T89" fmla="*/ 211 h 289"/>
                  <a:gd name="T90" fmla="*/ 24 w 185"/>
                  <a:gd name="T91" fmla="*/ 197 h 289"/>
                  <a:gd name="T92" fmla="*/ 14 w 185"/>
                  <a:gd name="T93" fmla="*/ 190 h 289"/>
                  <a:gd name="T94" fmla="*/ 0 w 185"/>
                  <a:gd name="T95" fmla="*/ 170 h 289"/>
                  <a:gd name="T96" fmla="*/ 13 w 185"/>
                  <a:gd name="T97" fmla="*/ 147 h 289"/>
                  <a:gd name="T98" fmla="*/ 36 w 185"/>
                  <a:gd name="T99" fmla="*/ 111 h 289"/>
                  <a:gd name="T100" fmla="*/ 39 w 185"/>
                  <a:gd name="T101" fmla="*/ 73 h 289"/>
                  <a:gd name="T102" fmla="*/ 44 w 185"/>
                  <a:gd name="T103" fmla="*/ 56 h 289"/>
                  <a:gd name="T104" fmla="*/ 32 w 185"/>
                  <a:gd name="T105" fmla="*/ 37 h 289"/>
                  <a:gd name="T106" fmla="*/ 28 w 185"/>
                  <a:gd name="T107" fmla="*/ 18 h 289"/>
                  <a:gd name="T108" fmla="*/ 50 w 185"/>
                  <a:gd name="T109" fmla="*/ 3 h 289"/>
                  <a:gd name="T110" fmla="*/ 93 w 185"/>
                  <a:gd name="T111" fmla="*/ 25 h 289"/>
                  <a:gd name="T112" fmla="*/ 135 w 185"/>
                  <a:gd name="T113" fmla="*/ 46 h 289"/>
                  <a:gd name="T114" fmla="*/ 177 w 185"/>
                  <a:gd name="T115" fmla="*/ 6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 h="289">
                    <a:moveTo>
                      <a:pt x="185" y="73"/>
                    </a:moveTo>
                    <a:lnTo>
                      <a:pt x="185" y="81"/>
                    </a:lnTo>
                    <a:lnTo>
                      <a:pt x="185" y="89"/>
                    </a:lnTo>
                    <a:lnTo>
                      <a:pt x="185" y="98"/>
                    </a:lnTo>
                    <a:lnTo>
                      <a:pt x="185" y="106"/>
                    </a:lnTo>
                    <a:lnTo>
                      <a:pt x="185" y="114"/>
                    </a:lnTo>
                    <a:lnTo>
                      <a:pt x="185" y="122"/>
                    </a:lnTo>
                    <a:lnTo>
                      <a:pt x="185" y="131"/>
                    </a:lnTo>
                    <a:lnTo>
                      <a:pt x="185" y="139"/>
                    </a:lnTo>
                    <a:lnTo>
                      <a:pt x="185" y="140"/>
                    </a:lnTo>
                    <a:lnTo>
                      <a:pt x="185" y="142"/>
                    </a:lnTo>
                    <a:lnTo>
                      <a:pt x="185" y="142"/>
                    </a:lnTo>
                    <a:lnTo>
                      <a:pt x="185" y="142"/>
                    </a:lnTo>
                    <a:lnTo>
                      <a:pt x="180" y="142"/>
                    </a:lnTo>
                    <a:lnTo>
                      <a:pt x="179" y="142"/>
                    </a:lnTo>
                    <a:lnTo>
                      <a:pt x="175" y="142"/>
                    </a:lnTo>
                    <a:lnTo>
                      <a:pt x="172" y="142"/>
                    </a:lnTo>
                    <a:lnTo>
                      <a:pt x="169" y="142"/>
                    </a:lnTo>
                    <a:lnTo>
                      <a:pt x="168" y="143"/>
                    </a:lnTo>
                    <a:lnTo>
                      <a:pt x="166" y="145"/>
                    </a:lnTo>
                    <a:lnTo>
                      <a:pt x="168" y="150"/>
                    </a:lnTo>
                    <a:lnTo>
                      <a:pt x="168" y="151"/>
                    </a:lnTo>
                    <a:lnTo>
                      <a:pt x="166" y="153"/>
                    </a:lnTo>
                    <a:lnTo>
                      <a:pt x="166" y="153"/>
                    </a:lnTo>
                    <a:lnTo>
                      <a:pt x="164" y="154"/>
                    </a:lnTo>
                    <a:lnTo>
                      <a:pt x="163" y="154"/>
                    </a:lnTo>
                    <a:lnTo>
                      <a:pt x="163" y="158"/>
                    </a:lnTo>
                    <a:lnTo>
                      <a:pt x="161" y="158"/>
                    </a:lnTo>
                    <a:lnTo>
                      <a:pt x="161" y="159"/>
                    </a:lnTo>
                    <a:lnTo>
                      <a:pt x="161" y="161"/>
                    </a:lnTo>
                    <a:lnTo>
                      <a:pt x="161" y="161"/>
                    </a:lnTo>
                    <a:lnTo>
                      <a:pt x="160" y="161"/>
                    </a:lnTo>
                    <a:lnTo>
                      <a:pt x="158" y="162"/>
                    </a:lnTo>
                    <a:lnTo>
                      <a:pt x="157" y="162"/>
                    </a:lnTo>
                    <a:lnTo>
                      <a:pt x="157" y="164"/>
                    </a:lnTo>
                    <a:lnTo>
                      <a:pt x="157" y="164"/>
                    </a:lnTo>
                    <a:lnTo>
                      <a:pt x="158" y="165"/>
                    </a:lnTo>
                    <a:lnTo>
                      <a:pt x="158" y="167"/>
                    </a:lnTo>
                    <a:lnTo>
                      <a:pt x="158" y="169"/>
                    </a:lnTo>
                    <a:lnTo>
                      <a:pt x="158" y="169"/>
                    </a:lnTo>
                    <a:lnTo>
                      <a:pt x="160" y="170"/>
                    </a:lnTo>
                    <a:lnTo>
                      <a:pt x="160" y="170"/>
                    </a:lnTo>
                    <a:lnTo>
                      <a:pt x="158" y="172"/>
                    </a:lnTo>
                    <a:lnTo>
                      <a:pt x="157" y="172"/>
                    </a:lnTo>
                    <a:lnTo>
                      <a:pt x="157" y="173"/>
                    </a:lnTo>
                    <a:lnTo>
                      <a:pt x="155" y="173"/>
                    </a:lnTo>
                    <a:lnTo>
                      <a:pt x="155" y="173"/>
                    </a:lnTo>
                    <a:lnTo>
                      <a:pt x="154" y="175"/>
                    </a:lnTo>
                    <a:lnTo>
                      <a:pt x="152" y="176"/>
                    </a:lnTo>
                    <a:lnTo>
                      <a:pt x="152" y="176"/>
                    </a:lnTo>
                    <a:lnTo>
                      <a:pt x="152" y="178"/>
                    </a:lnTo>
                    <a:lnTo>
                      <a:pt x="152" y="179"/>
                    </a:lnTo>
                    <a:lnTo>
                      <a:pt x="154" y="181"/>
                    </a:lnTo>
                    <a:lnTo>
                      <a:pt x="154" y="183"/>
                    </a:lnTo>
                    <a:lnTo>
                      <a:pt x="154" y="184"/>
                    </a:lnTo>
                    <a:lnTo>
                      <a:pt x="154" y="186"/>
                    </a:lnTo>
                    <a:lnTo>
                      <a:pt x="154" y="186"/>
                    </a:lnTo>
                    <a:lnTo>
                      <a:pt x="154" y="187"/>
                    </a:lnTo>
                    <a:lnTo>
                      <a:pt x="150" y="189"/>
                    </a:lnTo>
                    <a:lnTo>
                      <a:pt x="149" y="190"/>
                    </a:lnTo>
                    <a:lnTo>
                      <a:pt x="147" y="194"/>
                    </a:lnTo>
                    <a:lnTo>
                      <a:pt x="147" y="195"/>
                    </a:lnTo>
                    <a:lnTo>
                      <a:pt x="147" y="195"/>
                    </a:lnTo>
                    <a:lnTo>
                      <a:pt x="147" y="197"/>
                    </a:lnTo>
                    <a:lnTo>
                      <a:pt x="149" y="197"/>
                    </a:lnTo>
                    <a:lnTo>
                      <a:pt x="150" y="197"/>
                    </a:lnTo>
                    <a:lnTo>
                      <a:pt x="152" y="197"/>
                    </a:lnTo>
                    <a:lnTo>
                      <a:pt x="154" y="197"/>
                    </a:lnTo>
                    <a:lnTo>
                      <a:pt x="157" y="197"/>
                    </a:lnTo>
                    <a:lnTo>
                      <a:pt x="157" y="200"/>
                    </a:lnTo>
                    <a:lnTo>
                      <a:pt x="157" y="201"/>
                    </a:lnTo>
                    <a:lnTo>
                      <a:pt x="158" y="203"/>
                    </a:lnTo>
                    <a:lnTo>
                      <a:pt x="158" y="206"/>
                    </a:lnTo>
                    <a:lnTo>
                      <a:pt x="158" y="208"/>
                    </a:lnTo>
                    <a:lnTo>
                      <a:pt x="158" y="208"/>
                    </a:lnTo>
                    <a:lnTo>
                      <a:pt x="160" y="208"/>
                    </a:lnTo>
                    <a:lnTo>
                      <a:pt x="160" y="209"/>
                    </a:lnTo>
                    <a:lnTo>
                      <a:pt x="160" y="215"/>
                    </a:lnTo>
                    <a:lnTo>
                      <a:pt x="160" y="217"/>
                    </a:lnTo>
                    <a:lnTo>
                      <a:pt x="161" y="217"/>
                    </a:lnTo>
                    <a:lnTo>
                      <a:pt x="163" y="219"/>
                    </a:lnTo>
                    <a:lnTo>
                      <a:pt x="163" y="219"/>
                    </a:lnTo>
                    <a:lnTo>
                      <a:pt x="164" y="220"/>
                    </a:lnTo>
                    <a:lnTo>
                      <a:pt x="164" y="220"/>
                    </a:lnTo>
                    <a:lnTo>
                      <a:pt x="166" y="220"/>
                    </a:lnTo>
                    <a:lnTo>
                      <a:pt x="166" y="222"/>
                    </a:lnTo>
                    <a:lnTo>
                      <a:pt x="166" y="223"/>
                    </a:lnTo>
                    <a:lnTo>
                      <a:pt x="166" y="226"/>
                    </a:lnTo>
                    <a:lnTo>
                      <a:pt x="164" y="228"/>
                    </a:lnTo>
                    <a:lnTo>
                      <a:pt x="164" y="228"/>
                    </a:lnTo>
                    <a:lnTo>
                      <a:pt x="163" y="228"/>
                    </a:lnTo>
                    <a:lnTo>
                      <a:pt x="161" y="228"/>
                    </a:lnTo>
                    <a:lnTo>
                      <a:pt x="158" y="226"/>
                    </a:lnTo>
                    <a:lnTo>
                      <a:pt x="157" y="228"/>
                    </a:lnTo>
                    <a:lnTo>
                      <a:pt x="154" y="228"/>
                    </a:lnTo>
                    <a:lnTo>
                      <a:pt x="154" y="230"/>
                    </a:lnTo>
                    <a:lnTo>
                      <a:pt x="154" y="230"/>
                    </a:lnTo>
                    <a:lnTo>
                      <a:pt x="152" y="230"/>
                    </a:lnTo>
                    <a:lnTo>
                      <a:pt x="150" y="230"/>
                    </a:lnTo>
                    <a:lnTo>
                      <a:pt x="150" y="231"/>
                    </a:lnTo>
                    <a:lnTo>
                      <a:pt x="149" y="231"/>
                    </a:lnTo>
                    <a:lnTo>
                      <a:pt x="146" y="233"/>
                    </a:lnTo>
                    <a:lnTo>
                      <a:pt x="146" y="234"/>
                    </a:lnTo>
                    <a:lnTo>
                      <a:pt x="144" y="234"/>
                    </a:lnTo>
                    <a:lnTo>
                      <a:pt x="144" y="234"/>
                    </a:lnTo>
                    <a:lnTo>
                      <a:pt x="146" y="236"/>
                    </a:lnTo>
                    <a:lnTo>
                      <a:pt x="146" y="237"/>
                    </a:lnTo>
                    <a:lnTo>
                      <a:pt x="144" y="239"/>
                    </a:lnTo>
                    <a:lnTo>
                      <a:pt x="144" y="240"/>
                    </a:lnTo>
                    <a:lnTo>
                      <a:pt x="143" y="240"/>
                    </a:lnTo>
                    <a:lnTo>
                      <a:pt x="141" y="240"/>
                    </a:lnTo>
                    <a:lnTo>
                      <a:pt x="141" y="242"/>
                    </a:lnTo>
                    <a:lnTo>
                      <a:pt x="139" y="245"/>
                    </a:lnTo>
                    <a:lnTo>
                      <a:pt x="139" y="245"/>
                    </a:lnTo>
                    <a:lnTo>
                      <a:pt x="138" y="245"/>
                    </a:lnTo>
                    <a:lnTo>
                      <a:pt x="133" y="250"/>
                    </a:lnTo>
                    <a:lnTo>
                      <a:pt x="132" y="251"/>
                    </a:lnTo>
                    <a:lnTo>
                      <a:pt x="130" y="253"/>
                    </a:lnTo>
                    <a:lnTo>
                      <a:pt x="128" y="255"/>
                    </a:lnTo>
                    <a:lnTo>
                      <a:pt x="127" y="256"/>
                    </a:lnTo>
                    <a:lnTo>
                      <a:pt x="127" y="256"/>
                    </a:lnTo>
                    <a:lnTo>
                      <a:pt x="125" y="256"/>
                    </a:lnTo>
                    <a:lnTo>
                      <a:pt x="125" y="258"/>
                    </a:lnTo>
                    <a:lnTo>
                      <a:pt x="121" y="259"/>
                    </a:lnTo>
                    <a:lnTo>
                      <a:pt x="116" y="259"/>
                    </a:lnTo>
                    <a:lnTo>
                      <a:pt x="114" y="261"/>
                    </a:lnTo>
                    <a:lnTo>
                      <a:pt x="111" y="261"/>
                    </a:lnTo>
                    <a:lnTo>
                      <a:pt x="110" y="262"/>
                    </a:lnTo>
                    <a:lnTo>
                      <a:pt x="108" y="262"/>
                    </a:lnTo>
                    <a:lnTo>
                      <a:pt x="105" y="262"/>
                    </a:lnTo>
                    <a:lnTo>
                      <a:pt x="100" y="262"/>
                    </a:lnTo>
                    <a:lnTo>
                      <a:pt x="99" y="262"/>
                    </a:lnTo>
                    <a:lnTo>
                      <a:pt x="97" y="264"/>
                    </a:lnTo>
                    <a:lnTo>
                      <a:pt x="96" y="264"/>
                    </a:lnTo>
                    <a:lnTo>
                      <a:pt x="96" y="264"/>
                    </a:lnTo>
                    <a:lnTo>
                      <a:pt x="96" y="266"/>
                    </a:lnTo>
                    <a:lnTo>
                      <a:pt x="96" y="266"/>
                    </a:lnTo>
                    <a:lnTo>
                      <a:pt x="99" y="267"/>
                    </a:lnTo>
                    <a:lnTo>
                      <a:pt x="99" y="269"/>
                    </a:lnTo>
                    <a:lnTo>
                      <a:pt x="99" y="269"/>
                    </a:lnTo>
                    <a:lnTo>
                      <a:pt x="99" y="270"/>
                    </a:lnTo>
                    <a:lnTo>
                      <a:pt x="99" y="270"/>
                    </a:lnTo>
                    <a:lnTo>
                      <a:pt x="97" y="270"/>
                    </a:lnTo>
                    <a:lnTo>
                      <a:pt x="96" y="273"/>
                    </a:lnTo>
                    <a:lnTo>
                      <a:pt x="93" y="275"/>
                    </a:lnTo>
                    <a:lnTo>
                      <a:pt x="91" y="276"/>
                    </a:lnTo>
                    <a:lnTo>
                      <a:pt x="91" y="276"/>
                    </a:lnTo>
                    <a:lnTo>
                      <a:pt x="91" y="278"/>
                    </a:lnTo>
                    <a:lnTo>
                      <a:pt x="89" y="280"/>
                    </a:lnTo>
                    <a:lnTo>
                      <a:pt x="88" y="280"/>
                    </a:lnTo>
                    <a:lnTo>
                      <a:pt x="85" y="280"/>
                    </a:lnTo>
                    <a:lnTo>
                      <a:pt x="78" y="280"/>
                    </a:lnTo>
                    <a:lnTo>
                      <a:pt x="75" y="280"/>
                    </a:lnTo>
                    <a:lnTo>
                      <a:pt x="74" y="280"/>
                    </a:lnTo>
                    <a:lnTo>
                      <a:pt x="71" y="281"/>
                    </a:lnTo>
                    <a:lnTo>
                      <a:pt x="71" y="281"/>
                    </a:lnTo>
                    <a:lnTo>
                      <a:pt x="69" y="281"/>
                    </a:lnTo>
                    <a:lnTo>
                      <a:pt x="66" y="283"/>
                    </a:lnTo>
                    <a:lnTo>
                      <a:pt x="64" y="286"/>
                    </a:lnTo>
                    <a:lnTo>
                      <a:pt x="63" y="286"/>
                    </a:lnTo>
                    <a:lnTo>
                      <a:pt x="60" y="286"/>
                    </a:lnTo>
                    <a:lnTo>
                      <a:pt x="60" y="287"/>
                    </a:lnTo>
                    <a:lnTo>
                      <a:pt x="58" y="287"/>
                    </a:lnTo>
                    <a:lnTo>
                      <a:pt x="57" y="286"/>
                    </a:lnTo>
                    <a:lnTo>
                      <a:pt x="55" y="284"/>
                    </a:lnTo>
                    <a:lnTo>
                      <a:pt x="55" y="283"/>
                    </a:lnTo>
                    <a:lnTo>
                      <a:pt x="55" y="283"/>
                    </a:lnTo>
                    <a:lnTo>
                      <a:pt x="53" y="283"/>
                    </a:lnTo>
                    <a:lnTo>
                      <a:pt x="53" y="283"/>
                    </a:lnTo>
                    <a:lnTo>
                      <a:pt x="52" y="284"/>
                    </a:lnTo>
                    <a:lnTo>
                      <a:pt x="52" y="286"/>
                    </a:lnTo>
                    <a:lnTo>
                      <a:pt x="49" y="286"/>
                    </a:lnTo>
                    <a:lnTo>
                      <a:pt x="46" y="287"/>
                    </a:lnTo>
                    <a:lnTo>
                      <a:pt x="44" y="289"/>
                    </a:lnTo>
                    <a:lnTo>
                      <a:pt x="42" y="289"/>
                    </a:lnTo>
                    <a:lnTo>
                      <a:pt x="39" y="289"/>
                    </a:lnTo>
                    <a:lnTo>
                      <a:pt x="38" y="289"/>
                    </a:lnTo>
                    <a:lnTo>
                      <a:pt x="36" y="289"/>
                    </a:lnTo>
                    <a:lnTo>
                      <a:pt x="36" y="287"/>
                    </a:lnTo>
                    <a:lnTo>
                      <a:pt x="36" y="286"/>
                    </a:lnTo>
                    <a:lnTo>
                      <a:pt x="36" y="284"/>
                    </a:lnTo>
                    <a:lnTo>
                      <a:pt x="36" y="284"/>
                    </a:lnTo>
                    <a:lnTo>
                      <a:pt x="36" y="283"/>
                    </a:lnTo>
                    <a:lnTo>
                      <a:pt x="35" y="283"/>
                    </a:lnTo>
                    <a:lnTo>
                      <a:pt x="33" y="278"/>
                    </a:lnTo>
                    <a:lnTo>
                      <a:pt x="32" y="275"/>
                    </a:lnTo>
                    <a:lnTo>
                      <a:pt x="28" y="270"/>
                    </a:lnTo>
                    <a:lnTo>
                      <a:pt x="27" y="267"/>
                    </a:lnTo>
                    <a:lnTo>
                      <a:pt x="25" y="266"/>
                    </a:lnTo>
                    <a:lnTo>
                      <a:pt x="24" y="266"/>
                    </a:lnTo>
                    <a:lnTo>
                      <a:pt x="24" y="266"/>
                    </a:lnTo>
                    <a:lnTo>
                      <a:pt x="22" y="264"/>
                    </a:lnTo>
                    <a:lnTo>
                      <a:pt x="19" y="262"/>
                    </a:lnTo>
                    <a:lnTo>
                      <a:pt x="16" y="259"/>
                    </a:lnTo>
                    <a:lnTo>
                      <a:pt x="14" y="258"/>
                    </a:lnTo>
                    <a:lnTo>
                      <a:pt x="13" y="255"/>
                    </a:lnTo>
                    <a:lnTo>
                      <a:pt x="11" y="253"/>
                    </a:lnTo>
                    <a:lnTo>
                      <a:pt x="10" y="251"/>
                    </a:lnTo>
                    <a:lnTo>
                      <a:pt x="10" y="250"/>
                    </a:lnTo>
                    <a:lnTo>
                      <a:pt x="11" y="248"/>
                    </a:lnTo>
                    <a:lnTo>
                      <a:pt x="13" y="247"/>
                    </a:lnTo>
                    <a:lnTo>
                      <a:pt x="14" y="245"/>
                    </a:lnTo>
                    <a:lnTo>
                      <a:pt x="16" y="245"/>
                    </a:lnTo>
                    <a:lnTo>
                      <a:pt x="21" y="245"/>
                    </a:lnTo>
                    <a:lnTo>
                      <a:pt x="24" y="245"/>
                    </a:lnTo>
                    <a:lnTo>
                      <a:pt x="28" y="245"/>
                    </a:lnTo>
                    <a:lnTo>
                      <a:pt x="30" y="245"/>
                    </a:lnTo>
                    <a:lnTo>
                      <a:pt x="30" y="245"/>
                    </a:lnTo>
                    <a:lnTo>
                      <a:pt x="33" y="245"/>
                    </a:lnTo>
                    <a:lnTo>
                      <a:pt x="36" y="245"/>
                    </a:lnTo>
                    <a:lnTo>
                      <a:pt x="39" y="245"/>
                    </a:lnTo>
                    <a:lnTo>
                      <a:pt x="36" y="244"/>
                    </a:lnTo>
                    <a:lnTo>
                      <a:pt x="35" y="240"/>
                    </a:lnTo>
                    <a:lnTo>
                      <a:pt x="32" y="239"/>
                    </a:lnTo>
                    <a:lnTo>
                      <a:pt x="30" y="236"/>
                    </a:lnTo>
                    <a:lnTo>
                      <a:pt x="30" y="233"/>
                    </a:lnTo>
                    <a:lnTo>
                      <a:pt x="28" y="230"/>
                    </a:lnTo>
                    <a:lnTo>
                      <a:pt x="28" y="225"/>
                    </a:lnTo>
                    <a:lnTo>
                      <a:pt x="28" y="222"/>
                    </a:lnTo>
                    <a:lnTo>
                      <a:pt x="28" y="220"/>
                    </a:lnTo>
                    <a:lnTo>
                      <a:pt x="30" y="217"/>
                    </a:lnTo>
                    <a:lnTo>
                      <a:pt x="28" y="215"/>
                    </a:lnTo>
                    <a:lnTo>
                      <a:pt x="28" y="214"/>
                    </a:lnTo>
                    <a:lnTo>
                      <a:pt x="28" y="212"/>
                    </a:lnTo>
                    <a:lnTo>
                      <a:pt x="28" y="211"/>
                    </a:lnTo>
                    <a:lnTo>
                      <a:pt x="27" y="208"/>
                    </a:lnTo>
                    <a:lnTo>
                      <a:pt x="27" y="206"/>
                    </a:lnTo>
                    <a:lnTo>
                      <a:pt x="25" y="204"/>
                    </a:lnTo>
                    <a:lnTo>
                      <a:pt x="24" y="200"/>
                    </a:lnTo>
                    <a:lnTo>
                      <a:pt x="24" y="197"/>
                    </a:lnTo>
                    <a:lnTo>
                      <a:pt x="21" y="197"/>
                    </a:lnTo>
                    <a:lnTo>
                      <a:pt x="19" y="194"/>
                    </a:lnTo>
                    <a:lnTo>
                      <a:pt x="19" y="192"/>
                    </a:lnTo>
                    <a:lnTo>
                      <a:pt x="17" y="190"/>
                    </a:lnTo>
                    <a:lnTo>
                      <a:pt x="14" y="190"/>
                    </a:lnTo>
                    <a:lnTo>
                      <a:pt x="11" y="190"/>
                    </a:lnTo>
                    <a:lnTo>
                      <a:pt x="8" y="186"/>
                    </a:lnTo>
                    <a:lnTo>
                      <a:pt x="5" y="183"/>
                    </a:lnTo>
                    <a:lnTo>
                      <a:pt x="3" y="178"/>
                    </a:lnTo>
                    <a:lnTo>
                      <a:pt x="0" y="170"/>
                    </a:lnTo>
                    <a:lnTo>
                      <a:pt x="0" y="167"/>
                    </a:lnTo>
                    <a:lnTo>
                      <a:pt x="2" y="165"/>
                    </a:lnTo>
                    <a:lnTo>
                      <a:pt x="3" y="162"/>
                    </a:lnTo>
                    <a:lnTo>
                      <a:pt x="7" y="156"/>
                    </a:lnTo>
                    <a:lnTo>
                      <a:pt x="13" y="147"/>
                    </a:lnTo>
                    <a:lnTo>
                      <a:pt x="16" y="142"/>
                    </a:lnTo>
                    <a:lnTo>
                      <a:pt x="22" y="134"/>
                    </a:lnTo>
                    <a:lnTo>
                      <a:pt x="32" y="126"/>
                    </a:lnTo>
                    <a:lnTo>
                      <a:pt x="36" y="120"/>
                    </a:lnTo>
                    <a:lnTo>
                      <a:pt x="36" y="111"/>
                    </a:lnTo>
                    <a:lnTo>
                      <a:pt x="36" y="101"/>
                    </a:lnTo>
                    <a:lnTo>
                      <a:pt x="38" y="95"/>
                    </a:lnTo>
                    <a:lnTo>
                      <a:pt x="38" y="86"/>
                    </a:lnTo>
                    <a:lnTo>
                      <a:pt x="39" y="78"/>
                    </a:lnTo>
                    <a:lnTo>
                      <a:pt x="39" y="73"/>
                    </a:lnTo>
                    <a:lnTo>
                      <a:pt x="39" y="65"/>
                    </a:lnTo>
                    <a:lnTo>
                      <a:pt x="41" y="64"/>
                    </a:lnTo>
                    <a:lnTo>
                      <a:pt x="44" y="57"/>
                    </a:lnTo>
                    <a:lnTo>
                      <a:pt x="44" y="57"/>
                    </a:lnTo>
                    <a:lnTo>
                      <a:pt x="44" y="56"/>
                    </a:lnTo>
                    <a:lnTo>
                      <a:pt x="39" y="51"/>
                    </a:lnTo>
                    <a:lnTo>
                      <a:pt x="38" y="50"/>
                    </a:lnTo>
                    <a:lnTo>
                      <a:pt x="36" y="48"/>
                    </a:lnTo>
                    <a:lnTo>
                      <a:pt x="38" y="46"/>
                    </a:lnTo>
                    <a:lnTo>
                      <a:pt x="32" y="37"/>
                    </a:lnTo>
                    <a:lnTo>
                      <a:pt x="32" y="35"/>
                    </a:lnTo>
                    <a:lnTo>
                      <a:pt x="30" y="35"/>
                    </a:lnTo>
                    <a:lnTo>
                      <a:pt x="30" y="34"/>
                    </a:lnTo>
                    <a:lnTo>
                      <a:pt x="30" y="28"/>
                    </a:lnTo>
                    <a:lnTo>
                      <a:pt x="28" y="18"/>
                    </a:lnTo>
                    <a:lnTo>
                      <a:pt x="27" y="7"/>
                    </a:lnTo>
                    <a:lnTo>
                      <a:pt x="33" y="4"/>
                    </a:lnTo>
                    <a:lnTo>
                      <a:pt x="38" y="1"/>
                    </a:lnTo>
                    <a:lnTo>
                      <a:pt x="44" y="0"/>
                    </a:lnTo>
                    <a:lnTo>
                      <a:pt x="50" y="3"/>
                    </a:lnTo>
                    <a:lnTo>
                      <a:pt x="58" y="6"/>
                    </a:lnTo>
                    <a:lnTo>
                      <a:pt x="68" y="10"/>
                    </a:lnTo>
                    <a:lnTo>
                      <a:pt x="75" y="15"/>
                    </a:lnTo>
                    <a:lnTo>
                      <a:pt x="83" y="20"/>
                    </a:lnTo>
                    <a:lnTo>
                      <a:pt x="93" y="25"/>
                    </a:lnTo>
                    <a:lnTo>
                      <a:pt x="100" y="29"/>
                    </a:lnTo>
                    <a:lnTo>
                      <a:pt x="110" y="34"/>
                    </a:lnTo>
                    <a:lnTo>
                      <a:pt x="118" y="37"/>
                    </a:lnTo>
                    <a:lnTo>
                      <a:pt x="125" y="42"/>
                    </a:lnTo>
                    <a:lnTo>
                      <a:pt x="135" y="46"/>
                    </a:lnTo>
                    <a:lnTo>
                      <a:pt x="143" y="51"/>
                    </a:lnTo>
                    <a:lnTo>
                      <a:pt x="150" y="56"/>
                    </a:lnTo>
                    <a:lnTo>
                      <a:pt x="160" y="59"/>
                    </a:lnTo>
                    <a:lnTo>
                      <a:pt x="168" y="64"/>
                    </a:lnTo>
                    <a:lnTo>
                      <a:pt x="177" y="68"/>
                    </a:lnTo>
                    <a:lnTo>
                      <a:pt x="185" y="7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69" name="Freeform 196">
                <a:extLst>
                  <a:ext uri="{FF2B5EF4-FFF2-40B4-BE49-F238E27FC236}">
                    <a16:creationId xmlns:a16="http://schemas.microsoft.com/office/drawing/2014/main" id="{B6C52B72-9ADD-E0ED-231C-EBA1C9004E87}"/>
                  </a:ext>
                </a:extLst>
              </p:cNvPr>
              <p:cNvSpPr>
                <a:spLocks/>
              </p:cNvSpPr>
              <p:nvPr/>
            </p:nvSpPr>
            <p:spPr bwMode="gray">
              <a:xfrm>
                <a:off x="2674" y="1382"/>
                <a:ext cx="32" cy="89"/>
              </a:xfrm>
              <a:custGeom>
                <a:avLst/>
                <a:gdLst>
                  <a:gd name="T0" fmla="*/ 15 w 32"/>
                  <a:gd name="T1" fmla="*/ 6 h 89"/>
                  <a:gd name="T2" fmla="*/ 15 w 32"/>
                  <a:gd name="T3" fmla="*/ 14 h 89"/>
                  <a:gd name="T4" fmla="*/ 22 w 32"/>
                  <a:gd name="T5" fmla="*/ 17 h 89"/>
                  <a:gd name="T6" fmla="*/ 25 w 32"/>
                  <a:gd name="T7" fmla="*/ 23 h 89"/>
                  <a:gd name="T8" fmla="*/ 25 w 32"/>
                  <a:gd name="T9" fmla="*/ 31 h 89"/>
                  <a:gd name="T10" fmla="*/ 29 w 32"/>
                  <a:gd name="T11" fmla="*/ 36 h 89"/>
                  <a:gd name="T12" fmla="*/ 29 w 32"/>
                  <a:gd name="T13" fmla="*/ 50 h 89"/>
                  <a:gd name="T14" fmla="*/ 29 w 32"/>
                  <a:gd name="T15" fmla="*/ 66 h 89"/>
                  <a:gd name="T16" fmla="*/ 29 w 32"/>
                  <a:gd name="T17" fmla="*/ 75 h 89"/>
                  <a:gd name="T18" fmla="*/ 29 w 32"/>
                  <a:gd name="T19" fmla="*/ 78 h 89"/>
                  <a:gd name="T20" fmla="*/ 31 w 32"/>
                  <a:gd name="T21" fmla="*/ 83 h 89"/>
                  <a:gd name="T22" fmla="*/ 29 w 32"/>
                  <a:gd name="T23" fmla="*/ 86 h 89"/>
                  <a:gd name="T24" fmla="*/ 22 w 32"/>
                  <a:gd name="T25" fmla="*/ 87 h 89"/>
                  <a:gd name="T26" fmla="*/ 20 w 32"/>
                  <a:gd name="T27" fmla="*/ 86 h 89"/>
                  <a:gd name="T28" fmla="*/ 17 w 32"/>
                  <a:gd name="T29" fmla="*/ 84 h 89"/>
                  <a:gd name="T30" fmla="*/ 14 w 32"/>
                  <a:gd name="T31" fmla="*/ 81 h 89"/>
                  <a:gd name="T32" fmla="*/ 12 w 32"/>
                  <a:gd name="T33" fmla="*/ 80 h 89"/>
                  <a:gd name="T34" fmla="*/ 11 w 32"/>
                  <a:gd name="T35" fmla="*/ 75 h 89"/>
                  <a:gd name="T36" fmla="*/ 11 w 32"/>
                  <a:gd name="T37" fmla="*/ 73 h 89"/>
                  <a:gd name="T38" fmla="*/ 11 w 32"/>
                  <a:gd name="T39" fmla="*/ 70 h 89"/>
                  <a:gd name="T40" fmla="*/ 11 w 32"/>
                  <a:gd name="T41" fmla="*/ 66 h 89"/>
                  <a:gd name="T42" fmla="*/ 9 w 32"/>
                  <a:gd name="T43" fmla="*/ 64 h 89"/>
                  <a:gd name="T44" fmla="*/ 11 w 32"/>
                  <a:gd name="T45" fmla="*/ 53 h 89"/>
                  <a:gd name="T46" fmla="*/ 14 w 32"/>
                  <a:gd name="T47" fmla="*/ 50 h 89"/>
                  <a:gd name="T48" fmla="*/ 9 w 32"/>
                  <a:gd name="T49" fmla="*/ 45 h 89"/>
                  <a:gd name="T50" fmla="*/ 7 w 32"/>
                  <a:gd name="T51" fmla="*/ 42 h 89"/>
                  <a:gd name="T52" fmla="*/ 9 w 32"/>
                  <a:gd name="T53" fmla="*/ 39 h 89"/>
                  <a:gd name="T54" fmla="*/ 9 w 32"/>
                  <a:gd name="T55" fmla="*/ 33 h 89"/>
                  <a:gd name="T56" fmla="*/ 9 w 32"/>
                  <a:gd name="T57" fmla="*/ 28 h 89"/>
                  <a:gd name="T58" fmla="*/ 6 w 32"/>
                  <a:gd name="T59" fmla="*/ 30 h 89"/>
                  <a:gd name="T60" fmla="*/ 4 w 32"/>
                  <a:gd name="T61" fmla="*/ 30 h 89"/>
                  <a:gd name="T62" fmla="*/ 6 w 32"/>
                  <a:gd name="T63" fmla="*/ 26 h 89"/>
                  <a:gd name="T64" fmla="*/ 6 w 32"/>
                  <a:gd name="T65" fmla="*/ 26 h 89"/>
                  <a:gd name="T66" fmla="*/ 6 w 32"/>
                  <a:gd name="T67" fmla="*/ 25 h 89"/>
                  <a:gd name="T68" fmla="*/ 7 w 32"/>
                  <a:gd name="T69" fmla="*/ 23 h 89"/>
                  <a:gd name="T70" fmla="*/ 7 w 32"/>
                  <a:gd name="T71" fmla="*/ 15 h 89"/>
                  <a:gd name="T72" fmla="*/ 7 w 32"/>
                  <a:gd name="T73" fmla="*/ 14 h 89"/>
                  <a:gd name="T74" fmla="*/ 3 w 32"/>
                  <a:gd name="T75" fmla="*/ 11 h 89"/>
                  <a:gd name="T76" fmla="*/ 0 w 32"/>
                  <a:gd name="T77" fmla="*/ 8 h 89"/>
                  <a:gd name="T78" fmla="*/ 1 w 32"/>
                  <a:gd name="T79" fmla="*/ 3 h 89"/>
                  <a:gd name="T80" fmla="*/ 0 w 32"/>
                  <a:gd name="T81" fmla="*/ 0 h 89"/>
                  <a:gd name="T82" fmla="*/ 9 w 32"/>
                  <a:gd name="T83" fmla="*/ 1 h 89"/>
                  <a:gd name="T84" fmla="*/ 12 w 32"/>
                  <a:gd name="T85"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89">
                    <a:moveTo>
                      <a:pt x="17" y="1"/>
                    </a:moveTo>
                    <a:lnTo>
                      <a:pt x="17" y="5"/>
                    </a:lnTo>
                    <a:lnTo>
                      <a:pt x="15" y="6"/>
                    </a:lnTo>
                    <a:lnTo>
                      <a:pt x="15" y="8"/>
                    </a:lnTo>
                    <a:lnTo>
                      <a:pt x="14" y="12"/>
                    </a:lnTo>
                    <a:lnTo>
                      <a:pt x="15" y="14"/>
                    </a:lnTo>
                    <a:lnTo>
                      <a:pt x="15" y="14"/>
                    </a:lnTo>
                    <a:lnTo>
                      <a:pt x="18" y="15"/>
                    </a:lnTo>
                    <a:lnTo>
                      <a:pt x="22" y="17"/>
                    </a:lnTo>
                    <a:lnTo>
                      <a:pt x="25" y="20"/>
                    </a:lnTo>
                    <a:lnTo>
                      <a:pt x="25" y="20"/>
                    </a:lnTo>
                    <a:lnTo>
                      <a:pt x="25" y="23"/>
                    </a:lnTo>
                    <a:lnTo>
                      <a:pt x="25" y="26"/>
                    </a:lnTo>
                    <a:lnTo>
                      <a:pt x="25" y="30"/>
                    </a:lnTo>
                    <a:lnTo>
                      <a:pt x="25" y="31"/>
                    </a:lnTo>
                    <a:lnTo>
                      <a:pt x="26" y="33"/>
                    </a:lnTo>
                    <a:lnTo>
                      <a:pt x="28" y="34"/>
                    </a:lnTo>
                    <a:lnTo>
                      <a:pt x="29" y="36"/>
                    </a:lnTo>
                    <a:lnTo>
                      <a:pt x="29" y="41"/>
                    </a:lnTo>
                    <a:lnTo>
                      <a:pt x="29" y="45"/>
                    </a:lnTo>
                    <a:lnTo>
                      <a:pt x="29" y="50"/>
                    </a:lnTo>
                    <a:lnTo>
                      <a:pt x="29" y="55"/>
                    </a:lnTo>
                    <a:lnTo>
                      <a:pt x="29" y="59"/>
                    </a:lnTo>
                    <a:lnTo>
                      <a:pt x="29" y="66"/>
                    </a:lnTo>
                    <a:lnTo>
                      <a:pt x="29" y="72"/>
                    </a:lnTo>
                    <a:lnTo>
                      <a:pt x="28" y="73"/>
                    </a:lnTo>
                    <a:lnTo>
                      <a:pt x="29" y="75"/>
                    </a:lnTo>
                    <a:lnTo>
                      <a:pt x="29" y="77"/>
                    </a:lnTo>
                    <a:lnTo>
                      <a:pt x="29" y="77"/>
                    </a:lnTo>
                    <a:lnTo>
                      <a:pt x="29" y="78"/>
                    </a:lnTo>
                    <a:lnTo>
                      <a:pt x="29" y="80"/>
                    </a:lnTo>
                    <a:lnTo>
                      <a:pt x="29" y="80"/>
                    </a:lnTo>
                    <a:lnTo>
                      <a:pt x="31" y="83"/>
                    </a:lnTo>
                    <a:lnTo>
                      <a:pt x="32" y="84"/>
                    </a:lnTo>
                    <a:lnTo>
                      <a:pt x="29" y="86"/>
                    </a:lnTo>
                    <a:lnTo>
                      <a:pt x="29" y="86"/>
                    </a:lnTo>
                    <a:lnTo>
                      <a:pt x="25" y="87"/>
                    </a:lnTo>
                    <a:lnTo>
                      <a:pt x="22" y="89"/>
                    </a:lnTo>
                    <a:lnTo>
                      <a:pt x="22" y="87"/>
                    </a:lnTo>
                    <a:lnTo>
                      <a:pt x="22" y="87"/>
                    </a:lnTo>
                    <a:lnTo>
                      <a:pt x="20" y="87"/>
                    </a:lnTo>
                    <a:lnTo>
                      <a:pt x="20" y="86"/>
                    </a:lnTo>
                    <a:lnTo>
                      <a:pt x="18" y="86"/>
                    </a:lnTo>
                    <a:lnTo>
                      <a:pt x="18" y="84"/>
                    </a:lnTo>
                    <a:lnTo>
                      <a:pt x="17" y="84"/>
                    </a:lnTo>
                    <a:lnTo>
                      <a:pt x="15" y="83"/>
                    </a:lnTo>
                    <a:lnTo>
                      <a:pt x="14" y="83"/>
                    </a:lnTo>
                    <a:lnTo>
                      <a:pt x="14" y="81"/>
                    </a:lnTo>
                    <a:lnTo>
                      <a:pt x="14" y="80"/>
                    </a:lnTo>
                    <a:lnTo>
                      <a:pt x="14" y="80"/>
                    </a:lnTo>
                    <a:lnTo>
                      <a:pt x="12" y="80"/>
                    </a:lnTo>
                    <a:lnTo>
                      <a:pt x="11" y="77"/>
                    </a:lnTo>
                    <a:lnTo>
                      <a:pt x="11" y="77"/>
                    </a:lnTo>
                    <a:lnTo>
                      <a:pt x="11" y="75"/>
                    </a:lnTo>
                    <a:lnTo>
                      <a:pt x="11" y="75"/>
                    </a:lnTo>
                    <a:lnTo>
                      <a:pt x="11" y="73"/>
                    </a:lnTo>
                    <a:lnTo>
                      <a:pt x="11" y="73"/>
                    </a:lnTo>
                    <a:lnTo>
                      <a:pt x="11" y="72"/>
                    </a:lnTo>
                    <a:lnTo>
                      <a:pt x="11" y="72"/>
                    </a:lnTo>
                    <a:lnTo>
                      <a:pt x="11" y="70"/>
                    </a:lnTo>
                    <a:lnTo>
                      <a:pt x="12" y="69"/>
                    </a:lnTo>
                    <a:lnTo>
                      <a:pt x="12" y="66"/>
                    </a:lnTo>
                    <a:lnTo>
                      <a:pt x="11" y="66"/>
                    </a:lnTo>
                    <a:lnTo>
                      <a:pt x="11" y="66"/>
                    </a:lnTo>
                    <a:lnTo>
                      <a:pt x="11" y="66"/>
                    </a:lnTo>
                    <a:lnTo>
                      <a:pt x="9" y="64"/>
                    </a:lnTo>
                    <a:lnTo>
                      <a:pt x="9" y="62"/>
                    </a:lnTo>
                    <a:lnTo>
                      <a:pt x="12" y="59"/>
                    </a:lnTo>
                    <a:lnTo>
                      <a:pt x="11" y="53"/>
                    </a:lnTo>
                    <a:lnTo>
                      <a:pt x="12" y="51"/>
                    </a:lnTo>
                    <a:lnTo>
                      <a:pt x="12" y="50"/>
                    </a:lnTo>
                    <a:lnTo>
                      <a:pt x="14" y="50"/>
                    </a:lnTo>
                    <a:lnTo>
                      <a:pt x="14" y="48"/>
                    </a:lnTo>
                    <a:lnTo>
                      <a:pt x="12" y="47"/>
                    </a:lnTo>
                    <a:lnTo>
                      <a:pt x="9" y="45"/>
                    </a:lnTo>
                    <a:lnTo>
                      <a:pt x="7" y="44"/>
                    </a:lnTo>
                    <a:lnTo>
                      <a:pt x="7" y="42"/>
                    </a:lnTo>
                    <a:lnTo>
                      <a:pt x="7" y="42"/>
                    </a:lnTo>
                    <a:lnTo>
                      <a:pt x="9" y="41"/>
                    </a:lnTo>
                    <a:lnTo>
                      <a:pt x="9" y="41"/>
                    </a:lnTo>
                    <a:lnTo>
                      <a:pt x="9" y="39"/>
                    </a:lnTo>
                    <a:lnTo>
                      <a:pt x="9" y="37"/>
                    </a:lnTo>
                    <a:lnTo>
                      <a:pt x="9" y="36"/>
                    </a:lnTo>
                    <a:lnTo>
                      <a:pt x="9" y="33"/>
                    </a:lnTo>
                    <a:lnTo>
                      <a:pt x="11" y="31"/>
                    </a:lnTo>
                    <a:lnTo>
                      <a:pt x="11" y="30"/>
                    </a:lnTo>
                    <a:lnTo>
                      <a:pt x="9" y="28"/>
                    </a:lnTo>
                    <a:lnTo>
                      <a:pt x="7" y="28"/>
                    </a:lnTo>
                    <a:lnTo>
                      <a:pt x="7" y="28"/>
                    </a:lnTo>
                    <a:lnTo>
                      <a:pt x="6" y="30"/>
                    </a:lnTo>
                    <a:lnTo>
                      <a:pt x="6" y="30"/>
                    </a:lnTo>
                    <a:lnTo>
                      <a:pt x="6" y="30"/>
                    </a:lnTo>
                    <a:lnTo>
                      <a:pt x="4" y="30"/>
                    </a:lnTo>
                    <a:lnTo>
                      <a:pt x="6" y="28"/>
                    </a:lnTo>
                    <a:lnTo>
                      <a:pt x="6" y="28"/>
                    </a:lnTo>
                    <a:lnTo>
                      <a:pt x="6" y="26"/>
                    </a:lnTo>
                    <a:lnTo>
                      <a:pt x="6" y="26"/>
                    </a:lnTo>
                    <a:lnTo>
                      <a:pt x="7" y="26"/>
                    </a:lnTo>
                    <a:lnTo>
                      <a:pt x="6" y="26"/>
                    </a:lnTo>
                    <a:lnTo>
                      <a:pt x="6" y="26"/>
                    </a:lnTo>
                    <a:lnTo>
                      <a:pt x="6" y="25"/>
                    </a:lnTo>
                    <a:lnTo>
                      <a:pt x="6" y="25"/>
                    </a:lnTo>
                    <a:lnTo>
                      <a:pt x="6" y="25"/>
                    </a:lnTo>
                    <a:lnTo>
                      <a:pt x="6" y="25"/>
                    </a:lnTo>
                    <a:lnTo>
                      <a:pt x="7" y="23"/>
                    </a:lnTo>
                    <a:lnTo>
                      <a:pt x="7" y="22"/>
                    </a:lnTo>
                    <a:lnTo>
                      <a:pt x="7" y="20"/>
                    </a:lnTo>
                    <a:lnTo>
                      <a:pt x="7" y="15"/>
                    </a:lnTo>
                    <a:lnTo>
                      <a:pt x="7" y="15"/>
                    </a:lnTo>
                    <a:lnTo>
                      <a:pt x="7" y="14"/>
                    </a:lnTo>
                    <a:lnTo>
                      <a:pt x="7" y="14"/>
                    </a:lnTo>
                    <a:lnTo>
                      <a:pt x="4" y="12"/>
                    </a:lnTo>
                    <a:lnTo>
                      <a:pt x="3" y="11"/>
                    </a:lnTo>
                    <a:lnTo>
                      <a:pt x="3" y="11"/>
                    </a:lnTo>
                    <a:lnTo>
                      <a:pt x="1" y="9"/>
                    </a:lnTo>
                    <a:lnTo>
                      <a:pt x="0" y="8"/>
                    </a:lnTo>
                    <a:lnTo>
                      <a:pt x="0" y="8"/>
                    </a:lnTo>
                    <a:lnTo>
                      <a:pt x="0" y="6"/>
                    </a:lnTo>
                    <a:lnTo>
                      <a:pt x="0" y="6"/>
                    </a:lnTo>
                    <a:lnTo>
                      <a:pt x="1" y="3"/>
                    </a:lnTo>
                    <a:lnTo>
                      <a:pt x="1" y="1"/>
                    </a:lnTo>
                    <a:lnTo>
                      <a:pt x="1" y="1"/>
                    </a:lnTo>
                    <a:lnTo>
                      <a:pt x="0" y="0"/>
                    </a:lnTo>
                    <a:lnTo>
                      <a:pt x="4" y="0"/>
                    </a:lnTo>
                    <a:lnTo>
                      <a:pt x="9" y="1"/>
                    </a:lnTo>
                    <a:lnTo>
                      <a:pt x="9" y="1"/>
                    </a:lnTo>
                    <a:lnTo>
                      <a:pt x="9" y="3"/>
                    </a:lnTo>
                    <a:lnTo>
                      <a:pt x="11" y="3"/>
                    </a:lnTo>
                    <a:lnTo>
                      <a:pt x="12" y="1"/>
                    </a:lnTo>
                    <a:lnTo>
                      <a:pt x="17"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0" name="Freeform 197">
                <a:extLst>
                  <a:ext uri="{FF2B5EF4-FFF2-40B4-BE49-F238E27FC236}">
                    <a16:creationId xmlns:a16="http://schemas.microsoft.com/office/drawing/2014/main" id="{E2AEEA3E-39EC-3DF7-2361-494DF8AEAE5D}"/>
                  </a:ext>
                </a:extLst>
              </p:cNvPr>
              <p:cNvSpPr>
                <a:spLocks noEditPoints="1"/>
              </p:cNvSpPr>
              <p:nvPr/>
            </p:nvSpPr>
            <p:spPr bwMode="gray">
              <a:xfrm>
                <a:off x="4384" y="1213"/>
                <a:ext cx="146" cy="266"/>
              </a:xfrm>
              <a:custGeom>
                <a:avLst/>
                <a:gdLst>
                  <a:gd name="T0" fmla="*/ 30 w 146"/>
                  <a:gd name="T1" fmla="*/ 233 h 266"/>
                  <a:gd name="T2" fmla="*/ 16 w 146"/>
                  <a:gd name="T3" fmla="*/ 222 h 266"/>
                  <a:gd name="T4" fmla="*/ 16 w 146"/>
                  <a:gd name="T5" fmla="*/ 205 h 266"/>
                  <a:gd name="T6" fmla="*/ 47 w 146"/>
                  <a:gd name="T7" fmla="*/ 199 h 266"/>
                  <a:gd name="T8" fmla="*/ 91 w 146"/>
                  <a:gd name="T9" fmla="*/ 158 h 266"/>
                  <a:gd name="T10" fmla="*/ 86 w 146"/>
                  <a:gd name="T11" fmla="*/ 152 h 266"/>
                  <a:gd name="T12" fmla="*/ 141 w 146"/>
                  <a:gd name="T13" fmla="*/ 83 h 266"/>
                  <a:gd name="T14" fmla="*/ 130 w 146"/>
                  <a:gd name="T15" fmla="*/ 66 h 266"/>
                  <a:gd name="T16" fmla="*/ 122 w 146"/>
                  <a:gd name="T17" fmla="*/ 48 h 266"/>
                  <a:gd name="T18" fmla="*/ 103 w 146"/>
                  <a:gd name="T19" fmla="*/ 37 h 266"/>
                  <a:gd name="T20" fmla="*/ 95 w 146"/>
                  <a:gd name="T21" fmla="*/ 45 h 266"/>
                  <a:gd name="T22" fmla="*/ 85 w 146"/>
                  <a:gd name="T23" fmla="*/ 42 h 266"/>
                  <a:gd name="T24" fmla="*/ 74 w 146"/>
                  <a:gd name="T25" fmla="*/ 48 h 266"/>
                  <a:gd name="T26" fmla="*/ 66 w 146"/>
                  <a:gd name="T27" fmla="*/ 41 h 266"/>
                  <a:gd name="T28" fmla="*/ 67 w 146"/>
                  <a:gd name="T29" fmla="*/ 22 h 266"/>
                  <a:gd name="T30" fmla="*/ 55 w 146"/>
                  <a:gd name="T31" fmla="*/ 15 h 266"/>
                  <a:gd name="T32" fmla="*/ 52 w 146"/>
                  <a:gd name="T33" fmla="*/ 0 h 266"/>
                  <a:gd name="T34" fmla="*/ 42 w 146"/>
                  <a:gd name="T35" fmla="*/ 0 h 266"/>
                  <a:gd name="T36" fmla="*/ 38 w 146"/>
                  <a:gd name="T37" fmla="*/ 5 h 266"/>
                  <a:gd name="T38" fmla="*/ 28 w 146"/>
                  <a:gd name="T39" fmla="*/ 8 h 266"/>
                  <a:gd name="T40" fmla="*/ 16 w 146"/>
                  <a:gd name="T41" fmla="*/ 14 h 266"/>
                  <a:gd name="T42" fmla="*/ 8 w 146"/>
                  <a:gd name="T43" fmla="*/ 22 h 266"/>
                  <a:gd name="T44" fmla="*/ 5 w 146"/>
                  <a:gd name="T45" fmla="*/ 34 h 266"/>
                  <a:gd name="T46" fmla="*/ 3 w 146"/>
                  <a:gd name="T47" fmla="*/ 39 h 266"/>
                  <a:gd name="T48" fmla="*/ 8 w 146"/>
                  <a:gd name="T49" fmla="*/ 50 h 266"/>
                  <a:gd name="T50" fmla="*/ 20 w 146"/>
                  <a:gd name="T51" fmla="*/ 69 h 266"/>
                  <a:gd name="T52" fmla="*/ 22 w 146"/>
                  <a:gd name="T53" fmla="*/ 80 h 266"/>
                  <a:gd name="T54" fmla="*/ 19 w 146"/>
                  <a:gd name="T55" fmla="*/ 92 h 266"/>
                  <a:gd name="T56" fmla="*/ 17 w 146"/>
                  <a:gd name="T57" fmla="*/ 106 h 266"/>
                  <a:gd name="T58" fmla="*/ 31 w 146"/>
                  <a:gd name="T59" fmla="*/ 127 h 266"/>
                  <a:gd name="T60" fmla="*/ 36 w 146"/>
                  <a:gd name="T61" fmla="*/ 144 h 266"/>
                  <a:gd name="T62" fmla="*/ 39 w 146"/>
                  <a:gd name="T63" fmla="*/ 158 h 266"/>
                  <a:gd name="T64" fmla="*/ 24 w 146"/>
                  <a:gd name="T65" fmla="*/ 177 h 266"/>
                  <a:gd name="T66" fmla="*/ 17 w 146"/>
                  <a:gd name="T67" fmla="*/ 202 h 266"/>
                  <a:gd name="T68" fmla="*/ 22 w 146"/>
                  <a:gd name="T69" fmla="*/ 219 h 266"/>
                  <a:gd name="T70" fmla="*/ 35 w 146"/>
                  <a:gd name="T71" fmla="*/ 235 h 266"/>
                  <a:gd name="T72" fmla="*/ 49 w 146"/>
                  <a:gd name="T73" fmla="*/ 250 h 266"/>
                  <a:gd name="T74" fmla="*/ 58 w 146"/>
                  <a:gd name="T75" fmla="*/ 250 h 266"/>
                  <a:gd name="T76" fmla="*/ 64 w 146"/>
                  <a:gd name="T77" fmla="*/ 260 h 266"/>
                  <a:gd name="T78" fmla="*/ 70 w 146"/>
                  <a:gd name="T79" fmla="*/ 261 h 266"/>
                  <a:gd name="T80" fmla="*/ 78 w 146"/>
                  <a:gd name="T81" fmla="*/ 263 h 266"/>
                  <a:gd name="T82" fmla="*/ 83 w 146"/>
                  <a:gd name="T83" fmla="*/ 255 h 266"/>
                  <a:gd name="T84" fmla="*/ 55 w 146"/>
                  <a:gd name="T85" fmla="*/ 239 h 266"/>
                  <a:gd name="T86" fmla="*/ 52 w 146"/>
                  <a:gd name="T87" fmla="*/ 231 h 266"/>
                  <a:gd name="T88" fmla="*/ 49 w 146"/>
                  <a:gd name="T89" fmla="*/ 216 h 266"/>
                  <a:gd name="T90" fmla="*/ 33 w 146"/>
                  <a:gd name="T91" fmla="*/ 202 h 266"/>
                  <a:gd name="T92" fmla="*/ 38 w 146"/>
                  <a:gd name="T93" fmla="*/ 172 h 266"/>
                  <a:gd name="T94" fmla="*/ 45 w 146"/>
                  <a:gd name="T95" fmla="*/ 139 h 266"/>
                  <a:gd name="T96" fmla="*/ 63 w 146"/>
                  <a:gd name="T97" fmla="*/ 127 h 266"/>
                  <a:gd name="T98" fmla="*/ 77 w 146"/>
                  <a:gd name="T99" fmla="*/ 141 h 266"/>
                  <a:gd name="T100" fmla="*/ 91 w 146"/>
                  <a:gd name="T101" fmla="*/ 152 h 266"/>
                  <a:gd name="T102" fmla="*/ 94 w 146"/>
                  <a:gd name="T103" fmla="*/ 148 h 266"/>
                  <a:gd name="T104" fmla="*/ 88 w 146"/>
                  <a:gd name="T105" fmla="*/ 130 h 266"/>
                  <a:gd name="T106" fmla="*/ 95 w 146"/>
                  <a:gd name="T107" fmla="*/ 117 h 266"/>
                  <a:gd name="T108" fmla="*/ 114 w 146"/>
                  <a:gd name="T109" fmla="*/ 111 h 266"/>
                  <a:gd name="T110" fmla="*/ 133 w 146"/>
                  <a:gd name="T111" fmla="*/ 113 h 266"/>
                  <a:gd name="T112" fmla="*/ 138 w 146"/>
                  <a:gd name="T113" fmla="*/ 111 h 266"/>
                  <a:gd name="T114" fmla="*/ 142 w 146"/>
                  <a:gd name="T115" fmla="*/ 9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 h="266">
                    <a:moveTo>
                      <a:pt x="41" y="247"/>
                    </a:moveTo>
                    <a:lnTo>
                      <a:pt x="39" y="249"/>
                    </a:lnTo>
                    <a:lnTo>
                      <a:pt x="39" y="250"/>
                    </a:lnTo>
                    <a:lnTo>
                      <a:pt x="41" y="250"/>
                    </a:lnTo>
                    <a:lnTo>
                      <a:pt x="41" y="249"/>
                    </a:lnTo>
                    <a:lnTo>
                      <a:pt x="41" y="247"/>
                    </a:lnTo>
                    <a:close/>
                    <a:moveTo>
                      <a:pt x="30" y="231"/>
                    </a:moveTo>
                    <a:lnTo>
                      <a:pt x="30" y="230"/>
                    </a:lnTo>
                    <a:lnTo>
                      <a:pt x="30" y="230"/>
                    </a:lnTo>
                    <a:lnTo>
                      <a:pt x="30" y="231"/>
                    </a:lnTo>
                    <a:lnTo>
                      <a:pt x="30" y="233"/>
                    </a:lnTo>
                    <a:lnTo>
                      <a:pt x="30" y="233"/>
                    </a:lnTo>
                    <a:lnTo>
                      <a:pt x="30" y="231"/>
                    </a:lnTo>
                    <a:close/>
                    <a:moveTo>
                      <a:pt x="20" y="222"/>
                    </a:moveTo>
                    <a:lnTo>
                      <a:pt x="20" y="225"/>
                    </a:lnTo>
                    <a:lnTo>
                      <a:pt x="22" y="225"/>
                    </a:lnTo>
                    <a:lnTo>
                      <a:pt x="22" y="224"/>
                    </a:lnTo>
                    <a:lnTo>
                      <a:pt x="20" y="222"/>
                    </a:lnTo>
                    <a:close/>
                    <a:moveTo>
                      <a:pt x="19" y="222"/>
                    </a:moveTo>
                    <a:lnTo>
                      <a:pt x="17" y="222"/>
                    </a:lnTo>
                    <a:lnTo>
                      <a:pt x="17" y="220"/>
                    </a:lnTo>
                    <a:lnTo>
                      <a:pt x="16" y="222"/>
                    </a:lnTo>
                    <a:lnTo>
                      <a:pt x="16" y="225"/>
                    </a:lnTo>
                    <a:lnTo>
                      <a:pt x="16" y="228"/>
                    </a:lnTo>
                    <a:lnTo>
                      <a:pt x="16" y="228"/>
                    </a:lnTo>
                    <a:lnTo>
                      <a:pt x="17" y="227"/>
                    </a:lnTo>
                    <a:lnTo>
                      <a:pt x="17" y="227"/>
                    </a:lnTo>
                    <a:lnTo>
                      <a:pt x="19" y="225"/>
                    </a:lnTo>
                    <a:lnTo>
                      <a:pt x="17" y="225"/>
                    </a:lnTo>
                    <a:lnTo>
                      <a:pt x="19" y="222"/>
                    </a:lnTo>
                    <a:close/>
                    <a:moveTo>
                      <a:pt x="16" y="203"/>
                    </a:moveTo>
                    <a:lnTo>
                      <a:pt x="16" y="203"/>
                    </a:lnTo>
                    <a:lnTo>
                      <a:pt x="16" y="205"/>
                    </a:lnTo>
                    <a:lnTo>
                      <a:pt x="16" y="205"/>
                    </a:lnTo>
                    <a:lnTo>
                      <a:pt x="16" y="205"/>
                    </a:lnTo>
                    <a:lnTo>
                      <a:pt x="16" y="205"/>
                    </a:lnTo>
                    <a:lnTo>
                      <a:pt x="16" y="203"/>
                    </a:lnTo>
                    <a:close/>
                    <a:moveTo>
                      <a:pt x="47" y="195"/>
                    </a:moveTo>
                    <a:lnTo>
                      <a:pt x="47" y="195"/>
                    </a:lnTo>
                    <a:lnTo>
                      <a:pt x="45" y="195"/>
                    </a:lnTo>
                    <a:lnTo>
                      <a:pt x="45" y="197"/>
                    </a:lnTo>
                    <a:lnTo>
                      <a:pt x="45" y="199"/>
                    </a:lnTo>
                    <a:lnTo>
                      <a:pt x="45" y="199"/>
                    </a:lnTo>
                    <a:lnTo>
                      <a:pt x="47" y="199"/>
                    </a:lnTo>
                    <a:lnTo>
                      <a:pt x="47" y="197"/>
                    </a:lnTo>
                    <a:lnTo>
                      <a:pt x="47" y="195"/>
                    </a:lnTo>
                    <a:close/>
                    <a:moveTo>
                      <a:pt x="47" y="192"/>
                    </a:moveTo>
                    <a:lnTo>
                      <a:pt x="47" y="192"/>
                    </a:lnTo>
                    <a:lnTo>
                      <a:pt x="45" y="192"/>
                    </a:lnTo>
                    <a:lnTo>
                      <a:pt x="45" y="192"/>
                    </a:lnTo>
                    <a:lnTo>
                      <a:pt x="47" y="194"/>
                    </a:lnTo>
                    <a:lnTo>
                      <a:pt x="47" y="194"/>
                    </a:lnTo>
                    <a:lnTo>
                      <a:pt x="47" y="194"/>
                    </a:lnTo>
                    <a:lnTo>
                      <a:pt x="47" y="192"/>
                    </a:lnTo>
                    <a:close/>
                    <a:moveTo>
                      <a:pt x="91" y="158"/>
                    </a:moveTo>
                    <a:lnTo>
                      <a:pt x="91" y="159"/>
                    </a:lnTo>
                    <a:lnTo>
                      <a:pt x="91" y="159"/>
                    </a:lnTo>
                    <a:lnTo>
                      <a:pt x="91" y="161"/>
                    </a:lnTo>
                    <a:lnTo>
                      <a:pt x="92" y="159"/>
                    </a:lnTo>
                    <a:lnTo>
                      <a:pt x="91" y="158"/>
                    </a:lnTo>
                    <a:close/>
                    <a:moveTo>
                      <a:pt x="89" y="153"/>
                    </a:moveTo>
                    <a:lnTo>
                      <a:pt x="88" y="153"/>
                    </a:lnTo>
                    <a:lnTo>
                      <a:pt x="88" y="152"/>
                    </a:lnTo>
                    <a:lnTo>
                      <a:pt x="86" y="150"/>
                    </a:lnTo>
                    <a:lnTo>
                      <a:pt x="86" y="150"/>
                    </a:lnTo>
                    <a:lnTo>
                      <a:pt x="86" y="152"/>
                    </a:lnTo>
                    <a:lnTo>
                      <a:pt x="86" y="153"/>
                    </a:lnTo>
                    <a:lnTo>
                      <a:pt x="88" y="153"/>
                    </a:lnTo>
                    <a:lnTo>
                      <a:pt x="88" y="153"/>
                    </a:lnTo>
                    <a:lnTo>
                      <a:pt x="89" y="153"/>
                    </a:lnTo>
                    <a:lnTo>
                      <a:pt x="89" y="153"/>
                    </a:lnTo>
                    <a:close/>
                    <a:moveTo>
                      <a:pt x="146" y="86"/>
                    </a:moveTo>
                    <a:lnTo>
                      <a:pt x="146" y="86"/>
                    </a:lnTo>
                    <a:lnTo>
                      <a:pt x="144" y="86"/>
                    </a:lnTo>
                    <a:lnTo>
                      <a:pt x="142" y="84"/>
                    </a:lnTo>
                    <a:lnTo>
                      <a:pt x="141" y="84"/>
                    </a:lnTo>
                    <a:lnTo>
                      <a:pt x="141" y="83"/>
                    </a:lnTo>
                    <a:lnTo>
                      <a:pt x="141" y="83"/>
                    </a:lnTo>
                    <a:lnTo>
                      <a:pt x="141" y="81"/>
                    </a:lnTo>
                    <a:lnTo>
                      <a:pt x="139" y="80"/>
                    </a:lnTo>
                    <a:lnTo>
                      <a:pt x="136" y="80"/>
                    </a:lnTo>
                    <a:lnTo>
                      <a:pt x="135" y="78"/>
                    </a:lnTo>
                    <a:lnTo>
                      <a:pt x="135" y="77"/>
                    </a:lnTo>
                    <a:lnTo>
                      <a:pt x="133" y="75"/>
                    </a:lnTo>
                    <a:lnTo>
                      <a:pt x="131" y="72"/>
                    </a:lnTo>
                    <a:lnTo>
                      <a:pt x="130" y="69"/>
                    </a:lnTo>
                    <a:lnTo>
                      <a:pt x="130" y="69"/>
                    </a:lnTo>
                    <a:lnTo>
                      <a:pt x="130" y="66"/>
                    </a:lnTo>
                    <a:lnTo>
                      <a:pt x="130" y="64"/>
                    </a:lnTo>
                    <a:lnTo>
                      <a:pt x="130" y="64"/>
                    </a:lnTo>
                    <a:lnTo>
                      <a:pt x="130" y="62"/>
                    </a:lnTo>
                    <a:lnTo>
                      <a:pt x="130" y="61"/>
                    </a:lnTo>
                    <a:lnTo>
                      <a:pt x="130" y="58"/>
                    </a:lnTo>
                    <a:lnTo>
                      <a:pt x="130" y="55"/>
                    </a:lnTo>
                    <a:lnTo>
                      <a:pt x="128" y="53"/>
                    </a:lnTo>
                    <a:lnTo>
                      <a:pt x="128" y="53"/>
                    </a:lnTo>
                    <a:lnTo>
                      <a:pt x="125" y="51"/>
                    </a:lnTo>
                    <a:lnTo>
                      <a:pt x="124" y="50"/>
                    </a:lnTo>
                    <a:lnTo>
                      <a:pt x="122" y="48"/>
                    </a:lnTo>
                    <a:lnTo>
                      <a:pt x="121" y="45"/>
                    </a:lnTo>
                    <a:lnTo>
                      <a:pt x="117" y="41"/>
                    </a:lnTo>
                    <a:lnTo>
                      <a:pt x="117" y="41"/>
                    </a:lnTo>
                    <a:lnTo>
                      <a:pt x="116" y="39"/>
                    </a:lnTo>
                    <a:lnTo>
                      <a:pt x="114" y="39"/>
                    </a:lnTo>
                    <a:lnTo>
                      <a:pt x="113" y="39"/>
                    </a:lnTo>
                    <a:lnTo>
                      <a:pt x="110" y="37"/>
                    </a:lnTo>
                    <a:lnTo>
                      <a:pt x="110" y="37"/>
                    </a:lnTo>
                    <a:lnTo>
                      <a:pt x="108" y="37"/>
                    </a:lnTo>
                    <a:lnTo>
                      <a:pt x="105" y="37"/>
                    </a:lnTo>
                    <a:lnTo>
                      <a:pt x="103" y="37"/>
                    </a:lnTo>
                    <a:lnTo>
                      <a:pt x="103" y="37"/>
                    </a:lnTo>
                    <a:lnTo>
                      <a:pt x="103" y="39"/>
                    </a:lnTo>
                    <a:lnTo>
                      <a:pt x="103" y="39"/>
                    </a:lnTo>
                    <a:lnTo>
                      <a:pt x="103" y="39"/>
                    </a:lnTo>
                    <a:lnTo>
                      <a:pt x="102" y="39"/>
                    </a:lnTo>
                    <a:lnTo>
                      <a:pt x="102" y="41"/>
                    </a:lnTo>
                    <a:lnTo>
                      <a:pt x="100" y="42"/>
                    </a:lnTo>
                    <a:lnTo>
                      <a:pt x="100" y="44"/>
                    </a:lnTo>
                    <a:lnTo>
                      <a:pt x="99" y="45"/>
                    </a:lnTo>
                    <a:lnTo>
                      <a:pt x="97" y="45"/>
                    </a:lnTo>
                    <a:lnTo>
                      <a:pt x="95" y="45"/>
                    </a:lnTo>
                    <a:lnTo>
                      <a:pt x="94" y="47"/>
                    </a:lnTo>
                    <a:lnTo>
                      <a:pt x="92" y="47"/>
                    </a:lnTo>
                    <a:lnTo>
                      <a:pt x="92" y="48"/>
                    </a:lnTo>
                    <a:lnTo>
                      <a:pt x="92" y="48"/>
                    </a:lnTo>
                    <a:lnTo>
                      <a:pt x="92" y="47"/>
                    </a:lnTo>
                    <a:lnTo>
                      <a:pt x="92" y="47"/>
                    </a:lnTo>
                    <a:lnTo>
                      <a:pt x="92" y="45"/>
                    </a:lnTo>
                    <a:lnTo>
                      <a:pt x="91" y="45"/>
                    </a:lnTo>
                    <a:lnTo>
                      <a:pt x="89" y="45"/>
                    </a:lnTo>
                    <a:lnTo>
                      <a:pt x="88" y="44"/>
                    </a:lnTo>
                    <a:lnTo>
                      <a:pt x="85" y="42"/>
                    </a:lnTo>
                    <a:lnTo>
                      <a:pt x="85" y="41"/>
                    </a:lnTo>
                    <a:lnTo>
                      <a:pt x="83" y="41"/>
                    </a:lnTo>
                    <a:lnTo>
                      <a:pt x="81" y="42"/>
                    </a:lnTo>
                    <a:lnTo>
                      <a:pt x="80" y="44"/>
                    </a:lnTo>
                    <a:lnTo>
                      <a:pt x="78" y="44"/>
                    </a:lnTo>
                    <a:lnTo>
                      <a:pt x="78" y="44"/>
                    </a:lnTo>
                    <a:lnTo>
                      <a:pt x="77" y="44"/>
                    </a:lnTo>
                    <a:lnTo>
                      <a:pt x="77" y="45"/>
                    </a:lnTo>
                    <a:lnTo>
                      <a:pt x="75" y="47"/>
                    </a:lnTo>
                    <a:lnTo>
                      <a:pt x="74" y="48"/>
                    </a:lnTo>
                    <a:lnTo>
                      <a:pt x="74" y="48"/>
                    </a:lnTo>
                    <a:lnTo>
                      <a:pt x="70" y="50"/>
                    </a:lnTo>
                    <a:lnTo>
                      <a:pt x="69" y="51"/>
                    </a:lnTo>
                    <a:lnTo>
                      <a:pt x="67" y="53"/>
                    </a:lnTo>
                    <a:lnTo>
                      <a:pt x="66" y="55"/>
                    </a:lnTo>
                    <a:lnTo>
                      <a:pt x="64" y="53"/>
                    </a:lnTo>
                    <a:lnTo>
                      <a:pt x="63" y="53"/>
                    </a:lnTo>
                    <a:lnTo>
                      <a:pt x="63" y="51"/>
                    </a:lnTo>
                    <a:lnTo>
                      <a:pt x="64" y="48"/>
                    </a:lnTo>
                    <a:lnTo>
                      <a:pt x="66" y="44"/>
                    </a:lnTo>
                    <a:lnTo>
                      <a:pt x="66" y="42"/>
                    </a:lnTo>
                    <a:lnTo>
                      <a:pt x="66" y="41"/>
                    </a:lnTo>
                    <a:lnTo>
                      <a:pt x="66" y="39"/>
                    </a:lnTo>
                    <a:lnTo>
                      <a:pt x="66" y="37"/>
                    </a:lnTo>
                    <a:lnTo>
                      <a:pt x="64" y="37"/>
                    </a:lnTo>
                    <a:lnTo>
                      <a:pt x="64" y="36"/>
                    </a:lnTo>
                    <a:lnTo>
                      <a:pt x="64" y="36"/>
                    </a:lnTo>
                    <a:lnTo>
                      <a:pt x="66" y="34"/>
                    </a:lnTo>
                    <a:lnTo>
                      <a:pt x="66" y="33"/>
                    </a:lnTo>
                    <a:lnTo>
                      <a:pt x="67" y="30"/>
                    </a:lnTo>
                    <a:lnTo>
                      <a:pt x="69" y="26"/>
                    </a:lnTo>
                    <a:lnTo>
                      <a:pt x="69" y="25"/>
                    </a:lnTo>
                    <a:lnTo>
                      <a:pt x="67" y="22"/>
                    </a:lnTo>
                    <a:lnTo>
                      <a:pt x="67" y="20"/>
                    </a:lnTo>
                    <a:lnTo>
                      <a:pt x="67" y="17"/>
                    </a:lnTo>
                    <a:lnTo>
                      <a:pt x="67" y="15"/>
                    </a:lnTo>
                    <a:lnTo>
                      <a:pt x="66" y="15"/>
                    </a:lnTo>
                    <a:lnTo>
                      <a:pt x="63" y="15"/>
                    </a:lnTo>
                    <a:lnTo>
                      <a:pt x="63" y="15"/>
                    </a:lnTo>
                    <a:lnTo>
                      <a:pt x="61" y="15"/>
                    </a:lnTo>
                    <a:lnTo>
                      <a:pt x="60" y="15"/>
                    </a:lnTo>
                    <a:lnTo>
                      <a:pt x="60" y="17"/>
                    </a:lnTo>
                    <a:lnTo>
                      <a:pt x="56" y="17"/>
                    </a:lnTo>
                    <a:lnTo>
                      <a:pt x="55" y="15"/>
                    </a:lnTo>
                    <a:lnTo>
                      <a:pt x="53" y="14"/>
                    </a:lnTo>
                    <a:lnTo>
                      <a:pt x="53" y="12"/>
                    </a:lnTo>
                    <a:lnTo>
                      <a:pt x="55" y="9"/>
                    </a:lnTo>
                    <a:lnTo>
                      <a:pt x="55" y="8"/>
                    </a:lnTo>
                    <a:lnTo>
                      <a:pt x="55" y="6"/>
                    </a:lnTo>
                    <a:lnTo>
                      <a:pt x="55" y="5"/>
                    </a:lnTo>
                    <a:lnTo>
                      <a:pt x="55" y="5"/>
                    </a:lnTo>
                    <a:lnTo>
                      <a:pt x="55" y="5"/>
                    </a:lnTo>
                    <a:lnTo>
                      <a:pt x="53" y="3"/>
                    </a:lnTo>
                    <a:lnTo>
                      <a:pt x="53" y="1"/>
                    </a:lnTo>
                    <a:lnTo>
                      <a:pt x="52" y="0"/>
                    </a:lnTo>
                    <a:lnTo>
                      <a:pt x="50" y="0"/>
                    </a:lnTo>
                    <a:lnTo>
                      <a:pt x="50" y="1"/>
                    </a:lnTo>
                    <a:lnTo>
                      <a:pt x="49" y="3"/>
                    </a:lnTo>
                    <a:lnTo>
                      <a:pt x="49" y="3"/>
                    </a:lnTo>
                    <a:lnTo>
                      <a:pt x="49" y="3"/>
                    </a:lnTo>
                    <a:lnTo>
                      <a:pt x="49" y="1"/>
                    </a:lnTo>
                    <a:lnTo>
                      <a:pt x="45" y="0"/>
                    </a:lnTo>
                    <a:lnTo>
                      <a:pt x="45" y="0"/>
                    </a:lnTo>
                    <a:lnTo>
                      <a:pt x="44" y="0"/>
                    </a:lnTo>
                    <a:lnTo>
                      <a:pt x="42" y="0"/>
                    </a:lnTo>
                    <a:lnTo>
                      <a:pt x="42" y="0"/>
                    </a:lnTo>
                    <a:lnTo>
                      <a:pt x="42" y="1"/>
                    </a:lnTo>
                    <a:lnTo>
                      <a:pt x="41" y="1"/>
                    </a:lnTo>
                    <a:lnTo>
                      <a:pt x="39" y="1"/>
                    </a:lnTo>
                    <a:lnTo>
                      <a:pt x="38" y="1"/>
                    </a:lnTo>
                    <a:lnTo>
                      <a:pt x="36" y="1"/>
                    </a:lnTo>
                    <a:lnTo>
                      <a:pt x="36" y="1"/>
                    </a:lnTo>
                    <a:lnTo>
                      <a:pt x="36" y="1"/>
                    </a:lnTo>
                    <a:lnTo>
                      <a:pt x="38" y="3"/>
                    </a:lnTo>
                    <a:lnTo>
                      <a:pt x="38" y="5"/>
                    </a:lnTo>
                    <a:lnTo>
                      <a:pt x="38" y="5"/>
                    </a:lnTo>
                    <a:lnTo>
                      <a:pt x="38" y="5"/>
                    </a:lnTo>
                    <a:lnTo>
                      <a:pt x="36" y="5"/>
                    </a:lnTo>
                    <a:lnTo>
                      <a:pt x="36" y="6"/>
                    </a:lnTo>
                    <a:lnTo>
                      <a:pt x="35" y="6"/>
                    </a:lnTo>
                    <a:lnTo>
                      <a:pt x="33" y="6"/>
                    </a:lnTo>
                    <a:lnTo>
                      <a:pt x="31" y="6"/>
                    </a:lnTo>
                    <a:lnTo>
                      <a:pt x="31" y="6"/>
                    </a:lnTo>
                    <a:lnTo>
                      <a:pt x="30" y="6"/>
                    </a:lnTo>
                    <a:lnTo>
                      <a:pt x="30" y="6"/>
                    </a:lnTo>
                    <a:lnTo>
                      <a:pt x="30" y="6"/>
                    </a:lnTo>
                    <a:lnTo>
                      <a:pt x="28" y="6"/>
                    </a:lnTo>
                    <a:lnTo>
                      <a:pt x="28" y="8"/>
                    </a:lnTo>
                    <a:lnTo>
                      <a:pt x="28" y="11"/>
                    </a:lnTo>
                    <a:lnTo>
                      <a:pt x="28" y="11"/>
                    </a:lnTo>
                    <a:lnTo>
                      <a:pt x="28" y="11"/>
                    </a:lnTo>
                    <a:lnTo>
                      <a:pt x="27" y="12"/>
                    </a:lnTo>
                    <a:lnTo>
                      <a:pt x="27" y="12"/>
                    </a:lnTo>
                    <a:lnTo>
                      <a:pt x="25" y="12"/>
                    </a:lnTo>
                    <a:lnTo>
                      <a:pt x="24" y="12"/>
                    </a:lnTo>
                    <a:lnTo>
                      <a:pt x="19" y="12"/>
                    </a:lnTo>
                    <a:lnTo>
                      <a:pt x="19" y="14"/>
                    </a:lnTo>
                    <a:lnTo>
                      <a:pt x="17" y="14"/>
                    </a:lnTo>
                    <a:lnTo>
                      <a:pt x="16" y="14"/>
                    </a:lnTo>
                    <a:lnTo>
                      <a:pt x="16" y="14"/>
                    </a:lnTo>
                    <a:lnTo>
                      <a:pt x="13" y="12"/>
                    </a:lnTo>
                    <a:lnTo>
                      <a:pt x="11" y="12"/>
                    </a:lnTo>
                    <a:lnTo>
                      <a:pt x="11" y="12"/>
                    </a:lnTo>
                    <a:lnTo>
                      <a:pt x="11" y="12"/>
                    </a:lnTo>
                    <a:lnTo>
                      <a:pt x="11" y="14"/>
                    </a:lnTo>
                    <a:lnTo>
                      <a:pt x="9" y="15"/>
                    </a:lnTo>
                    <a:lnTo>
                      <a:pt x="9" y="15"/>
                    </a:lnTo>
                    <a:lnTo>
                      <a:pt x="8" y="17"/>
                    </a:lnTo>
                    <a:lnTo>
                      <a:pt x="8" y="22"/>
                    </a:lnTo>
                    <a:lnTo>
                      <a:pt x="8" y="22"/>
                    </a:lnTo>
                    <a:lnTo>
                      <a:pt x="8" y="23"/>
                    </a:lnTo>
                    <a:lnTo>
                      <a:pt x="8" y="23"/>
                    </a:lnTo>
                    <a:lnTo>
                      <a:pt x="6" y="26"/>
                    </a:lnTo>
                    <a:lnTo>
                      <a:pt x="6" y="26"/>
                    </a:lnTo>
                    <a:lnTo>
                      <a:pt x="6" y="28"/>
                    </a:lnTo>
                    <a:lnTo>
                      <a:pt x="6" y="33"/>
                    </a:lnTo>
                    <a:lnTo>
                      <a:pt x="6" y="34"/>
                    </a:lnTo>
                    <a:lnTo>
                      <a:pt x="6" y="34"/>
                    </a:lnTo>
                    <a:lnTo>
                      <a:pt x="6" y="34"/>
                    </a:lnTo>
                    <a:lnTo>
                      <a:pt x="5" y="34"/>
                    </a:lnTo>
                    <a:lnTo>
                      <a:pt x="5" y="34"/>
                    </a:lnTo>
                    <a:lnTo>
                      <a:pt x="3" y="34"/>
                    </a:lnTo>
                    <a:lnTo>
                      <a:pt x="3" y="36"/>
                    </a:lnTo>
                    <a:lnTo>
                      <a:pt x="2" y="36"/>
                    </a:lnTo>
                    <a:lnTo>
                      <a:pt x="0" y="34"/>
                    </a:lnTo>
                    <a:lnTo>
                      <a:pt x="0" y="34"/>
                    </a:lnTo>
                    <a:lnTo>
                      <a:pt x="0" y="34"/>
                    </a:lnTo>
                    <a:lnTo>
                      <a:pt x="0" y="36"/>
                    </a:lnTo>
                    <a:lnTo>
                      <a:pt x="0" y="36"/>
                    </a:lnTo>
                    <a:lnTo>
                      <a:pt x="2" y="37"/>
                    </a:lnTo>
                    <a:lnTo>
                      <a:pt x="3" y="39"/>
                    </a:lnTo>
                    <a:lnTo>
                      <a:pt x="3" y="39"/>
                    </a:lnTo>
                    <a:lnTo>
                      <a:pt x="5" y="39"/>
                    </a:lnTo>
                    <a:lnTo>
                      <a:pt x="5" y="39"/>
                    </a:lnTo>
                    <a:lnTo>
                      <a:pt x="5" y="39"/>
                    </a:lnTo>
                    <a:lnTo>
                      <a:pt x="5" y="41"/>
                    </a:lnTo>
                    <a:lnTo>
                      <a:pt x="6" y="44"/>
                    </a:lnTo>
                    <a:lnTo>
                      <a:pt x="6" y="45"/>
                    </a:lnTo>
                    <a:lnTo>
                      <a:pt x="6" y="47"/>
                    </a:lnTo>
                    <a:lnTo>
                      <a:pt x="6" y="48"/>
                    </a:lnTo>
                    <a:lnTo>
                      <a:pt x="6" y="48"/>
                    </a:lnTo>
                    <a:lnTo>
                      <a:pt x="6" y="48"/>
                    </a:lnTo>
                    <a:lnTo>
                      <a:pt x="8" y="50"/>
                    </a:lnTo>
                    <a:lnTo>
                      <a:pt x="9" y="53"/>
                    </a:lnTo>
                    <a:lnTo>
                      <a:pt x="9" y="53"/>
                    </a:lnTo>
                    <a:lnTo>
                      <a:pt x="13" y="56"/>
                    </a:lnTo>
                    <a:lnTo>
                      <a:pt x="14" y="58"/>
                    </a:lnTo>
                    <a:lnTo>
                      <a:pt x="16" y="61"/>
                    </a:lnTo>
                    <a:lnTo>
                      <a:pt x="19" y="64"/>
                    </a:lnTo>
                    <a:lnTo>
                      <a:pt x="19" y="64"/>
                    </a:lnTo>
                    <a:lnTo>
                      <a:pt x="19" y="64"/>
                    </a:lnTo>
                    <a:lnTo>
                      <a:pt x="19" y="67"/>
                    </a:lnTo>
                    <a:lnTo>
                      <a:pt x="19" y="67"/>
                    </a:lnTo>
                    <a:lnTo>
                      <a:pt x="20" y="69"/>
                    </a:lnTo>
                    <a:lnTo>
                      <a:pt x="20" y="70"/>
                    </a:lnTo>
                    <a:lnTo>
                      <a:pt x="22" y="72"/>
                    </a:lnTo>
                    <a:lnTo>
                      <a:pt x="22" y="75"/>
                    </a:lnTo>
                    <a:lnTo>
                      <a:pt x="24" y="75"/>
                    </a:lnTo>
                    <a:lnTo>
                      <a:pt x="25" y="73"/>
                    </a:lnTo>
                    <a:lnTo>
                      <a:pt x="27" y="73"/>
                    </a:lnTo>
                    <a:lnTo>
                      <a:pt x="27" y="75"/>
                    </a:lnTo>
                    <a:lnTo>
                      <a:pt x="27" y="75"/>
                    </a:lnTo>
                    <a:lnTo>
                      <a:pt x="27" y="77"/>
                    </a:lnTo>
                    <a:lnTo>
                      <a:pt x="25" y="78"/>
                    </a:lnTo>
                    <a:lnTo>
                      <a:pt x="22" y="80"/>
                    </a:lnTo>
                    <a:lnTo>
                      <a:pt x="22" y="80"/>
                    </a:lnTo>
                    <a:lnTo>
                      <a:pt x="22" y="81"/>
                    </a:lnTo>
                    <a:lnTo>
                      <a:pt x="20" y="83"/>
                    </a:lnTo>
                    <a:lnTo>
                      <a:pt x="20" y="84"/>
                    </a:lnTo>
                    <a:lnTo>
                      <a:pt x="20" y="86"/>
                    </a:lnTo>
                    <a:lnTo>
                      <a:pt x="20" y="89"/>
                    </a:lnTo>
                    <a:lnTo>
                      <a:pt x="20" y="92"/>
                    </a:lnTo>
                    <a:lnTo>
                      <a:pt x="20" y="92"/>
                    </a:lnTo>
                    <a:lnTo>
                      <a:pt x="20" y="92"/>
                    </a:lnTo>
                    <a:lnTo>
                      <a:pt x="19" y="92"/>
                    </a:lnTo>
                    <a:lnTo>
                      <a:pt x="19" y="92"/>
                    </a:lnTo>
                    <a:lnTo>
                      <a:pt x="17" y="94"/>
                    </a:lnTo>
                    <a:lnTo>
                      <a:pt x="16" y="94"/>
                    </a:lnTo>
                    <a:lnTo>
                      <a:pt x="16" y="95"/>
                    </a:lnTo>
                    <a:lnTo>
                      <a:pt x="14" y="95"/>
                    </a:lnTo>
                    <a:lnTo>
                      <a:pt x="14" y="95"/>
                    </a:lnTo>
                    <a:lnTo>
                      <a:pt x="14" y="95"/>
                    </a:lnTo>
                    <a:lnTo>
                      <a:pt x="14" y="97"/>
                    </a:lnTo>
                    <a:lnTo>
                      <a:pt x="14" y="100"/>
                    </a:lnTo>
                    <a:lnTo>
                      <a:pt x="16" y="103"/>
                    </a:lnTo>
                    <a:lnTo>
                      <a:pt x="17" y="105"/>
                    </a:lnTo>
                    <a:lnTo>
                      <a:pt x="17" y="106"/>
                    </a:lnTo>
                    <a:lnTo>
                      <a:pt x="17" y="106"/>
                    </a:lnTo>
                    <a:lnTo>
                      <a:pt x="20" y="109"/>
                    </a:lnTo>
                    <a:lnTo>
                      <a:pt x="20" y="111"/>
                    </a:lnTo>
                    <a:lnTo>
                      <a:pt x="24" y="113"/>
                    </a:lnTo>
                    <a:lnTo>
                      <a:pt x="27" y="116"/>
                    </a:lnTo>
                    <a:lnTo>
                      <a:pt x="28" y="119"/>
                    </a:lnTo>
                    <a:lnTo>
                      <a:pt x="30" y="120"/>
                    </a:lnTo>
                    <a:lnTo>
                      <a:pt x="31" y="122"/>
                    </a:lnTo>
                    <a:lnTo>
                      <a:pt x="31" y="125"/>
                    </a:lnTo>
                    <a:lnTo>
                      <a:pt x="31" y="125"/>
                    </a:lnTo>
                    <a:lnTo>
                      <a:pt x="31" y="127"/>
                    </a:lnTo>
                    <a:lnTo>
                      <a:pt x="31" y="131"/>
                    </a:lnTo>
                    <a:lnTo>
                      <a:pt x="31" y="131"/>
                    </a:lnTo>
                    <a:lnTo>
                      <a:pt x="30" y="133"/>
                    </a:lnTo>
                    <a:lnTo>
                      <a:pt x="31" y="134"/>
                    </a:lnTo>
                    <a:lnTo>
                      <a:pt x="31" y="136"/>
                    </a:lnTo>
                    <a:lnTo>
                      <a:pt x="31" y="138"/>
                    </a:lnTo>
                    <a:lnTo>
                      <a:pt x="33" y="139"/>
                    </a:lnTo>
                    <a:lnTo>
                      <a:pt x="35" y="141"/>
                    </a:lnTo>
                    <a:lnTo>
                      <a:pt x="35" y="142"/>
                    </a:lnTo>
                    <a:lnTo>
                      <a:pt x="35" y="142"/>
                    </a:lnTo>
                    <a:lnTo>
                      <a:pt x="36" y="144"/>
                    </a:lnTo>
                    <a:lnTo>
                      <a:pt x="36" y="144"/>
                    </a:lnTo>
                    <a:lnTo>
                      <a:pt x="36" y="144"/>
                    </a:lnTo>
                    <a:lnTo>
                      <a:pt x="36" y="145"/>
                    </a:lnTo>
                    <a:lnTo>
                      <a:pt x="36" y="147"/>
                    </a:lnTo>
                    <a:lnTo>
                      <a:pt x="36" y="147"/>
                    </a:lnTo>
                    <a:lnTo>
                      <a:pt x="36" y="150"/>
                    </a:lnTo>
                    <a:lnTo>
                      <a:pt x="38" y="152"/>
                    </a:lnTo>
                    <a:lnTo>
                      <a:pt x="39" y="156"/>
                    </a:lnTo>
                    <a:lnTo>
                      <a:pt x="39" y="158"/>
                    </a:lnTo>
                    <a:lnTo>
                      <a:pt x="39" y="158"/>
                    </a:lnTo>
                    <a:lnTo>
                      <a:pt x="39" y="158"/>
                    </a:lnTo>
                    <a:lnTo>
                      <a:pt x="38" y="159"/>
                    </a:lnTo>
                    <a:lnTo>
                      <a:pt x="38" y="159"/>
                    </a:lnTo>
                    <a:lnTo>
                      <a:pt x="38" y="159"/>
                    </a:lnTo>
                    <a:lnTo>
                      <a:pt x="36" y="161"/>
                    </a:lnTo>
                    <a:lnTo>
                      <a:pt x="35" y="164"/>
                    </a:lnTo>
                    <a:lnTo>
                      <a:pt x="31" y="169"/>
                    </a:lnTo>
                    <a:lnTo>
                      <a:pt x="28" y="172"/>
                    </a:lnTo>
                    <a:lnTo>
                      <a:pt x="27" y="175"/>
                    </a:lnTo>
                    <a:lnTo>
                      <a:pt x="25" y="177"/>
                    </a:lnTo>
                    <a:lnTo>
                      <a:pt x="25" y="177"/>
                    </a:lnTo>
                    <a:lnTo>
                      <a:pt x="24" y="177"/>
                    </a:lnTo>
                    <a:lnTo>
                      <a:pt x="24" y="178"/>
                    </a:lnTo>
                    <a:lnTo>
                      <a:pt x="25" y="178"/>
                    </a:lnTo>
                    <a:lnTo>
                      <a:pt x="25" y="181"/>
                    </a:lnTo>
                    <a:lnTo>
                      <a:pt x="24" y="183"/>
                    </a:lnTo>
                    <a:lnTo>
                      <a:pt x="24" y="184"/>
                    </a:lnTo>
                    <a:lnTo>
                      <a:pt x="24" y="184"/>
                    </a:lnTo>
                    <a:lnTo>
                      <a:pt x="24" y="184"/>
                    </a:lnTo>
                    <a:lnTo>
                      <a:pt x="20" y="191"/>
                    </a:lnTo>
                    <a:lnTo>
                      <a:pt x="20" y="197"/>
                    </a:lnTo>
                    <a:lnTo>
                      <a:pt x="19" y="197"/>
                    </a:lnTo>
                    <a:lnTo>
                      <a:pt x="17" y="202"/>
                    </a:lnTo>
                    <a:lnTo>
                      <a:pt x="17" y="206"/>
                    </a:lnTo>
                    <a:lnTo>
                      <a:pt x="16" y="210"/>
                    </a:lnTo>
                    <a:lnTo>
                      <a:pt x="16" y="214"/>
                    </a:lnTo>
                    <a:lnTo>
                      <a:pt x="16" y="216"/>
                    </a:lnTo>
                    <a:lnTo>
                      <a:pt x="16" y="220"/>
                    </a:lnTo>
                    <a:lnTo>
                      <a:pt x="17" y="220"/>
                    </a:lnTo>
                    <a:lnTo>
                      <a:pt x="19" y="220"/>
                    </a:lnTo>
                    <a:lnTo>
                      <a:pt x="19" y="219"/>
                    </a:lnTo>
                    <a:lnTo>
                      <a:pt x="20" y="219"/>
                    </a:lnTo>
                    <a:lnTo>
                      <a:pt x="20" y="217"/>
                    </a:lnTo>
                    <a:lnTo>
                      <a:pt x="22" y="219"/>
                    </a:lnTo>
                    <a:lnTo>
                      <a:pt x="24" y="219"/>
                    </a:lnTo>
                    <a:lnTo>
                      <a:pt x="25" y="222"/>
                    </a:lnTo>
                    <a:lnTo>
                      <a:pt x="27" y="224"/>
                    </a:lnTo>
                    <a:lnTo>
                      <a:pt x="28" y="225"/>
                    </a:lnTo>
                    <a:lnTo>
                      <a:pt x="30" y="225"/>
                    </a:lnTo>
                    <a:lnTo>
                      <a:pt x="30" y="228"/>
                    </a:lnTo>
                    <a:lnTo>
                      <a:pt x="30" y="228"/>
                    </a:lnTo>
                    <a:lnTo>
                      <a:pt x="31" y="228"/>
                    </a:lnTo>
                    <a:lnTo>
                      <a:pt x="33" y="230"/>
                    </a:lnTo>
                    <a:lnTo>
                      <a:pt x="35" y="231"/>
                    </a:lnTo>
                    <a:lnTo>
                      <a:pt x="35" y="235"/>
                    </a:lnTo>
                    <a:lnTo>
                      <a:pt x="36" y="236"/>
                    </a:lnTo>
                    <a:lnTo>
                      <a:pt x="38" y="236"/>
                    </a:lnTo>
                    <a:lnTo>
                      <a:pt x="39" y="235"/>
                    </a:lnTo>
                    <a:lnTo>
                      <a:pt x="38" y="238"/>
                    </a:lnTo>
                    <a:lnTo>
                      <a:pt x="39" y="239"/>
                    </a:lnTo>
                    <a:lnTo>
                      <a:pt x="41" y="239"/>
                    </a:lnTo>
                    <a:lnTo>
                      <a:pt x="41" y="239"/>
                    </a:lnTo>
                    <a:lnTo>
                      <a:pt x="41" y="244"/>
                    </a:lnTo>
                    <a:lnTo>
                      <a:pt x="44" y="246"/>
                    </a:lnTo>
                    <a:lnTo>
                      <a:pt x="49" y="252"/>
                    </a:lnTo>
                    <a:lnTo>
                      <a:pt x="49" y="250"/>
                    </a:lnTo>
                    <a:lnTo>
                      <a:pt x="49" y="247"/>
                    </a:lnTo>
                    <a:lnTo>
                      <a:pt x="49" y="247"/>
                    </a:lnTo>
                    <a:lnTo>
                      <a:pt x="50" y="247"/>
                    </a:lnTo>
                    <a:lnTo>
                      <a:pt x="50" y="247"/>
                    </a:lnTo>
                    <a:lnTo>
                      <a:pt x="50" y="247"/>
                    </a:lnTo>
                    <a:lnTo>
                      <a:pt x="52" y="249"/>
                    </a:lnTo>
                    <a:lnTo>
                      <a:pt x="56" y="250"/>
                    </a:lnTo>
                    <a:lnTo>
                      <a:pt x="56" y="250"/>
                    </a:lnTo>
                    <a:lnTo>
                      <a:pt x="56" y="252"/>
                    </a:lnTo>
                    <a:lnTo>
                      <a:pt x="58" y="250"/>
                    </a:lnTo>
                    <a:lnTo>
                      <a:pt x="58" y="250"/>
                    </a:lnTo>
                    <a:lnTo>
                      <a:pt x="60" y="250"/>
                    </a:lnTo>
                    <a:lnTo>
                      <a:pt x="60" y="252"/>
                    </a:lnTo>
                    <a:lnTo>
                      <a:pt x="61" y="253"/>
                    </a:lnTo>
                    <a:lnTo>
                      <a:pt x="61" y="255"/>
                    </a:lnTo>
                    <a:lnTo>
                      <a:pt x="64" y="255"/>
                    </a:lnTo>
                    <a:lnTo>
                      <a:pt x="64" y="255"/>
                    </a:lnTo>
                    <a:lnTo>
                      <a:pt x="64" y="255"/>
                    </a:lnTo>
                    <a:lnTo>
                      <a:pt x="64" y="256"/>
                    </a:lnTo>
                    <a:lnTo>
                      <a:pt x="66" y="258"/>
                    </a:lnTo>
                    <a:lnTo>
                      <a:pt x="64" y="260"/>
                    </a:lnTo>
                    <a:lnTo>
                      <a:pt x="64" y="260"/>
                    </a:lnTo>
                    <a:lnTo>
                      <a:pt x="64" y="261"/>
                    </a:lnTo>
                    <a:lnTo>
                      <a:pt x="63" y="263"/>
                    </a:lnTo>
                    <a:lnTo>
                      <a:pt x="64" y="264"/>
                    </a:lnTo>
                    <a:lnTo>
                      <a:pt x="66" y="264"/>
                    </a:lnTo>
                    <a:lnTo>
                      <a:pt x="66" y="266"/>
                    </a:lnTo>
                    <a:lnTo>
                      <a:pt x="66" y="266"/>
                    </a:lnTo>
                    <a:lnTo>
                      <a:pt x="67" y="264"/>
                    </a:lnTo>
                    <a:lnTo>
                      <a:pt x="67" y="264"/>
                    </a:lnTo>
                    <a:lnTo>
                      <a:pt x="67" y="263"/>
                    </a:lnTo>
                    <a:lnTo>
                      <a:pt x="69" y="263"/>
                    </a:lnTo>
                    <a:lnTo>
                      <a:pt x="70" y="261"/>
                    </a:lnTo>
                    <a:lnTo>
                      <a:pt x="74" y="261"/>
                    </a:lnTo>
                    <a:lnTo>
                      <a:pt x="74" y="261"/>
                    </a:lnTo>
                    <a:lnTo>
                      <a:pt x="74" y="261"/>
                    </a:lnTo>
                    <a:lnTo>
                      <a:pt x="74" y="261"/>
                    </a:lnTo>
                    <a:lnTo>
                      <a:pt x="75" y="263"/>
                    </a:lnTo>
                    <a:lnTo>
                      <a:pt x="75" y="263"/>
                    </a:lnTo>
                    <a:lnTo>
                      <a:pt x="75" y="263"/>
                    </a:lnTo>
                    <a:lnTo>
                      <a:pt x="77" y="263"/>
                    </a:lnTo>
                    <a:lnTo>
                      <a:pt x="78" y="263"/>
                    </a:lnTo>
                    <a:lnTo>
                      <a:pt x="78" y="263"/>
                    </a:lnTo>
                    <a:lnTo>
                      <a:pt x="78" y="263"/>
                    </a:lnTo>
                    <a:lnTo>
                      <a:pt x="80" y="261"/>
                    </a:lnTo>
                    <a:lnTo>
                      <a:pt x="80" y="261"/>
                    </a:lnTo>
                    <a:lnTo>
                      <a:pt x="80" y="260"/>
                    </a:lnTo>
                    <a:lnTo>
                      <a:pt x="80" y="260"/>
                    </a:lnTo>
                    <a:lnTo>
                      <a:pt x="80" y="260"/>
                    </a:lnTo>
                    <a:lnTo>
                      <a:pt x="81" y="258"/>
                    </a:lnTo>
                    <a:lnTo>
                      <a:pt x="81" y="258"/>
                    </a:lnTo>
                    <a:lnTo>
                      <a:pt x="81" y="258"/>
                    </a:lnTo>
                    <a:lnTo>
                      <a:pt x="83" y="256"/>
                    </a:lnTo>
                    <a:lnTo>
                      <a:pt x="83" y="255"/>
                    </a:lnTo>
                    <a:lnTo>
                      <a:pt x="83" y="255"/>
                    </a:lnTo>
                    <a:lnTo>
                      <a:pt x="78" y="250"/>
                    </a:lnTo>
                    <a:lnTo>
                      <a:pt x="75" y="246"/>
                    </a:lnTo>
                    <a:lnTo>
                      <a:pt x="72" y="244"/>
                    </a:lnTo>
                    <a:lnTo>
                      <a:pt x="70" y="244"/>
                    </a:lnTo>
                    <a:lnTo>
                      <a:pt x="69" y="242"/>
                    </a:lnTo>
                    <a:lnTo>
                      <a:pt x="66" y="244"/>
                    </a:lnTo>
                    <a:lnTo>
                      <a:pt x="64" y="244"/>
                    </a:lnTo>
                    <a:lnTo>
                      <a:pt x="60" y="241"/>
                    </a:lnTo>
                    <a:lnTo>
                      <a:pt x="58" y="239"/>
                    </a:lnTo>
                    <a:lnTo>
                      <a:pt x="56" y="238"/>
                    </a:lnTo>
                    <a:lnTo>
                      <a:pt x="55" y="239"/>
                    </a:lnTo>
                    <a:lnTo>
                      <a:pt x="53" y="238"/>
                    </a:lnTo>
                    <a:lnTo>
                      <a:pt x="53" y="236"/>
                    </a:lnTo>
                    <a:lnTo>
                      <a:pt x="50" y="233"/>
                    </a:lnTo>
                    <a:lnTo>
                      <a:pt x="49" y="231"/>
                    </a:lnTo>
                    <a:lnTo>
                      <a:pt x="49" y="228"/>
                    </a:lnTo>
                    <a:lnTo>
                      <a:pt x="50" y="228"/>
                    </a:lnTo>
                    <a:lnTo>
                      <a:pt x="52" y="228"/>
                    </a:lnTo>
                    <a:lnTo>
                      <a:pt x="52" y="230"/>
                    </a:lnTo>
                    <a:lnTo>
                      <a:pt x="52" y="231"/>
                    </a:lnTo>
                    <a:lnTo>
                      <a:pt x="52" y="231"/>
                    </a:lnTo>
                    <a:lnTo>
                      <a:pt x="52" y="231"/>
                    </a:lnTo>
                    <a:lnTo>
                      <a:pt x="53" y="231"/>
                    </a:lnTo>
                    <a:lnTo>
                      <a:pt x="53" y="233"/>
                    </a:lnTo>
                    <a:lnTo>
                      <a:pt x="53" y="236"/>
                    </a:lnTo>
                    <a:lnTo>
                      <a:pt x="56" y="238"/>
                    </a:lnTo>
                    <a:lnTo>
                      <a:pt x="55" y="236"/>
                    </a:lnTo>
                    <a:lnTo>
                      <a:pt x="53" y="233"/>
                    </a:lnTo>
                    <a:lnTo>
                      <a:pt x="52" y="219"/>
                    </a:lnTo>
                    <a:lnTo>
                      <a:pt x="50" y="216"/>
                    </a:lnTo>
                    <a:lnTo>
                      <a:pt x="49" y="214"/>
                    </a:lnTo>
                    <a:lnTo>
                      <a:pt x="49" y="216"/>
                    </a:lnTo>
                    <a:lnTo>
                      <a:pt x="49" y="216"/>
                    </a:lnTo>
                    <a:lnTo>
                      <a:pt x="49" y="216"/>
                    </a:lnTo>
                    <a:lnTo>
                      <a:pt x="47" y="214"/>
                    </a:lnTo>
                    <a:lnTo>
                      <a:pt x="45" y="214"/>
                    </a:lnTo>
                    <a:lnTo>
                      <a:pt x="45" y="213"/>
                    </a:lnTo>
                    <a:lnTo>
                      <a:pt x="44" y="205"/>
                    </a:lnTo>
                    <a:lnTo>
                      <a:pt x="44" y="203"/>
                    </a:lnTo>
                    <a:lnTo>
                      <a:pt x="44" y="202"/>
                    </a:lnTo>
                    <a:lnTo>
                      <a:pt x="41" y="200"/>
                    </a:lnTo>
                    <a:lnTo>
                      <a:pt x="36" y="202"/>
                    </a:lnTo>
                    <a:lnTo>
                      <a:pt x="35" y="202"/>
                    </a:lnTo>
                    <a:lnTo>
                      <a:pt x="33" y="202"/>
                    </a:lnTo>
                    <a:lnTo>
                      <a:pt x="33" y="200"/>
                    </a:lnTo>
                    <a:lnTo>
                      <a:pt x="33" y="199"/>
                    </a:lnTo>
                    <a:lnTo>
                      <a:pt x="31" y="195"/>
                    </a:lnTo>
                    <a:lnTo>
                      <a:pt x="31" y="194"/>
                    </a:lnTo>
                    <a:lnTo>
                      <a:pt x="31" y="189"/>
                    </a:lnTo>
                    <a:lnTo>
                      <a:pt x="31" y="186"/>
                    </a:lnTo>
                    <a:lnTo>
                      <a:pt x="31" y="184"/>
                    </a:lnTo>
                    <a:lnTo>
                      <a:pt x="31" y="183"/>
                    </a:lnTo>
                    <a:lnTo>
                      <a:pt x="33" y="181"/>
                    </a:lnTo>
                    <a:lnTo>
                      <a:pt x="33" y="178"/>
                    </a:lnTo>
                    <a:lnTo>
                      <a:pt x="38" y="172"/>
                    </a:lnTo>
                    <a:lnTo>
                      <a:pt x="38" y="169"/>
                    </a:lnTo>
                    <a:lnTo>
                      <a:pt x="38" y="167"/>
                    </a:lnTo>
                    <a:lnTo>
                      <a:pt x="39" y="163"/>
                    </a:lnTo>
                    <a:lnTo>
                      <a:pt x="41" y="159"/>
                    </a:lnTo>
                    <a:lnTo>
                      <a:pt x="42" y="158"/>
                    </a:lnTo>
                    <a:lnTo>
                      <a:pt x="44" y="155"/>
                    </a:lnTo>
                    <a:lnTo>
                      <a:pt x="45" y="152"/>
                    </a:lnTo>
                    <a:lnTo>
                      <a:pt x="45" y="150"/>
                    </a:lnTo>
                    <a:lnTo>
                      <a:pt x="45" y="147"/>
                    </a:lnTo>
                    <a:lnTo>
                      <a:pt x="45" y="141"/>
                    </a:lnTo>
                    <a:lnTo>
                      <a:pt x="45" y="139"/>
                    </a:lnTo>
                    <a:lnTo>
                      <a:pt x="47" y="134"/>
                    </a:lnTo>
                    <a:lnTo>
                      <a:pt x="47" y="131"/>
                    </a:lnTo>
                    <a:lnTo>
                      <a:pt x="45" y="131"/>
                    </a:lnTo>
                    <a:lnTo>
                      <a:pt x="47" y="128"/>
                    </a:lnTo>
                    <a:lnTo>
                      <a:pt x="49" y="127"/>
                    </a:lnTo>
                    <a:lnTo>
                      <a:pt x="50" y="127"/>
                    </a:lnTo>
                    <a:lnTo>
                      <a:pt x="55" y="127"/>
                    </a:lnTo>
                    <a:lnTo>
                      <a:pt x="56" y="125"/>
                    </a:lnTo>
                    <a:lnTo>
                      <a:pt x="58" y="125"/>
                    </a:lnTo>
                    <a:lnTo>
                      <a:pt x="63" y="127"/>
                    </a:lnTo>
                    <a:lnTo>
                      <a:pt x="63" y="127"/>
                    </a:lnTo>
                    <a:lnTo>
                      <a:pt x="63" y="128"/>
                    </a:lnTo>
                    <a:lnTo>
                      <a:pt x="63" y="130"/>
                    </a:lnTo>
                    <a:lnTo>
                      <a:pt x="63" y="131"/>
                    </a:lnTo>
                    <a:lnTo>
                      <a:pt x="63" y="134"/>
                    </a:lnTo>
                    <a:lnTo>
                      <a:pt x="61" y="138"/>
                    </a:lnTo>
                    <a:lnTo>
                      <a:pt x="61" y="141"/>
                    </a:lnTo>
                    <a:lnTo>
                      <a:pt x="61" y="141"/>
                    </a:lnTo>
                    <a:lnTo>
                      <a:pt x="63" y="142"/>
                    </a:lnTo>
                    <a:lnTo>
                      <a:pt x="66" y="141"/>
                    </a:lnTo>
                    <a:lnTo>
                      <a:pt x="72" y="142"/>
                    </a:lnTo>
                    <a:lnTo>
                      <a:pt x="77" y="141"/>
                    </a:lnTo>
                    <a:lnTo>
                      <a:pt x="78" y="142"/>
                    </a:lnTo>
                    <a:lnTo>
                      <a:pt x="80" y="142"/>
                    </a:lnTo>
                    <a:lnTo>
                      <a:pt x="80" y="142"/>
                    </a:lnTo>
                    <a:lnTo>
                      <a:pt x="81" y="144"/>
                    </a:lnTo>
                    <a:lnTo>
                      <a:pt x="83" y="145"/>
                    </a:lnTo>
                    <a:lnTo>
                      <a:pt x="85" y="147"/>
                    </a:lnTo>
                    <a:lnTo>
                      <a:pt x="86" y="147"/>
                    </a:lnTo>
                    <a:lnTo>
                      <a:pt x="86" y="145"/>
                    </a:lnTo>
                    <a:lnTo>
                      <a:pt x="88" y="148"/>
                    </a:lnTo>
                    <a:lnTo>
                      <a:pt x="89" y="150"/>
                    </a:lnTo>
                    <a:lnTo>
                      <a:pt x="91" y="152"/>
                    </a:lnTo>
                    <a:lnTo>
                      <a:pt x="91" y="150"/>
                    </a:lnTo>
                    <a:lnTo>
                      <a:pt x="92" y="150"/>
                    </a:lnTo>
                    <a:lnTo>
                      <a:pt x="92" y="150"/>
                    </a:lnTo>
                    <a:lnTo>
                      <a:pt x="94" y="153"/>
                    </a:lnTo>
                    <a:lnTo>
                      <a:pt x="95" y="155"/>
                    </a:lnTo>
                    <a:lnTo>
                      <a:pt x="97" y="156"/>
                    </a:lnTo>
                    <a:lnTo>
                      <a:pt x="97" y="158"/>
                    </a:lnTo>
                    <a:lnTo>
                      <a:pt x="97" y="158"/>
                    </a:lnTo>
                    <a:lnTo>
                      <a:pt x="97" y="158"/>
                    </a:lnTo>
                    <a:lnTo>
                      <a:pt x="94" y="152"/>
                    </a:lnTo>
                    <a:lnTo>
                      <a:pt x="94" y="148"/>
                    </a:lnTo>
                    <a:lnTo>
                      <a:pt x="94" y="145"/>
                    </a:lnTo>
                    <a:lnTo>
                      <a:pt x="94" y="145"/>
                    </a:lnTo>
                    <a:lnTo>
                      <a:pt x="94" y="144"/>
                    </a:lnTo>
                    <a:lnTo>
                      <a:pt x="92" y="142"/>
                    </a:lnTo>
                    <a:lnTo>
                      <a:pt x="92" y="142"/>
                    </a:lnTo>
                    <a:lnTo>
                      <a:pt x="89" y="141"/>
                    </a:lnTo>
                    <a:lnTo>
                      <a:pt x="89" y="138"/>
                    </a:lnTo>
                    <a:lnTo>
                      <a:pt x="89" y="134"/>
                    </a:lnTo>
                    <a:lnTo>
                      <a:pt x="89" y="134"/>
                    </a:lnTo>
                    <a:lnTo>
                      <a:pt x="88" y="131"/>
                    </a:lnTo>
                    <a:lnTo>
                      <a:pt x="88" y="130"/>
                    </a:lnTo>
                    <a:lnTo>
                      <a:pt x="86" y="125"/>
                    </a:lnTo>
                    <a:lnTo>
                      <a:pt x="88" y="125"/>
                    </a:lnTo>
                    <a:lnTo>
                      <a:pt x="88" y="125"/>
                    </a:lnTo>
                    <a:lnTo>
                      <a:pt x="89" y="125"/>
                    </a:lnTo>
                    <a:lnTo>
                      <a:pt x="91" y="125"/>
                    </a:lnTo>
                    <a:lnTo>
                      <a:pt x="91" y="123"/>
                    </a:lnTo>
                    <a:lnTo>
                      <a:pt x="91" y="123"/>
                    </a:lnTo>
                    <a:lnTo>
                      <a:pt x="91" y="123"/>
                    </a:lnTo>
                    <a:lnTo>
                      <a:pt x="92" y="122"/>
                    </a:lnTo>
                    <a:lnTo>
                      <a:pt x="94" y="120"/>
                    </a:lnTo>
                    <a:lnTo>
                      <a:pt x="95" y="117"/>
                    </a:lnTo>
                    <a:lnTo>
                      <a:pt x="97" y="116"/>
                    </a:lnTo>
                    <a:lnTo>
                      <a:pt x="97" y="114"/>
                    </a:lnTo>
                    <a:lnTo>
                      <a:pt x="99" y="113"/>
                    </a:lnTo>
                    <a:lnTo>
                      <a:pt x="102" y="111"/>
                    </a:lnTo>
                    <a:lnTo>
                      <a:pt x="105" y="111"/>
                    </a:lnTo>
                    <a:lnTo>
                      <a:pt x="106" y="111"/>
                    </a:lnTo>
                    <a:lnTo>
                      <a:pt x="108" y="109"/>
                    </a:lnTo>
                    <a:lnTo>
                      <a:pt x="110" y="109"/>
                    </a:lnTo>
                    <a:lnTo>
                      <a:pt x="111" y="111"/>
                    </a:lnTo>
                    <a:lnTo>
                      <a:pt x="113" y="111"/>
                    </a:lnTo>
                    <a:lnTo>
                      <a:pt x="114" y="111"/>
                    </a:lnTo>
                    <a:lnTo>
                      <a:pt x="116" y="111"/>
                    </a:lnTo>
                    <a:lnTo>
                      <a:pt x="116" y="111"/>
                    </a:lnTo>
                    <a:lnTo>
                      <a:pt x="117" y="111"/>
                    </a:lnTo>
                    <a:lnTo>
                      <a:pt x="121" y="109"/>
                    </a:lnTo>
                    <a:lnTo>
                      <a:pt x="124" y="111"/>
                    </a:lnTo>
                    <a:lnTo>
                      <a:pt x="127" y="109"/>
                    </a:lnTo>
                    <a:lnTo>
                      <a:pt x="130" y="109"/>
                    </a:lnTo>
                    <a:lnTo>
                      <a:pt x="131" y="109"/>
                    </a:lnTo>
                    <a:lnTo>
                      <a:pt x="133" y="111"/>
                    </a:lnTo>
                    <a:lnTo>
                      <a:pt x="133" y="111"/>
                    </a:lnTo>
                    <a:lnTo>
                      <a:pt x="133" y="113"/>
                    </a:lnTo>
                    <a:lnTo>
                      <a:pt x="135" y="113"/>
                    </a:lnTo>
                    <a:lnTo>
                      <a:pt x="135" y="113"/>
                    </a:lnTo>
                    <a:lnTo>
                      <a:pt x="135" y="113"/>
                    </a:lnTo>
                    <a:lnTo>
                      <a:pt x="136" y="113"/>
                    </a:lnTo>
                    <a:lnTo>
                      <a:pt x="136" y="113"/>
                    </a:lnTo>
                    <a:lnTo>
                      <a:pt x="136" y="111"/>
                    </a:lnTo>
                    <a:lnTo>
                      <a:pt x="136" y="111"/>
                    </a:lnTo>
                    <a:lnTo>
                      <a:pt x="138" y="111"/>
                    </a:lnTo>
                    <a:lnTo>
                      <a:pt x="138" y="111"/>
                    </a:lnTo>
                    <a:lnTo>
                      <a:pt x="138" y="111"/>
                    </a:lnTo>
                    <a:lnTo>
                      <a:pt x="138" y="111"/>
                    </a:lnTo>
                    <a:lnTo>
                      <a:pt x="138" y="111"/>
                    </a:lnTo>
                    <a:lnTo>
                      <a:pt x="139" y="109"/>
                    </a:lnTo>
                    <a:lnTo>
                      <a:pt x="141" y="109"/>
                    </a:lnTo>
                    <a:lnTo>
                      <a:pt x="142" y="108"/>
                    </a:lnTo>
                    <a:lnTo>
                      <a:pt x="142" y="106"/>
                    </a:lnTo>
                    <a:lnTo>
                      <a:pt x="142" y="105"/>
                    </a:lnTo>
                    <a:lnTo>
                      <a:pt x="142" y="102"/>
                    </a:lnTo>
                    <a:lnTo>
                      <a:pt x="144" y="100"/>
                    </a:lnTo>
                    <a:lnTo>
                      <a:pt x="144" y="98"/>
                    </a:lnTo>
                    <a:lnTo>
                      <a:pt x="142" y="97"/>
                    </a:lnTo>
                    <a:lnTo>
                      <a:pt x="142" y="94"/>
                    </a:lnTo>
                    <a:lnTo>
                      <a:pt x="142" y="94"/>
                    </a:lnTo>
                    <a:lnTo>
                      <a:pt x="142" y="92"/>
                    </a:lnTo>
                    <a:lnTo>
                      <a:pt x="144" y="92"/>
                    </a:lnTo>
                    <a:lnTo>
                      <a:pt x="144" y="91"/>
                    </a:lnTo>
                    <a:lnTo>
                      <a:pt x="146" y="89"/>
                    </a:lnTo>
                    <a:lnTo>
                      <a:pt x="146" y="87"/>
                    </a:lnTo>
                    <a:lnTo>
                      <a:pt x="146" y="8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1" name="Freeform 198">
                <a:extLst>
                  <a:ext uri="{FF2B5EF4-FFF2-40B4-BE49-F238E27FC236}">
                    <a16:creationId xmlns:a16="http://schemas.microsoft.com/office/drawing/2014/main" id="{A3461E61-8977-39F9-5633-4D10CC72C966}"/>
                  </a:ext>
                </a:extLst>
              </p:cNvPr>
              <p:cNvSpPr>
                <a:spLocks noEditPoints="1"/>
              </p:cNvSpPr>
              <p:nvPr/>
            </p:nvSpPr>
            <p:spPr bwMode="gray">
              <a:xfrm>
                <a:off x="3857" y="790"/>
                <a:ext cx="136" cy="97"/>
              </a:xfrm>
              <a:custGeom>
                <a:avLst/>
                <a:gdLst>
                  <a:gd name="T0" fmla="*/ 55 w 136"/>
                  <a:gd name="T1" fmla="*/ 27 h 97"/>
                  <a:gd name="T2" fmla="*/ 56 w 136"/>
                  <a:gd name="T3" fmla="*/ 0 h 97"/>
                  <a:gd name="T4" fmla="*/ 136 w 136"/>
                  <a:gd name="T5" fmla="*/ 80 h 97"/>
                  <a:gd name="T6" fmla="*/ 133 w 136"/>
                  <a:gd name="T7" fmla="*/ 72 h 97"/>
                  <a:gd name="T8" fmla="*/ 132 w 136"/>
                  <a:gd name="T9" fmla="*/ 60 h 97"/>
                  <a:gd name="T10" fmla="*/ 119 w 136"/>
                  <a:gd name="T11" fmla="*/ 54 h 97"/>
                  <a:gd name="T12" fmla="*/ 113 w 136"/>
                  <a:gd name="T13" fmla="*/ 54 h 97"/>
                  <a:gd name="T14" fmla="*/ 113 w 136"/>
                  <a:gd name="T15" fmla="*/ 47 h 97"/>
                  <a:gd name="T16" fmla="*/ 110 w 136"/>
                  <a:gd name="T17" fmla="*/ 36 h 97"/>
                  <a:gd name="T18" fmla="*/ 99 w 136"/>
                  <a:gd name="T19" fmla="*/ 38 h 97"/>
                  <a:gd name="T20" fmla="*/ 86 w 136"/>
                  <a:gd name="T21" fmla="*/ 41 h 97"/>
                  <a:gd name="T22" fmla="*/ 78 w 136"/>
                  <a:gd name="T23" fmla="*/ 39 h 97"/>
                  <a:gd name="T24" fmla="*/ 72 w 136"/>
                  <a:gd name="T25" fmla="*/ 35 h 97"/>
                  <a:gd name="T26" fmla="*/ 69 w 136"/>
                  <a:gd name="T27" fmla="*/ 35 h 97"/>
                  <a:gd name="T28" fmla="*/ 60 w 136"/>
                  <a:gd name="T29" fmla="*/ 36 h 97"/>
                  <a:gd name="T30" fmla="*/ 50 w 136"/>
                  <a:gd name="T31" fmla="*/ 33 h 97"/>
                  <a:gd name="T32" fmla="*/ 42 w 136"/>
                  <a:gd name="T33" fmla="*/ 33 h 97"/>
                  <a:gd name="T34" fmla="*/ 35 w 136"/>
                  <a:gd name="T35" fmla="*/ 32 h 97"/>
                  <a:gd name="T36" fmla="*/ 38 w 136"/>
                  <a:gd name="T37" fmla="*/ 25 h 97"/>
                  <a:gd name="T38" fmla="*/ 46 w 136"/>
                  <a:gd name="T39" fmla="*/ 19 h 97"/>
                  <a:gd name="T40" fmla="*/ 56 w 136"/>
                  <a:gd name="T41" fmla="*/ 24 h 97"/>
                  <a:gd name="T42" fmla="*/ 63 w 136"/>
                  <a:gd name="T43" fmla="*/ 18 h 97"/>
                  <a:gd name="T44" fmla="*/ 56 w 136"/>
                  <a:gd name="T45" fmla="*/ 16 h 97"/>
                  <a:gd name="T46" fmla="*/ 53 w 136"/>
                  <a:gd name="T47" fmla="*/ 13 h 97"/>
                  <a:gd name="T48" fmla="*/ 60 w 136"/>
                  <a:gd name="T49" fmla="*/ 7 h 97"/>
                  <a:gd name="T50" fmla="*/ 56 w 136"/>
                  <a:gd name="T51" fmla="*/ 2 h 97"/>
                  <a:gd name="T52" fmla="*/ 52 w 136"/>
                  <a:gd name="T53" fmla="*/ 3 h 97"/>
                  <a:gd name="T54" fmla="*/ 38 w 136"/>
                  <a:gd name="T55" fmla="*/ 5 h 97"/>
                  <a:gd name="T56" fmla="*/ 33 w 136"/>
                  <a:gd name="T57" fmla="*/ 10 h 97"/>
                  <a:gd name="T58" fmla="*/ 33 w 136"/>
                  <a:gd name="T59" fmla="*/ 19 h 97"/>
                  <a:gd name="T60" fmla="*/ 25 w 136"/>
                  <a:gd name="T61" fmla="*/ 21 h 97"/>
                  <a:gd name="T62" fmla="*/ 27 w 136"/>
                  <a:gd name="T63" fmla="*/ 22 h 97"/>
                  <a:gd name="T64" fmla="*/ 27 w 136"/>
                  <a:gd name="T65" fmla="*/ 25 h 97"/>
                  <a:gd name="T66" fmla="*/ 25 w 136"/>
                  <a:gd name="T67" fmla="*/ 27 h 97"/>
                  <a:gd name="T68" fmla="*/ 22 w 136"/>
                  <a:gd name="T69" fmla="*/ 32 h 97"/>
                  <a:gd name="T70" fmla="*/ 13 w 136"/>
                  <a:gd name="T71" fmla="*/ 33 h 97"/>
                  <a:gd name="T72" fmla="*/ 2 w 136"/>
                  <a:gd name="T73" fmla="*/ 35 h 97"/>
                  <a:gd name="T74" fmla="*/ 5 w 136"/>
                  <a:gd name="T75" fmla="*/ 43 h 97"/>
                  <a:gd name="T76" fmla="*/ 10 w 136"/>
                  <a:gd name="T77" fmla="*/ 46 h 97"/>
                  <a:gd name="T78" fmla="*/ 13 w 136"/>
                  <a:gd name="T79" fmla="*/ 55 h 97"/>
                  <a:gd name="T80" fmla="*/ 17 w 136"/>
                  <a:gd name="T81" fmla="*/ 66 h 97"/>
                  <a:gd name="T82" fmla="*/ 11 w 136"/>
                  <a:gd name="T83" fmla="*/ 74 h 97"/>
                  <a:gd name="T84" fmla="*/ 11 w 136"/>
                  <a:gd name="T85" fmla="*/ 91 h 97"/>
                  <a:gd name="T86" fmla="*/ 16 w 136"/>
                  <a:gd name="T87" fmla="*/ 90 h 97"/>
                  <a:gd name="T88" fmla="*/ 24 w 136"/>
                  <a:gd name="T89" fmla="*/ 85 h 97"/>
                  <a:gd name="T90" fmla="*/ 27 w 136"/>
                  <a:gd name="T91" fmla="*/ 83 h 97"/>
                  <a:gd name="T92" fmla="*/ 35 w 136"/>
                  <a:gd name="T93" fmla="*/ 88 h 97"/>
                  <a:gd name="T94" fmla="*/ 38 w 136"/>
                  <a:gd name="T95" fmla="*/ 79 h 97"/>
                  <a:gd name="T96" fmla="*/ 47 w 136"/>
                  <a:gd name="T97" fmla="*/ 79 h 97"/>
                  <a:gd name="T98" fmla="*/ 50 w 136"/>
                  <a:gd name="T99" fmla="*/ 69 h 97"/>
                  <a:gd name="T100" fmla="*/ 61 w 136"/>
                  <a:gd name="T101" fmla="*/ 58 h 97"/>
                  <a:gd name="T102" fmla="*/ 71 w 136"/>
                  <a:gd name="T103" fmla="*/ 71 h 97"/>
                  <a:gd name="T104" fmla="*/ 72 w 136"/>
                  <a:gd name="T105" fmla="*/ 80 h 97"/>
                  <a:gd name="T106" fmla="*/ 77 w 136"/>
                  <a:gd name="T107" fmla="*/ 97 h 97"/>
                  <a:gd name="T108" fmla="*/ 97 w 136"/>
                  <a:gd name="T109" fmla="*/ 85 h 97"/>
                  <a:gd name="T110" fmla="*/ 111 w 136"/>
                  <a:gd name="T111" fmla="*/ 82 h 97"/>
                  <a:gd name="T112" fmla="*/ 111 w 136"/>
                  <a:gd name="T113" fmla="*/ 85 h 97"/>
                  <a:gd name="T114" fmla="*/ 121 w 136"/>
                  <a:gd name="T115" fmla="*/ 82 h 97"/>
                  <a:gd name="T116" fmla="*/ 132 w 136"/>
                  <a:gd name="T117" fmla="*/ 85 h 97"/>
                  <a:gd name="T118" fmla="*/ 136 w 136"/>
                  <a:gd name="T119" fmla="*/ 8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97">
                    <a:moveTo>
                      <a:pt x="58" y="27"/>
                    </a:moveTo>
                    <a:lnTo>
                      <a:pt x="58" y="27"/>
                    </a:lnTo>
                    <a:lnTo>
                      <a:pt x="56" y="27"/>
                    </a:lnTo>
                    <a:lnTo>
                      <a:pt x="55" y="25"/>
                    </a:lnTo>
                    <a:lnTo>
                      <a:pt x="55" y="25"/>
                    </a:lnTo>
                    <a:lnTo>
                      <a:pt x="55" y="27"/>
                    </a:lnTo>
                    <a:lnTo>
                      <a:pt x="55" y="27"/>
                    </a:lnTo>
                    <a:lnTo>
                      <a:pt x="56" y="29"/>
                    </a:lnTo>
                    <a:lnTo>
                      <a:pt x="56" y="29"/>
                    </a:lnTo>
                    <a:lnTo>
                      <a:pt x="58" y="27"/>
                    </a:lnTo>
                    <a:lnTo>
                      <a:pt x="58" y="27"/>
                    </a:lnTo>
                    <a:close/>
                    <a:moveTo>
                      <a:pt x="58" y="0"/>
                    </a:moveTo>
                    <a:lnTo>
                      <a:pt x="58" y="0"/>
                    </a:lnTo>
                    <a:lnTo>
                      <a:pt x="56" y="0"/>
                    </a:lnTo>
                    <a:lnTo>
                      <a:pt x="56" y="0"/>
                    </a:lnTo>
                    <a:lnTo>
                      <a:pt x="56" y="0"/>
                    </a:lnTo>
                    <a:lnTo>
                      <a:pt x="58" y="2"/>
                    </a:lnTo>
                    <a:lnTo>
                      <a:pt x="58" y="2"/>
                    </a:lnTo>
                    <a:lnTo>
                      <a:pt x="58" y="2"/>
                    </a:lnTo>
                    <a:lnTo>
                      <a:pt x="58" y="0"/>
                    </a:lnTo>
                    <a:close/>
                    <a:moveTo>
                      <a:pt x="136" y="80"/>
                    </a:moveTo>
                    <a:lnTo>
                      <a:pt x="135" y="79"/>
                    </a:lnTo>
                    <a:lnTo>
                      <a:pt x="133" y="79"/>
                    </a:lnTo>
                    <a:lnTo>
                      <a:pt x="133" y="77"/>
                    </a:lnTo>
                    <a:lnTo>
                      <a:pt x="133" y="75"/>
                    </a:lnTo>
                    <a:lnTo>
                      <a:pt x="133" y="74"/>
                    </a:lnTo>
                    <a:lnTo>
                      <a:pt x="133" y="72"/>
                    </a:lnTo>
                    <a:lnTo>
                      <a:pt x="133" y="72"/>
                    </a:lnTo>
                    <a:lnTo>
                      <a:pt x="133" y="71"/>
                    </a:lnTo>
                    <a:lnTo>
                      <a:pt x="132" y="68"/>
                    </a:lnTo>
                    <a:lnTo>
                      <a:pt x="130" y="66"/>
                    </a:lnTo>
                    <a:lnTo>
                      <a:pt x="130" y="64"/>
                    </a:lnTo>
                    <a:lnTo>
                      <a:pt x="130" y="63"/>
                    </a:lnTo>
                    <a:lnTo>
                      <a:pt x="132" y="60"/>
                    </a:lnTo>
                    <a:lnTo>
                      <a:pt x="132" y="60"/>
                    </a:lnTo>
                    <a:lnTo>
                      <a:pt x="132" y="58"/>
                    </a:lnTo>
                    <a:lnTo>
                      <a:pt x="132" y="58"/>
                    </a:lnTo>
                    <a:lnTo>
                      <a:pt x="130" y="57"/>
                    </a:lnTo>
                    <a:lnTo>
                      <a:pt x="125" y="55"/>
                    </a:lnTo>
                    <a:lnTo>
                      <a:pt x="122" y="54"/>
                    </a:lnTo>
                    <a:lnTo>
                      <a:pt x="121" y="54"/>
                    </a:lnTo>
                    <a:lnTo>
                      <a:pt x="119" y="54"/>
                    </a:lnTo>
                    <a:lnTo>
                      <a:pt x="117" y="55"/>
                    </a:lnTo>
                    <a:lnTo>
                      <a:pt x="117" y="55"/>
                    </a:lnTo>
                    <a:lnTo>
                      <a:pt x="117" y="57"/>
                    </a:lnTo>
                    <a:lnTo>
                      <a:pt x="116" y="57"/>
                    </a:lnTo>
                    <a:lnTo>
                      <a:pt x="114" y="57"/>
                    </a:lnTo>
                    <a:lnTo>
                      <a:pt x="113" y="55"/>
                    </a:lnTo>
                    <a:lnTo>
                      <a:pt x="113" y="54"/>
                    </a:lnTo>
                    <a:lnTo>
                      <a:pt x="111" y="50"/>
                    </a:lnTo>
                    <a:lnTo>
                      <a:pt x="111" y="49"/>
                    </a:lnTo>
                    <a:lnTo>
                      <a:pt x="111" y="49"/>
                    </a:lnTo>
                    <a:lnTo>
                      <a:pt x="111" y="49"/>
                    </a:lnTo>
                    <a:lnTo>
                      <a:pt x="111" y="47"/>
                    </a:lnTo>
                    <a:lnTo>
                      <a:pt x="113" y="47"/>
                    </a:lnTo>
                    <a:lnTo>
                      <a:pt x="113" y="47"/>
                    </a:lnTo>
                    <a:lnTo>
                      <a:pt x="113" y="46"/>
                    </a:lnTo>
                    <a:lnTo>
                      <a:pt x="113" y="46"/>
                    </a:lnTo>
                    <a:lnTo>
                      <a:pt x="111" y="44"/>
                    </a:lnTo>
                    <a:lnTo>
                      <a:pt x="110" y="41"/>
                    </a:lnTo>
                    <a:lnTo>
                      <a:pt x="110" y="39"/>
                    </a:lnTo>
                    <a:lnTo>
                      <a:pt x="110" y="38"/>
                    </a:lnTo>
                    <a:lnTo>
                      <a:pt x="110" y="36"/>
                    </a:lnTo>
                    <a:lnTo>
                      <a:pt x="110" y="36"/>
                    </a:lnTo>
                    <a:lnTo>
                      <a:pt x="108" y="36"/>
                    </a:lnTo>
                    <a:lnTo>
                      <a:pt x="107" y="36"/>
                    </a:lnTo>
                    <a:lnTo>
                      <a:pt x="105" y="36"/>
                    </a:lnTo>
                    <a:lnTo>
                      <a:pt x="103" y="38"/>
                    </a:lnTo>
                    <a:lnTo>
                      <a:pt x="102" y="38"/>
                    </a:lnTo>
                    <a:lnTo>
                      <a:pt x="99" y="38"/>
                    </a:lnTo>
                    <a:lnTo>
                      <a:pt x="97" y="38"/>
                    </a:lnTo>
                    <a:lnTo>
                      <a:pt x="92" y="38"/>
                    </a:lnTo>
                    <a:lnTo>
                      <a:pt x="91" y="38"/>
                    </a:lnTo>
                    <a:lnTo>
                      <a:pt x="91" y="38"/>
                    </a:lnTo>
                    <a:lnTo>
                      <a:pt x="88" y="38"/>
                    </a:lnTo>
                    <a:lnTo>
                      <a:pt x="86" y="39"/>
                    </a:lnTo>
                    <a:lnTo>
                      <a:pt x="86" y="41"/>
                    </a:lnTo>
                    <a:lnTo>
                      <a:pt x="86" y="41"/>
                    </a:lnTo>
                    <a:lnTo>
                      <a:pt x="85" y="39"/>
                    </a:lnTo>
                    <a:lnTo>
                      <a:pt x="83" y="39"/>
                    </a:lnTo>
                    <a:lnTo>
                      <a:pt x="83" y="38"/>
                    </a:lnTo>
                    <a:lnTo>
                      <a:pt x="82" y="38"/>
                    </a:lnTo>
                    <a:lnTo>
                      <a:pt x="78" y="39"/>
                    </a:lnTo>
                    <a:lnTo>
                      <a:pt x="78" y="39"/>
                    </a:lnTo>
                    <a:lnTo>
                      <a:pt x="77" y="39"/>
                    </a:lnTo>
                    <a:lnTo>
                      <a:pt x="77" y="38"/>
                    </a:lnTo>
                    <a:lnTo>
                      <a:pt x="77" y="36"/>
                    </a:lnTo>
                    <a:lnTo>
                      <a:pt x="77" y="36"/>
                    </a:lnTo>
                    <a:lnTo>
                      <a:pt x="75" y="36"/>
                    </a:lnTo>
                    <a:lnTo>
                      <a:pt x="74" y="36"/>
                    </a:lnTo>
                    <a:lnTo>
                      <a:pt x="72" y="35"/>
                    </a:lnTo>
                    <a:lnTo>
                      <a:pt x="74" y="35"/>
                    </a:lnTo>
                    <a:lnTo>
                      <a:pt x="74" y="33"/>
                    </a:lnTo>
                    <a:lnTo>
                      <a:pt x="72" y="33"/>
                    </a:lnTo>
                    <a:lnTo>
                      <a:pt x="72" y="33"/>
                    </a:lnTo>
                    <a:lnTo>
                      <a:pt x="71" y="33"/>
                    </a:lnTo>
                    <a:lnTo>
                      <a:pt x="71" y="33"/>
                    </a:lnTo>
                    <a:lnTo>
                      <a:pt x="69" y="35"/>
                    </a:lnTo>
                    <a:lnTo>
                      <a:pt x="67" y="35"/>
                    </a:lnTo>
                    <a:lnTo>
                      <a:pt x="66" y="35"/>
                    </a:lnTo>
                    <a:lnTo>
                      <a:pt x="66" y="35"/>
                    </a:lnTo>
                    <a:lnTo>
                      <a:pt x="66" y="35"/>
                    </a:lnTo>
                    <a:lnTo>
                      <a:pt x="64" y="36"/>
                    </a:lnTo>
                    <a:lnTo>
                      <a:pt x="61" y="38"/>
                    </a:lnTo>
                    <a:lnTo>
                      <a:pt x="60" y="36"/>
                    </a:lnTo>
                    <a:lnTo>
                      <a:pt x="58" y="35"/>
                    </a:lnTo>
                    <a:lnTo>
                      <a:pt x="56" y="33"/>
                    </a:lnTo>
                    <a:lnTo>
                      <a:pt x="56" y="33"/>
                    </a:lnTo>
                    <a:lnTo>
                      <a:pt x="55" y="33"/>
                    </a:lnTo>
                    <a:lnTo>
                      <a:pt x="53" y="33"/>
                    </a:lnTo>
                    <a:lnTo>
                      <a:pt x="50" y="33"/>
                    </a:lnTo>
                    <a:lnTo>
                      <a:pt x="50" y="33"/>
                    </a:lnTo>
                    <a:lnTo>
                      <a:pt x="50" y="33"/>
                    </a:lnTo>
                    <a:lnTo>
                      <a:pt x="50" y="33"/>
                    </a:lnTo>
                    <a:lnTo>
                      <a:pt x="49" y="33"/>
                    </a:lnTo>
                    <a:lnTo>
                      <a:pt x="49" y="33"/>
                    </a:lnTo>
                    <a:lnTo>
                      <a:pt x="46" y="33"/>
                    </a:lnTo>
                    <a:lnTo>
                      <a:pt x="42" y="33"/>
                    </a:lnTo>
                    <a:lnTo>
                      <a:pt x="42" y="33"/>
                    </a:lnTo>
                    <a:lnTo>
                      <a:pt x="41" y="33"/>
                    </a:lnTo>
                    <a:lnTo>
                      <a:pt x="39" y="33"/>
                    </a:lnTo>
                    <a:lnTo>
                      <a:pt x="38" y="35"/>
                    </a:lnTo>
                    <a:lnTo>
                      <a:pt x="36" y="35"/>
                    </a:lnTo>
                    <a:lnTo>
                      <a:pt x="35" y="35"/>
                    </a:lnTo>
                    <a:lnTo>
                      <a:pt x="35" y="33"/>
                    </a:lnTo>
                    <a:lnTo>
                      <a:pt x="35" y="32"/>
                    </a:lnTo>
                    <a:lnTo>
                      <a:pt x="33" y="29"/>
                    </a:lnTo>
                    <a:lnTo>
                      <a:pt x="33" y="27"/>
                    </a:lnTo>
                    <a:lnTo>
                      <a:pt x="35" y="25"/>
                    </a:lnTo>
                    <a:lnTo>
                      <a:pt x="35" y="24"/>
                    </a:lnTo>
                    <a:lnTo>
                      <a:pt x="35" y="25"/>
                    </a:lnTo>
                    <a:lnTo>
                      <a:pt x="36" y="25"/>
                    </a:lnTo>
                    <a:lnTo>
                      <a:pt x="38" y="25"/>
                    </a:lnTo>
                    <a:lnTo>
                      <a:pt x="38" y="24"/>
                    </a:lnTo>
                    <a:lnTo>
                      <a:pt x="38" y="24"/>
                    </a:lnTo>
                    <a:lnTo>
                      <a:pt x="38" y="22"/>
                    </a:lnTo>
                    <a:lnTo>
                      <a:pt x="38" y="22"/>
                    </a:lnTo>
                    <a:lnTo>
                      <a:pt x="38" y="21"/>
                    </a:lnTo>
                    <a:lnTo>
                      <a:pt x="42" y="19"/>
                    </a:lnTo>
                    <a:lnTo>
                      <a:pt x="46" y="19"/>
                    </a:lnTo>
                    <a:lnTo>
                      <a:pt x="47" y="19"/>
                    </a:lnTo>
                    <a:lnTo>
                      <a:pt x="49" y="21"/>
                    </a:lnTo>
                    <a:lnTo>
                      <a:pt x="52" y="21"/>
                    </a:lnTo>
                    <a:lnTo>
                      <a:pt x="53" y="22"/>
                    </a:lnTo>
                    <a:lnTo>
                      <a:pt x="55" y="22"/>
                    </a:lnTo>
                    <a:lnTo>
                      <a:pt x="55" y="24"/>
                    </a:lnTo>
                    <a:lnTo>
                      <a:pt x="56" y="24"/>
                    </a:lnTo>
                    <a:lnTo>
                      <a:pt x="56" y="24"/>
                    </a:lnTo>
                    <a:lnTo>
                      <a:pt x="58" y="24"/>
                    </a:lnTo>
                    <a:lnTo>
                      <a:pt x="58" y="22"/>
                    </a:lnTo>
                    <a:lnTo>
                      <a:pt x="60" y="21"/>
                    </a:lnTo>
                    <a:lnTo>
                      <a:pt x="63" y="19"/>
                    </a:lnTo>
                    <a:lnTo>
                      <a:pt x="63" y="19"/>
                    </a:lnTo>
                    <a:lnTo>
                      <a:pt x="63" y="18"/>
                    </a:lnTo>
                    <a:lnTo>
                      <a:pt x="63" y="18"/>
                    </a:lnTo>
                    <a:lnTo>
                      <a:pt x="63" y="18"/>
                    </a:lnTo>
                    <a:lnTo>
                      <a:pt x="58" y="19"/>
                    </a:lnTo>
                    <a:lnTo>
                      <a:pt x="56" y="19"/>
                    </a:lnTo>
                    <a:lnTo>
                      <a:pt x="56" y="18"/>
                    </a:lnTo>
                    <a:lnTo>
                      <a:pt x="56" y="16"/>
                    </a:lnTo>
                    <a:lnTo>
                      <a:pt x="56" y="16"/>
                    </a:lnTo>
                    <a:lnTo>
                      <a:pt x="55" y="16"/>
                    </a:lnTo>
                    <a:lnTo>
                      <a:pt x="53" y="14"/>
                    </a:lnTo>
                    <a:lnTo>
                      <a:pt x="53" y="14"/>
                    </a:lnTo>
                    <a:lnTo>
                      <a:pt x="53" y="14"/>
                    </a:lnTo>
                    <a:lnTo>
                      <a:pt x="53" y="13"/>
                    </a:lnTo>
                    <a:lnTo>
                      <a:pt x="53" y="13"/>
                    </a:lnTo>
                    <a:lnTo>
                      <a:pt x="53" y="13"/>
                    </a:lnTo>
                    <a:lnTo>
                      <a:pt x="55" y="11"/>
                    </a:lnTo>
                    <a:lnTo>
                      <a:pt x="56" y="10"/>
                    </a:lnTo>
                    <a:lnTo>
                      <a:pt x="58" y="8"/>
                    </a:lnTo>
                    <a:lnTo>
                      <a:pt x="60" y="8"/>
                    </a:lnTo>
                    <a:lnTo>
                      <a:pt x="60" y="8"/>
                    </a:lnTo>
                    <a:lnTo>
                      <a:pt x="60" y="8"/>
                    </a:lnTo>
                    <a:lnTo>
                      <a:pt x="60" y="7"/>
                    </a:lnTo>
                    <a:lnTo>
                      <a:pt x="60" y="7"/>
                    </a:lnTo>
                    <a:lnTo>
                      <a:pt x="60" y="7"/>
                    </a:lnTo>
                    <a:lnTo>
                      <a:pt x="58" y="5"/>
                    </a:lnTo>
                    <a:lnTo>
                      <a:pt x="58" y="5"/>
                    </a:lnTo>
                    <a:lnTo>
                      <a:pt x="58" y="5"/>
                    </a:lnTo>
                    <a:lnTo>
                      <a:pt x="58" y="3"/>
                    </a:lnTo>
                    <a:lnTo>
                      <a:pt x="56" y="2"/>
                    </a:lnTo>
                    <a:lnTo>
                      <a:pt x="55" y="0"/>
                    </a:lnTo>
                    <a:lnTo>
                      <a:pt x="55" y="0"/>
                    </a:lnTo>
                    <a:lnTo>
                      <a:pt x="53" y="0"/>
                    </a:lnTo>
                    <a:lnTo>
                      <a:pt x="53" y="0"/>
                    </a:lnTo>
                    <a:lnTo>
                      <a:pt x="52" y="2"/>
                    </a:lnTo>
                    <a:lnTo>
                      <a:pt x="52" y="3"/>
                    </a:lnTo>
                    <a:lnTo>
                      <a:pt x="52" y="3"/>
                    </a:lnTo>
                    <a:lnTo>
                      <a:pt x="49" y="5"/>
                    </a:lnTo>
                    <a:lnTo>
                      <a:pt x="47" y="5"/>
                    </a:lnTo>
                    <a:lnTo>
                      <a:pt x="42" y="8"/>
                    </a:lnTo>
                    <a:lnTo>
                      <a:pt x="41" y="8"/>
                    </a:lnTo>
                    <a:lnTo>
                      <a:pt x="41" y="8"/>
                    </a:lnTo>
                    <a:lnTo>
                      <a:pt x="39" y="8"/>
                    </a:lnTo>
                    <a:lnTo>
                      <a:pt x="38" y="5"/>
                    </a:lnTo>
                    <a:lnTo>
                      <a:pt x="38" y="5"/>
                    </a:lnTo>
                    <a:lnTo>
                      <a:pt x="36" y="5"/>
                    </a:lnTo>
                    <a:lnTo>
                      <a:pt x="35" y="5"/>
                    </a:lnTo>
                    <a:lnTo>
                      <a:pt x="35" y="7"/>
                    </a:lnTo>
                    <a:lnTo>
                      <a:pt x="35" y="8"/>
                    </a:lnTo>
                    <a:lnTo>
                      <a:pt x="33" y="10"/>
                    </a:lnTo>
                    <a:lnTo>
                      <a:pt x="33" y="10"/>
                    </a:lnTo>
                    <a:lnTo>
                      <a:pt x="35" y="16"/>
                    </a:lnTo>
                    <a:lnTo>
                      <a:pt x="35" y="16"/>
                    </a:lnTo>
                    <a:lnTo>
                      <a:pt x="35" y="16"/>
                    </a:lnTo>
                    <a:lnTo>
                      <a:pt x="33" y="18"/>
                    </a:lnTo>
                    <a:lnTo>
                      <a:pt x="35" y="19"/>
                    </a:lnTo>
                    <a:lnTo>
                      <a:pt x="33" y="19"/>
                    </a:lnTo>
                    <a:lnTo>
                      <a:pt x="33" y="19"/>
                    </a:lnTo>
                    <a:lnTo>
                      <a:pt x="31" y="19"/>
                    </a:lnTo>
                    <a:lnTo>
                      <a:pt x="28" y="18"/>
                    </a:lnTo>
                    <a:lnTo>
                      <a:pt x="22" y="19"/>
                    </a:lnTo>
                    <a:lnTo>
                      <a:pt x="22" y="19"/>
                    </a:lnTo>
                    <a:lnTo>
                      <a:pt x="22" y="21"/>
                    </a:lnTo>
                    <a:lnTo>
                      <a:pt x="22" y="21"/>
                    </a:lnTo>
                    <a:lnTo>
                      <a:pt x="25" y="21"/>
                    </a:lnTo>
                    <a:lnTo>
                      <a:pt x="28" y="21"/>
                    </a:lnTo>
                    <a:lnTo>
                      <a:pt x="28" y="21"/>
                    </a:lnTo>
                    <a:lnTo>
                      <a:pt x="28" y="21"/>
                    </a:lnTo>
                    <a:lnTo>
                      <a:pt x="28" y="21"/>
                    </a:lnTo>
                    <a:lnTo>
                      <a:pt x="28" y="22"/>
                    </a:lnTo>
                    <a:lnTo>
                      <a:pt x="27" y="22"/>
                    </a:lnTo>
                    <a:lnTo>
                      <a:pt x="27" y="22"/>
                    </a:lnTo>
                    <a:lnTo>
                      <a:pt x="25" y="22"/>
                    </a:lnTo>
                    <a:lnTo>
                      <a:pt x="25" y="22"/>
                    </a:lnTo>
                    <a:lnTo>
                      <a:pt x="25" y="24"/>
                    </a:lnTo>
                    <a:lnTo>
                      <a:pt x="25" y="24"/>
                    </a:lnTo>
                    <a:lnTo>
                      <a:pt x="27" y="25"/>
                    </a:lnTo>
                    <a:lnTo>
                      <a:pt x="27" y="25"/>
                    </a:lnTo>
                    <a:lnTo>
                      <a:pt x="27" y="25"/>
                    </a:lnTo>
                    <a:lnTo>
                      <a:pt x="27" y="25"/>
                    </a:lnTo>
                    <a:lnTo>
                      <a:pt x="27" y="25"/>
                    </a:lnTo>
                    <a:lnTo>
                      <a:pt x="25" y="25"/>
                    </a:lnTo>
                    <a:lnTo>
                      <a:pt x="25" y="25"/>
                    </a:lnTo>
                    <a:lnTo>
                      <a:pt x="25" y="25"/>
                    </a:lnTo>
                    <a:lnTo>
                      <a:pt x="25" y="27"/>
                    </a:lnTo>
                    <a:lnTo>
                      <a:pt x="25" y="27"/>
                    </a:lnTo>
                    <a:lnTo>
                      <a:pt x="24" y="27"/>
                    </a:lnTo>
                    <a:lnTo>
                      <a:pt x="24" y="27"/>
                    </a:lnTo>
                    <a:lnTo>
                      <a:pt x="24" y="27"/>
                    </a:lnTo>
                    <a:lnTo>
                      <a:pt x="22" y="27"/>
                    </a:lnTo>
                    <a:lnTo>
                      <a:pt x="22" y="27"/>
                    </a:lnTo>
                    <a:lnTo>
                      <a:pt x="22" y="29"/>
                    </a:lnTo>
                    <a:lnTo>
                      <a:pt x="22" y="32"/>
                    </a:lnTo>
                    <a:lnTo>
                      <a:pt x="21" y="33"/>
                    </a:lnTo>
                    <a:lnTo>
                      <a:pt x="21" y="33"/>
                    </a:lnTo>
                    <a:lnTo>
                      <a:pt x="19" y="33"/>
                    </a:lnTo>
                    <a:lnTo>
                      <a:pt x="19" y="35"/>
                    </a:lnTo>
                    <a:lnTo>
                      <a:pt x="17" y="33"/>
                    </a:lnTo>
                    <a:lnTo>
                      <a:pt x="16" y="33"/>
                    </a:lnTo>
                    <a:lnTo>
                      <a:pt x="13" y="33"/>
                    </a:lnTo>
                    <a:lnTo>
                      <a:pt x="10" y="33"/>
                    </a:lnTo>
                    <a:lnTo>
                      <a:pt x="6" y="32"/>
                    </a:lnTo>
                    <a:lnTo>
                      <a:pt x="6" y="32"/>
                    </a:lnTo>
                    <a:lnTo>
                      <a:pt x="3" y="33"/>
                    </a:lnTo>
                    <a:lnTo>
                      <a:pt x="2" y="35"/>
                    </a:lnTo>
                    <a:lnTo>
                      <a:pt x="2" y="35"/>
                    </a:lnTo>
                    <a:lnTo>
                      <a:pt x="2" y="35"/>
                    </a:lnTo>
                    <a:lnTo>
                      <a:pt x="2" y="36"/>
                    </a:lnTo>
                    <a:lnTo>
                      <a:pt x="0" y="41"/>
                    </a:lnTo>
                    <a:lnTo>
                      <a:pt x="0" y="41"/>
                    </a:lnTo>
                    <a:lnTo>
                      <a:pt x="0" y="41"/>
                    </a:lnTo>
                    <a:lnTo>
                      <a:pt x="5" y="43"/>
                    </a:lnTo>
                    <a:lnTo>
                      <a:pt x="5" y="43"/>
                    </a:lnTo>
                    <a:lnTo>
                      <a:pt x="5" y="43"/>
                    </a:lnTo>
                    <a:lnTo>
                      <a:pt x="5" y="44"/>
                    </a:lnTo>
                    <a:lnTo>
                      <a:pt x="6" y="46"/>
                    </a:lnTo>
                    <a:lnTo>
                      <a:pt x="6" y="46"/>
                    </a:lnTo>
                    <a:lnTo>
                      <a:pt x="6" y="46"/>
                    </a:lnTo>
                    <a:lnTo>
                      <a:pt x="8" y="46"/>
                    </a:lnTo>
                    <a:lnTo>
                      <a:pt x="10" y="46"/>
                    </a:lnTo>
                    <a:lnTo>
                      <a:pt x="10" y="46"/>
                    </a:lnTo>
                    <a:lnTo>
                      <a:pt x="11" y="46"/>
                    </a:lnTo>
                    <a:lnTo>
                      <a:pt x="13" y="46"/>
                    </a:lnTo>
                    <a:lnTo>
                      <a:pt x="13" y="47"/>
                    </a:lnTo>
                    <a:lnTo>
                      <a:pt x="14" y="47"/>
                    </a:lnTo>
                    <a:lnTo>
                      <a:pt x="14" y="49"/>
                    </a:lnTo>
                    <a:lnTo>
                      <a:pt x="13" y="54"/>
                    </a:lnTo>
                    <a:lnTo>
                      <a:pt x="13" y="55"/>
                    </a:lnTo>
                    <a:lnTo>
                      <a:pt x="13" y="58"/>
                    </a:lnTo>
                    <a:lnTo>
                      <a:pt x="14" y="60"/>
                    </a:lnTo>
                    <a:lnTo>
                      <a:pt x="16" y="61"/>
                    </a:lnTo>
                    <a:lnTo>
                      <a:pt x="17" y="63"/>
                    </a:lnTo>
                    <a:lnTo>
                      <a:pt x="17" y="64"/>
                    </a:lnTo>
                    <a:lnTo>
                      <a:pt x="17" y="64"/>
                    </a:lnTo>
                    <a:lnTo>
                      <a:pt x="17" y="66"/>
                    </a:lnTo>
                    <a:lnTo>
                      <a:pt x="17" y="66"/>
                    </a:lnTo>
                    <a:lnTo>
                      <a:pt x="16" y="68"/>
                    </a:lnTo>
                    <a:lnTo>
                      <a:pt x="16" y="69"/>
                    </a:lnTo>
                    <a:lnTo>
                      <a:pt x="16" y="69"/>
                    </a:lnTo>
                    <a:lnTo>
                      <a:pt x="14" y="71"/>
                    </a:lnTo>
                    <a:lnTo>
                      <a:pt x="13" y="72"/>
                    </a:lnTo>
                    <a:lnTo>
                      <a:pt x="11" y="74"/>
                    </a:lnTo>
                    <a:lnTo>
                      <a:pt x="10" y="79"/>
                    </a:lnTo>
                    <a:lnTo>
                      <a:pt x="8" y="80"/>
                    </a:lnTo>
                    <a:lnTo>
                      <a:pt x="8" y="85"/>
                    </a:lnTo>
                    <a:lnTo>
                      <a:pt x="6" y="86"/>
                    </a:lnTo>
                    <a:lnTo>
                      <a:pt x="8" y="88"/>
                    </a:lnTo>
                    <a:lnTo>
                      <a:pt x="8" y="90"/>
                    </a:lnTo>
                    <a:lnTo>
                      <a:pt x="11" y="91"/>
                    </a:lnTo>
                    <a:lnTo>
                      <a:pt x="13" y="91"/>
                    </a:lnTo>
                    <a:lnTo>
                      <a:pt x="16" y="90"/>
                    </a:lnTo>
                    <a:lnTo>
                      <a:pt x="16" y="90"/>
                    </a:lnTo>
                    <a:lnTo>
                      <a:pt x="16" y="90"/>
                    </a:lnTo>
                    <a:lnTo>
                      <a:pt x="16" y="90"/>
                    </a:lnTo>
                    <a:lnTo>
                      <a:pt x="16" y="90"/>
                    </a:lnTo>
                    <a:lnTo>
                      <a:pt x="16" y="90"/>
                    </a:lnTo>
                    <a:lnTo>
                      <a:pt x="17" y="88"/>
                    </a:lnTo>
                    <a:lnTo>
                      <a:pt x="19" y="88"/>
                    </a:lnTo>
                    <a:lnTo>
                      <a:pt x="21" y="86"/>
                    </a:lnTo>
                    <a:lnTo>
                      <a:pt x="22" y="86"/>
                    </a:lnTo>
                    <a:lnTo>
                      <a:pt x="22" y="86"/>
                    </a:lnTo>
                    <a:lnTo>
                      <a:pt x="22" y="85"/>
                    </a:lnTo>
                    <a:lnTo>
                      <a:pt x="24" y="85"/>
                    </a:lnTo>
                    <a:lnTo>
                      <a:pt x="24" y="85"/>
                    </a:lnTo>
                    <a:lnTo>
                      <a:pt x="24" y="85"/>
                    </a:lnTo>
                    <a:lnTo>
                      <a:pt x="25" y="85"/>
                    </a:lnTo>
                    <a:lnTo>
                      <a:pt x="25" y="85"/>
                    </a:lnTo>
                    <a:lnTo>
                      <a:pt x="25" y="85"/>
                    </a:lnTo>
                    <a:lnTo>
                      <a:pt x="27" y="83"/>
                    </a:lnTo>
                    <a:lnTo>
                      <a:pt x="27" y="83"/>
                    </a:lnTo>
                    <a:lnTo>
                      <a:pt x="27" y="83"/>
                    </a:lnTo>
                    <a:lnTo>
                      <a:pt x="27" y="83"/>
                    </a:lnTo>
                    <a:lnTo>
                      <a:pt x="28" y="83"/>
                    </a:lnTo>
                    <a:lnTo>
                      <a:pt x="30" y="85"/>
                    </a:lnTo>
                    <a:lnTo>
                      <a:pt x="31" y="86"/>
                    </a:lnTo>
                    <a:lnTo>
                      <a:pt x="33" y="88"/>
                    </a:lnTo>
                    <a:lnTo>
                      <a:pt x="35" y="88"/>
                    </a:lnTo>
                    <a:lnTo>
                      <a:pt x="35" y="86"/>
                    </a:lnTo>
                    <a:lnTo>
                      <a:pt x="36" y="86"/>
                    </a:lnTo>
                    <a:lnTo>
                      <a:pt x="36" y="86"/>
                    </a:lnTo>
                    <a:lnTo>
                      <a:pt x="36" y="85"/>
                    </a:lnTo>
                    <a:lnTo>
                      <a:pt x="36" y="82"/>
                    </a:lnTo>
                    <a:lnTo>
                      <a:pt x="36" y="80"/>
                    </a:lnTo>
                    <a:lnTo>
                      <a:pt x="38" y="79"/>
                    </a:lnTo>
                    <a:lnTo>
                      <a:pt x="39" y="77"/>
                    </a:lnTo>
                    <a:lnTo>
                      <a:pt x="39" y="77"/>
                    </a:lnTo>
                    <a:lnTo>
                      <a:pt x="44" y="77"/>
                    </a:lnTo>
                    <a:lnTo>
                      <a:pt x="46" y="77"/>
                    </a:lnTo>
                    <a:lnTo>
                      <a:pt x="46" y="77"/>
                    </a:lnTo>
                    <a:lnTo>
                      <a:pt x="46" y="79"/>
                    </a:lnTo>
                    <a:lnTo>
                      <a:pt x="47" y="79"/>
                    </a:lnTo>
                    <a:lnTo>
                      <a:pt x="49" y="79"/>
                    </a:lnTo>
                    <a:lnTo>
                      <a:pt x="50" y="77"/>
                    </a:lnTo>
                    <a:lnTo>
                      <a:pt x="50" y="75"/>
                    </a:lnTo>
                    <a:lnTo>
                      <a:pt x="50" y="74"/>
                    </a:lnTo>
                    <a:lnTo>
                      <a:pt x="50" y="71"/>
                    </a:lnTo>
                    <a:lnTo>
                      <a:pt x="50" y="71"/>
                    </a:lnTo>
                    <a:lnTo>
                      <a:pt x="50" y="69"/>
                    </a:lnTo>
                    <a:lnTo>
                      <a:pt x="52" y="69"/>
                    </a:lnTo>
                    <a:lnTo>
                      <a:pt x="52" y="69"/>
                    </a:lnTo>
                    <a:lnTo>
                      <a:pt x="53" y="66"/>
                    </a:lnTo>
                    <a:lnTo>
                      <a:pt x="55" y="64"/>
                    </a:lnTo>
                    <a:lnTo>
                      <a:pt x="58" y="61"/>
                    </a:lnTo>
                    <a:lnTo>
                      <a:pt x="60" y="58"/>
                    </a:lnTo>
                    <a:lnTo>
                      <a:pt x="61" y="58"/>
                    </a:lnTo>
                    <a:lnTo>
                      <a:pt x="64" y="60"/>
                    </a:lnTo>
                    <a:lnTo>
                      <a:pt x="69" y="61"/>
                    </a:lnTo>
                    <a:lnTo>
                      <a:pt x="71" y="64"/>
                    </a:lnTo>
                    <a:lnTo>
                      <a:pt x="69" y="68"/>
                    </a:lnTo>
                    <a:lnTo>
                      <a:pt x="69" y="71"/>
                    </a:lnTo>
                    <a:lnTo>
                      <a:pt x="69" y="71"/>
                    </a:lnTo>
                    <a:lnTo>
                      <a:pt x="71" y="71"/>
                    </a:lnTo>
                    <a:lnTo>
                      <a:pt x="72" y="69"/>
                    </a:lnTo>
                    <a:lnTo>
                      <a:pt x="74" y="69"/>
                    </a:lnTo>
                    <a:lnTo>
                      <a:pt x="74" y="71"/>
                    </a:lnTo>
                    <a:lnTo>
                      <a:pt x="74" y="71"/>
                    </a:lnTo>
                    <a:lnTo>
                      <a:pt x="74" y="72"/>
                    </a:lnTo>
                    <a:lnTo>
                      <a:pt x="74" y="77"/>
                    </a:lnTo>
                    <a:lnTo>
                      <a:pt x="72" y="80"/>
                    </a:lnTo>
                    <a:lnTo>
                      <a:pt x="72" y="85"/>
                    </a:lnTo>
                    <a:lnTo>
                      <a:pt x="72" y="88"/>
                    </a:lnTo>
                    <a:lnTo>
                      <a:pt x="72" y="90"/>
                    </a:lnTo>
                    <a:lnTo>
                      <a:pt x="74" y="94"/>
                    </a:lnTo>
                    <a:lnTo>
                      <a:pt x="75" y="96"/>
                    </a:lnTo>
                    <a:lnTo>
                      <a:pt x="75" y="97"/>
                    </a:lnTo>
                    <a:lnTo>
                      <a:pt x="77" y="97"/>
                    </a:lnTo>
                    <a:lnTo>
                      <a:pt x="78" y="97"/>
                    </a:lnTo>
                    <a:lnTo>
                      <a:pt x="80" y="96"/>
                    </a:lnTo>
                    <a:lnTo>
                      <a:pt x="85" y="93"/>
                    </a:lnTo>
                    <a:lnTo>
                      <a:pt x="88" y="91"/>
                    </a:lnTo>
                    <a:lnTo>
                      <a:pt x="92" y="90"/>
                    </a:lnTo>
                    <a:lnTo>
                      <a:pt x="96" y="86"/>
                    </a:lnTo>
                    <a:lnTo>
                      <a:pt x="97" y="85"/>
                    </a:lnTo>
                    <a:lnTo>
                      <a:pt x="103" y="82"/>
                    </a:lnTo>
                    <a:lnTo>
                      <a:pt x="107" y="80"/>
                    </a:lnTo>
                    <a:lnTo>
                      <a:pt x="108" y="80"/>
                    </a:lnTo>
                    <a:lnTo>
                      <a:pt x="110" y="80"/>
                    </a:lnTo>
                    <a:lnTo>
                      <a:pt x="110" y="80"/>
                    </a:lnTo>
                    <a:lnTo>
                      <a:pt x="111" y="82"/>
                    </a:lnTo>
                    <a:lnTo>
                      <a:pt x="111" y="82"/>
                    </a:lnTo>
                    <a:lnTo>
                      <a:pt x="113" y="82"/>
                    </a:lnTo>
                    <a:lnTo>
                      <a:pt x="111" y="83"/>
                    </a:lnTo>
                    <a:lnTo>
                      <a:pt x="111" y="85"/>
                    </a:lnTo>
                    <a:lnTo>
                      <a:pt x="111" y="85"/>
                    </a:lnTo>
                    <a:lnTo>
                      <a:pt x="110" y="85"/>
                    </a:lnTo>
                    <a:lnTo>
                      <a:pt x="110" y="85"/>
                    </a:lnTo>
                    <a:lnTo>
                      <a:pt x="111" y="85"/>
                    </a:lnTo>
                    <a:lnTo>
                      <a:pt x="113" y="85"/>
                    </a:lnTo>
                    <a:lnTo>
                      <a:pt x="116" y="85"/>
                    </a:lnTo>
                    <a:lnTo>
                      <a:pt x="117" y="83"/>
                    </a:lnTo>
                    <a:lnTo>
                      <a:pt x="119" y="83"/>
                    </a:lnTo>
                    <a:lnTo>
                      <a:pt x="121" y="82"/>
                    </a:lnTo>
                    <a:lnTo>
                      <a:pt x="121" y="82"/>
                    </a:lnTo>
                    <a:lnTo>
                      <a:pt x="121" y="82"/>
                    </a:lnTo>
                    <a:lnTo>
                      <a:pt x="122" y="82"/>
                    </a:lnTo>
                    <a:lnTo>
                      <a:pt x="125" y="82"/>
                    </a:lnTo>
                    <a:lnTo>
                      <a:pt x="125" y="82"/>
                    </a:lnTo>
                    <a:lnTo>
                      <a:pt x="128" y="82"/>
                    </a:lnTo>
                    <a:lnTo>
                      <a:pt x="130" y="83"/>
                    </a:lnTo>
                    <a:lnTo>
                      <a:pt x="132" y="85"/>
                    </a:lnTo>
                    <a:lnTo>
                      <a:pt x="132" y="85"/>
                    </a:lnTo>
                    <a:lnTo>
                      <a:pt x="133" y="85"/>
                    </a:lnTo>
                    <a:lnTo>
                      <a:pt x="133" y="85"/>
                    </a:lnTo>
                    <a:lnTo>
                      <a:pt x="133" y="85"/>
                    </a:lnTo>
                    <a:lnTo>
                      <a:pt x="135" y="83"/>
                    </a:lnTo>
                    <a:lnTo>
                      <a:pt x="136" y="83"/>
                    </a:lnTo>
                    <a:lnTo>
                      <a:pt x="136" y="82"/>
                    </a:lnTo>
                    <a:lnTo>
                      <a:pt x="136" y="8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2" name="Freeform 199">
                <a:extLst>
                  <a:ext uri="{FF2B5EF4-FFF2-40B4-BE49-F238E27FC236}">
                    <a16:creationId xmlns:a16="http://schemas.microsoft.com/office/drawing/2014/main" id="{67436429-6E63-43C6-79EA-89906E1F75DF}"/>
                  </a:ext>
                </a:extLst>
              </p:cNvPr>
              <p:cNvSpPr>
                <a:spLocks noEditPoints="1"/>
              </p:cNvSpPr>
              <p:nvPr/>
            </p:nvSpPr>
            <p:spPr bwMode="gray">
              <a:xfrm>
                <a:off x="4852" y="1720"/>
                <a:ext cx="57" cy="23"/>
              </a:xfrm>
              <a:custGeom>
                <a:avLst/>
                <a:gdLst>
                  <a:gd name="T0" fmla="*/ 0 w 57"/>
                  <a:gd name="T1" fmla="*/ 20 h 23"/>
                  <a:gd name="T2" fmla="*/ 1 w 57"/>
                  <a:gd name="T3" fmla="*/ 22 h 23"/>
                  <a:gd name="T4" fmla="*/ 1 w 57"/>
                  <a:gd name="T5" fmla="*/ 22 h 23"/>
                  <a:gd name="T6" fmla="*/ 4 w 57"/>
                  <a:gd name="T7" fmla="*/ 22 h 23"/>
                  <a:gd name="T8" fmla="*/ 6 w 57"/>
                  <a:gd name="T9" fmla="*/ 20 h 23"/>
                  <a:gd name="T10" fmla="*/ 6 w 57"/>
                  <a:gd name="T11" fmla="*/ 20 h 23"/>
                  <a:gd name="T12" fmla="*/ 7 w 57"/>
                  <a:gd name="T13" fmla="*/ 19 h 23"/>
                  <a:gd name="T14" fmla="*/ 3 w 57"/>
                  <a:gd name="T15" fmla="*/ 19 h 23"/>
                  <a:gd name="T16" fmla="*/ 56 w 57"/>
                  <a:gd name="T17" fmla="*/ 3 h 23"/>
                  <a:gd name="T18" fmla="*/ 51 w 57"/>
                  <a:gd name="T19" fmla="*/ 3 h 23"/>
                  <a:gd name="T20" fmla="*/ 50 w 57"/>
                  <a:gd name="T21" fmla="*/ 3 h 23"/>
                  <a:gd name="T22" fmla="*/ 45 w 57"/>
                  <a:gd name="T23" fmla="*/ 5 h 23"/>
                  <a:gd name="T24" fmla="*/ 37 w 57"/>
                  <a:gd name="T25" fmla="*/ 6 h 23"/>
                  <a:gd name="T26" fmla="*/ 31 w 57"/>
                  <a:gd name="T27" fmla="*/ 6 h 23"/>
                  <a:gd name="T28" fmla="*/ 23 w 57"/>
                  <a:gd name="T29" fmla="*/ 8 h 23"/>
                  <a:gd name="T30" fmla="*/ 18 w 57"/>
                  <a:gd name="T31" fmla="*/ 9 h 23"/>
                  <a:gd name="T32" fmla="*/ 15 w 57"/>
                  <a:gd name="T33" fmla="*/ 14 h 23"/>
                  <a:gd name="T34" fmla="*/ 15 w 57"/>
                  <a:gd name="T35" fmla="*/ 15 h 23"/>
                  <a:gd name="T36" fmla="*/ 15 w 57"/>
                  <a:gd name="T37" fmla="*/ 15 h 23"/>
                  <a:gd name="T38" fmla="*/ 18 w 57"/>
                  <a:gd name="T39" fmla="*/ 15 h 23"/>
                  <a:gd name="T40" fmla="*/ 20 w 57"/>
                  <a:gd name="T41" fmla="*/ 15 h 23"/>
                  <a:gd name="T42" fmla="*/ 18 w 57"/>
                  <a:gd name="T43" fmla="*/ 19 h 23"/>
                  <a:gd name="T44" fmla="*/ 17 w 57"/>
                  <a:gd name="T45" fmla="*/ 19 h 23"/>
                  <a:gd name="T46" fmla="*/ 17 w 57"/>
                  <a:gd name="T47" fmla="*/ 20 h 23"/>
                  <a:gd name="T48" fmla="*/ 17 w 57"/>
                  <a:gd name="T49" fmla="*/ 22 h 23"/>
                  <a:gd name="T50" fmla="*/ 20 w 57"/>
                  <a:gd name="T51" fmla="*/ 22 h 23"/>
                  <a:gd name="T52" fmla="*/ 29 w 57"/>
                  <a:gd name="T53" fmla="*/ 17 h 23"/>
                  <a:gd name="T54" fmla="*/ 32 w 57"/>
                  <a:gd name="T55" fmla="*/ 17 h 23"/>
                  <a:gd name="T56" fmla="*/ 36 w 57"/>
                  <a:gd name="T57" fmla="*/ 15 h 23"/>
                  <a:gd name="T58" fmla="*/ 39 w 57"/>
                  <a:gd name="T59" fmla="*/ 14 h 23"/>
                  <a:gd name="T60" fmla="*/ 43 w 57"/>
                  <a:gd name="T61" fmla="*/ 12 h 23"/>
                  <a:gd name="T62" fmla="*/ 47 w 57"/>
                  <a:gd name="T63" fmla="*/ 11 h 23"/>
                  <a:gd name="T64" fmla="*/ 51 w 57"/>
                  <a:gd name="T65" fmla="*/ 9 h 23"/>
                  <a:gd name="T66" fmla="*/ 57 w 57"/>
                  <a:gd name="T67" fmla="*/ 5 h 23"/>
                  <a:gd name="T68" fmla="*/ 28 w 57"/>
                  <a:gd name="T69" fmla="*/ 0 h 23"/>
                  <a:gd name="T70" fmla="*/ 26 w 57"/>
                  <a:gd name="T71" fmla="*/ 1 h 23"/>
                  <a:gd name="T72" fmla="*/ 28 w 57"/>
                  <a:gd name="T7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23">
                    <a:moveTo>
                      <a:pt x="3" y="19"/>
                    </a:moveTo>
                    <a:lnTo>
                      <a:pt x="0" y="20"/>
                    </a:lnTo>
                    <a:lnTo>
                      <a:pt x="0" y="22"/>
                    </a:lnTo>
                    <a:lnTo>
                      <a:pt x="1" y="22"/>
                    </a:lnTo>
                    <a:lnTo>
                      <a:pt x="1" y="22"/>
                    </a:lnTo>
                    <a:lnTo>
                      <a:pt x="1" y="22"/>
                    </a:lnTo>
                    <a:lnTo>
                      <a:pt x="4" y="22"/>
                    </a:lnTo>
                    <a:lnTo>
                      <a:pt x="4" y="22"/>
                    </a:lnTo>
                    <a:lnTo>
                      <a:pt x="6" y="20"/>
                    </a:lnTo>
                    <a:lnTo>
                      <a:pt x="6" y="20"/>
                    </a:lnTo>
                    <a:lnTo>
                      <a:pt x="6" y="20"/>
                    </a:lnTo>
                    <a:lnTo>
                      <a:pt x="6" y="20"/>
                    </a:lnTo>
                    <a:lnTo>
                      <a:pt x="7" y="19"/>
                    </a:lnTo>
                    <a:lnTo>
                      <a:pt x="7" y="19"/>
                    </a:lnTo>
                    <a:lnTo>
                      <a:pt x="7" y="19"/>
                    </a:lnTo>
                    <a:lnTo>
                      <a:pt x="3" y="19"/>
                    </a:lnTo>
                    <a:close/>
                    <a:moveTo>
                      <a:pt x="56" y="5"/>
                    </a:moveTo>
                    <a:lnTo>
                      <a:pt x="56" y="3"/>
                    </a:lnTo>
                    <a:lnTo>
                      <a:pt x="53" y="3"/>
                    </a:lnTo>
                    <a:lnTo>
                      <a:pt x="51" y="3"/>
                    </a:lnTo>
                    <a:lnTo>
                      <a:pt x="50" y="3"/>
                    </a:lnTo>
                    <a:lnTo>
                      <a:pt x="50" y="3"/>
                    </a:lnTo>
                    <a:lnTo>
                      <a:pt x="48" y="5"/>
                    </a:lnTo>
                    <a:lnTo>
                      <a:pt x="45" y="5"/>
                    </a:lnTo>
                    <a:lnTo>
                      <a:pt x="43" y="5"/>
                    </a:lnTo>
                    <a:lnTo>
                      <a:pt x="37" y="6"/>
                    </a:lnTo>
                    <a:lnTo>
                      <a:pt x="32" y="6"/>
                    </a:lnTo>
                    <a:lnTo>
                      <a:pt x="31" y="6"/>
                    </a:lnTo>
                    <a:lnTo>
                      <a:pt x="23" y="8"/>
                    </a:lnTo>
                    <a:lnTo>
                      <a:pt x="23" y="8"/>
                    </a:lnTo>
                    <a:lnTo>
                      <a:pt x="20" y="8"/>
                    </a:lnTo>
                    <a:lnTo>
                      <a:pt x="18" y="9"/>
                    </a:lnTo>
                    <a:lnTo>
                      <a:pt x="17" y="12"/>
                    </a:lnTo>
                    <a:lnTo>
                      <a:pt x="15" y="14"/>
                    </a:lnTo>
                    <a:lnTo>
                      <a:pt x="15" y="14"/>
                    </a:lnTo>
                    <a:lnTo>
                      <a:pt x="15" y="15"/>
                    </a:lnTo>
                    <a:lnTo>
                      <a:pt x="15" y="15"/>
                    </a:lnTo>
                    <a:lnTo>
                      <a:pt x="15" y="15"/>
                    </a:lnTo>
                    <a:lnTo>
                      <a:pt x="17" y="15"/>
                    </a:lnTo>
                    <a:lnTo>
                      <a:pt x="18" y="15"/>
                    </a:lnTo>
                    <a:lnTo>
                      <a:pt x="18" y="15"/>
                    </a:lnTo>
                    <a:lnTo>
                      <a:pt x="20" y="15"/>
                    </a:lnTo>
                    <a:lnTo>
                      <a:pt x="20" y="17"/>
                    </a:lnTo>
                    <a:lnTo>
                      <a:pt x="18" y="19"/>
                    </a:lnTo>
                    <a:lnTo>
                      <a:pt x="17" y="19"/>
                    </a:lnTo>
                    <a:lnTo>
                      <a:pt x="17" y="19"/>
                    </a:lnTo>
                    <a:lnTo>
                      <a:pt x="17" y="19"/>
                    </a:lnTo>
                    <a:lnTo>
                      <a:pt x="17" y="20"/>
                    </a:lnTo>
                    <a:lnTo>
                      <a:pt x="17" y="20"/>
                    </a:lnTo>
                    <a:lnTo>
                      <a:pt x="17" y="22"/>
                    </a:lnTo>
                    <a:lnTo>
                      <a:pt x="18" y="23"/>
                    </a:lnTo>
                    <a:lnTo>
                      <a:pt x="20" y="22"/>
                    </a:lnTo>
                    <a:lnTo>
                      <a:pt x="25" y="20"/>
                    </a:lnTo>
                    <a:lnTo>
                      <a:pt x="29" y="17"/>
                    </a:lnTo>
                    <a:lnTo>
                      <a:pt x="31" y="17"/>
                    </a:lnTo>
                    <a:lnTo>
                      <a:pt x="32" y="17"/>
                    </a:lnTo>
                    <a:lnTo>
                      <a:pt x="34" y="17"/>
                    </a:lnTo>
                    <a:lnTo>
                      <a:pt x="36" y="15"/>
                    </a:lnTo>
                    <a:lnTo>
                      <a:pt x="37" y="14"/>
                    </a:lnTo>
                    <a:lnTo>
                      <a:pt x="39" y="14"/>
                    </a:lnTo>
                    <a:lnTo>
                      <a:pt x="42" y="14"/>
                    </a:lnTo>
                    <a:lnTo>
                      <a:pt x="43" y="12"/>
                    </a:lnTo>
                    <a:lnTo>
                      <a:pt x="45" y="12"/>
                    </a:lnTo>
                    <a:lnTo>
                      <a:pt x="47" y="11"/>
                    </a:lnTo>
                    <a:lnTo>
                      <a:pt x="48" y="11"/>
                    </a:lnTo>
                    <a:lnTo>
                      <a:pt x="51" y="9"/>
                    </a:lnTo>
                    <a:lnTo>
                      <a:pt x="54" y="8"/>
                    </a:lnTo>
                    <a:lnTo>
                      <a:pt x="57" y="5"/>
                    </a:lnTo>
                    <a:lnTo>
                      <a:pt x="56" y="5"/>
                    </a:lnTo>
                    <a:close/>
                    <a:moveTo>
                      <a:pt x="28" y="0"/>
                    </a:moveTo>
                    <a:lnTo>
                      <a:pt x="28" y="0"/>
                    </a:lnTo>
                    <a:lnTo>
                      <a:pt x="26" y="1"/>
                    </a:lnTo>
                    <a:lnTo>
                      <a:pt x="28" y="3"/>
                    </a:lnTo>
                    <a:lnTo>
                      <a:pt x="28" y="0"/>
                    </a:lnTo>
                    <a:lnTo>
                      <a:pt x="28"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3" name="Freeform 200">
                <a:extLst>
                  <a:ext uri="{FF2B5EF4-FFF2-40B4-BE49-F238E27FC236}">
                    <a16:creationId xmlns:a16="http://schemas.microsoft.com/office/drawing/2014/main" id="{E0C3B115-4D6B-219E-4649-7ADA34551C45}"/>
                  </a:ext>
                </a:extLst>
              </p:cNvPr>
              <p:cNvSpPr>
                <a:spLocks noEditPoints="1"/>
              </p:cNvSpPr>
              <p:nvPr/>
            </p:nvSpPr>
            <p:spPr bwMode="gray">
              <a:xfrm>
                <a:off x="3596" y="748"/>
                <a:ext cx="249" cy="172"/>
              </a:xfrm>
              <a:custGeom>
                <a:avLst/>
                <a:gdLst>
                  <a:gd name="T0" fmla="*/ 9 w 249"/>
                  <a:gd name="T1" fmla="*/ 88 h 172"/>
                  <a:gd name="T2" fmla="*/ 244 w 249"/>
                  <a:gd name="T3" fmla="*/ 110 h 172"/>
                  <a:gd name="T4" fmla="*/ 233 w 249"/>
                  <a:gd name="T5" fmla="*/ 105 h 172"/>
                  <a:gd name="T6" fmla="*/ 213 w 249"/>
                  <a:gd name="T7" fmla="*/ 94 h 172"/>
                  <a:gd name="T8" fmla="*/ 197 w 249"/>
                  <a:gd name="T9" fmla="*/ 85 h 172"/>
                  <a:gd name="T10" fmla="*/ 175 w 249"/>
                  <a:gd name="T11" fmla="*/ 66 h 172"/>
                  <a:gd name="T12" fmla="*/ 166 w 249"/>
                  <a:gd name="T13" fmla="*/ 42 h 172"/>
                  <a:gd name="T14" fmla="*/ 155 w 249"/>
                  <a:gd name="T15" fmla="*/ 38 h 172"/>
                  <a:gd name="T16" fmla="*/ 141 w 249"/>
                  <a:gd name="T17" fmla="*/ 38 h 172"/>
                  <a:gd name="T18" fmla="*/ 135 w 249"/>
                  <a:gd name="T19" fmla="*/ 28 h 172"/>
                  <a:gd name="T20" fmla="*/ 135 w 249"/>
                  <a:gd name="T21" fmla="*/ 24 h 172"/>
                  <a:gd name="T22" fmla="*/ 131 w 249"/>
                  <a:gd name="T23" fmla="*/ 19 h 172"/>
                  <a:gd name="T24" fmla="*/ 128 w 249"/>
                  <a:gd name="T25" fmla="*/ 13 h 172"/>
                  <a:gd name="T26" fmla="*/ 114 w 249"/>
                  <a:gd name="T27" fmla="*/ 6 h 172"/>
                  <a:gd name="T28" fmla="*/ 105 w 249"/>
                  <a:gd name="T29" fmla="*/ 3 h 172"/>
                  <a:gd name="T30" fmla="*/ 102 w 249"/>
                  <a:gd name="T31" fmla="*/ 6 h 172"/>
                  <a:gd name="T32" fmla="*/ 103 w 249"/>
                  <a:gd name="T33" fmla="*/ 13 h 172"/>
                  <a:gd name="T34" fmla="*/ 97 w 249"/>
                  <a:gd name="T35" fmla="*/ 8 h 172"/>
                  <a:gd name="T36" fmla="*/ 86 w 249"/>
                  <a:gd name="T37" fmla="*/ 16 h 172"/>
                  <a:gd name="T38" fmla="*/ 78 w 249"/>
                  <a:gd name="T39" fmla="*/ 27 h 172"/>
                  <a:gd name="T40" fmla="*/ 80 w 249"/>
                  <a:gd name="T41" fmla="*/ 35 h 172"/>
                  <a:gd name="T42" fmla="*/ 70 w 249"/>
                  <a:gd name="T43" fmla="*/ 36 h 172"/>
                  <a:gd name="T44" fmla="*/ 53 w 249"/>
                  <a:gd name="T45" fmla="*/ 36 h 172"/>
                  <a:gd name="T46" fmla="*/ 44 w 249"/>
                  <a:gd name="T47" fmla="*/ 24 h 172"/>
                  <a:gd name="T48" fmla="*/ 30 w 249"/>
                  <a:gd name="T49" fmla="*/ 13 h 172"/>
                  <a:gd name="T50" fmla="*/ 14 w 249"/>
                  <a:gd name="T51" fmla="*/ 14 h 172"/>
                  <a:gd name="T52" fmla="*/ 5 w 249"/>
                  <a:gd name="T53" fmla="*/ 35 h 172"/>
                  <a:gd name="T54" fmla="*/ 8 w 249"/>
                  <a:gd name="T55" fmla="*/ 22 h 172"/>
                  <a:gd name="T56" fmla="*/ 24 w 249"/>
                  <a:gd name="T57" fmla="*/ 16 h 172"/>
                  <a:gd name="T58" fmla="*/ 38 w 249"/>
                  <a:gd name="T59" fmla="*/ 38 h 172"/>
                  <a:gd name="T60" fmla="*/ 36 w 249"/>
                  <a:gd name="T61" fmla="*/ 47 h 172"/>
                  <a:gd name="T62" fmla="*/ 28 w 249"/>
                  <a:gd name="T63" fmla="*/ 49 h 172"/>
                  <a:gd name="T64" fmla="*/ 13 w 249"/>
                  <a:gd name="T65" fmla="*/ 47 h 172"/>
                  <a:gd name="T66" fmla="*/ 5 w 249"/>
                  <a:gd name="T67" fmla="*/ 56 h 172"/>
                  <a:gd name="T68" fmla="*/ 11 w 249"/>
                  <a:gd name="T69" fmla="*/ 66 h 172"/>
                  <a:gd name="T70" fmla="*/ 19 w 249"/>
                  <a:gd name="T71" fmla="*/ 74 h 172"/>
                  <a:gd name="T72" fmla="*/ 11 w 249"/>
                  <a:gd name="T73" fmla="*/ 80 h 172"/>
                  <a:gd name="T74" fmla="*/ 22 w 249"/>
                  <a:gd name="T75" fmla="*/ 83 h 172"/>
                  <a:gd name="T76" fmla="*/ 24 w 249"/>
                  <a:gd name="T77" fmla="*/ 99 h 172"/>
                  <a:gd name="T78" fmla="*/ 30 w 249"/>
                  <a:gd name="T79" fmla="*/ 125 h 172"/>
                  <a:gd name="T80" fmla="*/ 42 w 249"/>
                  <a:gd name="T81" fmla="*/ 116 h 172"/>
                  <a:gd name="T82" fmla="*/ 64 w 249"/>
                  <a:gd name="T83" fmla="*/ 108 h 172"/>
                  <a:gd name="T84" fmla="*/ 74 w 249"/>
                  <a:gd name="T85" fmla="*/ 105 h 172"/>
                  <a:gd name="T86" fmla="*/ 85 w 249"/>
                  <a:gd name="T87" fmla="*/ 110 h 172"/>
                  <a:gd name="T88" fmla="*/ 99 w 249"/>
                  <a:gd name="T89" fmla="*/ 116 h 172"/>
                  <a:gd name="T90" fmla="*/ 111 w 249"/>
                  <a:gd name="T91" fmla="*/ 117 h 172"/>
                  <a:gd name="T92" fmla="*/ 122 w 249"/>
                  <a:gd name="T93" fmla="*/ 127 h 172"/>
                  <a:gd name="T94" fmla="*/ 138 w 249"/>
                  <a:gd name="T95" fmla="*/ 141 h 172"/>
                  <a:gd name="T96" fmla="*/ 153 w 249"/>
                  <a:gd name="T97" fmla="*/ 153 h 172"/>
                  <a:gd name="T98" fmla="*/ 153 w 249"/>
                  <a:gd name="T99" fmla="*/ 161 h 172"/>
                  <a:gd name="T100" fmla="*/ 163 w 249"/>
                  <a:gd name="T101" fmla="*/ 168 h 172"/>
                  <a:gd name="T102" fmla="*/ 172 w 249"/>
                  <a:gd name="T103" fmla="*/ 172 h 172"/>
                  <a:gd name="T104" fmla="*/ 185 w 249"/>
                  <a:gd name="T105" fmla="*/ 168 h 172"/>
                  <a:gd name="T106" fmla="*/ 186 w 249"/>
                  <a:gd name="T107" fmla="*/ 158 h 172"/>
                  <a:gd name="T108" fmla="*/ 203 w 249"/>
                  <a:gd name="T109" fmla="*/ 153 h 172"/>
                  <a:gd name="T110" fmla="*/ 214 w 249"/>
                  <a:gd name="T111" fmla="*/ 138 h 172"/>
                  <a:gd name="T112" fmla="*/ 230 w 249"/>
                  <a:gd name="T113" fmla="*/ 124 h 172"/>
                  <a:gd name="T114" fmla="*/ 246 w 249"/>
                  <a:gd name="T115" fmla="*/ 12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9" h="172">
                    <a:moveTo>
                      <a:pt x="9" y="88"/>
                    </a:moveTo>
                    <a:lnTo>
                      <a:pt x="11" y="86"/>
                    </a:lnTo>
                    <a:lnTo>
                      <a:pt x="9" y="86"/>
                    </a:lnTo>
                    <a:lnTo>
                      <a:pt x="9" y="86"/>
                    </a:lnTo>
                    <a:lnTo>
                      <a:pt x="9" y="91"/>
                    </a:lnTo>
                    <a:lnTo>
                      <a:pt x="11" y="94"/>
                    </a:lnTo>
                    <a:lnTo>
                      <a:pt x="11" y="92"/>
                    </a:lnTo>
                    <a:lnTo>
                      <a:pt x="9" y="88"/>
                    </a:lnTo>
                    <a:close/>
                    <a:moveTo>
                      <a:pt x="247" y="116"/>
                    </a:moveTo>
                    <a:lnTo>
                      <a:pt x="249" y="111"/>
                    </a:lnTo>
                    <a:lnTo>
                      <a:pt x="249" y="111"/>
                    </a:lnTo>
                    <a:lnTo>
                      <a:pt x="249" y="111"/>
                    </a:lnTo>
                    <a:lnTo>
                      <a:pt x="249" y="111"/>
                    </a:lnTo>
                    <a:lnTo>
                      <a:pt x="247" y="111"/>
                    </a:lnTo>
                    <a:lnTo>
                      <a:pt x="247" y="110"/>
                    </a:lnTo>
                    <a:lnTo>
                      <a:pt x="244" y="110"/>
                    </a:lnTo>
                    <a:lnTo>
                      <a:pt x="242" y="110"/>
                    </a:lnTo>
                    <a:lnTo>
                      <a:pt x="242" y="108"/>
                    </a:lnTo>
                    <a:lnTo>
                      <a:pt x="242" y="108"/>
                    </a:lnTo>
                    <a:lnTo>
                      <a:pt x="241" y="106"/>
                    </a:lnTo>
                    <a:lnTo>
                      <a:pt x="239" y="106"/>
                    </a:lnTo>
                    <a:lnTo>
                      <a:pt x="236" y="105"/>
                    </a:lnTo>
                    <a:lnTo>
                      <a:pt x="235" y="105"/>
                    </a:lnTo>
                    <a:lnTo>
                      <a:pt x="233" y="105"/>
                    </a:lnTo>
                    <a:lnTo>
                      <a:pt x="233" y="105"/>
                    </a:lnTo>
                    <a:lnTo>
                      <a:pt x="232" y="105"/>
                    </a:lnTo>
                    <a:lnTo>
                      <a:pt x="230" y="105"/>
                    </a:lnTo>
                    <a:lnTo>
                      <a:pt x="227" y="103"/>
                    </a:lnTo>
                    <a:lnTo>
                      <a:pt x="221" y="99"/>
                    </a:lnTo>
                    <a:lnTo>
                      <a:pt x="216" y="96"/>
                    </a:lnTo>
                    <a:lnTo>
                      <a:pt x="214" y="94"/>
                    </a:lnTo>
                    <a:lnTo>
                      <a:pt x="213" y="94"/>
                    </a:lnTo>
                    <a:lnTo>
                      <a:pt x="213" y="94"/>
                    </a:lnTo>
                    <a:lnTo>
                      <a:pt x="211" y="92"/>
                    </a:lnTo>
                    <a:lnTo>
                      <a:pt x="208" y="89"/>
                    </a:lnTo>
                    <a:lnTo>
                      <a:pt x="205" y="89"/>
                    </a:lnTo>
                    <a:lnTo>
                      <a:pt x="202" y="86"/>
                    </a:lnTo>
                    <a:lnTo>
                      <a:pt x="199" y="85"/>
                    </a:lnTo>
                    <a:lnTo>
                      <a:pt x="197" y="85"/>
                    </a:lnTo>
                    <a:lnTo>
                      <a:pt x="197" y="85"/>
                    </a:lnTo>
                    <a:lnTo>
                      <a:pt x="194" y="80"/>
                    </a:lnTo>
                    <a:lnTo>
                      <a:pt x="189" y="77"/>
                    </a:lnTo>
                    <a:lnTo>
                      <a:pt x="186" y="74"/>
                    </a:lnTo>
                    <a:lnTo>
                      <a:pt x="183" y="72"/>
                    </a:lnTo>
                    <a:lnTo>
                      <a:pt x="178" y="69"/>
                    </a:lnTo>
                    <a:lnTo>
                      <a:pt x="177" y="67"/>
                    </a:lnTo>
                    <a:lnTo>
                      <a:pt x="175" y="66"/>
                    </a:lnTo>
                    <a:lnTo>
                      <a:pt x="175" y="66"/>
                    </a:lnTo>
                    <a:lnTo>
                      <a:pt x="175" y="64"/>
                    </a:lnTo>
                    <a:lnTo>
                      <a:pt x="174" y="58"/>
                    </a:lnTo>
                    <a:lnTo>
                      <a:pt x="172" y="55"/>
                    </a:lnTo>
                    <a:lnTo>
                      <a:pt x="171" y="53"/>
                    </a:lnTo>
                    <a:lnTo>
                      <a:pt x="171" y="53"/>
                    </a:lnTo>
                    <a:lnTo>
                      <a:pt x="169" y="50"/>
                    </a:lnTo>
                    <a:lnTo>
                      <a:pt x="167" y="45"/>
                    </a:lnTo>
                    <a:lnTo>
                      <a:pt x="166" y="42"/>
                    </a:lnTo>
                    <a:lnTo>
                      <a:pt x="166" y="41"/>
                    </a:lnTo>
                    <a:lnTo>
                      <a:pt x="164" y="39"/>
                    </a:lnTo>
                    <a:lnTo>
                      <a:pt x="161" y="38"/>
                    </a:lnTo>
                    <a:lnTo>
                      <a:pt x="158" y="36"/>
                    </a:lnTo>
                    <a:lnTo>
                      <a:pt x="158" y="36"/>
                    </a:lnTo>
                    <a:lnTo>
                      <a:pt x="156" y="36"/>
                    </a:lnTo>
                    <a:lnTo>
                      <a:pt x="156" y="36"/>
                    </a:lnTo>
                    <a:lnTo>
                      <a:pt x="155" y="38"/>
                    </a:lnTo>
                    <a:lnTo>
                      <a:pt x="155" y="38"/>
                    </a:lnTo>
                    <a:lnTo>
                      <a:pt x="153" y="38"/>
                    </a:lnTo>
                    <a:lnTo>
                      <a:pt x="153" y="38"/>
                    </a:lnTo>
                    <a:lnTo>
                      <a:pt x="152" y="38"/>
                    </a:lnTo>
                    <a:lnTo>
                      <a:pt x="149" y="38"/>
                    </a:lnTo>
                    <a:lnTo>
                      <a:pt x="147" y="36"/>
                    </a:lnTo>
                    <a:lnTo>
                      <a:pt x="146" y="36"/>
                    </a:lnTo>
                    <a:lnTo>
                      <a:pt x="141" y="38"/>
                    </a:lnTo>
                    <a:lnTo>
                      <a:pt x="139" y="38"/>
                    </a:lnTo>
                    <a:lnTo>
                      <a:pt x="136" y="35"/>
                    </a:lnTo>
                    <a:lnTo>
                      <a:pt x="133" y="33"/>
                    </a:lnTo>
                    <a:lnTo>
                      <a:pt x="133" y="33"/>
                    </a:lnTo>
                    <a:lnTo>
                      <a:pt x="133" y="33"/>
                    </a:lnTo>
                    <a:lnTo>
                      <a:pt x="133" y="31"/>
                    </a:lnTo>
                    <a:lnTo>
                      <a:pt x="135" y="30"/>
                    </a:lnTo>
                    <a:lnTo>
                      <a:pt x="135" y="28"/>
                    </a:lnTo>
                    <a:lnTo>
                      <a:pt x="135" y="27"/>
                    </a:lnTo>
                    <a:lnTo>
                      <a:pt x="133" y="27"/>
                    </a:lnTo>
                    <a:lnTo>
                      <a:pt x="133" y="25"/>
                    </a:lnTo>
                    <a:lnTo>
                      <a:pt x="135" y="24"/>
                    </a:lnTo>
                    <a:lnTo>
                      <a:pt x="135" y="24"/>
                    </a:lnTo>
                    <a:lnTo>
                      <a:pt x="136" y="24"/>
                    </a:lnTo>
                    <a:lnTo>
                      <a:pt x="136" y="24"/>
                    </a:lnTo>
                    <a:lnTo>
                      <a:pt x="135" y="24"/>
                    </a:lnTo>
                    <a:lnTo>
                      <a:pt x="135" y="22"/>
                    </a:lnTo>
                    <a:lnTo>
                      <a:pt x="135" y="22"/>
                    </a:lnTo>
                    <a:lnTo>
                      <a:pt x="135" y="22"/>
                    </a:lnTo>
                    <a:lnTo>
                      <a:pt x="131" y="20"/>
                    </a:lnTo>
                    <a:lnTo>
                      <a:pt x="131" y="20"/>
                    </a:lnTo>
                    <a:lnTo>
                      <a:pt x="131" y="19"/>
                    </a:lnTo>
                    <a:lnTo>
                      <a:pt x="131" y="19"/>
                    </a:lnTo>
                    <a:lnTo>
                      <a:pt x="131" y="19"/>
                    </a:lnTo>
                    <a:lnTo>
                      <a:pt x="131" y="17"/>
                    </a:lnTo>
                    <a:lnTo>
                      <a:pt x="131" y="16"/>
                    </a:lnTo>
                    <a:lnTo>
                      <a:pt x="131" y="16"/>
                    </a:lnTo>
                    <a:lnTo>
                      <a:pt x="131" y="14"/>
                    </a:lnTo>
                    <a:lnTo>
                      <a:pt x="131" y="14"/>
                    </a:lnTo>
                    <a:lnTo>
                      <a:pt x="131" y="14"/>
                    </a:lnTo>
                    <a:lnTo>
                      <a:pt x="130" y="13"/>
                    </a:lnTo>
                    <a:lnTo>
                      <a:pt x="128" y="13"/>
                    </a:lnTo>
                    <a:lnTo>
                      <a:pt x="122" y="13"/>
                    </a:lnTo>
                    <a:lnTo>
                      <a:pt x="120" y="11"/>
                    </a:lnTo>
                    <a:lnTo>
                      <a:pt x="119" y="11"/>
                    </a:lnTo>
                    <a:lnTo>
                      <a:pt x="119" y="11"/>
                    </a:lnTo>
                    <a:lnTo>
                      <a:pt x="117" y="8"/>
                    </a:lnTo>
                    <a:lnTo>
                      <a:pt x="117" y="6"/>
                    </a:lnTo>
                    <a:lnTo>
                      <a:pt x="116" y="6"/>
                    </a:lnTo>
                    <a:lnTo>
                      <a:pt x="114" y="6"/>
                    </a:lnTo>
                    <a:lnTo>
                      <a:pt x="113" y="6"/>
                    </a:lnTo>
                    <a:lnTo>
                      <a:pt x="113" y="6"/>
                    </a:lnTo>
                    <a:lnTo>
                      <a:pt x="113" y="6"/>
                    </a:lnTo>
                    <a:lnTo>
                      <a:pt x="110" y="3"/>
                    </a:lnTo>
                    <a:lnTo>
                      <a:pt x="106" y="0"/>
                    </a:lnTo>
                    <a:lnTo>
                      <a:pt x="106" y="3"/>
                    </a:lnTo>
                    <a:lnTo>
                      <a:pt x="106" y="3"/>
                    </a:lnTo>
                    <a:lnTo>
                      <a:pt x="105" y="3"/>
                    </a:lnTo>
                    <a:lnTo>
                      <a:pt x="103" y="3"/>
                    </a:lnTo>
                    <a:lnTo>
                      <a:pt x="102" y="3"/>
                    </a:lnTo>
                    <a:lnTo>
                      <a:pt x="100" y="3"/>
                    </a:lnTo>
                    <a:lnTo>
                      <a:pt x="100" y="5"/>
                    </a:lnTo>
                    <a:lnTo>
                      <a:pt x="100" y="5"/>
                    </a:lnTo>
                    <a:lnTo>
                      <a:pt x="100" y="5"/>
                    </a:lnTo>
                    <a:lnTo>
                      <a:pt x="100" y="5"/>
                    </a:lnTo>
                    <a:lnTo>
                      <a:pt x="102" y="6"/>
                    </a:lnTo>
                    <a:lnTo>
                      <a:pt x="105" y="9"/>
                    </a:lnTo>
                    <a:lnTo>
                      <a:pt x="105" y="11"/>
                    </a:lnTo>
                    <a:lnTo>
                      <a:pt x="105" y="11"/>
                    </a:lnTo>
                    <a:lnTo>
                      <a:pt x="105" y="13"/>
                    </a:lnTo>
                    <a:lnTo>
                      <a:pt x="105" y="13"/>
                    </a:lnTo>
                    <a:lnTo>
                      <a:pt x="105" y="13"/>
                    </a:lnTo>
                    <a:lnTo>
                      <a:pt x="103" y="13"/>
                    </a:lnTo>
                    <a:lnTo>
                      <a:pt x="103" y="13"/>
                    </a:lnTo>
                    <a:lnTo>
                      <a:pt x="103" y="11"/>
                    </a:lnTo>
                    <a:lnTo>
                      <a:pt x="103" y="11"/>
                    </a:lnTo>
                    <a:lnTo>
                      <a:pt x="103" y="9"/>
                    </a:lnTo>
                    <a:lnTo>
                      <a:pt x="102" y="9"/>
                    </a:lnTo>
                    <a:lnTo>
                      <a:pt x="100" y="8"/>
                    </a:lnTo>
                    <a:lnTo>
                      <a:pt x="100" y="8"/>
                    </a:lnTo>
                    <a:lnTo>
                      <a:pt x="99" y="8"/>
                    </a:lnTo>
                    <a:lnTo>
                      <a:pt x="97" y="8"/>
                    </a:lnTo>
                    <a:lnTo>
                      <a:pt x="97" y="8"/>
                    </a:lnTo>
                    <a:lnTo>
                      <a:pt x="95" y="9"/>
                    </a:lnTo>
                    <a:lnTo>
                      <a:pt x="95" y="11"/>
                    </a:lnTo>
                    <a:lnTo>
                      <a:pt x="94" y="14"/>
                    </a:lnTo>
                    <a:lnTo>
                      <a:pt x="94" y="14"/>
                    </a:lnTo>
                    <a:lnTo>
                      <a:pt x="94" y="14"/>
                    </a:lnTo>
                    <a:lnTo>
                      <a:pt x="91" y="16"/>
                    </a:lnTo>
                    <a:lnTo>
                      <a:pt x="86" y="16"/>
                    </a:lnTo>
                    <a:lnTo>
                      <a:pt x="85" y="16"/>
                    </a:lnTo>
                    <a:lnTo>
                      <a:pt x="85" y="16"/>
                    </a:lnTo>
                    <a:lnTo>
                      <a:pt x="83" y="17"/>
                    </a:lnTo>
                    <a:lnTo>
                      <a:pt x="81" y="20"/>
                    </a:lnTo>
                    <a:lnTo>
                      <a:pt x="81" y="20"/>
                    </a:lnTo>
                    <a:lnTo>
                      <a:pt x="80" y="20"/>
                    </a:lnTo>
                    <a:lnTo>
                      <a:pt x="78" y="22"/>
                    </a:lnTo>
                    <a:lnTo>
                      <a:pt x="78" y="27"/>
                    </a:lnTo>
                    <a:lnTo>
                      <a:pt x="80" y="31"/>
                    </a:lnTo>
                    <a:lnTo>
                      <a:pt x="80" y="33"/>
                    </a:lnTo>
                    <a:lnTo>
                      <a:pt x="81" y="33"/>
                    </a:lnTo>
                    <a:lnTo>
                      <a:pt x="81" y="33"/>
                    </a:lnTo>
                    <a:lnTo>
                      <a:pt x="81" y="35"/>
                    </a:lnTo>
                    <a:lnTo>
                      <a:pt x="81" y="35"/>
                    </a:lnTo>
                    <a:lnTo>
                      <a:pt x="81" y="35"/>
                    </a:lnTo>
                    <a:lnTo>
                      <a:pt x="80" y="35"/>
                    </a:lnTo>
                    <a:lnTo>
                      <a:pt x="80" y="36"/>
                    </a:lnTo>
                    <a:lnTo>
                      <a:pt x="80" y="36"/>
                    </a:lnTo>
                    <a:lnTo>
                      <a:pt x="78" y="36"/>
                    </a:lnTo>
                    <a:lnTo>
                      <a:pt x="77" y="36"/>
                    </a:lnTo>
                    <a:lnTo>
                      <a:pt x="75" y="36"/>
                    </a:lnTo>
                    <a:lnTo>
                      <a:pt x="75" y="36"/>
                    </a:lnTo>
                    <a:lnTo>
                      <a:pt x="75" y="36"/>
                    </a:lnTo>
                    <a:lnTo>
                      <a:pt x="70" y="36"/>
                    </a:lnTo>
                    <a:lnTo>
                      <a:pt x="66" y="35"/>
                    </a:lnTo>
                    <a:lnTo>
                      <a:pt x="61" y="35"/>
                    </a:lnTo>
                    <a:lnTo>
                      <a:pt x="61" y="35"/>
                    </a:lnTo>
                    <a:lnTo>
                      <a:pt x="61" y="35"/>
                    </a:lnTo>
                    <a:lnTo>
                      <a:pt x="60" y="35"/>
                    </a:lnTo>
                    <a:lnTo>
                      <a:pt x="56" y="36"/>
                    </a:lnTo>
                    <a:lnTo>
                      <a:pt x="53" y="36"/>
                    </a:lnTo>
                    <a:lnTo>
                      <a:pt x="53" y="36"/>
                    </a:lnTo>
                    <a:lnTo>
                      <a:pt x="52" y="36"/>
                    </a:lnTo>
                    <a:lnTo>
                      <a:pt x="52" y="35"/>
                    </a:lnTo>
                    <a:lnTo>
                      <a:pt x="50" y="33"/>
                    </a:lnTo>
                    <a:lnTo>
                      <a:pt x="49" y="31"/>
                    </a:lnTo>
                    <a:lnTo>
                      <a:pt x="49" y="31"/>
                    </a:lnTo>
                    <a:lnTo>
                      <a:pt x="47" y="30"/>
                    </a:lnTo>
                    <a:lnTo>
                      <a:pt x="45" y="28"/>
                    </a:lnTo>
                    <a:lnTo>
                      <a:pt x="44" y="24"/>
                    </a:lnTo>
                    <a:lnTo>
                      <a:pt x="42" y="22"/>
                    </a:lnTo>
                    <a:lnTo>
                      <a:pt x="42" y="20"/>
                    </a:lnTo>
                    <a:lnTo>
                      <a:pt x="42" y="20"/>
                    </a:lnTo>
                    <a:lnTo>
                      <a:pt x="39" y="17"/>
                    </a:lnTo>
                    <a:lnTo>
                      <a:pt x="34" y="14"/>
                    </a:lnTo>
                    <a:lnTo>
                      <a:pt x="34" y="14"/>
                    </a:lnTo>
                    <a:lnTo>
                      <a:pt x="31" y="13"/>
                    </a:lnTo>
                    <a:lnTo>
                      <a:pt x="30" y="13"/>
                    </a:lnTo>
                    <a:lnTo>
                      <a:pt x="28" y="11"/>
                    </a:lnTo>
                    <a:lnTo>
                      <a:pt x="27" y="11"/>
                    </a:lnTo>
                    <a:lnTo>
                      <a:pt x="25" y="11"/>
                    </a:lnTo>
                    <a:lnTo>
                      <a:pt x="22" y="13"/>
                    </a:lnTo>
                    <a:lnTo>
                      <a:pt x="20" y="13"/>
                    </a:lnTo>
                    <a:lnTo>
                      <a:pt x="17" y="13"/>
                    </a:lnTo>
                    <a:lnTo>
                      <a:pt x="17" y="13"/>
                    </a:lnTo>
                    <a:lnTo>
                      <a:pt x="14" y="14"/>
                    </a:lnTo>
                    <a:lnTo>
                      <a:pt x="9" y="16"/>
                    </a:lnTo>
                    <a:lnTo>
                      <a:pt x="9" y="16"/>
                    </a:lnTo>
                    <a:lnTo>
                      <a:pt x="6" y="17"/>
                    </a:lnTo>
                    <a:lnTo>
                      <a:pt x="3" y="20"/>
                    </a:lnTo>
                    <a:lnTo>
                      <a:pt x="0" y="24"/>
                    </a:lnTo>
                    <a:lnTo>
                      <a:pt x="0" y="24"/>
                    </a:lnTo>
                    <a:lnTo>
                      <a:pt x="2" y="30"/>
                    </a:lnTo>
                    <a:lnTo>
                      <a:pt x="5" y="35"/>
                    </a:lnTo>
                    <a:lnTo>
                      <a:pt x="6" y="38"/>
                    </a:lnTo>
                    <a:lnTo>
                      <a:pt x="6" y="38"/>
                    </a:lnTo>
                    <a:lnTo>
                      <a:pt x="6" y="38"/>
                    </a:lnTo>
                    <a:lnTo>
                      <a:pt x="6" y="35"/>
                    </a:lnTo>
                    <a:lnTo>
                      <a:pt x="6" y="28"/>
                    </a:lnTo>
                    <a:lnTo>
                      <a:pt x="6" y="27"/>
                    </a:lnTo>
                    <a:lnTo>
                      <a:pt x="6" y="25"/>
                    </a:lnTo>
                    <a:lnTo>
                      <a:pt x="8" y="22"/>
                    </a:lnTo>
                    <a:lnTo>
                      <a:pt x="8" y="19"/>
                    </a:lnTo>
                    <a:lnTo>
                      <a:pt x="11" y="17"/>
                    </a:lnTo>
                    <a:lnTo>
                      <a:pt x="13" y="17"/>
                    </a:lnTo>
                    <a:lnTo>
                      <a:pt x="14" y="17"/>
                    </a:lnTo>
                    <a:lnTo>
                      <a:pt x="17" y="16"/>
                    </a:lnTo>
                    <a:lnTo>
                      <a:pt x="20" y="16"/>
                    </a:lnTo>
                    <a:lnTo>
                      <a:pt x="22" y="16"/>
                    </a:lnTo>
                    <a:lnTo>
                      <a:pt x="24" y="16"/>
                    </a:lnTo>
                    <a:lnTo>
                      <a:pt x="24" y="17"/>
                    </a:lnTo>
                    <a:lnTo>
                      <a:pt x="25" y="22"/>
                    </a:lnTo>
                    <a:lnTo>
                      <a:pt x="27" y="25"/>
                    </a:lnTo>
                    <a:lnTo>
                      <a:pt x="27" y="27"/>
                    </a:lnTo>
                    <a:lnTo>
                      <a:pt x="28" y="30"/>
                    </a:lnTo>
                    <a:lnTo>
                      <a:pt x="30" y="33"/>
                    </a:lnTo>
                    <a:lnTo>
                      <a:pt x="31" y="35"/>
                    </a:lnTo>
                    <a:lnTo>
                      <a:pt x="38" y="38"/>
                    </a:lnTo>
                    <a:lnTo>
                      <a:pt x="39" y="39"/>
                    </a:lnTo>
                    <a:lnTo>
                      <a:pt x="39" y="41"/>
                    </a:lnTo>
                    <a:lnTo>
                      <a:pt x="39" y="42"/>
                    </a:lnTo>
                    <a:lnTo>
                      <a:pt x="39" y="44"/>
                    </a:lnTo>
                    <a:lnTo>
                      <a:pt x="39" y="45"/>
                    </a:lnTo>
                    <a:lnTo>
                      <a:pt x="39" y="45"/>
                    </a:lnTo>
                    <a:lnTo>
                      <a:pt x="38" y="45"/>
                    </a:lnTo>
                    <a:lnTo>
                      <a:pt x="36" y="47"/>
                    </a:lnTo>
                    <a:lnTo>
                      <a:pt x="33" y="45"/>
                    </a:lnTo>
                    <a:lnTo>
                      <a:pt x="33" y="47"/>
                    </a:lnTo>
                    <a:lnTo>
                      <a:pt x="33" y="49"/>
                    </a:lnTo>
                    <a:lnTo>
                      <a:pt x="33" y="50"/>
                    </a:lnTo>
                    <a:lnTo>
                      <a:pt x="33" y="50"/>
                    </a:lnTo>
                    <a:lnTo>
                      <a:pt x="31" y="50"/>
                    </a:lnTo>
                    <a:lnTo>
                      <a:pt x="30" y="49"/>
                    </a:lnTo>
                    <a:lnTo>
                      <a:pt x="28" y="49"/>
                    </a:lnTo>
                    <a:lnTo>
                      <a:pt x="25" y="50"/>
                    </a:lnTo>
                    <a:lnTo>
                      <a:pt x="22" y="50"/>
                    </a:lnTo>
                    <a:lnTo>
                      <a:pt x="22" y="49"/>
                    </a:lnTo>
                    <a:lnTo>
                      <a:pt x="20" y="47"/>
                    </a:lnTo>
                    <a:lnTo>
                      <a:pt x="19" y="47"/>
                    </a:lnTo>
                    <a:lnTo>
                      <a:pt x="17" y="47"/>
                    </a:lnTo>
                    <a:lnTo>
                      <a:pt x="14" y="47"/>
                    </a:lnTo>
                    <a:lnTo>
                      <a:pt x="13" y="47"/>
                    </a:lnTo>
                    <a:lnTo>
                      <a:pt x="11" y="47"/>
                    </a:lnTo>
                    <a:lnTo>
                      <a:pt x="9" y="45"/>
                    </a:lnTo>
                    <a:lnTo>
                      <a:pt x="9" y="44"/>
                    </a:lnTo>
                    <a:lnTo>
                      <a:pt x="8" y="41"/>
                    </a:lnTo>
                    <a:lnTo>
                      <a:pt x="8" y="45"/>
                    </a:lnTo>
                    <a:lnTo>
                      <a:pt x="6" y="50"/>
                    </a:lnTo>
                    <a:lnTo>
                      <a:pt x="5" y="53"/>
                    </a:lnTo>
                    <a:lnTo>
                      <a:pt x="5" y="56"/>
                    </a:lnTo>
                    <a:lnTo>
                      <a:pt x="5" y="61"/>
                    </a:lnTo>
                    <a:lnTo>
                      <a:pt x="6" y="64"/>
                    </a:lnTo>
                    <a:lnTo>
                      <a:pt x="8" y="67"/>
                    </a:lnTo>
                    <a:lnTo>
                      <a:pt x="8" y="69"/>
                    </a:lnTo>
                    <a:lnTo>
                      <a:pt x="9" y="71"/>
                    </a:lnTo>
                    <a:lnTo>
                      <a:pt x="8" y="67"/>
                    </a:lnTo>
                    <a:lnTo>
                      <a:pt x="9" y="66"/>
                    </a:lnTo>
                    <a:lnTo>
                      <a:pt x="11" y="66"/>
                    </a:lnTo>
                    <a:lnTo>
                      <a:pt x="14" y="66"/>
                    </a:lnTo>
                    <a:lnTo>
                      <a:pt x="16" y="66"/>
                    </a:lnTo>
                    <a:lnTo>
                      <a:pt x="17" y="67"/>
                    </a:lnTo>
                    <a:lnTo>
                      <a:pt x="17" y="67"/>
                    </a:lnTo>
                    <a:lnTo>
                      <a:pt x="17" y="69"/>
                    </a:lnTo>
                    <a:lnTo>
                      <a:pt x="17" y="71"/>
                    </a:lnTo>
                    <a:lnTo>
                      <a:pt x="17" y="74"/>
                    </a:lnTo>
                    <a:lnTo>
                      <a:pt x="19" y="74"/>
                    </a:lnTo>
                    <a:lnTo>
                      <a:pt x="19" y="74"/>
                    </a:lnTo>
                    <a:lnTo>
                      <a:pt x="20" y="75"/>
                    </a:lnTo>
                    <a:lnTo>
                      <a:pt x="17" y="77"/>
                    </a:lnTo>
                    <a:lnTo>
                      <a:pt x="16" y="77"/>
                    </a:lnTo>
                    <a:lnTo>
                      <a:pt x="14" y="75"/>
                    </a:lnTo>
                    <a:lnTo>
                      <a:pt x="13" y="74"/>
                    </a:lnTo>
                    <a:lnTo>
                      <a:pt x="11" y="78"/>
                    </a:lnTo>
                    <a:lnTo>
                      <a:pt x="11" y="80"/>
                    </a:lnTo>
                    <a:lnTo>
                      <a:pt x="13" y="81"/>
                    </a:lnTo>
                    <a:lnTo>
                      <a:pt x="13" y="81"/>
                    </a:lnTo>
                    <a:lnTo>
                      <a:pt x="14" y="80"/>
                    </a:lnTo>
                    <a:lnTo>
                      <a:pt x="16" y="80"/>
                    </a:lnTo>
                    <a:lnTo>
                      <a:pt x="17" y="81"/>
                    </a:lnTo>
                    <a:lnTo>
                      <a:pt x="19" y="81"/>
                    </a:lnTo>
                    <a:lnTo>
                      <a:pt x="20" y="83"/>
                    </a:lnTo>
                    <a:lnTo>
                      <a:pt x="22" y="83"/>
                    </a:lnTo>
                    <a:lnTo>
                      <a:pt x="22" y="85"/>
                    </a:lnTo>
                    <a:lnTo>
                      <a:pt x="22" y="86"/>
                    </a:lnTo>
                    <a:lnTo>
                      <a:pt x="24" y="88"/>
                    </a:lnTo>
                    <a:lnTo>
                      <a:pt x="25" y="89"/>
                    </a:lnTo>
                    <a:lnTo>
                      <a:pt x="25" y="91"/>
                    </a:lnTo>
                    <a:lnTo>
                      <a:pt x="25" y="94"/>
                    </a:lnTo>
                    <a:lnTo>
                      <a:pt x="24" y="97"/>
                    </a:lnTo>
                    <a:lnTo>
                      <a:pt x="24" y="99"/>
                    </a:lnTo>
                    <a:lnTo>
                      <a:pt x="24" y="102"/>
                    </a:lnTo>
                    <a:lnTo>
                      <a:pt x="24" y="103"/>
                    </a:lnTo>
                    <a:lnTo>
                      <a:pt x="24" y="110"/>
                    </a:lnTo>
                    <a:lnTo>
                      <a:pt x="24" y="113"/>
                    </a:lnTo>
                    <a:lnTo>
                      <a:pt x="24" y="117"/>
                    </a:lnTo>
                    <a:lnTo>
                      <a:pt x="25" y="124"/>
                    </a:lnTo>
                    <a:lnTo>
                      <a:pt x="25" y="125"/>
                    </a:lnTo>
                    <a:lnTo>
                      <a:pt x="30" y="125"/>
                    </a:lnTo>
                    <a:lnTo>
                      <a:pt x="31" y="125"/>
                    </a:lnTo>
                    <a:lnTo>
                      <a:pt x="34" y="124"/>
                    </a:lnTo>
                    <a:lnTo>
                      <a:pt x="36" y="122"/>
                    </a:lnTo>
                    <a:lnTo>
                      <a:pt x="38" y="122"/>
                    </a:lnTo>
                    <a:lnTo>
                      <a:pt x="39" y="122"/>
                    </a:lnTo>
                    <a:lnTo>
                      <a:pt x="39" y="122"/>
                    </a:lnTo>
                    <a:lnTo>
                      <a:pt x="42" y="116"/>
                    </a:lnTo>
                    <a:lnTo>
                      <a:pt x="42" y="116"/>
                    </a:lnTo>
                    <a:lnTo>
                      <a:pt x="42" y="116"/>
                    </a:lnTo>
                    <a:lnTo>
                      <a:pt x="45" y="113"/>
                    </a:lnTo>
                    <a:lnTo>
                      <a:pt x="49" y="111"/>
                    </a:lnTo>
                    <a:lnTo>
                      <a:pt x="50" y="110"/>
                    </a:lnTo>
                    <a:lnTo>
                      <a:pt x="55" y="108"/>
                    </a:lnTo>
                    <a:lnTo>
                      <a:pt x="60" y="108"/>
                    </a:lnTo>
                    <a:lnTo>
                      <a:pt x="63" y="108"/>
                    </a:lnTo>
                    <a:lnTo>
                      <a:pt x="64" y="108"/>
                    </a:lnTo>
                    <a:lnTo>
                      <a:pt x="66" y="108"/>
                    </a:lnTo>
                    <a:lnTo>
                      <a:pt x="66" y="108"/>
                    </a:lnTo>
                    <a:lnTo>
                      <a:pt x="67" y="108"/>
                    </a:lnTo>
                    <a:lnTo>
                      <a:pt x="67" y="106"/>
                    </a:lnTo>
                    <a:lnTo>
                      <a:pt x="69" y="105"/>
                    </a:lnTo>
                    <a:lnTo>
                      <a:pt x="69" y="105"/>
                    </a:lnTo>
                    <a:lnTo>
                      <a:pt x="72" y="105"/>
                    </a:lnTo>
                    <a:lnTo>
                      <a:pt x="74" y="105"/>
                    </a:lnTo>
                    <a:lnTo>
                      <a:pt x="75" y="105"/>
                    </a:lnTo>
                    <a:lnTo>
                      <a:pt x="78" y="106"/>
                    </a:lnTo>
                    <a:lnTo>
                      <a:pt x="81" y="106"/>
                    </a:lnTo>
                    <a:lnTo>
                      <a:pt x="83" y="105"/>
                    </a:lnTo>
                    <a:lnTo>
                      <a:pt x="85" y="106"/>
                    </a:lnTo>
                    <a:lnTo>
                      <a:pt x="85" y="108"/>
                    </a:lnTo>
                    <a:lnTo>
                      <a:pt x="85" y="108"/>
                    </a:lnTo>
                    <a:lnTo>
                      <a:pt x="85" y="110"/>
                    </a:lnTo>
                    <a:lnTo>
                      <a:pt x="85" y="111"/>
                    </a:lnTo>
                    <a:lnTo>
                      <a:pt x="86" y="111"/>
                    </a:lnTo>
                    <a:lnTo>
                      <a:pt x="86" y="111"/>
                    </a:lnTo>
                    <a:lnTo>
                      <a:pt x="89" y="113"/>
                    </a:lnTo>
                    <a:lnTo>
                      <a:pt x="92" y="113"/>
                    </a:lnTo>
                    <a:lnTo>
                      <a:pt x="95" y="114"/>
                    </a:lnTo>
                    <a:lnTo>
                      <a:pt x="97" y="114"/>
                    </a:lnTo>
                    <a:lnTo>
                      <a:pt x="99" y="116"/>
                    </a:lnTo>
                    <a:lnTo>
                      <a:pt x="102" y="117"/>
                    </a:lnTo>
                    <a:lnTo>
                      <a:pt x="102" y="119"/>
                    </a:lnTo>
                    <a:lnTo>
                      <a:pt x="103" y="119"/>
                    </a:lnTo>
                    <a:lnTo>
                      <a:pt x="105" y="119"/>
                    </a:lnTo>
                    <a:lnTo>
                      <a:pt x="106" y="117"/>
                    </a:lnTo>
                    <a:lnTo>
                      <a:pt x="108" y="117"/>
                    </a:lnTo>
                    <a:lnTo>
                      <a:pt x="110" y="117"/>
                    </a:lnTo>
                    <a:lnTo>
                      <a:pt x="111" y="117"/>
                    </a:lnTo>
                    <a:lnTo>
                      <a:pt x="113" y="117"/>
                    </a:lnTo>
                    <a:lnTo>
                      <a:pt x="119" y="121"/>
                    </a:lnTo>
                    <a:lnTo>
                      <a:pt x="119" y="121"/>
                    </a:lnTo>
                    <a:lnTo>
                      <a:pt x="119" y="121"/>
                    </a:lnTo>
                    <a:lnTo>
                      <a:pt x="120" y="122"/>
                    </a:lnTo>
                    <a:lnTo>
                      <a:pt x="120" y="122"/>
                    </a:lnTo>
                    <a:lnTo>
                      <a:pt x="120" y="125"/>
                    </a:lnTo>
                    <a:lnTo>
                      <a:pt x="122" y="127"/>
                    </a:lnTo>
                    <a:lnTo>
                      <a:pt x="122" y="127"/>
                    </a:lnTo>
                    <a:lnTo>
                      <a:pt x="124" y="128"/>
                    </a:lnTo>
                    <a:lnTo>
                      <a:pt x="127" y="130"/>
                    </a:lnTo>
                    <a:lnTo>
                      <a:pt x="131" y="132"/>
                    </a:lnTo>
                    <a:lnTo>
                      <a:pt x="133" y="133"/>
                    </a:lnTo>
                    <a:lnTo>
                      <a:pt x="135" y="136"/>
                    </a:lnTo>
                    <a:lnTo>
                      <a:pt x="138" y="139"/>
                    </a:lnTo>
                    <a:lnTo>
                      <a:pt x="138" y="141"/>
                    </a:lnTo>
                    <a:lnTo>
                      <a:pt x="144" y="141"/>
                    </a:lnTo>
                    <a:lnTo>
                      <a:pt x="152" y="141"/>
                    </a:lnTo>
                    <a:lnTo>
                      <a:pt x="152" y="142"/>
                    </a:lnTo>
                    <a:lnTo>
                      <a:pt x="152" y="146"/>
                    </a:lnTo>
                    <a:lnTo>
                      <a:pt x="153" y="149"/>
                    </a:lnTo>
                    <a:lnTo>
                      <a:pt x="153" y="150"/>
                    </a:lnTo>
                    <a:lnTo>
                      <a:pt x="153" y="152"/>
                    </a:lnTo>
                    <a:lnTo>
                      <a:pt x="153" y="153"/>
                    </a:lnTo>
                    <a:lnTo>
                      <a:pt x="152" y="155"/>
                    </a:lnTo>
                    <a:lnTo>
                      <a:pt x="152" y="155"/>
                    </a:lnTo>
                    <a:lnTo>
                      <a:pt x="152" y="155"/>
                    </a:lnTo>
                    <a:lnTo>
                      <a:pt x="153" y="155"/>
                    </a:lnTo>
                    <a:lnTo>
                      <a:pt x="153" y="157"/>
                    </a:lnTo>
                    <a:lnTo>
                      <a:pt x="153" y="160"/>
                    </a:lnTo>
                    <a:lnTo>
                      <a:pt x="153" y="161"/>
                    </a:lnTo>
                    <a:lnTo>
                      <a:pt x="153" y="161"/>
                    </a:lnTo>
                    <a:lnTo>
                      <a:pt x="155" y="163"/>
                    </a:lnTo>
                    <a:lnTo>
                      <a:pt x="155" y="163"/>
                    </a:lnTo>
                    <a:lnTo>
                      <a:pt x="156" y="163"/>
                    </a:lnTo>
                    <a:lnTo>
                      <a:pt x="156" y="164"/>
                    </a:lnTo>
                    <a:lnTo>
                      <a:pt x="156" y="164"/>
                    </a:lnTo>
                    <a:lnTo>
                      <a:pt x="160" y="166"/>
                    </a:lnTo>
                    <a:lnTo>
                      <a:pt x="161" y="166"/>
                    </a:lnTo>
                    <a:lnTo>
                      <a:pt x="163" y="168"/>
                    </a:lnTo>
                    <a:lnTo>
                      <a:pt x="164" y="166"/>
                    </a:lnTo>
                    <a:lnTo>
                      <a:pt x="166" y="166"/>
                    </a:lnTo>
                    <a:lnTo>
                      <a:pt x="167" y="166"/>
                    </a:lnTo>
                    <a:lnTo>
                      <a:pt x="169" y="168"/>
                    </a:lnTo>
                    <a:lnTo>
                      <a:pt x="171" y="169"/>
                    </a:lnTo>
                    <a:lnTo>
                      <a:pt x="172" y="171"/>
                    </a:lnTo>
                    <a:lnTo>
                      <a:pt x="172" y="172"/>
                    </a:lnTo>
                    <a:lnTo>
                      <a:pt x="172" y="172"/>
                    </a:lnTo>
                    <a:lnTo>
                      <a:pt x="174" y="171"/>
                    </a:lnTo>
                    <a:lnTo>
                      <a:pt x="175" y="171"/>
                    </a:lnTo>
                    <a:lnTo>
                      <a:pt x="177" y="171"/>
                    </a:lnTo>
                    <a:lnTo>
                      <a:pt x="178" y="171"/>
                    </a:lnTo>
                    <a:lnTo>
                      <a:pt x="180" y="171"/>
                    </a:lnTo>
                    <a:lnTo>
                      <a:pt x="180" y="171"/>
                    </a:lnTo>
                    <a:lnTo>
                      <a:pt x="181" y="168"/>
                    </a:lnTo>
                    <a:lnTo>
                      <a:pt x="185" y="168"/>
                    </a:lnTo>
                    <a:lnTo>
                      <a:pt x="186" y="166"/>
                    </a:lnTo>
                    <a:lnTo>
                      <a:pt x="186" y="163"/>
                    </a:lnTo>
                    <a:lnTo>
                      <a:pt x="186" y="163"/>
                    </a:lnTo>
                    <a:lnTo>
                      <a:pt x="188" y="161"/>
                    </a:lnTo>
                    <a:lnTo>
                      <a:pt x="188" y="160"/>
                    </a:lnTo>
                    <a:lnTo>
                      <a:pt x="186" y="160"/>
                    </a:lnTo>
                    <a:lnTo>
                      <a:pt x="186" y="158"/>
                    </a:lnTo>
                    <a:lnTo>
                      <a:pt x="186" y="158"/>
                    </a:lnTo>
                    <a:lnTo>
                      <a:pt x="188" y="157"/>
                    </a:lnTo>
                    <a:lnTo>
                      <a:pt x="189" y="157"/>
                    </a:lnTo>
                    <a:lnTo>
                      <a:pt x="194" y="157"/>
                    </a:lnTo>
                    <a:lnTo>
                      <a:pt x="197" y="155"/>
                    </a:lnTo>
                    <a:lnTo>
                      <a:pt x="200" y="153"/>
                    </a:lnTo>
                    <a:lnTo>
                      <a:pt x="202" y="153"/>
                    </a:lnTo>
                    <a:lnTo>
                      <a:pt x="202" y="153"/>
                    </a:lnTo>
                    <a:lnTo>
                      <a:pt x="203" y="153"/>
                    </a:lnTo>
                    <a:lnTo>
                      <a:pt x="203" y="153"/>
                    </a:lnTo>
                    <a:lnTo>
                      <a:pt x="203" y="152"/>
                    </a:lnTo>
                    <a:lnTo>
                      <a:pt x="205" y="150"/>
                    </a:lnTo>
                    <a:lnTo>
                      <a:pt x="208" y="149"/>
                    </a:lnTo>
                    <a:lnTo>
                      <a:pt x="211" y="147"/>
                    </a:lnTo>
                    <a:lnTo>
                      <a:pt x="213" y="146"/>
                    </a:lnTo>
                    <a:lnTo>
                      <a:pt x="213" y="142"/>
                    </a:lnTo>
                    <a:lnTo>
                      <a:pt x="214" y="138"/>
                    </a:lnTo>
                    <a:lnTo>
                      <a:pt x="216" y="133"/>
                    </a:lnTo>
                    <a:lnTo>
                      <a:pt x="216" y="132"/>
                    </a:lnTo>
                    <a:lnTo>
                      <a:pt x="216" y="130"/>
                    </a:lnTo>
                    <a:lnTo>
                      <a:pt x="219" y="128"/>
                    </a:lnTo>
                    <a:lnTo>
                      <a:pt x="221" y="127"/>
                    </a:lnTo>
                    <a:lnTo>
                      <a:pt x="225" y="127"/>
                    </a:lnTo>
                    <a:lnTo>
                      <a:pt x="230" y="127"/>
                    </a:lnTo>
                    <a:lnTo>
                      <a:pt x="230" y="124"/>
                    </a:lnTo>
                    <a:lnTo>
                      <a:pt x="232" y="122"/>
                    </a:lnTo>
                    <a:lnTo>
                      <a:pt x="232" y="121"/>
                    </a:lnTo>
                    <a:lnTo>
                      <a:pt x="233" y="121"/>
                    </a:lnTo>
                    <a:lnTo>
                      <a:pt x="233" y="121"/>
                    </a:lnTo>
                    <a:lnTo>
                      <a:pt x="236" y="121"/>
                    </a:lnTo>
                    <a:lnTo>
                      <a:pt x="239" y="124"/>
                    </a:lnTo>
                    <a:lnTo>
                      <a:pt x="244" y="124"/>
                    </a:lnTo>
                    <a:lnTo>
                      <a:pt x="246" y="125"/>
                    </a:lnTo>
                    <a:lnTo>
                      <a:pt x="247" y="125"/>
                    </a:lnTo>
                    <a:lnTo>
                      <a:pt x="246" y="122"/>
                    </a:lnTo>
                    <a:lnTo>
                      <a:pt x="246" y="119"/>
                    </a:lnTo>
                    <a:lnTo>
                      <a:pt x="247" y="11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4" name="Freeform 201">
                <a:extLst>
                  <a:ext uri="{FF2B5EF4-FFF2-40B4-BE49-F238E27FC236}">
                    <a16:creationId xmlns:a16="http://schemas.microsoft.com/office/drawing/2014/main" id="{EE4820B7-EAA5-A1AD-4F35-85A326E951D7}"/>
                  </a:ext>
                </a:extLst>
              </p:cNvPr>
              <p:cNvSpPr>
                <a:spLocks noEditPoints="1"/>
              </p:cNvSpPr>
              <p:nvPr/>
            </p:nvSpPr>
            <p:spPr bwMode="gray">
              <a:xfrm>
                <a:off x="2807" y="873"/>
                <a:ext cx="70" cy="150"/>
              </a:xfrm>
              <a:custGeom>
                <a:avLst/>
                <a:gdLst>
                  <a:gd name="T0" fmla="*/ 56 w 70"/>
                  <a:gd name="T1" fmla="*/ 74 h 150"/>
                  <a:gd name="T2" fmla="*/ 57 w 70"/>
                  <a:gd name="T3" fmla="*/ 79 h 150"/>
                  <a:gd name="T4" fmla="*/ 60 w 70"/>
                  <a:gd name="T5" fmla="*/ 79 h 150"/>
                  <a:gd name="T6" fmla="*/ 65 w 70"/>
                  <a:gd name="T7" fmla="*/ 55 h 150"/>
                  <a:gd name="T8" fmla="*/ 65 w 70"/>
                  <a:gd name="T9" fmla="*/ 55 h 150"/>
                  <a:gd name="T10" fmla="*/ 68 w 70"/>
                  <a:gd name="T11" fmla="*/ 96 h 150"/>
                  <a:gd name="T12" fmla="*/ 68 w 70"/>
                  <a:gd name="T13" fmla="*/ 88 h 150"/>
                  <a:gd name="T14" fmla="*/ 65 w 70"/>
                  <a:gd name="T15" fmla="*/ 88 h 150"/>
                  <a:gd name="T16" fmla="*/ 62 w 70"/>
                  <a:gd name="T17" fmla="*/ 82 h 150"/>
                  <a:gd name="T18" fmla="*/ 56 w 70"/>
                  <a:gd name="T19" fmla="*/ 82 h 150"/>
                  <a:gd name="T20" fmla="*/ 48 w 70"/>
                  <a:gd name="T21" fmla="*/ 77 h 150"/>
                  <a:gd name="T22" fmla="*/ 45 w 70"/>
                  <a:gd name="T23" fmla="*/ 68 h 150"/>
                  <a:gd name="T24" fmla="*/ 56 w 70"/>
                  <a:gd name="T25" fmla="*/ 58 h 150"/>
                  <a:gd name="T26" fmla="*/ 62 w 70"/>
                  <a:gd name="T27" fmla="*/ 44 h 150"/>
                  <a:gd name="T28" fmla="*/ 57 w 70"/>
                  <a:gd name="T29" fmla="*/ 35 h 150"/>
                  <a:gd name="T30" fmla="*/ 51 w 70"/>
                  <a:gd name="T31" fmla="*/ 25 h 150"/>
                  <a:gd name="T32" fmla="*/ 57 w 70"/>
                  <a:gd name="T33" fmla="*/ 19 h 150"/>
                  <a:gd name="T34" fmla="*/ 62 w 70"/>
                  <a:gd name="T35" fmla="*/ 8 h 150"/>
                  <a:gd name="T36" fmla="*/ 53 w 70"/>
                  <a:gd name="T37" fmla="*/ 10 h 150"/>
                  <a:gd name="T38" fmla="*/ 50 w 70"/>
                  <a:gd name="T39" fmla="*/ 10 h 150"/>
                  <a:gd name="T40" fmla="*/ 43 w 70"/>
                  <a:gd name="T41" fmla="*/ 2 h 150"/>
                  <a:gd name="T42" fmla="*/ 40 w 70"/>
                  <a:gd name="T43" fmla="*/ 5 h 150"/>
                  <a:gd name="T44" fmla="*/ 39 w 70"/>
                  <a:gd name="T45" fmla="*/ 0 h 150"/>
                  <a:gd name="T46" fmla="*/ 23 w 70"/>
                  <a:gd name="T47" fmla="*/ 8 h 150"/>
                  <a:gd name="T48" fmla="*/ 18 w 70"/>
                  <a:gd name="T49" fmla="*/ 11 h 150"/>
                  <a:gd name="T50" fmla="*/ 15 w 70"/>
                  <a:gd name="T51" fmla="*/ 16 h 150"/>
                  <a:gd name="T52" fmla="*/ 12 w 70"/>
                  <a:gd name="T53" fmla="*/ 19 h 150"/>
                  <a:gd name="T54" fmla="*/ 14 w 70"/>
                  <a:gd name="T55" fmla="*/ 21 h 150"/>
                  <a:gd name="T56" fmla="*/ 12 w 70"/>
                  <a:gd name="T57" fmla="*/ 33 h 150"/>
                  <a:gd name="T58" fmla="*/ 14 w 70"/>
                  <a:gd name="T59" fmla="*/ 43 h 150"/>
                  <a:gd name="T60" fmla="*/ 14 w 70"/>
                  <a:gd name="T61" fmla="*/ 52 h 150"/>
                  <a:gd name="T62" fmla="*/ 12 w 70"/>
                  <a:gd name="T63" fmla="*/ 58 h 150"/>
                  <a:gd name="T64" fmla="*/ 7 w 70"/>
                  <a:gd name="T65" fmla="*/ 61 h 150"/>
                  <a:gd name="T66" fmla="*/ 0 w 70"/>
                  <a:gd name="T67" fmla="*/ 71 h 150"/>
                  <a:gd name="T68" fmla="*/ 1 w 70"/>
                  <a:gd name="T69" fmla="*/ 82 h 150"/>
                  <a:gd name="T70" fmla="*/ 4 w 70"/>
                  <a:gd name="T71" fmla="*/ 88 h 150"/>
                  <a:gd name="T72" fmla="*/ 9 w 70"/>
                  <a:gd name="T73" fmla="*/ 91 h 150"/>
                  <a:gd name="T74" fmla="*/ 12 w 70"/>
                  <a:gd name="T75" fmla="*/ 96 h 150"/>
                  <a:gd name="T76" fmla="*/ 14 w 70"/>
                  <a:gd name="T77" fmla="*/ 102 h 150"/>
                  <a:gd name="T78" fmla="*/ 21 w 70"/>
                  <a:gd name="T79" fmla="*/ 108 h 150"/>
                  <a:gd name="T80" fmla="*/ 26 w 70"/>
                  <a:gd name="T81" fmla="*/ 111 h 150"/>
                  <a:gd name="T82" fmla="*/ 31 w 70"/>
                  <a:gd name="T83" fmla="*/ 132 h 150"/>
                  <a:gd name="T84" fmla="*/ 35 w 70"/>
                  <a:gd name="T85" fmla="*/ 150 h 150"/>
                  <a:gd name="T86" fmla="*/ 40 w 70"/>
                  <a:gd name="T87" fmla="*/ 147 h 150"/>
                  <a:gd name="T88" fmla="*/ 45 w 70"/>
                  <a:gd name="T89" fmla="*/ 141 h 150"/>
                  <a:gd name="T90" fmla="*/ 48 w 70"/>
                  <a:gd name="T91" fmla="*/ 133 h 150"/>
                  <a:gd name="T92" fmla="*/ 46 w 70"/>
                  <a:gd name="T93" fmla="*/ 122 h 150"/>
                  <a:gd name="T94" fmla="*/ 48 w 70"/>
                  <a:gd name="T95" fmla="*/ 119 h 150"/>
                  <a:gd name="T96" fmla="*/ 54 w 70"/>
                  <a:gd name="T97" fmla="*/ 116 h 150"/>
                  <a:gd name="T98" fmla="*/ 57 w 70"/>
                  <a:gd name="T99" fmla="*/ 111 h 150"/>
                  <a:gd name="T100" fmla="*/ 70 w 70"/>
                  <a:gd name="T101" fmla="*/ 10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 h="150">
                    <a:moveTo>
                      <a:pt x="62" y="75"/>
                    </a:moveTo>
                    <a:lnTo>
                      <a:pt x="60" y="75"/>
                    </a:lnTo>
                    <a:lnTo>
                      <a:pt x="59" y="74"/>
                    </a:lnTo>
                    <a:lnTo>
                      <a:pt x="56" y="74"/>
                    </a:lnTo>
                    <a:lnTo>
                      <a:pt x="56" y="75"/>
                    </a:lnTo>
                    <a:lnTo>
                      <a:pt x="56" y="77"/>
                    </a:lnTo>
                    <a:lnTo>
                      <a:pt x="57" y="79"/>
                    </a:lnTo>
                    <a:lnTo>
                      <a:pt x="57" y="79"/>
                    </a:lnTo>
                    <a:lnTo>
                      <a:pt x="59" y="79"/>
                    </a:lnTo>
                    <a:lnTo>
                      <a:pt x="59" y="79"/>
                    </a:lnTo>
                    <a:lnTo>
                      <a:pt x="60" y="79"/>
                    </a:lnTo>
                    <a:lnTo>
                      <a:pt x="60" y="79"/>
                    </a:lnTo>
                    <a:lnTo>
                      <a:pt x="60" y="77"/>
                    </a:lnTo>
                    <a:lnTo>
                      <a:pt x="62" y="77"/>
                    </a:lnTo>
                    <a:lnTo>
                      <a:pt x="62" y="75"/>
                    </a:lnTo>
                    <a:close/>
                    <a:moveTo>
                      <a:pt x="65" y="55"/>
                    </a:moveTo>
                    <a:lnTo>
                      <a:pt x="64" y="57"/>
                    </a:lnTo>
                    <a:lnTo>
                      <a:pt x="64" y="58"/>
                    </a:lnTo>
                    <a:lnTo>
                      <a:pt x="65" y="57"/>
                    </a:lnTo>
                    <a:lnTo>
                      <a:pt x="65" y="55"/>
                    </a:lnTo>
                    <a:lnTo>
                      <a:pt x="65" y="55"/>
                    </a:lnTo>
                    <a:close/>
                    <a:moveTo>
                      <a:pt x="68" y="100"/>
                    </a:moveTo>
                    <a:lnTo>
                      <a:pt x="68" y="97"/>
                    </a:lnTo>
                    <a:lnTo>
                      <a:pt x="68" y="96"/>
                    </a:lnTo>
                    <a:lnTo>
                      <a:pt x="70" y="94"/>
                    </a:lnTo>
                    <a:lnTo>
                      <a:pt x="70" y="89"/>
                    </a:lnTo>
                    <a:lnTo>
                      <a:pt x="70" y="89"/>
                    </a:lnTo>
                    <a:lnTo>
                      <a:pt x="68" y="88"/>
                    </a:lnTo>
                    <a:lnTo>
                      <a:pt x="67" y="88"/>
                    </a:lnTo>
                    <a:lnTo>
                      <a:pt x="65" y="88"/>
                    </a:lnTo>
                    <a:lnTo>
                      <a:pt x="65" y="88"/>
                    </a:lnTo>
                    <a:lnTo>
                      <a:pt x="65" y="88"/>
                    </a:lnTo>
                    <a:lnTo>
                      <a:pt x="65" y="86"/>
                    </a:lnTo>
                    <a:lnTo>
                      <a:pt x="65" y="86"/>
                    </a:lnTo>
                    <a:lnTo>
                      <a:pt x="64" y="85"/>
                    </a:lnTo>
                    <a:lnTo>
                      <a:pt x="62" y="82"/>
                    </a:lnTo>
                    <a:lnTo>
                      <a:pt x="60" y="80"/>
                    </a:lnTo>
                    <a:lnTo>
                      <a:pt x="59" y="82"/>
                    </a:lnTo>
                    <a:lnTo>
                      <a:pt x="57" y="82"/>
                    </a:lnTo>
                    <a:lnTo>
                      <a:pt x="56" y="82"/>
                    </a:lnTo>
                    <a:lnTo>
                      <a:pt x="56" y="80"/>
                    </a:lnTo>
                    <a:lnTo>
                      <a:pt x="56" y="79"/>
                    </a:lnTo>
                    <a:lnTo>
                      <a:pt x="51" y="79"/>
                    </a:lnTo>
                    <a:lnTo>
                      <a:pt x="48" y="77"/>
                    </a:lnTo>
                    <a:lnTo>
                      <a:pt x="46" y="75"/>
                    </a:lnTo>
                    <a:lnTo>
                      <a:pt x="45" y="71"/>
                    </a:lnTo>
                    <a:lnTo>
                      <a:pt x="43" y="69"/>
                    </a:lnTo>
                    <a:lnTo>
                      <a:pt x="45" y="68"/>
                    </a:lnTo>
                    <a:lnTo>
                      <a:pt x="45" y="66"/>
                    </a:lnTo>
                    <a:lnTo>
                      <a:pt x="46" y="64"/>
                    </a:lnTo>
                    <a:lnTo>
                      <a:pt x="53" y="60"/>
                    </a:lnTo>
                    <a:lnTo>
                      <a:pt x="56" y="58"/>
                    </a:lnTo>
                    <a:lnTo>
                      <a:pt x="59" y="53"/>
                    </a:lnTo>
                    <a:lnTo>
                      <a:pt x="60" y="50"/>
                    </a:lnTo>
                    <a:lnTo>
                      <a:pt x="64" y="46"/>
                    </a:lnTo>
                    <a:lnTo>
                      <a:pt x="62" y="44"/>
                    </a:lnTo>
                    <a:lnTo>
                      <a:pt x="62" y="41"/>
                    </a:lnTo>
                    <a:lnTo>
                      <a:pt x="60" y="39"/>
                    </a:lnTo>
                    <a:lnTo>
                      <a:pt x="60" y="38"/>
                    </a:lnTo>
                    <a:lnTo>
                      <a:pt x="57" y="35"/>
                    </a:lnTo>
                    <a:lnTo>
                      <a:pt x="56" y="33"/>
                    </a:lnTo>
                    <a:lnTo>
                      <a:pt x="54" y="32"/>
                    </a:lnTo>
                    <a:lnTo>
                      <a:pt x="53" y="28"/>
                    </a:lnTo>
                    <a:lnTo>
                      <a:pt x="51" y="25"/>
                    </a:lnTo>
                    <a:lnTo>
                      <a:pt x="51" y="24"/>
                    </a:lnTo>
                    <a:lnTo>
                      <a:pt x="53" y="22"/>
                    </a:lnTo>
                    <a:lnTo>
                      <a:pt x="54" y="21"/>
                    </a:lnTo>
                    <a:lnTo>
                      <a:pt x="57" y="19"/>
                    </a:lnTo>
                    <a:lnTo>
                      <a:pt x="60" y="13"/>
                    </a:lnTo>
                    <a:lnTo>
                      <a:pt x="62" y="11"/>
                    </a:lnTo>
                    <a:lnTo>
                      <a:pt x="64" y="10"/>
                    </a:lnTo>
                    <a:lnTo>
                      <a:pt x="62" y="8"/>
                    </a:lnTo>
                    <a:lnTo>
                      <a:pt x="62" y="7"/>
                    </a:lnTo>
                    <a:lnTo>
                      <a:pt x="60" y="7"/>
                    </a:lnTo>
                    <a:lnTo>
                      <a:pt x="57" y="10"/>
                    </a:lnTo>
                    <a:lnTo>
                      <a:pt x="53" y="10"/>
                    </a:lnTo>
                    <a:lnTo>
                      <a:pt x="53" y="13"/>
                    </a:lnTo>
                    <a:lnTo>
                      <a:pt x="51" y="13"/>
                    </a:lnTo>
                    <a:lnTo>
                      <a:pt x="48" y="13"/>
                    </a:lnTo>
                    <a:lnTo>
                      <a:pt x="50" y="10"/>
                    </a:lnTo>
                    <a:lnTo>
                      <a:pt x="46" y="7"/>
                    </a:lnTo>
                    <a:lnTo>
                      <a:pt x="46" y="3"/>
                    </a:lnTo>
                    <a:lnTo>
                      <a:pt x="45" y="2"/>
                    </a:lnTo>
                    <a:lnTo>
                      <a:pt x="43" y="2"/>
                    </a:lnTo>
                    <a:lnTo>
                      <a:pt x="42" y="2"/>
                    </a:lnTo>
                    <a:lnTo>
                      <a:pt x="42" y="3"/>
                    </a:lnTo>
                    <a:lnTo>
                      <a:pt x="42" y="3"/>
                    </a:lnTo>
                    <a:lnTo>
                      <a:pt x="40" y="5"/>
                    </a:lnTo>
                    <a:lnTo>
                      <a:pt x="40" y="3"/>
                    </a:lnTo>
                    <a:lnTo>
                      <a:pt x="40" y="2"/>
                    </a:lnTo>
                    <a:lnTo>
                      <a:pt x="40" y="0"/>
                    </a:lnTo>
                    <a:lnTo>
                      <a:pt x="39" y="0"/>
                    </a:lnTo>
                    <a:lnTo>
                      <a:pt x="39" y="0"/>
                    </a:lnTo>
                    <a:lnTo>
                      <a:pt x="28" y="3"/>
                    </a:lnTo>
                    <a:lnTo>
                      <a:pt x="26" y="3"/>
                    </a:lnTo>
                    <a:lnTo>
                      <a:pt x="23" y="8"/>
                    </a:lnTo>
                    <a:lnTo>
                      <a:pt x="18" y="8"/>
                    </a:lnTo>
                    <a:lnTo>
                      <a:pt x="18" y="8"/>
                    </a:lnTo>
                    <a:lnTo>
                      <a:pt x="18" y="10"/>
                    </a:lnTo>
                    <a:lnTo>
                      <a:pt x="18" y="11"/>
                    </a:lnTo>
                    <a:lnTo>
                      <a:pt x="17" y="13"/>
                    </a:lnTo>
                    <a:lnTo>
                      <a:pt x="17" y="13"/>
                    </a:lnTo>
                    <a:lnTo>
                      <a:pt x="17" y="13"/>
                    </a:lnTo>
                    <a:lnTo>
                      <a:pt x="15" y="16"/>
                    </a:lnTo>
                    <a:lnTo>
                      <a:pt x="12" y="17"/>
                    </a:lnTo>
                    <a:lnTo>
                      <a:pt x="12" y="17"/>
                    </a:lnTo>
                    <a:lnTo>
                      <a:pt x="12" y="17"/>
                    </a:lnTo>
                    <a:lnTo>
                      <a:pt x="12" y="19"/>
                    </a:lnTo>
                    <a:lnTo>
                      <a:pt x="12" y="19"/>
                    </a:lnTo>
                    <a:lnTo>
                      <a:pt x="14" y="19"/>
                    </a:lnTo>
                    <a:lnTo>
                      <a:pt x="14" y="21"/>
                    </a:lnTo>
                    <a:lnTo>
                      <a:pt x="14" y="21"/>
                    </a:lnTo>
                    <a:lnTo>
                      <a:pt x="14" y="25"/>
                    </a:lnTo>
                    <a:lnTo>
                      <a:pt x="14" y="28"/>
                    </a:lnTo>
                    <a:lnTo>
                      <a:pt x="12" y="32"/>
                    </a:lnTo>
                    <a:lnTo>
                      <a:pt x="12" y="33"/>
                    </a:lnTo>
                    <a:lnTo>
                      <a:pt x="14" y="35"/>
                    </a:lnTo>
                    <a:lnTo>
                      <a:pt x="14" y="36"/>
                    </a:lnTo>
                    <a:lnTo>
                      <a:pt x="14" y="38"/>
                    </a:lnTo>
                    <a:lnTo>
                      <a:pt x="14" y="43"/>
                    </a:lnTo>
                    <a:lnTo>
                      <a:pt x="15" y="44"/>
                    </a:lnTo>
                    <a:lnTo>
                      <a:pt x="15" y="46"/>
                    </a:lnTo>
                    <a:lnTo>
                      <a:pt x="14" y="49"/>
                    </a:lnTo>
                    <a:lnTo>
                      <a:pt x="14" y="52"/>
                    </a:lnTo>
                    <a:lnTo>
                      <a:pt x="12" y="55"/>
                    </a:lnTo>
                    <a:lnTo>
                      <a:pt x="12" y="57"/>
                    </a:lnTo>
                    <a:lnTo>
                      <a:pt x="12" y="58"/>
                    </a:lnTo>
                    <a:lnTo>
                      <a:pt x="12" y="58"/>
                    </a:lnTo>
                    <a:lnTo>
                      <a:pt x="10" y="60"/>
                    </a:lnTo>
                    <a:lnTo>
                      <a:pt x="9" y="61"/>
                    </a:lnTo>
                    <a:lnTo>
                      <a:pt x="9" y="61"/>
                    </a:lnTo>
                    <a:lnTo>
                      <a:pt x="7" y="61"/>
                    </a:lnTo>
                    <a:lnTo>
                      <a:pt x="6" y="63"/>
                    </a:lnTo>
                    <a:lnTo>
                      <a:pt x="4" y="66"/>
                    </a:lnTo>
                    <a:lnTo>
                      <a:pt x="1" y="69"/>
                    </a:lnTo>
                    <a:lnTo>
                      <a:pt x="0" y="71"/>
                    </a:lnTo>
                    <a:lnTo>
                      <a:pt x="0" y="72"/>
                    </a:lnTo>
                    <a:lnTo>
                      <a:pt x="0" y="75"/>
                    </a:lnTo>
                    <a:lnTo>
                      <a:pt x="0" y="79"/>
                    </a:lnTo>
                    <a:lnTo>
                      <a:pt x="1" y="82"/>
                    </a:lnTo>
                    <a:lnTo>
                      <a:pt x="3" y="85"/>
                    </a:lnTo>
                    <a:lnTo>
                      <a:pt x="4" y="88"/>
                    </a:lnTo>
                    <a:lnTo>
                      <a:pt x="4" y="88"/>
                    </a:lnTo>
                    <a:lnTo>
                      <a:pt x="4" y="88"/>
                    </a:lnTo>
                    <a:lnTo>
                      <a:pt x="6" y="89"/>
                    </a:lnTo>
                    <a:lnTo>
                      <a:pt x="7" y="89"/>
                    </a:lnTo>
                    <a:lnTo>
                      <a:pt x="9" y="91"/>
                    </a:lnTo>
                    <a:lnTo>
                      <a:pt x="9" y="91"/>
                    </a:lnTo>
                    <a:lnTo>
                      <a:pt x="10" y="91"/>
                    </a:lnTo>
                    <a:lnTo>
                      <a:pt x="12" y="94"/>
                    </a:lnTo>
                    <a:lnTo>
                      <a:pt x="12" y="94"/>
                    </a:lnTo>
                    <a:lnTo>
                      <a:pt x="12" y="96"/>
                    </a:lnTo>
                    <a:lnTo>
                      <a:pt x="12" y="96"/>
                    </a:lnTo>
                    <a:lnTo>
                      <a:pt x="14" y="97"/>
                    </a:lnTo>
                    <a:lnTo>
                      <a:pt x="14" y="99"/>
                    </a:lnTo>
                    <a:lnTo>
                      <a:pt x="14" y="102"/>
                    </a:lnTo>
                    <a:lnTo>
                      <a:pt x="14" y="102"/>
                    </a:lnTo>
                    <a:lnTo>
                      <a:pt x="17" y="105"/>
                    </a:lnTo>
                    <a:lnTo>
                      <a:pt x="20" y="107"/>
                    </a:lnTo>
                    <a:lnTo>
                      <a:pt x="21" y="108"/>
                    </a:lnTo>
                    <a:lnTo>
                      <a:pt x="21" y="108"/>
                    </a:lnTo>
                    <a:lnTo>
                      <a:pt x="23" y="110"/>
                    </a:lnTo>
                    <a:lnTo>
                      <a:pt x="26" y="111"/>
                    </a:lnTo>
                    <a:lnTo>
                      <a:pt x="26" y="111"/>
                    </a:lnTo>
                    <a:lnTo>
                      <a:pt x="26" y="111"/>
                    </a:lnTo>
                    <a:lnTo>
                      <a:pt x="28" y="116"/>
                    </a:lnTo>
                    <a:lnTo>
                      <a:pt x="29" y="121"/>
                    </a:lnTo>
                    <a:lnTo>
                      <a:pt x="31" y="132"/>
                    </a:lnTo>
                    <a:lnTo>
                      <a:pt x="32" y="138"/>
                    </a:lnTo>
                    <a:lnTo>
                      <a:pt x="32" y="141"/>
                    </a:lnTo>
                    <a:lnTo>
                      <a:pt x="34" y="146"/>
                    </a:lnTo>
                    <a:lnTo>
                      <a:pt x="35" y="150"/>
                    </a:lnTo>
                    <a:lnTo>
                      <a:pt x="37" y="149"/>
                    </a:lnTo>
                    <a:lnTo>
                      <a:pt x="39" y="149"/>
                    </a:lnTo>
                    <a:lnTo>
                      <a:pt x="39" y="147"/>
                    </a:lnTo>
                    <a:lnTo>
                      <a:pt x="40" y="147"/>
                    </a:lnTo>
                    <a:lnTo>
                      <a:pt x="42" y="147"/>
                    </a:lnTo>
                    <a:lnTo>
                      <a:pt x="42" y="146"/>
                    </a:lnTo>
                    <a:lnTo>
                      <a:pt x="45" y="143"/>
                    </a:lnTo>
                    <a:lnTo>
                      <a:pt x="45" y="141"/>
                    </a:lnTo>
                    <a:lnTo>
                      <a:pt x="46" y="138"/>
                    </a:lnTo>
                    <a:lnTo>
                      <a:pt x="48" y="136"/>
                    </a:lnTo>
                    <a:lnTo>
                      <a:pt x="48" y="135"/>
                    </a:lnTo>
                    <a:lnTo>
                      <a:pt x="48" y="133"/>
                    </a:lnTo>
                    <a:lnTo>
                      <a:pt x="46" y="129"/>
                    </a:lnTo>
                    <a:lnTo>
                      <a:pt x="45" y="125"/>
                    </a:lnTo>
                    <a:lnTo>
                      <a:pt x="45" y="124"/>
                    </a:lnTo>
                    <a:lnTo>
                      <a:pt x="46" y="122"/>
                    </a:lnTo>
                    <a:lnTo>
                      <a:pt x="46" y="122"/>
                    </a:lnTo>
                    <a:lnTo>
                      <a:pt x="48" y="121"/>
                    </a:lnTo>
                    <a:lnTo>
                      <a:pt x="48" y="121"/>
                    </a:lnTo>
                    <a:lnTo>
                      <a:pt x="48" y="119"/>
                    </a:lnTo>
                    <a:lnTo>
                      <a:pt x="48" y="119"/>
                    </a:lnTo>
                    <a:lnTo>
                      <a:pt x="51" y="119"/>
                    </a:lnTo>
                    <a:lnTo>
                      <a:pt x="53" y="118"/>
                    </a:lnTo>
                    <a:lnTo>
                      <a:pt x="54" y="116"/>
                    </a:lnTo>
                    <a:lnTo>
                      <a:pt x="54" y="115"/>
                    </a:lnTo>
                    <a:lnTo>
                      <a:pt x="56" y="115"/>
                    </a:lnTo>
                    <a:lnTo>
                      <a:pt x="57" y="113"/>
                    </a:lnTo>
                    <a:lnTo>
                      <a:pt x="57" y="111"/>
                    </a:lnTo>
                    <a:lnTo>
                      <a:pt x="60" y="110"/>
                    </a:lnTo>
                    <a:lnTo>
                      <a:pt x="64" y="108"/>
                    </a:lnTo>
                    <a:lnTo>
                      <a:pt x="67" y="107"/>
                    </a:lnTo>
                    <a:lnTo>
                      <a:pt x="70" y="105"/>
                    </a:lnTo>
                    <a:lnTo>
                      <a:pt x="70" y="104"/>
                    </a:lnTo>
                    <a:lnTo>
                      <a:pt x="70" y="104"/>
                    </a:lnTo>
                    <a:lnTo>
                      <a:pt x="68" y="10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5" name="Freeform 202">
                <a:extLst>
                  <a:ext uri="{FF2B5EF4-FFF2-40B4-BE49-F238E27FC236}">
                    <a16:creationId xmlns:a16="http://schemas.microsoft.com/office/drawing/2014/main" id="{0DC0864D-873D-580D-916E-3C314F39BE96}"/>
                  </a:ext>
                </a:extLst>
              </p:cNvPr>
              <p:cNvSpPr>
                <a:spLocks noEditPoints="1"/>
              </p:cNvSpPr>
              <p:nvPr/>
            </p:nvSpPr>
            <p:spPr bwMode="gray">
              <a:xfrm>
                <a:off x="3125" y="765"/>
                <a:ext cx="337" cy="141"/>
              </a:xfrm>
              <a:custGeom>
                <a:avLst/>
                <a:gdLst>
                  <a:gd name="T0" fmla="*/ 332 w 337"/>
                  <a:gd name="T1" fmla="*/ 107 h 141"/>
                  <a:gd name="T2" fmla="*/ 329 w 337"/>
                  <a:gd name="T3" fmla="*/ 96 h 141"/>
                  <a:gd name="T4" fmla="*/ 329 w 337"/>
                  <a:gd name="T5" fmla="*/ 88 h 141"/>
                  <a:gd name="T6" fmla="*/ 327 w 337"/>
                  <a:gd name="T7" fmla="*/ 79 h 141"/>
                  <a:gd name="T8" fmla="*/ 324 w 337"/>
                  <a:gd name="T9" fmla="*/ 68 h 141"/>
                  <a:gd name="T10" fmla="*/ 329 w 337"/>
                  <a:gd name="T11" fmla="*/ 61 h 141"/>
                  <a:gd name="T12" fmla="*/ 335 w 337"/>
                  <a:gd name="T13" fmla="*/ 55 h 141"/>
                  <a:gd name="T14" fmla="*/ 318 w 337"/>
                  <a:gd name="T15" fmla="*/ 47 h 141"/>
                  <a:gd name="T16" fmla="*/ 318 w 337"/>
                  <a:gd name="T17" fmla="*/ 33 h 141"/>
                  <a:gd name="T18" fmla="*/ 312 w 337"/>
                  <a:gd name="T19" fmla="*/ 22 h 141"/>
                  <a:gd name="T20" fmla="*/ 302 w 337"/>
                  <a:gd name="T21" fmla="*/ 14 h 141"/>
                  <a:gd name="T22" fmla="*/ 293 w 337"/>
                  <a:gd name="T23" fmla="*/ 14 h 141"/>
                  <a:gd name="T24" fmla="*/ 282 w 337"/>
                  <a:gd name="T25" fmla="*/ 14 h 141"/>
                  <a:gd name="T26" fmla="*/ 252 w 337"/>
                  <a:gd name="T27" fmla="*/ 25 h 141"/>
                  <a:gd name="T28" fmla="*/ 201 w 337"/>
                  <a:gd name="T29" fmla="*/ 21 h 141"/>
                  <a:gd name="T30" fmla="*/ 182 w 337"/>
                  <a:gd name="T31" fmla="*/ 10 h 141"/>
                  <a:gd name="T32" fmla="*/ 160 w 337"/>
                  <a:gd name="T33" fmla="*/ 3 h 141"/>
                  <a:gd name="T34" fmla="*/ 99 w 337"/>
                  <a:gd name="T35" fmla="*/ 22 h 141"/>
                  <a:gd name="T36" fmla="*/ 61 w 337"/>
                  <a:gd name="T37" fmla="*/ 27 h 141"/>
                  <a:gd name="T38" fmla="*/ 57 w 337"/>
                  <a:gd name="T39" fmla="*/ 36 h 141"/>
                  <a:gd name="T40" fmla="*/ 41 w 337"/>
                  <a:gd name="T41" fmla="*/ 38 h 141"/>
                  <a:gd name="T42" fmla="*/ 30 w 337"/>
                  <a:gd name="T43" fmla="*/ 39 h 141"/>
                  <a:gd name="T44" fmla="*/ 8 w 337"/>
                  <a:gd name="T45" fmla="*/ 57 h 141"/>
                  <a:gd name="T46" fmla="*/ 19 w 337"/>
                  <a:gd name="T47" fmla="*/ 63 h 141"/>
                  <a:gd name="T48" fmla="*/ 24 w 337"/>
                  <a:gd name="T49" fmla="*/ 74 h 141"/>
                  <a:gd name="T50" fmla="*/ 25 w 337"/>
                  <a:gd name="T51" fmla="*/ 85 h 141"/>
                  <a:gd name="T52" fmla="*/ 15 w 337"/>
                  <a:gd name="T53" fmla="*/ 80 h 141"/>
                  <a:gd name="T54" fmla="*/ 16 w 337"/>
                  <a:gd name="T55" fmla="*/ 89 h 141"/>
                  <a:gd name="T56" fmla="*/ 27 w 337"/>
                  <a:gd name="T57" fmla="*/ 99 h 141"/>
                  <a:gd name="T58" fmla="*/ 33 w 337"/>
                  <a:gd name="T59" fmla="*/ 111 h 141"/>
                  <a:gd name="T60" fmla="*/ 46 w 337"/>
                  <a:gd name="T61" fmla="*/ 116 h 141"/>
                  <a:gd name="T62" fmla="*/ 38 w 337"/>
                  <a:gd name="T63" fmla="*/ 121 h 141"/>
                  <a:gd name="T64" fmla="*/ 57 w 337"/>
                  <a:gd name="T65" fmla="*/ 122 h 141"/>
                  <a:gd name="T66" fmla="*/ 72 w 337"/>
                  <a:gd name="T67" fmla="*/ 133 h 141"/>
                  <a:gd name="T68" fmla="*/ 88 w 337"/>
                  <a:gd name="T69" fmla="*/ 119 h 141"/>
                  <a:gd name="T70" fmla="*/ 126 w 337"/>
                  <a:gd name="T71" fmla="*/ 136 h 141"/>
                  <a:gd name="T72" fmla="*/ 158 w 337"/>
                  <a:gd name="T73" fmla="*/ 119 h 141"/>
                  <a:gd name="T74" fmla="*/ 180 w 337"/>
                  <a:gd name="T75" fmla="*/ 119 h 141"/>
                  <a:gd name="T76" fmla="*/ 180 w 337"/>
                  <a:gd name="T77" fmla="*/ 138 h 141"/>
                  <a:gd name="T78" fmla="*/ 190 w 337"/>
                  <a:gd name="T79" fmla="*/ 132 h 141"/>
                  <a:gd name="T80" fmla="*/ 199 w 337"/>
                  <a:gd name="T81" fmla="*/ 121 h 141"/>
                  <a:gd name="T82" fmla="*/ 215 w 337"/>
                  <a:gd name="T83" fmla="*/ 119 h 141"/>
                  <a:gd name="T84" fmla="*/ 241 w 337"/>
                  <a:gd name="T85" fmla="*/ 122 h 141"/>
                  <a:gd name="T86" fmla="*/ 276 w 337"/>
                  <a:gd name="T87" fmla="*/ 115 h 141"/>
                  <a:gd name="T88" fmla="*/ 293 w 337"/>
                  <a:gd name="T89" fmla="*/ 113 h 141"/>
                  <a:gd name="T90" fmla="*/ 308 w 337"/>
                  <a:gd name="T91" fmla="*/ 108 h 141"/>
                  <a:gd name="T92" fmla="*/ 324 w 337"/>
                  <a:gd name="T93" fmla="*/ 108 h 141"/>
                  <a:gd name="T94" fmla="*/ 329 w 337"/>
                  <a:gd name="T95" fmla="*/ 115 h 141"/>
                  <a:gd name="T96" fmla="*/ 337 w 337"/>
                  <a:gd name="T97" fmla="*/ 110 h 141"/>
                  <a:gd name="T98" fmla="*/ 40 w 337"/>
                  <a:gd name="T99" fmla="*/ 2 h 141"/>
                  <a:gd name="T100" fmla="*/ 29 w 337"/>
                  <a:gd name="T101" fmla="*/ 0 h 141"/>
                  <a:gd name="T102" fmla="*/ 16 w 337"/>
                  <a:gd name="T103" fmla="*/ 3 h 141"/>
                  <a:gd name="T104" fmla="*/ 15 w 337"/>
                  <a:gd name="T105" fmla="*/ 11 h 141"/>
                  <a:gd name="T106" fmla="*/ 11 w 337"/>
                  <a:gd name="T107" fmla="*/ 24 h 141"/>
                  <a:gd name="T108" fmla="*/ 8 w 337"/>
                  <a:gd name="T109" fmla="*/ 35 h 141"/>
                  <a:gd name="T110" fmla="*/ 11 w 337"/>
                  <a:gd name="T111" fmla="*/ 44 h 141"/>
                  <a:gd name="T112" fmla="*/ 33 w 337"/>
                  <a:gd name="T113" fmla="*/ 25 h 141"/>
                  <a:gd name="T114" fmla="*/ 60 w 337"/>
                  <a:gd name="T115" fmla="*/ 2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7" h="141">
                    <a:moveTo>
                      <a:pt x="5" y="43"/>
                    </a:moveTo>
                    <a:lnTo>
                      <a:pt x="4" y="43"/>
                    </a:lnTo>
                    <a:lnTo>
                      <a:pt x="2" y="44"/>
                    </a:lnTo>
                    <a:lnTo>
                      <a:pt x="0" y="46"/>
                    </a:lnTo>
                    <a:lnTo>
                      <a:pt x="2" y="46"/>
                    </a:lnTo>
                    <a:lnTo>
                      <a:pt x="5" y="46"/>
                    </a:lnTo>
                    <a:lnTo>
                      <a:pt x="5" y="44"/>
                    </a:lnTo>
                    <a:lnTo>
                      <a:pt x="5" y="43"/>
                    </a:lnTo>
                    <a:close/>
                    <a:moveTo>
                      <a:pt x="334" y="107"/>
                    </a:moveTo>
                    <a:lnTo>
                      <a:pt x="332" y="107"/>
                    </a:lnTo>
                    <a:lnTo>
                      <a:pt x="332" y="105"/>
                    </a:lnTo>
                    <a:lnTo>
                      <a:pt x="332" y="104"/>
                    </a:lnTo>
                    <a:lnTo>
                      <a:pt x="332" y="102"/>
                    </a:lnTo>
                    <a:lnTo>
                      <a:pt x="332" y="102"/>
                    </a:lnTo>
                    <a:lnTo>
                      <a:pt x="332" y="100"/>
                    </a:lnTo>
                    <a:lnTo>
                      <a:pt x="332" y="100"/>
                    </a:lnTo>
                    <a:lnTo>
                      <a:pt x="332" y="100"/>
                    </a:lnTo>
                    <a:lnTo>
                      <a:pt x="332" y="99"/>
                    </a:lnTo>
                    <a:lnTo>
                      <a:pt x="329" y="97"/>
                    </a:lnTo>
                    <a:lnTo>
                      <a:pt x="329" y="96"/>
                    </a:lnTo>
                    <a:lnTo>
                      <a:pt x="326" y="96"/>
                    </a:lnTo>
                    <a:lnTo>
                      <a:pt x="326" y="96"/>
                    </a:lnTo>
                    <a:lnTo>
                      <a:pt x="326" y="94"/>
                    </a:lnTo>
                    <a:lnTo>
                      <a:pt x="326" y="94"/>
                    </a:lnTo>
                    <a:lnTo>
                      <a:pt x="327" y="93"/>
                    </a:lnTo>
                    <a:lnTo>
                      <a:pt x="327" y="91"/>
                    </a:lnTo>
                    <a:lnTo>
                      <a:pt x="327" y="91"/>
                    </a:lnTo>
                    <a:lnTo>
                      <a:pt x="329" y="89"/>
                    </a:lnTo>
                    <a:lnTo>
                      <a:pt x="329" y="89"/>
                    </a:lnTo>
                    <a:lnTo>
                      <a:pt x="329" y="88"/>
                    </a:lnTo>
                    <a:lnTo>
                      <a:pt x="330" y="86"/>
                    </a:lnTo>
                    <a:lnTo>
                      <a:pt x="330" y="86"/>
                    </a:lnTo>
                    <a:lnTo>
                      <a:pt x="330" y="85"/>
                    </a:lnTo>
                    <a:lnTo>
                      <a:pt x="329" y="85"/>
                    </a:lnTo>
                    <a:lnTo>
                      <a:pt x="327" y="85"/>
                    </a:lnTo>
                    <a:lnTo>
                      <a:pt x="327" y="85"/>
                    </a:lnTo>
                    <a:lnTo>
                      <a:pt x="327" y="85"/>
                    </a:lnTo>
                    <a:lnTo>
                      <a:pt x="327" y="82"/>
                    </a:lnTo>
                    <a:lnTo>
                      <a:pt x="327" y="79"/>
                    </a:lnTo>
                    <a:lnTo>
                      <a:pt x="327" y="79"/>
                    </a:lnTo>
                    <a:lnTo>
                      <a:pt x="327" y="75"/>
                    </a:lnTo>
                    <a:lnTo>
                      <a:pt x="326" y="74"/>
                    </a:lnTo>
                    <a:lnTo>
                      <a:pt x="326" y="72"/>
                    </a:lnTo>
                    <a:lnTo>
                      <a:pt x="324" y="71"/>
                    </a:lnTo>
                    <a:lnTo>
                      <a:pt x="324" y="71"/>
                    </a:lnTo>
                    <a:lnTo>
                      <a:pt x="326" y="71"/>
                    </a:lnTo>
                    <a:lnTo>
                      <a:pt x="326" y="69"/>
                    </a:lnTo>
                    <a:lnTo>
                      <a:pt x="326" y="69"/>
                    </a:lnTo>
                    <a:lnTo>
                      <a:pt x="326" y="68"/>
                    </a:lnTo>
                    <a:lnTo>
                      <a:pt x="324" y="68"/>
                    </a:lnTo>
                    <a:lnTo>
                      <a:pt x="324" y="66"/>
                    </a:lnTo>
                    <a:lnTo>
                      <a:pt x="324" y="64"/>
                    </a:lnTo>
                    <a:lnTo>
                      <a:pt x="323" y="64"/>
                    </a:lnTo>
                    <a:lnTo>
                      <a:pt x="323" y="63"/>
                    </a:lnTo>
                    <a:lnTo>
                      <a:pt x="323" y="63"/>
                    </a:lnTo>
                    <a:lnTo>
                      <a:pt x="323" y="63"/>
                    </a:lnTo>
                    <a:lnTo>
                      <a:pt x="324" y="61"/>
                    </a:lnTo>
                    <a:lnTo>
                      <a:pt x="326" y="63"/>
                    </a:lnTo>
                    <a:lnTo>
                      <a:pt x="329" y="63"/>
                    </a:lnTo>
                    <a:lnTo>
                      <a:pt x="329" y="61"/>
                    </a:lnTo>
                    <a:lnTo>
                      <a:pt x="329" y="61"/>
                    </a:lnTo>
                    <a:lnTo>
                      <a:pt x="330" y="57"/>
                    </a:lnTo>
                    <a:lnTo>
                      <a:pt x="330" y="57"/>
                    </a:lnTo>
                    <a:lnTo>
                      <a:pt x="332" y="55"/>
                    </a:lnTo>
                    <a:lnTo>
                      <a:pt x="332" y="54"/>
                    </a:lnTo>
                    <a:lnTo>
                      <a:pt x="335" y="55"/>
                    </a:lnTo>
                    <a:lnTo>
                      <a:pt x="337" y="57"/>
                    </a:lnTo>
                    <a:lnTo>
                      <a:pt x="337" y="57"/>
                    </a:lnTo>
                    <a:lnTo>
                      <a:pt x="337" y="55"/>
                    </a:lnTo>
                    <a:lnTo>
                      <a:pt x="335" y="55"/>
                    </a:lnTo>
                    <a:lnTo>
                      <a:pt x="335" y="55"/>
                    </a:lnTo>
                    <a:lnTo>
                      <a:pt x="335" y="55"/>
                    </a:lnTo>
                    <a:lnTo>
                      <a:pt x="335" y="54"/>
                    </a:lnTo>
                    <a:lnTo>
                      <a:pt x="332" y="50"/>
                    </a:lnTo>
                    <a:lnTo>
                      <a:pt x="329" y="49"/>
                    </a:lnTo>
                    <a:lnTo>
                      <a:pt x="327" y="47"/>
                    </a:lnTo>
                    <a:lnTo>
                      <a:pt x="326" y="47"/>
                    </a:lnTo>
                    <a:lnTo>
                      <a:pt x="323" y="49"/>
                    </a:lnTo>
                    <a:lnTo>
                      <a:pt x="321" y="47"/>
                    </a:lnTo>
                    <a:lnTo>
                      <a:pt x="318" y="47"/>
                    </a:lnTo>
                    <a:lnTo>
                      <a:pt x="316" y="46"/>
                    </a:lnTo>
                    <a:lnTo>
                      <a:pt x="316" y="46"/>
                    </a:lnTo>
                    <a:lnTo>
                      <a:pt x="316" y="44"/>
                    </a:lnTo>
                    <a:lnTo>
                      <a:pt x="316" y="43"/>
                    </a:lnTo>
                    <a:lnTo>
                      <a:pt x="315" y="41"/>
                    </a:lnTo>
                    <a:lnTo>
                      <a:pt x="315" y="39"/>
                    </a:lnTo>
                    <a:lnTo>
                      <a:pt x="315" y="38"/>
                    </a:lnTo>
                    <a:lnTo>
                      <a:pt x="315" y="38"/>
                    </a:lnTo>
                    <a:lnTo>
                      <a:pt x="316" y="35"/>
                    </a:lnTo>
                    <a:lnTo>
                      <a:pt x="318" y="33"/>
                    </a:lnTo>
                    <a:lnTo>
                      <a:pt x="318" y="32"/>
                    </a:lnTo>
                    <a:lnTo>
                      <a:pt x="316" y="30"/>
                    </a:lnTo>
                    <a:lnTo>
                      <a:pt x="316" y="27"/>
                    </a:lnTo>
                    <a:lnTo>
                      <a:pt x="315" y="27"/>
                    </a:lnTo>
                    <a:lnTo>
                      <a:pt x="313" y="25"/>
                    </a:lnTo>
                    <a:lnTo>
                      <a:pt x="313" y="24"/>
                    </a:lnTo>
                    <a:lnTo>
                      <a:pt x="312" y="22"/>
                    </a:lnTo>
                    <a:lnTo>
                      <a:pt x="312" y="22"/>
                    </a:lnTo>
                    <a:lnTo>
                      <a:pt x="312" y="22"/>
                    </a:lnTo>
                    <a:lnTo>
                      <a:pt x="312" y="22"/>
                    </a:lnTo>
                    <a:lnTo>
                      <a:pt x="312" y="21"/>
                    </a:lnTo>
                    <a:lnTo>
                      <a:pt x="312" y="21"/>
                    </a:lnTo>
                    <a:lnTo>
                      <a:pt x="310" y="21"/>
                    </a:lnTo>
                    <a:lnTo>
                      <a:pt x="308" y="21"/>
                    </a:lnTo>
                    <a:lnTo>
                      <a:pt x="307" y="21"/>
                    </a:lnTo>
                    <a:lnTo>
                      <a:pt x="307" y="19"/>
                    </a:lnTo>
                    <a:lnTo>
                      <a:pt x="307" y="19"/>
                    </a:lnTo>
                    <a:lnTo>
                      <a:pt x="307" y="18"/>
                    </a:lnTo>
                    <a:lnTo>
                      <a:pt x="305" y="18"/>
                    </a:lnTo>
                    <a:lnTo>
                      <a:pt x="302" y="14"/>
                    </a:lnTo>
                    <a:lnTo>
                      <a:pt x="302" y="14"/>
                    </a:lnTo>
                    <a:lnTo>
                      <a:pt x="301" y="13"/>
                    </a:lnTo>
                    <a:lnTo>
                      <a:pt x="301" y="11"/>
                    </a:lnTo>
                    <a:lnTo>
                      <a:pt x="299" y="11"/>
                    </a:lnTo>
                    <a:lnTo>
                      <a:pt x="298" y="11"/>
                    </a:lnTo>
                    <a:lnTo>
                      <a:pt x="298" y="13"/>
                    </a:lnTo>
                    <a:lnTo>
                      <a:pt x="298" y="13"/>
                    </a:lnTo>
                    <a:lnTo>
                      <a:pt x="296" y="14"/>
                    </a:lnTo>
                    <a:lnTo>
                      <a:pt x="296" y="16"/>
                    </a:lnTo>
                    <a:lnTo>
                      <a:pt x="293" y="14"/>
                    </a:lnTo>
                    <a:lnTo>
                      <a:pt x="293" y="14"/>
                    </a:lnTo>
                    <a:lnTo>
                      <a:pt x="293" y="14"/>
                    </a:lnTo>
                    <a:lnTo>
                      <a:pt x="291" y="14"/>
                    </a:lnTo>
                    <a:lnTo>
                      <a:pt x="291" y="14"/>
                    </a:lnTo>
                    <a:lnTo>
                      <a:pt x="291" y="14"/>
                    </a:lnTo>
                    <a:lnTo>
                      <a:pt x="288" y="14"/>
                    </a:lnTo>
                    <a:lnTo>
                      <a:pt x="285" y="14"/>
                    </a:lnTo>
                    <a:lnTo>
                      <a:pt x="283" y="16"/>
                    </a:lnTo>
                    <a:lnTo>
                      <a:pt x="283" y="14"/>
                    </a:lnTo>
                    <a:lnTo>
                      <a:pt x="282" y="14"/>
                    </a:lnTo>
                    <a:lnTo>
                      <a:pt x="280" y="14"/>
                    </a:lnTo>
                    <a:lnTo>
                      <a:pt x="279" y="13"/>
                    </a:lnTo>
                    <a:lnTo>
                      <a:pt x="277" y="16"/>
                    </a:lnTo>
                    <a:lnTo>
                      <a:pt x="271" y="19"/>
                    </a:lnTo>
                    <a:lnTo>
                      <a:pt x="269" y="21"/>
                    </a:lnTo>
                    <a:lnTo>
                      <a:pt x="266" y="21"/>
                    </a:lnTo>
                    <a:lnTo>
                      <a:pt x="265" y="22"/>
                    </a:lnTo>
                    <a:lnTo>
                      <a:pt x="257" y="27"/>
                    </a:lnTo>
                    <a:lnTo>
                      <a:pt x="254" y="27"/>
                    </a:lnTo>
                    <a:lnTo>
                      <a:pt x="252" y="25"/>
                    </a:lnTo>
                    <a:lnTo>
                      <a:pt x="251" y="27"/>
                    </a:lnTo>
                    <a:lnTo>
                      <a:pt x="249" y="25"/>
                    </a:lnTo>
                    <a:lnTo>
                      <a:pt x="241" y="22"/>
                    </a:lnTo>
                    <a:lnTo>
                      <a:pt x="232" y="25"/>
                    </a:lnTo>
                    <a:lnTo>
                      <a:pt x="227" y="27"/>
                    </a:lnTo>
                    <a:lnTo>
                      <a:pt x="224" y="27"/>
                    </a:lnTo>
                    <a:lnTo>
                      <a:pt x="215" y="25"/>
                    </a:lnTo>
                    <a:lnTo>
                      <a:pt x="213" y="24"/>
                    </a:lnTo>
                    <a:lnTo>
                      <a:pt x="207" y="22"/>
                    </a:lnTo>
                    <a:lnTo>
                      <a:pt x="201" y="21"/>
                    </a:lnTo>
                    <a:lnTo>
                      <a:pt x="199" y="19"/>
                    </a:lnTo>
                    <a:lnTo>
                      <a:pt x="196" y="18"/>
                    </a:lnTo>
                    <a:lnTo>
                      <a:pt x="193" y="18"/>
                    </a:lnTo>
                    <a:lnTo>
                      <a:pt x="193" y="18"/>
                    </a:lnTo>
                    <a:lnTo>
                      <a:pt x="191" y="19"/>
                    </a:lnTo>
                    <a:lnTo>
                      <a:pt x="190" y="19"/>
                    </a:lnTo>
                    <a:lnTo>
                      <a:pt x="187" y="18"/>
                    </a:lnTo>
                    <a:lnTo>
                      <a:pt x="185" y="16"/>
                    </a:lnTo>
                    <a:lnTo>
                      <a:pt x="183" y="10"/>
                    </a:lnTo>
                    <a:lnTo>
                      <a:pt x="182" y="10"/>
                    </a:lnTo>
                    <a:lnTo>
                      <a:pt x="180" y="8"/>
                    </a:lnTo>
                    <a:lnTo>
                      <a:pt x="174" y="11"/>
                    </a:lnTo>
                    <a:lnTo>
                      <a:pt x="169" y="8"/>
                    </a:lnTo>
                    <a:lnTo>
                      <a:pt x="168" y="7"/>
                    </a:lnTo>
                    <a:lnTo>
                      <a:pt x="166" y="5"/>
                    </a:lnTo>
                    <a:lnTo>
                      <a:pt x="166" y="3"/>
                    </a:lnTo>
                    <a:lnTo>
                      <a:pt x="166" y="2"/>
                    </a:lnTo>
                    <a:lnTo>
                      <a:pt x="166" y="2"/>
                    </a:lnTo>
                    <a:lnTo>
                      <a:pt x="165" y="0"/>
                    </a:lnTo>
                    <a:lnTo>
                      <a:pt x="160" y="3"/>
                    </a:lnTo>
                    <a:lnTo>
                      <a:pt x="151" y="3"/>
                    </a:lnTo>
                    <a:lnTo>
                      <a:pt x="137" y="2"/>
                    </a:lnTo>
                    <a:lnTo>
                      <a:pt x="133" y="2"/>
                    </a:lnTo>
                    <a:lnTo>
                      <a:pt x="129" y="5"/>
                    </a:lnTo>
                    <a:lnTo>
                      <a:pt x="121" y="7"/>
                    </a:lnTo>
                    <a:lnTo>
                      <a:pt x="118" y="8"/>
                    </a:lnTo>
                    <a:lnTo>
                      <a:pt x="113" y="11"/>
                    </a:lnTo>
                    <a:lnTo>
                      <a:pt x="102" y="18"/>
                    </a:lnTo>
                    <a:lnTo>
                      <a:pt x="101" y="22"/>
                    </a:lnTo>
                    <a:lnTo>
                      <a:pt x="99" y="22"/>
                    </a:lnTo>
                    <a:lnTo>
                      <a:pt x="91" y="24"/>
                    </a:lnTo>
                    <a:lnTo>
                      <a:pt x="82" y="21"/>
                    </a:lnTo>
                    <a:lnTo>
                      <a:pt x="76" y="22"/>
                    </a:lnTo>
                    <a:lnTo>
                      <a:pt x="65" y="21"/>
                    </a:lnTo>
                    <a:lnTo>
                      <a:pt x="61" y="21"/>
                    </a:lnTo>
                    <a:lnTo>
                      <a:pt x="60" y="21"/>
                    </a:lnTo>
                    <a:lnTo>
                      <a:pt x="60" y="24"/>
                    </a:lnTo>
                    <a:lnTo>
                      <a:pt x="60" y="25"/>
                    </a:lnTo>
                    <a:lnTo>
                      <a:pt x="60" y="27"/>
                    </a:lnTo>
                    <a:lnTo>
                      <a:pt x="61" y="27"/>
                    </a:lnTo>
                    <a:lnTo>
                      <a:pt x="63" y="28"/>
                    </a:lnTo>
                    <a:lnTo>
                      <a:pt x="65" y="30"/>
                    </a:lnTo>
                    <a:lnTo>
                      <a:pt x="72" y="32"/>
                    </a:lnTo>
                    <a:lnTo>
                      <a:pt x="74" y="32"/>
                    </a:lnTo>
                    <a:lnTo>
                      <a:pt x="74" y="32"/>
                    </a:lnTo>
                    <a:lnTo>
                      <a:pt x="68" y="32"/>
                    </a:lnTo>
                    <a:lnTo>
                      <a:pt x="60" y="33"/>
                    </a:lnTo>
                    <a:lnTo>
                      <a:pt x="58" y="35"/>
                    </a:lnTo>
                    <a:lnTo>
                      <a:pt x="55" y="36"/>
                    </a:lnTo>
                    <a:lnTo>
                      <a:pt x="57" y="36"/>
                    </a:lnTo>
                    <a:lnTo>
                      <a:pt x="57" y="38"/>
                    </a:lnTo>
                    <a:lnTo>
                      <a:pt x="58" y="38"/>
                    </a:lnTo>
                    <a:lnTo>
                      <a:pt x="60" y="39"/>
                    </a:lnTo>
                    <a:lnTo>
                      <a:pt x="58" y="39"/>
                    </a:lnTo>
                    <a:lnTo>
                      <a:pt x="54" y="39"/>
                    </a:lnTo>
                    <a:lnTo>
                      <a:pt x="52" y="39"/>
                    </a:lnTo>
                    <a:lnTo>
                      <a:pt x="46" y="39"/>
                    </a:lnTo>
                    <a:lnTo>
                      <a:pt x="41" y="39"/>
                    </a:lnTo>
                    <a:lnTo>
                      <a:pt x="40" y="39"/>
                    </a:lnTo>
                    <a:lnTo>
                      <a:pt x="41" y="38"/>
                    </a:lnTo>
                    <a:lnTo>
                      <a:pt x="41" y="38"/>
                    </a:lnTo>
                    <a:lnTo>
                      <a:pt x="41" y="38"/>
                    </a:lnTo>
                    <a:lnTo>
                      <a:pt x="40" y="36"/>
                    </a:lnTo>
                    <a:lnTo>
                      <a:pt x="38" y="36"/>
                    </a:lnTo>
                    <a:lnTo>
                      <a:pt x="36" y="38"/>
                    </a:lnTo>
                    <a:lnTo>
                      <a:pt x="38" y="39"/>
                    </a:lnTo>
                    <a:lnTo>
                      <a:pt x="38" y="41"/>
                    </a:lnTo>
                    <a:lnTo>
                      <a:pt x="36" y="41"/>
                    </a:lnTo>
                    <a:lnTo>
                      <a:pt x="32" y="41"/>
                    </a:lnTo>
                    <a:lnTo>
                      <a:pt x="30" y="39"/>
                    </a:lnTo>
                    <a:lnTo>
                      <a:pt x="29" y="39"/>
                    </a:lnTo>
                    <a:lnTo>
                      <a:pt x="29" y="38"/>
                    </a:lnTo>
                    <a:lnTo>
                      <a:pt x="25" y="38"/>
                    </a:lnTo>
                    <a:lnTo>
                      <a:pt x="24" y="39"/>
                    </a:lnTo>
                    <a:lnTo>
                      <a:pt x="19" y="39"/>
                    </a:lnTo>
                    <a:lnTo>
                      <a:pt x="15" y="44"/>
                    </a:lnTo>
                    <a:lnTo>
                      <a:pt x="11" y="47"/>
                    </a:lnTo>
                    <a:lnTo>
                      <a:pt x="10" y="49"/>
                    </a:lnTo>
                    <a:lnTo>
                      <a:pt x="8" y="52"/>
                    </a:lnTo>
                    <a:lnTo>
                      <a:pt x="8" y="57"/>
                    </a:lnTo>
                    <a:lnTo>
                      <a:pt x="8" y="58"/>
                    </a:lnTo>
                    <a:lnTo>
                      <a:pt x="8" y="60"/>
                    </a:lnTo>
                    <a:lnTo>
                      <a:pt x="8" y="61"/>
                    </a:lnTo>
                    <a:lnTo>
                      <a:pt x="13" y="60"/>
                    </a:lnTo>
                    <a:lnTo>
                      <a:pt x="15" y="60"/>
                    </a:lnTo>
                    <a:lnTo>
                      <a:pt x="21" y="58"/>
                    </a:lnTo>
                    <a:lnTo>
                      <a:pt x="22" y="58"/>
                    </a:lnTo>
                    <a:lnTo>
                      <a:pt x="22" y="60"/>
                    </a:lnTo>
                    <a:lnTo>
                      <a:pt x="21" y="61"/>
                    </a:lnTo>
                    <a:lnTo>
                      <a:pt x="19" y="63"/>
                    </a:lnTo>
                    <a:lnTo>
                      <a:pt x="18" y="64"/>
                    </a:lnTo>
                    <a:lnTo>
                      <a:pt x="19" y="66"/>
                    </a:lnTo>
                    <a:lnTo>
                      <a:pt x="21" y="69"/>
                    </a:lnTo>
                    <a:lnTo>
                      <a:pt x="21" y="69"/>
                    </a:lnTo>
                    <a:lnTo>
                      <a:pt x="21" y="71"/>
                    </a:lnTo>
                    <a:lnTo>
                      <a:pt x="21" y="72"/>
                    </a:lnTo>
                    <a:lnTo>
                      <a:pt x="21" y="72"/>
                    </a:lnTo>
                    <a:lnTo>
                      <a:pt x="22" y="72"/>
                    </a:lnTo>
                    <a:lnTo>
                      <a:pt x="24" y="72"/>
                    </a:lnTo>
                    <a:lnTo>
                      <a:pt x="24" y="74"/>
                    </a:lnTo>
                    <a:lnTo>
                      <a:pt x="22" y="75"/>
                    </a:lnTo>
                    <a:lnTo>
                      <a:pt x="21" y="77"/>
                    </a:lnTo>
                    <a:lnTo>
                      <a:pt x="19" y="77"/>
                    </a:lnTo>
                    <a:lnTo>
                      <a:pt x="21" y="79"/>
                    </a:lnTo>
                    <a:lnTo>
                      <a:pt x="21" y="80"/>
                    </a:lnTo>
                    <a:lnTo>
                      <a:pt x="21" y="82"/>
                    </a:lnTo>
                    <a:lnTo>
                      <a:pt x="22" y="83"/>
                    </a:lnTo>
                    <a:lnTo>
                      <a:pt x="24" y="83"/>
                    </a:lnTo>
                    <a:lnTo>
                      <a:pt x="27" y="83"/>
                    </a:lnTo>
                    <a:lnTo>
                      <a:pt x="25" y="85"/>
                    </a:lnTo>
                    <a:lnTo>
                      <a:pt x="21" y="85"/>
                    </a:lnTo>
                    <a:lnTo>
                      <a:pt x="19" y="85"/>
                    </a:lnTo>
                    <a:lnTo>
                      <a:pt x="19" y="85"/>
                    </a:lnTo>
                    <a:lnTo>
                      <a:pt x="19" y="85"/>
                    </a:lnTo>
                    <a:lnTo>
                      <a:pt x="18" y="86"/>
                    </a:lnTo>
                    <a:lnTo>
                      <a:pt x="18" y="86"/>
                    </a:lnTo>
                    <a:lnTo>
                      <a:pt x="16" y="85"/>
                    </a:lnTo>
                    <a:lnTo>
                      <a:pt x="18" y="83"/>
                    </a:lnTo>
                    <a:lnTo>
                      <a:pt x="16" y="82"/>
                    </a:lnTo>
                    <a:lnTo>
                      <a:pt x="15" y="80"/>
                    </a:lnTo>
                    <a:lnTo>
                      <a:pt x="15" y="79"/>
                    </a:lnTo>
                    <a:lnTo>
                      <a:pt x="13" y="80"/>
                    </a:lnTo>
                    <a:lnTo>
                      <a:pt x="13" y="82"/>
                    </a:lnTo>
                    <a:lnTo>
                      <a:pt x="15" y="83"/>
                    </a:lnTo>
                    <a:lnTo>
                      <a:pt x="13" y="85"/>
                    </a:lnTo>
                    <a:lnTo>
                      <a:pt x="13" y="85"/>
                    </a:lnTo>
                    <a:lnTo>
                      <a:pt x="11" y="88"/>
                    </a:lnTo>
                    <a:lnTo>
                      <a:pt x="11" y="88"/>
                    </a:lnTo>
                    <a:lnTo>
                      <a:pt x="13" y="89"/>
                    </a:lnTo>
                    <a:lnTo>
                      <a:pt x="16" y="89"/>
                    </a:lnTo>
                    <a:lnTo>
                      <a:pt x="16" y="89"/>
                    </a:lnTo>
                    <a:lnTo>
                      <a:pt x="18" y="89"/>
                    </a:lnTo>
                    <a:lnTo>
                      <a:pt x="18" y="89"/>
                    </a:lnTo>
                    <a:lnTo>
                      <a:pt x="21" y="91"/>
                    </a:lnTo>
                    <a:lnTo>
                      <a:pt x="22" y="93"/>
                    </a:lnTo>
                    <a:lnTo>
                      <a:pt x="22" y="93"/>
                    </a:lnTo>
                    <a:lnTo>
                      <a:pt x="27" y="94"/>
                    </a:lnTo>
                    <a:lnTo>
                      <a:pt x="29" y="94"/>
                    </a:lnTo>
                    <a:lnTo>
                      <a:pt x="29" y="96"/>
                    </a:lnTo>
                    <a:lnTo>
                      <a:pt x="27" y="99"/>
                    </a:lnTo>
                    <a:lnTo>
                      <a:pt x="25" y="100"/>
                    </a:lnTo>
                    <a:lnTo>
                      <a:pt x="25" y="100"/>
                    </a:lnTo>
                    <a:lnTo>
                      <a:pt x="27" y="102"/>
                    </a:lnTo>
                    <a:lnTo>
                      <a:pt x="27" y="105"/>
                    </a:lnTo>
                    <a:lnTo>
                      <a:pt x="27" y="107"/>
                    </a:lnTo>
                    <a:lnTo>
                      <a:pt x="29" y="108"/>
                    </a:lnTo>
                    <a:lnTo>
                      <a:pt x="30" y="108"/>
                    </a:lnTo>
                    <a:lnTo>
                      <a:pt x="30" y="108"/>
                    </a:lnTo>
                    <a:lnTo>
                      <a:pt x="33" y="110"/>
                    </a:lnTo>
                    <a:lnTo>
                      <a:pt x="33" y="111"/>
                    </a:lnTo>
                    <a:lnTo>
                      <a:pt x="30" y="113"/>
                    </a:lnTo>
                    <a:lnTo>
                      <a:pt x="29" y="113"/>
                    </a:lnTo>
                    <a:lnTo>
                      <a:pt x="29" y="115"/>
                    </a:lnTo>
                    <a:lnTo>
                      <a:pt x="29" y="116"/>
                    </a:lnTo>
                    <a:lnTo>
                      <a:pt x="29" y="116"/>
                    </a:lnTo>
                    <a:lnTo>
                      <a:pt x="30" y="115"/>
                    </a:lnTo>
                    <a:lnTo>
                      <a:pt x="35" y="116"/>
                    </a:lnTo>
                    <a:lnTo>
                      <a:pt x="44" y="115"/>
                    </a:lnTo>
                    <a:lnTo>
                      <a:pt x="46" y="115"/>
                    </a:lnTo>
                    <a:lnTo>
                      <a:pt x="46" y="116"/>
                    </a:lnTo>
                    <a:lnTo>
                      <a:pt x="43" y="118"/>
                    </a:lnTo>
                    <a:lnTo>
                      <a:pt x="41" y="119"/>
                    </a:lnTo>
                    <a:lnTo>
                      <a:pt x="40" y="119"/>
                    </a:lnTo>
                    <a:lnTo>
                      <a:pt x="35" y="121"/>
                    </a:lnTo>
                    <a:lnTo>
                      <a:pt x="33" y="121"/>
                    </a:lnTo>
                    <a:lnTo>
                      <a:pt x="32" y="121"/>
                    </a:lnTo>
                    <a:lnTo>
                      <a:pt x="32" y="122"/>
                    </a:lnTo>
                    <a:lnTo>
                      <a:pt x="33" y="122"/>
                    </a:lnTo>
                    <a:lnTo>
                      <a:pt x="35" y="122"/>
                    </a:lnTo>
                    <a:lnTo>
                      <a:pt x="38" y="121"/>
                    </a:lnTo>
                    <a:lnTo>
                      <a:pt x="43" y="121"/>
                    </a:lnTo>
                    <a:lnTo>
                      <a:pt x="41" y="122"/>
                    </a:lnTo>
                    <a:lnTo>
                      <a:pt x="41" y="124"/>
                    </a:lnTo>
                    <a:lnTo>
                      <a:pt x="43" y="124"/>
                    </a:lnTo>
                    <a:lnTo>
                      <a:pt x="44" y="122"/>
                    </a:lnTo>
                    <a:lnTo>
                      <a:pt x="47" y="119"/>
                    </a:lnTo>
                    <a:lnTo>
                      <a:pt x="51" y="119"/>
                    </a:lnTo>
                    <a:lnTo>
                      <a:pt x="54" y="122"/>
                    </a:lnTo>
                    <a:lnTo>
                      <a:pt x="55" y="122"/>
                    </a:lnTo>
                    <a:lnTo>
                      <a:pt x="57" y="122"/>
                    </a:lnTo>
                    <a:lnTo>
                      <a:pt x="58" y="122"/>
                    </a:lnTo>
                    <a:lnTo>
                      <a:pt x="60" y="122"/>
                    </a:lnTo>
                    <a:lnTo>
                      <a:pt x="60" y="124"/>
                    </a:lnTo>
                    <a:lnTo>
                      <a:pt x="60" y="124"/>
                    </a:lnTo>
                    <a:lnTo>
                      <a:pt x="61" y="125"/>
                    </a:lnTo>
                    <a:lnTo>
                      <a:pt x="61" y="129"/>
                    </a:lnTo>
                    <a:lnTo>
                      <a:pt x="63" y="130"/>
                    </a:lnTo>
                    <a:lnTo>
                      <a:pt x="65" y="132"/>
                    </a:lnTo>
                    <a:lnTo>
                      <a:pt x="71" y="133"/>
                    </a:lnTo>
                    <a:lnTo>
                      <a:pt x="72" y="133"/>
                    </a:lnTo>
                    <a:lnTo>
                      <a:pt x="79" y="132"/>
                    </a:lnTo>
                    <a:lnTo>
                      <a:pt x="80" y="130"/>
                    </a:lnTo>
                    <a:lnTo>
                      <a:pt x="82" y="132"/>
                    </a:lnTo>
                    <a:lnTo>
                      <a:pt x="83" y="132"/>
                    </a:lnTo>
                    <a:lnTo>
                      <a:pt x="85" y="132"/>
                    </a:lnTo>
                    <a:lnTo>
                      <a:pt x="85" y="130"/>
                    </a:lnTo>
                    <a:lnTo>
                      <a:pt x="85" y="127"/>
                    </a:lnTo>
                    <a:lnTo>
                      <a:pt x="86" y="125"/>
                    </a:lnTo>
                    <a:lnTo>
                      <a:pt x="86" y="119"/>
                    </a:lnTo>
                    <a:lnTo>
                      <a:pt x="88" y="119"/>
                    </a:lnTo>
                    <a:lnTo>
                      <a:pt x="93" y="119"/>
                    </a:lnTo>
                    <a:lnTo>
                      <a:pt x="99" y="119"/>
                    </a:lnTo>
                    <a:lnTo>
                      <a:pt x="101" y="119"/>
                    </a:lnTo>
                    <a:lnTo>
                      <a:pt x="108" y="124"/>
                    </a:lnTo>
                    <a:lnTo>
                      <a:pt x="111" y="125"/>
                    </a:lnTo>
                    <a:lnTo>
                      <a:pt x="115" y="127"/>
                    </a:lnTo>
                    <a:lnTo>
                      <a:pt x="116" y="132"/>
                    </a:lnTo>
                    <a:lnTo>
                      <a:pt x="118" y="133"/>
                    </a:lnTo>
                    <a:lnTo>
                      <a:pt x="121" y="135"/>
                    </a:lnTo>
                    <a:lnTo>
                      <a:pt x="126" y="136"/>
                    </a:lnTo>
                    <a:lnTo>
                      <a:pt x="127" y="135"/>
                    </a:lnTo>
                    <a:lnTo>
                      <a:pt x="130" y="135"/>
                    </a:lnTo>
                    <a:lnTo>
                      <a:pt x="137" y="133"/>
                    </a:lnTo>
                    <a:lnTo>
                      <a:pt x="138" y="135"/>
                    </a:lnTo>
                    <a:lnTo>
                      <a:pt x="141" y="133"/>
                    </a:lnTo>
                    <a:lnTo>
                      <a:pt x="146" y="130"/>
                    </a:lnTo>
                    <a:lnTo>
                      <a:pt x="147" y="130"/>
                    </a:lnTo>
                    <a:lnTo>
                      <a:pt x="152" y="124"/>
                    </a:lnTo>
                    <a:lnTo>
                      <a:pt x="157" y="121"/>
                    </a:lnTo>
                    <a:lnTo>
                      <a:pt x="158" y="119"/>
                    </a:lnTo>
                    <a:lnTo>
                      <a:pt x="162" y="119"/>
                    </a:lnTo>
                    <a:lnTo>
                      <a:pt x="163" y="121"/>
                    </a:lnTo>
                    <a:lnTo>
                      <a:pt x="168" y="124"/>
                    </a:lnTo>
                    <a:lnTo>
                      <a:pt x="171" y="125"/>
                    </a:lnTo>
                    <a:lnTo>
                      <a:pt x="174" y="124"/>
                    </a:lnTo>
                    <a:lnTo>
                      <a:pt x="176" y="122"/>
                    </a:lnTo>
                    <a:lnTo>
                      <a:pt x="176" y="121"/>
                    </a:lnTo>
                    <a:lnTo>
                      <a:pt x="177" y="121"/>
                    </a:lnTo>
                    <a:lnTo>
                      <a:pt x="179" y="121"/>
                    </a:lnTo>
                    <a:lnTo>
                      <a:pt x="180" y="119"/>
                    </a:lnTo>
                    <a:lnTo>
                      <a:pt x="182" y="118"/>
                    </a:lnTo>
                    <a:lnTo>
                      <a:pt x="183" y="119"/>
                    </a:lnTo>
                    <a:lnTo>
                      <a:pt x="185" y="119"/>
                    </a:lnTo>
                    <a:lnTo>
                      <a:pt x="185" y="121"/>
                    </a:lnTo>
                    <a:lnTo>
                      <a:pt x="185" y="122"/>
                    </a:lnTo>
                    <a:lnTo>
                      <a:pt x="182" y="125"/>
                    </a:lnTo>
                    <a:lnTo>
                      <a:pt x="180" y="129"/>
                    </a:lnTo>
                    <a:lnTo>
                      <a:pt x="179" y="130"/>
                    </a:lnTo>
                    <a:lnTo>
                      <a:pt x="180" y="133"/>
                    </a:lnTo>
                    <a:lnTo>
                      <a:pt x="180" y="138"/>
                    </a:lnTo>
                    <a:lnTo>
                      <a:pt x="180" y="140"/>
                    </a:lnTo>
                    <a:lnTo>
                      <a:pt x="182" y="140"/>
                    </a:lnTo>
                    <a:lnTo>
                      <a:pt x="183" y="141"/>
                    </a:lnTo>
                    <a:lnTo>
                      <a:pt x="185" y="141"/>
                    </a:lnTo>
                    <a:lnTo>
                      <a:pt x="185" y="138"/>
                    </a:lnTo>
                    <a:lnTo>
                      <a:pt x="187" y="138"/>
                    </a:lnTo>
                    <a:lnTo>
                      <a:pt x="188" y="136"/>
                    </a:lnTo>
                    <a:lnTo>
                      <a:pt x="188" y="133"/>
                    </a:lnTo>
                    <a:lnTo>
                      <a:pt x="190" y="133"/>
                    </a:lnTo>
                    <a:lnTo>
                      <a:pt x="190" y="132"/>
                    </a:lnTo>
                    <a:lnTo>
                      <a:pt x="191" y="132"/>
                    </a:lnTo>
                    <a:lnTo>
                      <a:pt x="193" y="132"/>
                    </a:lnTo>
                    <a:lnTo>
                      <a:pt x="193" y="132"/>
                    </a:lnTo>
                    <a:lnTo>
                      <a:pt x="191" y="127"/>
                    </a:lnTo>
                    <a:lnTo>
                      <a:pt x="191" y="127"/>
                    </a:lnTo>
                    <a:lnTo>
                      <a:pt x="193" y="122"/>
                    </a:lnTo>
                    <a:lnTo>
                      <a:pt x="193" y="121"/>
                    </a:lnTo>
                    <a:lnTo>
                      <a:pt x="193" y="119"/>
                    </a:lnTo>
                    <a:lnTo>
                      <a:pt x="196" y="121"/>
                    </a:lnTo>
                    <a:lnTo>
                      <a:pt x="199" y="121"/>
                    </a:lnTo>
                    <a:lnTo>
                      <a:pt x="199" y="122"/>
                    </a:lnTo>
                    <a:lnTo>
                      <a:pt x="199" y="122"/>
                    </a:lnTo>
                    <a:lnTo>
                      <a:pt x="201" y="122"/>
                    </a:lnTo>
                    <a:lnTo>
                      <a:pt x="202" y="122"/>
                    </a:lnTo>
                    <a:lnTo>
                      <a:pt x="205" y="124"/>
                    </a:lnTo>
                    <a:lnTo>
                      <a:pt x="207" y="124"/>
                    </a:lnTo>
                    <a:lnTo>
                      <a:pt x="208" y="122"/>
                    </a:lnTo>
                    <a:lnTo>
                      <a:pt x="212" y="121"/>
                    </a:lnTo>
                    <a:lnTo>
                      <a:pt x="213" y="121"/>
                    </a:lnTo>
                    <a:lnTo>
                      <a:pt x="215" y="119"/>
                    </a:lnTo>
                    <a:lnTo>
                      <a:pt x="221" y="118"/>
                    </a:lnTo>
                    <a:lnTo>
                      <a:pt x="222" y="118"/>
                    </a:lnTo>
                    <a:lnTo>
                      <a:pt x="224" y="118"/>
                    </a:lnTo>
                    <a:lnTo>
                      <a:pt x="224" y="119"/>
                    </a:lnTo>
                    <a:lnTo>
                      <a:pt x="227" y="121"/>
                    </a:lnTo>
                    <a:lnTo>
                      <a:pt x="229" y="122"/>
                    </a:lnTo>
                    <a:lnTo>
                      <a:pt x="230" y="122"/>
                    </a:lnTo>
                    <a:lnTo>
                      <a:pt x="233" y="122"/>
                    </a:lnTo>
                    <a:lnTo>
                      <a:pt x="237" y="122"/>
                    </a:lnTo>
                    <a:lnTo>
                      <a:pt x="241" y="122"/>
                    </a:lnTo>
                    <a:lnTo>
                      <a:pt x="243" y="122"/>
                    </a:lnTo>
                    <a:lnTo>
                      <a:pt x="246" y="121"/>
                    </a:lnTo>
                    <a:lnTo>
                      <a:pt x="252" y="119"/>
                    </a:lnTo>
                    <a:lnTo>
                      <a:pt x="260" y="115"/>
                    </a:lnTo>
                    <a:lnTo>
                      <a:pt x="265" y="113"/>
                    </a:lnTo>
                    <a:lnTo>
                      <a:pt x="266" y="113"/>
                    </a:lnTo>
                    <a:lnTo>
                      <a:pt x="269" y="113"/>
                    </a:lnTo>
                    <a:lnTo>
                      <a:pt x="271" y="113"/>
                    </a:lnTo>
                    <a:lnTo>
                      <a:pt x="274" y="115"/>
                    </a:lnTo>
                    <a:lnTo>
                      <a:pt x="276" y="115"/>
                    </a:lnTo>
                    <a:lnTo>
                      <a:pt x="279" y="113"/>
                    </a:lnTo>
                    <a:lnTo>
                      <a:pt x="282" y="113"/>
                    </a:lnTo>
                    <a:lnTo>
                      <a:pt x="285" y="111"/>
                    </a:lnTo>
                    <a:lnTo>
                      <a:pt x="288" y="111"/>
                    </a:lnTo>
                    <a:lnTo>
                      <a:pt x="290" y="110"/>
                    </a:lnTo>
                    <a:lnTo>
                      <a:pt x="291" y="108"/>
                    </a:lnTo>
                    <a:lnTo>
                      <a:pt x="291" y="110"/>
                    </a:lnTo>
                    <a:lnTo>
                      <a:pt x="291" y="110"/>
                    </a:lnTo>
                    <a:lnTo>
                      <a:pt x="293" y="110"/>
                    </a:lnTo>
                    <a:lnTo>
                      <a:pt x="293" y="113"/>
                    </a:lnTo>
                    <a:lnTo>
                      <a:pt x="293" y="113"/>
                    </a:lnTo>
                    <a:lnTo>
                      <a:pt x="294" y="113"/>
                    </a:lnTo>
                    <a:lnTo>
                      <a:pt x="298" y="110"/>
                    </a:lnTo>
                    <a:lnTo>
                      <a:pt x="298" y="110"/>
                    </a:lnTo>
                    <a:lnTo>
                      <a:pt x="301" y="108"/>
                    </a:lnTo>
                    <a:lnTo>
                      <a:pt x="301" y="107"/>
                    </a:lnTo>
                    <a:lnTo>
                      <a:pt x="302" y="108"/>
                    </a:lnTo>
                    <a:lnTo>
                      <a:pt x="304" y="108"/>
                    </a:lnTo>
                    <a:lnTo>
                      <a:pt x="307" y="107"/>
                    </a:lnTo>
                    <a:lnTo>
                      <a:pt x="308" y="108"/>
                    </a:lnTo>
                    <a:lnTo>
                      <a:pt x="308" y="108"/>
                    </a:lnTo>
                    <a:lnTo>
                      <a:pt x="310" y="108"/>
                    </a:lnTo>
                    <a:lnTo>
                      <a:pt x="313" y="110"/>
                    </a:lnTo>
                    <a:lnTo>
                      <a:pt x="315" y="110"/>
                    </a:lnTo>
                    <a:lnTo>
                      <a:pt x="316" y="110"/>
                    </a:lnTo>
                    <a:lnTo>
                      <a:pt x="319" y="110"/>
                    </a:lnTo>
                    <a:lnTo>
                      <a:pt x="321" y="110"/>
                    </a:lnTo>
                    <a:lnTo>
                      <a:pt x="323" y="108"/>
                    </a:lnTo>
                    <a:lnTo>
                      <a:pt x="323" y="108"/>
                    </a:lnTo>
                    <a:lnTo>
                      <a:pt x="324" y="108"/>
                    </a:lnTo>
                    <a:lnTo>
                      <a:pt x="324" y="110"/>
                    </a:lnTo>
                    <a:lnTo>
                      <a:pt x="326" y="110"/>
                    </a:lnTo>
                    <a:lnTo>
                      <a:pt x="326" y="110"/>
                    </a:lnTo>
                    <a:lnTo>
                      <a:pt x="326" y="111"/>
                    </a:lnTo>
                    <a:lnTo>
                      <a:pt x="326" y="115"/>
                    </a:lnTo>
                    <a:lnTo>
                      <a:pt x="326" y="115"/>
                    </a:lnTo>
                    <a:lnTo>
                      <a:pt x="327" y="116"/>
                    </a:lnTo>
                    <a:lnTo>
                      <a:pt x="327" y="116"/>
                    </a:lnTo>
                    <a:lnTo>
                      <a:pt x="327" y="115"/>
                    </a:lnTo>
                    <a:lnTo>
                      <a:pt x="329" y="115"/>
                    </a:lnTo>
                    <a:lnTo>
                      <a:pt x="330" y="113"/>
                    </a:lnTo>
                    <a:lnTo>
                      <a:pt x="332" y="111"/>
                    </a:lnTo>
                    <a:lnTo>
                      <a:pt x="334" y="111"/>
                    </a:lnTo>
                    <a:lnTo>
                      <a:pt x="334" y="111"/>
                    </a:lnTo>
                    <a:lnTo>
                      <a:pt x="335" y="111"/>
                    </a:lnTo>
                    <a:lnTo>
                      <a:pt x="335" y="113"/>
                    </a:lnTo>
                    <a:lnTo>
                      <a:pt x="335" y="113"/>
                    </a:lnTo>
                    <a:lnTo>
                      <a:pt x="335" y="111"/>
                    </a:lnTo>
                    <a:lnTo>
                      <a:pt x="335" y="111"/>
                    </a:lnTo>
                    <a:lnTo>
                      <a:pt x="337" y="110"/>
                    </a:lnTo>
                    <a:lnTo>
                      <a:pt x="337" y="110"/>
                    </a:lnTo>
                    <a:lnTo>
                      <a:pt x="335" y="108"/>
                    </a:lnTo>
                    <a:lnTo>
                      <a:pt x="334" y="107"/>
                    </a:lnTo>
                    <a:close/>
                    <a:moveTo>
                      <a:pt x="58" y="19"/>
                    </a:moveTo>
                    <a:lnTo>
                      <a:pt x="47" y="14"/>
                    </a:lnTo>
                    <a:lnTo>
                      <a:pt x="44" y="13"/>
                    </a:lnTo>
                    <a:lnTo>
                      <a:pt x="43" y="8"/>
                    </a:lnTo>
                    <a:lnTo>
                      <a:pt x="41" y="5"/>
                    </a:lnTo>
                    <a:lnTo>
                      <a:pt x="41" y="3"/>
                    </a:lnTo>
                    <a:lnTo>
                      <a:pt x="40" y="2"/>
                    </a:lnTo>
                    <a:lnTo>
                      <a:pt x="38" y="2"/>
                    </a:lnTo>
                    <a:lnTo>
                      <a:pt x="38" y="3"/>
                    </a:lnTo>
                    <a:lnTo>
                      <a:pt x="36" y="3"/>
                    </a:lnTo>
                    <a:lnTo>
                      <a:pt x="35" y="3"/>
                    </a:lnTo>
                    <a:lnTo>
                      <a:pt x="33" y="3"/>
                    </a:lnTo>
                    <a:lnTo>
                      <a:pt x="33" y="3"/>
                    </a:lnTo>
                    <a:lnTo>
                      <a:pt x="32" y="3"/>
                    </a:lnTo>
                    <a:lnTo>
                      <a:pt x="30" y="2"/>
                    </a:lnTo>
                    <a:lnTo>
                      <a:pt x="29" y="0"/>
                    </a:lnTo>
                    <a:lnTo>
                      <a:pt x="29" y="0"/>
                    </a:lnTo>
                    <a:lnTo>
                      <a:pt x="27" y="0"/>
                    </a:lnTo>
                    <a:lnTo>
                      <a:pt x="24" y="0"/>
                    </a:lnTo>
                    <a:lnTo>
                      <a:pt x="24" y="0"/>
                    </a:lnTo>
                    <a:lnTo>
                      <a:pt x="24" y="2"/>
                    </a:lnTo>
                    <a:lnTo>
                      <a:pt x="22" y="2"/>
                    </a:lnTo>
                    <a:lnTo>
                      <a:pt x="21" y="2"/>
                    </a:lnTo>
                    <a:lnTo>
                      <a:pt x="18" y="3"/>
                    </a:lnTo>
                    <a:lnTo>
                      <a:pt x="18" y="3"/>
                    </a:lnTo>
                    <a:lnTo>
                      <a:pt x="16" y="3"/>
                    </a:lnTo>
                    <a:lnTo>
                      <a:pt x="16" y="3"/>
                    </a:lnTo>
                    <a:lnTo>
                      <a:pt x="16" y="5"/>
                    </a:lnTo>
                    <a:lnTo>
                      <a:pt x="16" y="5"/>
                    </a:lnTo>
                    <a:lnTo>
                      <a:pt x="15" y="7"/>
                    </a:lnTo>
                    <a:lnTo>
                      <a:pt x="13" y="7"/>
                    </a:lnTo>
                    <a:lnTo>
                      <a:pt x="11" y="8"/>
                    </a:lnTo>
                    <a:lnTo>
                      <a:pt x="11" y="8"/>
                    </a:lnTo>
                    <a:lnTo>
                      <a:pt x="11" y="8"/>
                    </a:lnTo>
                    <a:lnTo>
                      <a:pt x="13" y="10"/>
                    </a:lnTo>
                    <a:lnTo>
                      <a:pt x="15" y="10"/>
                    </a:lnTo>
                    <a:lnTo>
                      <a:pt x="15" y="11"/>
                    </a:lnTo>
                    <a:lnTo>
                      <a:pt x="16" y="11"/>
                    </a:lnTo>
                    <a:lnTo>
                      <a:pt x="16" y="11"/>
                    </a:lnTo>
                    <a:lnTo>
                      <a:pt x="18" y="13"/>
                    </a:lnTo>
                    <a:lnTo>
                      <a:pt x="18" y="16"/>
                    </a:lnTo>
                    <a:lnTo>
                      <a:pt x="16" y="18"/>
                    </a:lnTo>
                    <a:lnTo>
                      <a:pt x="16" y="18"/>
                    </a:lnTo>
                    <a:lnTo>
                      <a:pt x="11" y="19"/>
                    </a:lnTo>
                    <a:lnTo>
                      <a:pt x="11" y="22"/>
                    </a:lnTo>
                    <a:lnTo>
                      <a:pt x="11" y="24"/>
                    </a:lnTo>
                    <a:lnTo>
                      <a:pt x="11" y="24"/>
                    </a:lnTo>
                    <a:lnTo>
                      <a:pt x="13" y="24"/>
                    </a:lnTo>
                    <a:lnTo>
                      <a:pt x="13" y="25"/>
                    </a:lnTo>
                    <a:lnTo>
                      <a:pt x="11" y="27"/>
                    </a:lnTo>
                    <a:lnTo>
                      <a:pt x="10" y="28"/>
                    </a:lnTo>
                    <a:lnTo>
                      <a:pt x="10" y="30"/>
                    </a:lnTo>
                    <a:lnTo>
                      <a:pt x="8" y="32"/>
                    </a:lnTo>
                    <a:lnTo>
                      <a:pt x="7" y="32"/>
                    </a:lnTo>
                    <a:lnTo>
                      <a:pt x="7" y="32"/>
                    </a:lnTo>
                    <a:lnTo>
                      <a:pt x="7" y="33"/>
                    </a:lnTo>
                    <a:lnTo>
                      <a:pt x="8" y="35"/>
                    </a:lnTo>
                    <a:lnTo>
                      <a:pt x="10" y="35"/>
                    </a:lnTo>
                    <a:lnTo>
                      <a:pt x="13" y="35"/>
                    </a:lnTo>
                    <a:lnTo>
                      <a:pt x="16" y="35"/>
                    </a:lnTo>
                    <a:lnTo>
                      <a:pt x="21" y="35"/>
                    </a:lnTo>
                    <a:lnTo>
                      <a:pt x="19" y="36"/>
                    </a:lnTo>
                    <a:lnTo>
                      <a:pt x="15" y="38"/>
                    </a:lnTo>
                    <a:lnTo>
                      <a:pt x="13" y="39"/>
                    </a:lnTo>
                    <a:lnTo>
                      <a:pt x="11" y="41"/>
                    </a:lnTo>
                    <a:lnTo>
                      <a:pt x="11" y="43"/>
                    </a:lnTo>
                    <a:lnTo>
                      <a:pt x="11" y="44"/>
                    </a:lnTo>
                    <a:lnTo>
                      <a:pt x="10" y="46"/>
                    </a:lnTo>
                    <a:lnTo>
                      <a:pt x="10" y="47"/>
                    </a:lnTo>
                    <a:lnTo>
                      <a:pt x="11" y="46"/>
                    </a:lnTo>
                    <a:lnTo>
                      <a:pt x="11" y="46"/>
                    </a:lnTo>
                    <a:lnTo>
                      <a:pt x="15" y="43"/>
                    </a:lnTo>
                    <a:lnTo>
                      <a:pt x="19" y="36"/>
                    </a:lnTo>
                    <a:lnTo>
                      <a:pt x="24" y="35"/>
                    </a:lnTo>
                    <a:lnTo>
                      <a:pt x="29" y="33"/>
                    </a:lnTo>
                    <a:lnTo>
                      <a:pt x="32" y="28"/>
                    </a:lnTo>
                    <a:lnTo>
                      <a:pt x="33" y="25"/>
                    </a:lnTo>
                    <a:lnTo>
                      <a:pt x="36" y="25"/>
                    </a:lnTo>
                    <a:lnTo>
                      <a:pt x="40" y="25"/>
                    </a:lnTo>
                    <a:lnTo>
                      <a:pt x="43" y="24"/>
                    </a:lnTo>
                    <a:lnTo>
                      <a:pt x="44" y="24"/>
                    </a:lnTo>
                    <a:lnTo>
                      <a:pt x="46" y="24"/>
                    </a:lnTo>
                    <a:lnTo>
                      <a:pt x="55" y="25"/>
                    </a:lnTo>
                    <a:lnTo>
                      <a:pt x="58" y="25"/>
                    </a:lnTo>
                    <a:lnTo>
                      <a:pt x="58" y="24"/>
                    </a:lnTo>
                    <a:lnTo>
                      <a:pt x="60" y="22"/>
                    </a:lnTo>
                    <a:lnTo>
                      <a:pt x="60" y="21"/>
                    </a:lnTo>
                    <a:lnTo>
                      <a:pt x="58" y="1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6" name="Freeform 203">
                <a:extLst>
                  <a:ext uri="{FF2B5EF4-FFF2-40B4-BE49-F238E27FC236}">
                    <a16:creationId xmlns:a16="http://schemas.microsoft.com/office/drawing/2014/main" id="{3DAB25AF-3432-CE82-F9CE-F6099B9E9E17}"/>
                  </a:ext>
                </a:extLst>
              </p:cNvPr>
              <p:cNvSpPr>
                <a:spLocks noEditPoints="1"/>
              </p:cNvSpPr>
              <p:nvPr/>
            </p:nvSpPr>
            <p:spPr bwMode="gray">
              <a:xfrm>
                <a:off x="1589" y="1379"/>
                <a:ext cx="23" cy="22"/>
              </a:xfrm>
              <a:custGeom>
                <a:avLst/>
                <a:gdLst>
                  <a:gd name="T0" fmla="*/ 15 w 23"/>
                  <a:gd name="T1" fmla="*/ 14 h 22"/>
                  <a:gd name="T2" fmla="*/ 15 w 23"/>
                  <a:gd name="T3" fmla="*/ 12 h 22"/>
                  <a:gd name="T4" fmla="*/ 15 w 23"/>
                  <a:gd name="T5" fmla="*/ 11 h 22"/>
                  <a:gd name="T6" fmla="*/ 15 w 23"/>
                  <a:gd name="T7" fmla="*/ 9 h 22"/>
                  <a:gd name="T8" fmla="*/ 17 w 23"/>
                  <a:gd name="T9" fmla="*/ 8 h 22"/>
                  <a:gd name="T10" fmla="*/ 14 w 23"/>
                  <a:gd name="T11" fmla="*/ 8 h 22"/>
                  <a:gd name="T12" fmla="*/ 12 w 23"/>
                  <a:gd name="T13" fmla="*/ 8 h 22"/>
                  <a:gd name="T14" fmla="*/ 9 w 23"/>
                  <a:gd name="T15" fmla="*/ 9 h 22"/>
                  <a:gd name="T16" fmla="*/ 7 w 23"/>
                  <a:gd name="T17" fmla="*/ 9 h 22"/>
                  <a:gd name="T18" fmla="*/ 4 w 23"/>
                  <a:gd name="T19" fmla="*/ 9 h 22"/>
                  <a:gd name="T20" fmla="*/ 4 w 23"/>
                  <a:gd name="T21" fmla="*/ 9 h 22"/>
                  <a:gd name="T22" fmla="*/ 4 w 23"/>
                  <a:gd name="T23" fmla="*/ 11 h 22"/>
                  <a:gd name="T24" fmla="*/ 6 w 23"/>
                  <a:gd name="T25" fmla="*/ 11 h 22"/>
                  <a:gd name="T26" fmla="*/ 6 w 23"/>
                  <a:gd name="T27" fmla="*/ 11 h 22"/>
                  <a:gd name="T28" fmla="*/ 7 w 23"/>
                  <a:gd name="T29" fmla="*/ 12 h 22"/>
                  <a:gd name="T30" fmla="*/ 7 w 23"/>
                  <a:gd name="T31" fmla="*/ 12 h 22"/>
                  <a:gd name="T32" fmla="*/ 6 w 23"/>
                  <a:gd name="T33" fmla="*/ 18 h 22"/>
                  <a:gd name="T34" fmla="*/ 6 w 23"/>
                  <a:gd name="T35" fmla="*/ 18 h 22"/>
                  <a:gd name="T36" fmla="*/ 4 w 23"/>
                  <a:gd name="T37" fmla="*/ 18 h 22"/>
                  <a:gd name="T38" fmla="*/ 4 w 23"/>
                  <a:gd name="T39" fmla="*/ 18 h 22"/>
                  <a:gd name="T40" fmla="*/ 0 w 23"/>
                  <a:gd name="T41" fmla="*/ 22 h 22"/>
                  <a:gd name="T42" fmla="*/ 1 w 23"/>
                  <a:gd name="T43" fmla="*/ 22 h 22"/>
                  <a:gd name="T44" fmla="*/ 4 w 23"/>
                  <a:gd name="T45" fmla="*/ 22 h 22"/>
                  <a:gd name="T46" fmla="*/ 12 w 23"/>
                  <a:gd name="T47" fmla="*/ 22 h 22"/>
                  <a:gd name="T48" fmla="*/ 15 w 23"/>
                  <a:gd name="T49" fmla="*/ 20 h 22"/>
                  <a:gd name="T50" fmla="*/ 15 w 23"/>
                  <a:gd name="T51" fmla="*/ 20 h 22"/>
                  <a:gd name="T52" fmla="*/ 15 w 23"/>
                  <a:gd name="T53" fmla="*/ 18 h 22"/>
                  <a:gd name="T54" fmla="*/ 15 w 23"/>
                  <a:gd name="T55" fmla="*/ 17 h 22"/>
                  <a:gd name="T56" fmla="*/ 15 w 23"/>
                  <a:gd name="T57" fmla="*/ 15 h 22"/>
                  <a:gd name="T58" fmla="*/ 15 w 23"/>
                  <a:gd name="T59" fmla="*/ 14 h 22"/>
                  <a:gd name="T60" fmla="*/ 23 w 23"/>
                  <a:gd name="T61" fmla="*/ 0 h 22"/>
                  <a:gd name="T62" fmla="*/ 20 w 23"/>
                  <a:gd name="T63" fmla="*/ 0 h 22"/>
                  <a:gd name="T64" fmla="*/ 18 w 23"/>
                  <a:gd name="T65" fmla="*/ 1 h 22"/>
                  <a:gd name="T66" fmla="*/ 18 w 23"/>
                  <a:gd name="T67" fmla="*/ 1 h 22"/>
                  <a:gd name="T68" fmla="*/ 20 w 23"/>
                  <a:gd name="T69" fmla="*/ 1 h 22"/>
                  <a:gd name="T70" fmla="*/ 23 w 23"/>
                  <a:gd name="T71" fmla="*/ 0 h 22"/>
                  <a:gd name="T72" fmla="*/ 23 w 23"/>
                  <a:gd name="T73" fmla="*/ 0 h 22"/>
                  <a:gd name="T74" fmla="*/ 23 w 23"/>
                  <a:gd name="T7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2">
                    <a:moveTo>
                      <a:pt x="15" y="14"/>
                    </a:moveTo>
                    <a:lnTo>
                      <a:pt x="15" y="12"/>
                    </a:lnTo>
                    <a:lnTo>
                      <a:pt x="15" y="11"/>
                    </a:lnTo>
                    <a:lnTo>
                      <a:pt x="15" y="9"/>
                    </a:lnTo>
                    <a:lnTo>
                      <a:pt x="17" y="8"/>
                    </a:lnTo>
                    <a:lnTo>
                      <a:pt x="14" y="8"/>
                    </a:lnTo>
                    <a:lnTo>
                      <a:pt x="12" y="8"/>
                    </a:lnTo>
                    <a:lnTo>
                      <a:pt x="9" y="9"/>
                    </a:lnTo>
                    <a:lnTo>
                      <a:pt x="7" y="9"/>
                    </a:lnTo>
                    <a:lnTo>
                      <a:pt x="4" y="9"/>
                    </a:lnTo>
                    <a:lnTo>
                      <a:pt x="4" y="9"/>
                    </a:lnTo>
                    <a:lnTo>
                      <a:pt x="4" y="11"/>
                    </a:lnTo>
                    <a:lnTo>
                      <a:pt x="6" y="11"/>
                    </a:lnTo>
                    <a:lnTo>
                      <a:pt x="6" y="11"/>
                    </a:lnTo>
                    <a:lnTo>
                      <a:pt x="7" y="12"/>
                    </a:lnTo>
                    <a:lnTo>
                      <a:pt x="7" y="12"/>
                    </a:lnTo>
                    <a:lnTo>
                      <a:pt x="6" y="18"/>
                    </a:lnTo>
                    <a:lnTo>
                      <a:pt x="6" y="18"/>
                    </a:lnTo>
                    <a:lnTo>
                      <a:pt x="4" y="18"/>
                    </a:lnTo>
                    <a:lnTo>
                      <a:pt x="4" y="18"/>
                    </a:lnTo>
                    <a:lnTo>
                      <a:pt x="0" y="22"/>
                    </a:lnTo>
                    <a:lnTo>
                      <a:pt x="1" y="22"/>
                    </a:lnTo>
                    <a:lnTo>
                      <a:pt x="4" y="22"/>
                    </a:lnTo>
                    <a:lnTo>
                      <a:pt x="12" y="22"/>
                    </a:lnTo>
                    <a:lnTo>
                      <a:pt x="15" y="20"/>
                    </a:lnTo>
                    <a:lnTo>
                      <a:pt x="15" y="20"/>
                    </a:lnTo>
                    <a:lnTo>
                      <a:pt x="15" y="18"/>
                    </a:lnTo>
                    <a:lnTo>
                      <a:pt x="15" y="17"/>
                    </a:lnTo>
                    <a:lnTo>
                      <a:pt x="15" y="15"/>
                    </a:lnTo>
                    <a:lnTo>
                      <a:pt x="15" y="14"/>
                    </a:lnTo>
                    <a:close/>
                    <a:moveTo>
                      <a:pt x="23" y="0"/>
                    </a:moveTo>
                    <a:lnTo>
                      <a:pt x="20" y="0"/>
                    </a:lnTo>
                    <a:lnTo>
                      <a:pt x="18" y="1"/>
                    </a:lnTo>
                    <a:lnTo>
                      <a:pt x="18" y="1"/>
                    </a:lnTo>
                    <a:lnTo>
                      <a:pt x="20" y="1"/>
                    </a:lnTo>
                    <a:lnTo>
                      <a:pt x="23" y="0"/>
                    </a:lnTo>
                    <a:lnTo>
                      <a:pt x="23" y="0"/>
                    </a:lnTo>
                    <a:lnTo>
                      <a:pt x="2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277" name="Freeform 204">
                <a:extLst>
                  <a:ext uri="{FF2B5EF4-FFF2-40B4-BE49-F238E27FC236}">
                    <a16:creationId xmlns:a16="http://schemas.microsoft.com/office/drawing/2014/main" id="{79020C6F-EF7E-BB82-FA28-289077C309FB}"/>
                  </a:ext>
                </a:extLst>
              </p:cNvPr>
              <p:cNvSpPr>
                <a:spLocks noEditPoints="1"/>
              </p:cNvSpPr>
              <p:nvPr/>
            </p:nvSpPr>
            <p:spPr bwMode="gray">
              <a:xfrm>
                <a:off x="4752" y="1121"/>
                <a:ext cx="64" cy="64"/>
              </a:xfrm>
              <a:custGeom>
                <a:avLst/>
                <a:gdLst>
                  <a:gd name="T0" fmla="*/ 0 w 64"/>
                  <a:gd name="T1" fmla="*/ 15 h 64"/>
                  <a:gd name="T2" fmla="*/ 0 w 64"/>
                  <a:gd name="T3" fmla="*/ 15 h 64"/>
                  <a:gd name="T4" fmla="*/ 3 w 64"/>
                  <a:gd name="T5" fmla="*/ 15 h 64"/>
                  <a:gd name="T6" fmla="*/ 62 w 64"/>
                  <a:gd name="T7" fmla="*/ 7 h 64"/>
                  <a:gd name="T8" fmla="*/ 62 w 64"/>
                  <a:gd name="T9" fmla="*/ 4 h 64"/>
                  <a:gd name="T10" fmla="*/ 59 w 64"/>
                  <a:gd name="T11" fmla="*/ 3 h 64"/>
                  <a:gd name="T12" fmla="*/ 57 w 64"/>
                  <a:gd name="T13" fmla="*/ 1 h 64"/>
                  <a:gd name="T14" fmla="*/ 56 w 64"/>
                  <a:gd name="T15" fmla="*/ 0 h 64"/>
                  <a:gd name="T16" fmla="*/ 53 w 64"/>
                  <a:gd name="T17" fmla="*/ 3 h 64"/>
                  <a:gd name="T18" fmla="*/ 48 w 64"/>
                  <a:gd name="T19" fmla="*/ 4 h 64"/>
                  <a:gd name="T20" fmla="*/ 45 w 64"/>
                  <a:gd name="T21" fmla="*/ 9 h 64"/>
                  <a:gd name="T22" fmla="*/ 42 w 64"/>
                  <a:gd name="T23" fmla="*/ 12 h 64"/>
                  <a:gd name="T24" fmla="*/ 32 w 64"/>
                  <a:gd name="T25" fmla="*/ 29 h 64"/>
                  <a:gd name="T26" fmla="*/ 31 w 64"/>
                  <a:gd name="T27" fmla="*/ 34 h 64"/>
                  <a:gd name="T28" fmla="*/ 31 w 64"/>
                  <a:gd name="T29" fmla="*/ 37 h 64"/>
                  <a:gd name="T30" fmla="*/ 31 w 64"/>
                  <a:gd name="T31" fmla="*/ 40 h 64"/>
                  <a:gd name="T32" fmla="*/ 31 w 64"/>
                  <a:gd name="T33" fmla="*/ 43 h 64"/>
                  <a:gd name="T34" fmla="*/ 34 w 64"/>
                  <a:gd name="T35" fmla="*/ 48 h 64"/>
                  <a:gd name="T36" fmla="*/ 36 w 64"/>
                  <a:gd name="T37" fmla="*/ 51 h 64"/>
                  <a:gd name="T38" fmla="*/ 37 w 64"/>
                  <a:gd name="T39" fmla="*/ 54 h 64"/>
                  <a:gd name="T40" fmla="*/ 40 w 64"/>
                  <a:gd name="T41" fmla="*/ 56 h 64"/>
                  <a:gd name="T42" fmla="*/ 42 w 64"/>
                  <a:gd name="T43" fmla="*/ 62 h 64"/>
                  <a:gd name="T44" fmla="*/ 43 w 64"/>
                  <a:gd name="T45" fmla="*/ 64 h 64"/>
                  <a:gd name="T46" fmla="*/ 45 w 64"/>
                  <a:gd name="T47" fmla="*/ 59 h 64"/>
                  <a:gd name="T48" fmla="*/ 45 w 64"/>
                  <a:gd name="T49" fmla="*/ 54 h 64"/>
                  <a:gd name="T50" fmla="*/ 46 w 64"/>
                  <a:gd name="T51" fmla="*/ 51 h 64"/>
                  <a:gd name="T52" fmla="*/ 51 w 64"/>
                  <a:gd name="T53" fmla="*/ 43 h 64"/>
                  <a:gd name="T54" fmla="*/ 54 w 64"/>
                  <a:gd name="T55" fmla="*/ 40 h 64"/>
                  <a:gd name="T56" fmla="*/ 56 w 64"/>
                  <a:gd name="T57" fmla="*/ 31 h 64"/>
                  <a:gd name="T58" fmla="*/ 57 w 64"/>
                  <a:gd name="T59" fmla="*/ 23 h 64"/>
                  <a:gd name="T60" fmla="*/ 59 w 64"/>
                  <a:gd name="T61" fmla="*/ 18 h 64"/>
                  <a:gd name="T62" fmla="*/ 61 w 64"/>
                  <a:gd name="T63" fmla="*/ 12 h 64"/>
                  <a:gd name="T64" fmla="*/ 61 w 64"/>
                  <a:gd name="T65"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4">
                    <a:moveTo>
                      <a:pt x="1" y="14"/>
                    </a:moveTo>
                    <a:lnTo>
                      <a:pt x="0" y="15"/>
                    </a:lnTo>
                    <a:lnTo>
                      <a:pt x="0" y="15"/>
                    </a:lnTo>
                    <a:lnTo>
                      <a:pt x="0" y="15"/>
                    </a:lnTo>
                    <a:lnTo>
                      <a:pt x="1" y="17"/>
                    </a:lnTo>
                    <a:lnTo>
                      <a:pt x="3" y="15"/>
                    </a:lnTo>
                    <a:lnTo>
                      <a:pt x="1" y="14"/>
                    </a:lnTo>
                    <a:close/>
                    <a:moveTo>
                      <a:pt x="62" y="7"/>
                    </a:moveTo>
                    <a:lnTo>
                      <a:pt x="64" y="6"/>
                    </a:lnTo>
                    <a:lnTo>
                      <a:pt x="62" y="4"/>
                    </a:lnTo>
                    <a:lnTo>
                      <a:pt x="62" y="3"/>
                    </a:lnTo>
                    <a:lnTo>
                      <a:pt x="59" y="3"/>
                    </a:lnTo>
                    <a:lnTo>
                      <a:pt x="59" y="1"/>
                    </a:lnTo>
                    <a:lnTo>
                      <a:pt x="57" y="1"/>
                    </a:lnTo>
                    <a:lnTo>
                      <a:pt x="57" y="0"/>
                    </a:lnTo>
                    <a:lnTo>
                      <a:pt x="56" y="0"/>
                    </a:lnTo>
                    <a:lnTo>
                      <a:pt x="54" y="0"/>
                    </a:lnTo>
                    <a:lnTo>
                      <a:pt x="53" y="3"/>
                    </a:lnTo>
                    <a:lnTo>
                      <a:pt x="48" y="4"/>
                    </a:lnTo>
                    <a:lnTo>
                      <a:pt x="48" y="4"/>
                    </a:lnTo>
                    <a:lnTo>
                      <a:pt x="46" y="6"/>
                    </a:lnTo>
                    <a:lnTo>
                      <a:pt x="45" y="9"/>
                    </a:lnTo>
                    <a:lnTo>
                      <a:pt x="43" y="10"/>
                    </a:lnTo>
                    <a:lnTo>
                      <a:pt x="42" y="12"/>
                    </a:lnTo>
                    <a:lnTo>
                      <a:pt x="40" y="15"/>
                    </a:lnTo>
                    <a:lnTo>
                      <a:pt x="32" y="29"/>
                    </a:lnTo>
                    <a:lnTo>
                      <a:pt x="31" y="31"/>
                    </a:lnTo>
                    <a:lnTo>
                      <a:pt x="31" y="34"/>
                    </a:lnTo>
                    <a:lnTo>
                      <a:pt x="32" y="36"/>
                    </a:lnTo>
                    <a:lnTo>
                      <a:pt x="31" y="37"/>
                    </a:lnTo>
                    <a:lnTo>
                      <a:pt x="31" y="39"/>
                    </a:lnTo>
                    <a:lnTo>
                      <a:pt x="31" y="40"/>
                    </a:lnTo>
                    <a:lnTo>
                      <a:pt x="31" y="42"/>
                    </a:lnTo>
                    <a:lnTo>
                      <a:pt x="31" y="43"/>
                    </a:lnTo>
                    <a:lnTo>
                      <a:pt x="32" y="43"/>
                    </a:lnTo>
                    <a:lnTo>
                      <a:pt x="34" y="48"/>
                    </a:lnTo>
                    <a:lnTo>
                      <a:pt x="34" y="50"/>
                    </a:lnTo>
                    <a:lnTo>
                      <a:pt x="36" y="51"/>
                    </a:lnTo>
                    <a:lnTo>
                      <a:pt x="36" y="53"/>
                    </a:lnTo>
                    <a:lnTo>
                      <a:pt x="37" y="54"/>
                    </a:lnTo>
                    <a:lnTo>
                      <a:pt x="39" y="56"/>
                    </a:lnTo>
                    <a:lnTo>
                      <a:pt x="40" y="56"/>
                    </a:lnTo>
                    <a:lnTo>
                      <a:pt x="42" y="59"/>
                    </a:lnTo>
                    <a:lnTo>
                      <a:pt x="42" y="62"/>
                    </a:lnTo>
                    <a:lnTo>
                      <a:pt x="42" y="64"/>
                    </a:lnTo>
                    <a:lnTo>
                      <a:pt x="43" y="64"/>
                    </a:lnTo>
                    <a:lnTo>
                      <a:pt x="45" y="62"/>
                    </a:lnTo>
                    <a:lnTo>
                      <a:pt x="45" y="59"/>
                    </a:lnTo>
                    <a:lnTo>
                      <a:pt x="45" y="57"/>
                    </a:lnTo>
                    <a:lnTo>
                      <a:pt x="45" y="54"/>
                    </a:lnTo>
                    <a:lnTo>
                      <a:pt x="46" y="53"/>
                    </a:lnTo>
                    <a:lnTo>
                      <a:pt x="46" y="51"/>
                    </a:lnTo>
                    <a:lnTo>
                      <a:pt x="50" y="48"/>
                    </a:lnTo>
                    <a:lnTo>
                      <a:pt x="51" y="43"/>
                    </a:lnTo>
                    <a:lnTo>
                      <a:pt x="53" y="42"/>
                    </a:lnTo>
                    <a:lnTo>
                      <a:pt x="54" y="40"/>
                    </a:lnTo>
                    <a:lnTo>
                      <a:pt x="56" y="36"/>
                    </a:lnTo>
                    <a:lnTo>
                      <a:pt x="56" y="31"/>
                    </a:lnTo>
                    <a:lnTo>
                      <a:pt x="57" y="26"/>
                    </a:lnTo>
                    <a:lnTo>
                      <a:pt x="57" y="23"/>
                    </a:lnTo>
                    <a:lnTo>
                      <a:pt x="57" y="21"/>
                    </a:lnTo>
                    <a:lnTo>
                      <a:pt x="59" y="18"/>
                    </a:lnTo>
                    <a:lnTo>
                      <a:pt x="61" y="14"/>
                    </a:lnTo>
                    <a:lnTo>
                      <a:pt x="61" y="12"/>
                    </a:lnTo>
                    <a:lnTo>
                      <a:pt x="61" y="10"/>
                    </a:lnTo>
                    <a:lnTo>
                      <a:pt x="61" y="9"/>
                    </a:lnTo>
                    <a:lnTo>
                      <a:pt x="62" y="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grpSp>
        <p:sp>
          <p:nvSpPr>
            <p:cNvPr id="48" name="Freeform 206">
              <a:extLst>
                <a:ext uri="{FF2B5EF4-FFF2-40B4-BE49-F238E27FC236}">
                  <a16:creationId xmlns:a16="http://schemas.microsoft.com/office/drawing/2014/main" id="{7F58BFAC-2E13-A3D4-2884-706B9E0C8358}"/>
                </a:ext>
              </a:extLst>
            </p:cNvPr>
            <p:cNvSpPr>
              <a:spLocks noEditPoints="1"/>
            </p:cNvSpPr>
            <p:nvPr/>
          </p:nvSpPr>
          <p:spPr bwMode="gray">
            <a:xfrm>
              <a:off x="3190" y="1595"/>
              <a:ext cx="195" cy="187"/>
            </a:xfrm>
            <a:custGeom>
              <a:avLst/>
              <a:gdLst>
                <a:gd name="T0" fmla="*/ 187 w 195"/>
                <a:gd name="T1" fmla="*/ 161 h 187"/>
                <a:gd name="T2" fmla="*/ 181 w 195"/>
                <a:gd name="T3" fmla="*/ 150 h 187"/>
                <a:gd name="T4" fmla="*/ 175 w 195"/>
                <a:gd name="T5" fmla="*/ 130 h 187"/>
                <a:gd name="T6" fmla="*/ 175 w 195"/>
                <a:gd name="T7" fmla="*/ 114 h 187"/>
                <a:gd name="T8" fmla="*/ 173 w 195"/>
                <a:gd name="T9" fmla="*/ 98 h 187"/>
                <a:gd name="T10" fmla="*/ 167 w 195"/>
                <a:gd name="T11" fmla="*/ 84 h 187"/>
                <a:gd name="T12" fmla="*/ 173 w 195"/>
                <a:gd name="T13" fmla="*/ 65 h 187"/>
                <a:gd name="T14" fmla="*/ 150 w 195"/>
                <a:gd name="T15" fmla="*/ 47 h 187"/>
                <a:gd name="T16" fmla="*/ 147 w 195"/>
                <a:gd name="T17" fmla="*/ 43 h 187"/>
                <a:gd name="T18" fmla="*/ 147 w 195"/>
                <a:gd name="T19" fmla="*/ 37 h 187"/>
                <a:gd name="T20" fmla="*/ 136 w 195"/>
                <a:gd name="T21" fmla="*/ 29 h 187"/>
                <a:gd name="T22" fmla="*/ 111 w 195"/>
                <a:gd name="T23" fmla="*/ 15 h 187"/>
                <a:gd name="T24" fmla="*/ 84 w 195"/>
                <a:gd name="T25" fmla="*/ 1 h 187"/>
                <a:gd name="T26" fmla="*/ 21 w 195"/>
                <a:gd name="T27" fmla="*/ 1 h 187"/>
                <a:gd name="T28" fmla="*/ 23 w 195"/>
                <a:gd name="T29" fmla="*/ 6 h 187"/>
                <a:gd name="T30" fmla="*/ 26 w 195"/>
                <a:gd name="T31" fmla="*/ 14 h 187"/>
                <a:gd name="T32" fmla="*/ 26 w 195"/>
                <a:gd name="T33" fmla="*/ 18 h 187"/>
                <a:gd name="T34" fmla="*/ 26 w 195"/>
                <a:gd name="T35" fmla="*/ 23 h 187"/>
                <a:gd name="T36" fmla="*/ 21 w 195"/>
                <a:gd name="T37" fmla="*/ 23 h 187"/>
                <a:gd name="T38" fmla="*/ 20 w 195"/>
                <a:gd name="T39" fmla="*/ 29 h 187"/>
                <a:gd name="T40" fmla="*/ 25 w 195"/>
                <a:gd name="T41" fmla="*/ 34 h 187"/>
                <a:gd name="T42" fmla="*/ 25 w 195"/>
                <a:gd name="T43" fmla="*/ 39 h 187"/>
                <a:gd name="T44" fmla="*/ 18 w 195"/>
                <a:gd name="T45" fmla="*/ 45 h 187"/>
                <a:gd name="T46" fmla="*/ 11 w 195"/>
                <a:gd name="T47" fmla="*/ 58 h 187"/>
                <a:gd name="T48" fmla="*/ 0 w 195"/>
                <a:gd name="T49" fmla="*/ 67 h 187"/>
                <a:gd name="T50" fmla="*/ 4 w 195"/>
                <a:gd name="T51" fmla="*/ 81 h 187"/>
                <a:gd name="T52" fmla="*/ 4 w 195"/>
                <a:gd name="T53" fmla="*/ 94 h 187"/>
                <a:gd name="T54" fmla="*/ 15 w 195"/>
                <a:gd name="T55" fmla="*/ 105 h 187"/>
                <a:gd name="T56" fmla="*/ 21 w 195"/>
                <a:gd name="T57" fmla="*/ 119 h 187"/>
                <a:gd name="T58" fmla="*/ 26 w 195"/>
                <a:gd name="T59" fmla="*/ 130 h 187"/>
                <a:gd name="T60" fmla="*/ 39 w 195"/>
                <a:gd name="T61" fmla="*/ 134 h 187"/>
                <a:gd name="T62" fmla="*/ 43 w 195"/>
                <a:gd name="T63" fmla="*/ 137 h 187"/>
                <a:gd name="T64" fmla="*/ 48 w 195"/>
                <a:gd name="T65" fmla="*/ 140 h 187"/>
                <a:gd name="T66" fmla="*/ 57 w 195"/>
                <a:gd name="T67" fmla="*/ 145 h 187"/>
                <a:gd name="T68" fmla="*/ 68 w 195"/>
                <a:gd name="T69" fmla="*/ 148 h 187"/>
                <a:gd name="T70" fmla="*/ 73 w 195"/>
                <a:gd name="T71" fmla="*/ 150 h 187"/>
                <a:gd name="T72" fmla="*/ 79 w 195"/>
                <a:gd name="T73" fmla="*/ 151 h 187"/>
                <a:gd name="T74" fmla="*/ 81 w 195"/>
                <a:gd name="T75" fmla="*/ 148 h 187"/>
                <a:gd name="T76" fmla="*/ 92 w 195"/>
                <a:gd name="T77" fmla="*/ 162 h 187"/>
                <a:gd name="T78" fmla="*/ 92 w 195"/>
                <a:gd name="T79" fmla="*/ 167 h 187"/>
                <a:gd name="T80" fmla="*/ 92 w 195"/>
                <a:gd name="T81" fmla="*/ 176 h 187"/>
                <a:gd name="T82" fmla="*/ 95 w 195"/>
                <a:gd name="T83" fmla="*/ 181 h 187"/>
                <a:gd name="T84" fmla="*/ 98 w 195"/>
                <a:gd name="T85" fmla="*/ 183 h 187"/>
                <a:gd name="T86" fmla="*/ 107 w 195"/>
                <a:gd name="T87" fmla="*/ 186 h 187"/>
                <a:gd name="T88" fmla="*/ 114 w 195"/>
                <a:gd name="T89" fmla="*/ 183 h 187"/>
                <a:gd name="T90" fmla="*/ 126 w 195"/>
                <a:gd name="T91" fmla="*/ 187 h 187"/>
                <a:gd name="T92" fmla="*/ 136 w 195"/>
                <a:gd name="T93" fmla="*/ 186 h 187"/>
                <a:gd name="T94" fmla="*/ 150 w 195"/>
                <a:gd name="T95" fmla="*/ 181 h 187"/>
                <a:gd name="T96" fmla="*/ 154 w 195"/>
                <a:gd name="T97" fmla="*/ 180 h 187"/>
                <a:gd name="T98" fmla="*/ 173 w 195"/>
                <a:gd name="T99" fmla="*/ 178 h 187"/>
                <a:gd name="T100" fmla="*/ 187 w 195"/>
                <a:gd name="T101" fmla="*/ 172 h 187"/>
                <a:gd name="T102" fmla="*/ 181 w 195"/>
                <a:gd name="T103" fmla="*/ 69 h 187"/>
                <a:gd name="T104" fmla="*/ 184 w 195"/>
                <a:gd name="T105" fmla="*/ 73 h 187"/>
                <a:gd name="T106" fmla="*/ 176 w 195"/>
                <a:gd name="T107" fmla="*/ 86 h 187"/>
                <a:gd name="T108" fmla="*/ 173 w 195"/>
                <a:gd name="T109" fmla="*/ 92 h 187"/>
                <a:gd name="T110" fmla="*/ 179 w 195"/>
                <a:gd name="T111" fmla="*/ 95 h 187"/>
                <a:gd name="T112" fmla="*/ 179 w 195"/>
                <a:gd name="T113" fmla="*/ 120 h 187"/>
                <a:gd name="T114" fmla="*/ 186 w 195"/>
                <a:gd name="T115" fmla="*/ 11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187">
                  <a:moveTo>
                    <a:pt x="195" y="166"/>
                  </a:moveTo>
                  <a:lnTo>
                    <a:pt x="195" y="164"/>
                  </a:lnTo>
                  <a:lnTo>
                    <a:pt x="193" y="164"/>
                  </a:lnTo>
                  <a:lnTo>
                    <a:pt x="190" y="161"/>
                  </a:lnTo>
                  <a:lnTo>
                    <a:pt x="189" y="161"/>
                  </a:lnTo>
                  <a:lnTo>
                    <a:pt x="189" y="161"/>
                  </a:lnTo>
                  <a:lnTo>
                    <a:pt x="187" y="161"/>
                  </a:lnTo>
                  <a:lnTo>
                    <a:pt x="186" y="159"/>
                  </a:lnTo>
                  <a:lnTo>
                    <a:pt x="184" y="158"/>
                  </a:lnTo>
                  <a:lnTo>
                    <a:pt x="183" y="158"/>
                  </a:lnTo>
                  <a:lnTo>
                    <a:pt x="183" y="156"/>
                  </a:lnTo>
                  <a:lnTo>
                    <a:pt x="183" y="155"/>
                  </a:lnTo>
                  <a:lnTo>
                    <a:pt x="183" y="153"/>
                  </a:lnTo>
                  <a:lnTo>
                    <a:pt x="181" y="150"/>
                  </a:lnTo>
                  <a:lnTo>
                    <a:pt x="181" y="147"/>
                  </a:lnTo>
                  <a:lnTo>
                    <a:pt x="181" y="144"/>
                  </a:lnTo>
                  <a:lnTo>
                    <a:pt x="178" y="139"/>
                  </a:lnTo>
                  <a:lnTo>
                    <a:pt x="178" y="137"/>
                  </a:lnTo>
                  <a:lnTo>
                    <a:pt x="178" y="137"/>
                  </a:lnTo>
                  <a:lnTo>
                    <a:pt x="176" y="134"/>
                  </a:lnTo>
                  <a:lnTo>
                    <a:pt x="175" y="130"/>
                  </a:lnTo>
                  <a:lnTo>
                    <a:pt x="175" y="128"/>
                  </a:lnTo>
                  <a:lnTo>
                    <a:pt x="175" y="126"/>
                  </a:lnTo>
                  <a:lnTo>
                    <a:pt x="178" y="122"/>
                  </a:lnTo>
                  <a:lnTo>
                    <a:pt x="176" y="119"/>
                  </a:lnTo>
                  <a:lnTo>
                    <a:pt x="175" y="117"/>
                  </a:lnTo>
                  <a:lnTo>
                    <a:pt x="175" y="119"/>
                  </a:lnTo>
                  <a:lnTo>
                    <a:pt x="175" y="114"/>
                  </a:lnTo>
                  <a:lnTo>
                    <a:pt x="176" y="111"/>
                  </a:lnTo>
                  <a:lnTo>
                    <a:pt x="176" y="108"/>
                  </a:lnTo>
                  <a:lnTo>
                    <a:pt x="178" y="106"/>
                  </a:lnTo>
                  <a:lnTo>
                    <a:pt x="179" y="105"/>
                  </a:lnTo>
                  <a:lnTo>
                    <a:pt x="178" y="103"/>
                  </a:lnTo>
                  <a:lnTo>
                    <a:pt x="175" y="101"/>
                  </a:lnTo>
                  <a:lnTo>
                    <a:pt x="173" y="98"/>
                  </a:lnTo>
                  <a:lnTo>
                    <a:pt x="172" y="97"/>
                  </a:lnTo>
                  <a:lnTo>
                    <a:pt x="170" y="95"/>
                  </a:lnTo>
                  <a:lnTo>
                    <a:pt x="168" y="95"/>
                  </a:lnTo>
                  <a:lnTo>
                    <a:pt x="167" y="92"/>
                  </a:lnTo>
                  <a:lnTo>
                    <a:pt x="167" y="90"/>
                  </a:lnTo>
                  <a:lnTo>
                    <a:pt x="165" y="89"/>
                  </a:lnTo>
                  <a:lnTo>
                    <a:pt x="167" y="84"/>
                  </a:lnTo>
                  <a:lnTo>
                    <a:pt x="168" y="81"/>
                  </a:lnTo>
                  <a:lnTo>
                    <a:pt x="168" y="78"/>
                  </a:lnTo>
                  <a:lnTo>
                    <a:pt x="170" y="73"/>
                  </a:lnTo>
                  <a:lnTo>
                    <a:pt x="172" y="72"/>
                  </a:lnTo>
                  <a:lnTo>
                    <a:pt x="172" y="70"/>
                  </a:lnTo>
                  <a:lnTo>
                    <a:pt x="172" y="69"/>
                  </a:lnTo>
                  <a:lnTo>
                    <a:pt x="173" y="65"/>
                  </a:lnTo>
                  <a:lnTo>
                    <a:pt x="173" y="64"/>
                  </a:lnTo>
                  <a:lnTo>
                    <a:pt x="173" y="64"/>
                  </a:lnTo>
                  <a:lnTo>
                    <a:pt x="173" y="64"/>
                  </a:lnTo>
                  <a:lnTo>
                    <a:pt x="172" y="62"/>
                  </a:lnTo>
                  <a:lnTo>
                    <a:pt x="157" y="53"/>
                  </a:lnTo>
                  <a:lnTo>
                    <a:pt x="156" y="51"/>
                  </a:lnTo>
                  <a:lnTo>
                    <a:pt x="150" y="47"/>
                  </a:lnTo>
                  <a:lnTo>
                    <a:pt x="148" y="47"/>
                  </a:lnTo>
                  <a:lnTo>
                    <a:pt x="148" y="45"/>
                  </a:lnTo>
                  <a:lnTo>
                    <a:pt x="148" y="45"/>
                  </a:lnTo>
                  <a:lnTo>
                    <a:pt x="147" y="43"/>
                  </a:lnTo>
                  <a:lnTo>
                    <a:pt x="147" y="43"/>
                  </a:lnTo>
                  <a:lnTo>
                    <a:pt x="147" y="43"/>
                  </a:lnTo>
                  <a:lnTo>
                    <a:pt x="147" y="43"/>
                  </a:lnTo>
                  <a:lnTo>
                    <a:pt x="145" y="43"/>
                  </a:lnTo>
                  <a:lnTo>
                    <a:pt x="145" y="43"/>
                  </a:lnTo>
                  <a:lnTo>
                    <a:pt x="145" y="42"/>
                  </a:lnTo>
                  <a:lnTo>
                    <a:pt x="145" y="42"/>
                  </a:lnTo>
                  <a:lnTo>
                    <a:pt x="147" y="40"/>
                  </a:lnTo>
                  <a:lnTo>
                    <a:pt x="147" y="39"/>
                  </a:lnTo>
                  <a:lnTo>
                    <a:pt x="147" y="37"/>
                  </a:lnTo>
                  <a:lnTo>
                    <a:pt x="147" y="36"/>
                  </a:lnTo>
                  <a:lnTo>
                    <a:pt x="145" y="36"/>
                  </a:lnTo>
                  <a:lnTo>
                    <a:pt x="145" y="36"/>
                  </a:lnTo>
                  <a:lnTo>
                    <a:pt x="143" y="34"/>
                  </a:lnTo>
                  <a:lnTo>
                    <a:pt x="142" y="33"/>
                  </a:lnTo>
                  <a:lnTo>
                    <a:pt x="140" y="33"/>
                  </a:lnTo>
                  <a:lnTo>
                    <a:pt x="136" y="29"/>
                  </a:lnTo>
                  <a:lnTo>
                    <a:pt x="132" y="28"/>
                  </a:lnTo>
                  <a:lnTo>
                    <a:pt x="129" y="26"/>
                  </a:lnTo>
                  <a:lnTo>
                    <a:pt x="125" y="23"/>
                  </a:lnTo>
                  <a:lnTo>
                    <a:pt x="122" y="22"/>
                  </a:lnTo>
                  <a:lnTo>
                    <a:pt x="118" y="20"/>
                  </a:lnTo>
                  <a:lnTo>
                    <a:pt x="114" y="17"/>
                  </a:lnTo>
                  <a:lnTo>
                    <a:pt x="111" y="15"/>
                  </a:lnTo>
                  <a:lnTo>
                    <a:pt x="106" y="14"/>
                  </a:lnTo>
                  <a:lnTo>
                    <a:pt x="103" y="11"/>
                  </a:lnTo>
                  <a:lnTo>
                    <a:pt x="100" y="9"/>
                  </a:lnTo>
                  <a:lnTo>
                    <a:pt x="95" y="7"/>
                  </a:lnTo>
                  <a:lnTo>
                    <a:pt x="92" y="4"/>
                  </a:lnTo>
                  <a:lnTo>
                    <a:pt x="87" y="3"/>
                  </a:lnTo>
                  <a:lnTo>
                    <a:pt x="84" y="1"/>
                  </a:lnTo>
                  <a:lnTo>
                    <a:pt x="82" y="0"/>
                  </a:lnTo>
                  <a:lnTo>
                    <a:pt x="81" y="0"/>
                  </a:lnTo>
                  <a:lnTo>
                    <a:pt x="26" y="0"/>
                  </a:lnTo>
                  <a:lnTo>
                    <a:pt x="26" y="0"/>
                  </a:lnTo>
                  <a:lnTo>
                    <a:pt x="25" y="0"/>
                  </a:lnTo>
                  <a:lnTo>
                    <a:pt x="23" y="0"/>
                  </a:lnTo>
                  <a:lnTo>
                    <a:pt x="21" y="1"/>
                  </a:lnTo>
                  <a:lnTo>
                    <a:pt x="20" y="1"/>
                  </a:lnTo>
                  <a:lnTo>
                    <a:pt x="20" y="1"/>
                  </a:lnTo>
                  <a:lnTo>
                    <a:pt x="20" y="1"/>
                  </a:lnTo>
                  <a:lnTo>
                    <a:pt x="20" y="1"/>
                  </a:lnTo>
                  <a:lnTo>
                    <a:pt x="20" y="3"/>
                  </a:lnTo>
                  <a:lnTo>
                    <a:pt x="23" y="6"/>
                  </a:lnTo>
                  <a:lnTo>
                    <a:pt x="23" y="6"/>
                  </a:lnTo>
                  <a:lnTo>
                    <a:pt x="25" y="6"/>
                  </a:lnTo>
                  <a:lnTo>
                    <a:pt x="25" y="7"/>
                  </a:lnTo>
                  <a:lnTo>
                    <a:pt x="25" y="7"/>
                  </a:lnTo>
                  <a:lnTo>
                    <a:pt x="26" y="9"/>
                  </a:lnTo>
                  <a:lnTo>
                    <a:pt x="26" y="11"/>
                  </a:lnTo>
                  <a:lnTo>
                    <a:pt x="26" y="12"/>
                  </a:lnTo>
                  <a:lnTo>
                    <a:pt x="26" y="14"/>
                  </a:lnTo>
                  <a:lnTo>
                    <a:pt x="26" y="14"/>
                  </a:lnTo>
                  <a:lnTo>
                    <a:pt x="26" y="15"/>
                  </a:lnTo>
                  <a:lnTo>
                    <a:pt x="26" y="15"/>
                  </a:lnTo>
                  <a:lnTo>
                    <a:pt x="26" y="17"/>
                  </a:lnTo>
                  <a:lnTo>
                    <a:pt x="26" y="17"/>
                  </a:lnTo>
                  <a:lnTo>
                    <a:pt x="26" y="17"/>
                  </a:lnTo>
                  <a:lnTo>
                    <a:pt x="26" y="18"/>
                  </a:lnTo>
                  <a:lnTo>
                    <a:pt x="26" y="18"/>
                  </a:lnTo>
                  <a:lnTo>
                    <a:pt x="26" y="18"/>
                  </a:lnTo>
                  <a:lnTo>
                    <a:pt x="26" y="18"/>
                  </a:lnTo>
                  <a:lnTo>
                    <a:pt x="26" y="20"/>
                  </a:lnTo>
                  <a:lnTo>
                    <a:pt x="26" y="22"/>
                  </a:lnTo>
                  <a:lnTo>
                    <a:pt x="26" y="23"/>
                  </a:lnTo>
                  <a:lnTo>
                    <a:pt x="26" y="23"/>
                  </a:lnTo>
                  <a:lnTo>
                    <a:pt x="26" y="23"/>
                  </a:lnTo>
                  <a:lnTo>
                    <a:pt x="26" y="23"/>
                  </a:lnTo>
                  <a:lnTo>
                    <a:pt x="25" y="23"/>
                  </a:lnTo>
                  <a:lnTo>
                    <a:pt x="25" y="23"/>
                  </a:lnTo>
                  <a:lnTo>
                    <a:pt x="23" y="23"/>
                  </a:lnTo>
                  <a:lnTo>
                    <a:pt x="21" y="23"/>
                  </a:lnTo>
                  <a:lnTo>
                    <a:pt x="21" y="23"/>
                  </a:lnTo>
                  <a:lnTo>
                    <a:pt x="21" y="25"/>
                  </a:lnTo>
                  <a:lnTo>
                    <a:pt x="20" y="28"/>
                  </a:lnTo>
                  <a:lnTo>
                    <a:pt x="18" y="28"/>
                  </a:lnTo>
                  <a:lnTo>
                    <a:pt x="18" y="28"/>
                  </a:lnTo>
                  <a:lnTo>
                    <a:pt x="20" y="29"/>
                  </a:lnTo>
                  <a:lnTo>
                    <a:pt x="20" y="29"/>
                  </a:lnTo>
                  <a:lnTo>
                    <a:pt x="20" y="29"/>
                  </a:lnTo>
                  <a:lnTo>
                    <a:pt x="20" y="31"/>
                  </a:lnTo>
                  <a:lnTo>
                    <a:pt x="18" y="31"/>
                  </a:lnTo>
                  <a:lnTo>
                    <a:pt x="18" y="33"/>
                  </a:lnTo>
                  <a:lnTo>
                    <a:pt x="20" y="33"/>
                  </a:lnTo>
                  <a:lnTo>
                    <a:pt x="20" y="33"/>
                  </a:lnTo>
                  <a:lnTo>
                    <a:pt x="21" y="33"/>
                  </a:lnTo>
                  <a:lnTo>
                    <a:pt x="25" y="34"/>
                  </a:lnTo>
                  <a:lnTo>
                    <a:pt x="25" y="34"/>
                  </a:lnTo>
                  <a:lnTo>
                    <a:pt x="26" y="34"/>
                  </a:lnTo>
                  <a:lnTo>
                    <a:pt x="25" y="36"/>
                  </a:lnTo>
                  <a:lnTo>
                    <a:pt x="26" y="36"/>
                  </a:lnTo>
                  <a:lnTo>
                    <a:pt x="26" y="37"/>
                  </a:lnTo>
                  <a:lnTo>
                    <a:pt x="25" y="39"/>
                  </a:lnTo>
                  <a:lnTo>
                    <a:pt x="25" y="39"/>
                  </a:lnTo>
                  <a:lnTo>
                    <a:pt x="23" y="40"/>
                  </a:lnTo>
                  <a:lnTo>
                    <a:pt x="23" y="40"/>
                  </a:lnTo>
                  <a:lnTo>
                    <a:pt x="21" y="40"/>
                  </a:lnTo>
                  <a:lnTo>
                    <a:pt x="23" y="42"/>
                  </a:lnTo>
                  <a:lnTo>
                    <a:pt x="23" y="42"/>
                  </a:lnTo>
                  <a:lnTo>
                    <a:pt x="21" y="43"/>
                  </a:lnTo>
                  <a:lnTo>
                    <a:pt x="18" y="45"/>
                  </a:lnTo>
                  <a:lnTo>
                    <a:pt x="18" y="45"/>
                  </a:lnTo>
                  <a:lnTo>
                    <a:pt x="18" y="47"/>
                  </a:lnTo>
                  <a:lnTo>
                    <a:pt x="18" y="48"/>
                  </a:lnTo>
                  <a:lnTo>
                    <a:pt x="17" y="50"/>
                  </a:lnTo>
                  <a:lnTo>
                    <a:pt x="15" y="51"/>
                  </a:lnTo>
                  <a:lnTo>
                    <a:pt x="14" y="53"/>
                  </a:lnTo>
                  <a:lnTo>
                    <a:pt x="11" y="58"/>
                  </a:lnTo>
                  <a:lnTo>
                    <a:pt x="7" y="59"/>
                  </a:lnTo>
                  <a:lnTo>
                    <a:pt x="6" y="59"/>
                  </a:lnTo>
                  <a:lnTo>
                    <a:pt x="1" y="59"/>
                  </a:lnTo>
                  <a:lnTo>
                    <a:pt x="1" y="61"/>
                  </a:lnTo>
                  <a:lnTo>
                    <a:pt x="0" y="64"/>
                  </a:lnTo>
                  <a:lnTo>
                    <a:pt x="0" y="67"/>
                  </a:lnTo>
                  <a:lnTo>
                    <a:pt x="0" y="67"/>
                  </a:lnTo>
                  <a:lnTo>
                    <a:pt x="0" y="69"/>
                  </a:lnTo>
                  <a:lnTo>
                    <a:pt x="1" y="72"/>
                  </a:lnTo>
                  <a:lnTo>
                    <a:pt x="3" y="75"/>
                  </a:lnTo>
                  <a:lnTo>
                    <a:pt x="3" y="75"/>
                  </a:lnTo>
                  <a:lnTo>
                    <a:pt x="3" y="76"/>
                  </a:lnTo>
                  <a:lnTo>
                    <a:pt x="3" y="78"/>
                  </a:lnTo>
                  <a:lnTo>
                    <a:pt x="4" y="81"/>
                  </a:lnTo>
                  <a:lnTo>
                    <a:pt x="4" y="83"/>
                  </a:lnTo>
                  <a:lnTo>
                    <a:pt x="4" y="83"/>
                  </a:lnTo>
                  <a:lnTo>
                    <a:pt x="3" y="86"/>
                  </a:lnTo>
                  <a:lnTo>
                    <a:pt x="3" y="87"/>
                  </a:lnTo>
                  <a:lnTo>
                    <a:pt x="3" y="90"/>
                  </a:lnTo>
                  <a:lnTo>
                    <a:pt x="3" y="92"/>
                  </a:lnTo>
                  <a:lnTo>
                    <a:pt x="4" y="94"/>
                  </a:lnTo>
                  <a:lnTo>
                    <a:pt x="4" y="94"/>
                  </a:lnTo>
                  <a:lnTo>
                    <a:pt x="6" y="98"/>
                  </a:lnTo>
                  <a:lnTo>
                    <a:pt x="7" y="98"/>
                  </a:lnTo>
                  <a:lnTo>
                    <a:pt x="11" y="101"/>
                  </a:lnTo>
                  <a:lnTo>
                    <a:pt x="14" y="103"/>
                  </a:lnTo>
                  <a:lnTo>
                    <a:pt x="14" y="105"/>
                  </a:lnTo>
                  <a:lnTo>
                    <a:pt x="15" y="105"/>
                  </a:lnTo>
                  <a:lnTo>
                    <a:pt x="17" y="108"/>
                  </a:lnTo>
                  <a:lnTo>
                    <a:pt x="17" y="109"/>
                  </a:lnTo>
                  <a:lnTo>
                    <a:pt x="18" y="109"/>
                  </a:lnTo>
                  <a:lnTo>
                    <a:pt x="18" y="111"/>
                  </a:lnTo>
                  <a:lnTo>
                    <a:pt x="18" y="112"/>
                  </a:lnTo>
                  <a:lnTo>
                    <a:pt x="20" y="115"/>
                  </a:lnTo>
                  <a:lnTo>
                    <a:pt x="21" y="119"/>
                  </a:lnTo>
                  <a:lnTo>
                    <a:pt x="21" y="120"/>
                  </a:lnTo>
                  <a:lnTo>
                    <a:pt x="23" y="120"/>
                  </a:lnTo>
                  <a:lnTo>
                    <a:pt x="23" y="122"/>
                  </a:lnTo>
                  <a:lnTo>
                    <a:pt x="25" y="123"/>
                  </a:lnTo>
                  <a:lnTo>
                    <a:pt x="25" y="125"/>
                  </a:lnTo>
                  <a:lnTo>
                    <a:pt x="25" y="126"/>
                  </a:lnTo>
                  <a:lnTo>
                    <a:pt x="26" y="130"/>
                  </a:lnTo>
                  <a:lnTo>
                    <a:pt x="28" y="131"/>
                  </a:lnTo>
                  <a:lnTo>
                    <a:pt x="28" y="131"/>
                  </a:lnTo>
                  <a:lnTo>
                    <a:pt x="29" y="133"/>
                  </a:lnTo>
                  <a:lnTo>
                    <a:pt x="31" y="133"/>
                  </a:lnTo>
                  <a:lnTo>
                    <a:pt x="36" y="133"/>
                  </a:lnTo>
                  <a:lnTo>
                    <a:pt x="37" y="134"/>
                  </a:lnTo>
                  <a:lnTo>
                    <a:pt x="39" y="134"/>
                  </a:lnTo>
                  <a:lnTo>
                    <a:pt x="39" y="134"/>
                  </a:lnTo>
                  <a:lnTo>
                    <a:pt x="39" y="136"/>
                  </a:lnTo>
                  <a:lnTo>
                    <a:pt x="40" y="137"/>
                  </a:lnTo>
                  <a:lnTo>
                    <a:pt x="40" y="137"/>
                  </a:lnTo>
                  <a:lnTo>
                    <a:pt x="42" y="137"/>
                  </a:lnTo>
                  <a:lnTo>
                    <a:pt x="42" y="137"/>
                  </a:lnTo>
                  <a:lnTo>
                    <a:pt x="43" y="137"/>
                  </a:lnTo>
                  <a:lnTo>
                    <a:pt x="45" y="139"/>
                  </a:lnTo>
                  <a:lnTo>
                    <a:pt x="45" y="139"/>
                  </a:lnTo>
                  <a:lnTo>
                    <a:pt x="45" y="140"/>
                  </a:lnTo>
                  <a:lnTo>
                    <a:pt x="45" y="140"/>
                  </a:lnTo>
                  <a:lnTo>
                    <a:pt x="46" y="140"/>
                  </a:lnTo>
                  <a:lnTo>
                    <a:pt x="48" y="140"/>
                  </a:lnTo>
                  <a:lnTo>
                    <a:pt x="48" y="140"/>
                  </a:lnTo>
                  <a:lnTo>
                    <a:pt x="51" y="142"/>
                  </a:lnTo>
                  <a:lnTo>
                    <a:pt x="53" y="142"/>
                  </a:lnTo>
                  <a:lnTo>
                    <a:pt x="54" y="142"/>
                  </a:lnTo>
                  <a:lnTo>
                    <a:pt x="54" y="142"/>
                  </a:lnTo>
                  <a:lnTo>
                    <a:pt x="56" y="144"/>
                  </a:lnTo>
                  <a:lnTo>
                    <a:pt x="57" y="145"/>
                  </a:lnTo>
                  <a:lnTo>
                    <a:pt x="57" y="145"/>
                  </a:lnTo>
                  <a:lnTo>
                    <a:pt x="61" y="145"/>
                  </a:lnTo>
                  <a:lnTo>
                    <a:pt x="62" y="147"/>
                  </a:lnTo>
                  <a:lnTo>
                    <a:pt x="62" y="147"/>
                  </a:lnTo>
                  <a:lnTo>
                    <a:pt x="64" y="147"/>
                  </a:lnTo>
                  <a:lnTo>
                    <a:pt x="64" y="147"/>
                  </a:lnTo>
                  <a:lnTo>
                    <a:pt x="67" y="148"/>
                  </a:lnTo>
                  <a:lnTo>
                    <a:pt x="68" y="148"/>
                  </a:lnTo>
                  <a:lnTo>
                    <a:pt x="68" y="148"/>
                  </a:lnTo>
                  <a:lnTo>
                    <a:pt x="70" y="148"/>
                  </a:lnTo>
                  <a:lnTo>
                    <a:pt x="70" y="148"/>
                  </a:lnTo>
                  <a:lnTo>
                    <a:pt x="72" y="150"/>
                  </a:lnTo>
                  <a:lnTo>
                    <a:pt x="72" y="150"/>
                  </a:lnTo>
                  <a:lnTo>
                    <a:pt x="72" y="150"/>
                  </a:lnTo>
                  <a:lnTo>
                    <a:pt x="73" y="150"/>
                  </a:lnTo>
                  <a:lnTo>
                    <a:pt x="73" y="150"/>
                  </a:lnTo>
                  <a:lnTo>
                    <a:pt x="73" y="150"/>
                  </a:lnTo>
                  <a:lnTo>
                    <a:pt x="76" y="150"/>
                  </a:lnTo>
                  <a:lnTo>
                    <a:pt x="78" y="150"/>
                  </a:lnTo>
                  <a:lnTo>
                    <a:pt x="78" y="150"/>
                  </a:lnTo>
                  <a:lnTo>
                    <a:pt x="79" y="151"/>
                  </a:lnTo>
                  <a:lnTo>
                    <a:pt x="79" y="151"/>
                  </a:lnTo>
                  <a:lnTo>
                    <a:pt x="81" y="151"/>
                  </a:lnTo>
                  <a:lnTo>
                    <a:pt x="81" y="151"/>
                  </a:lnTo>
                  <a:lnTo>
                    <a:pt x="81" y="151"/>
                  </a:lnTo>
                  <a:lnTo>
                    <a:pt x="81" y="151"/>
                  </a:lnTo>
                  <a:lnTo>
                    <a:pt x="81" y="150"/>
                  </a:lnTo>
                  <a:lnTo>
                    <a:pt x="81" y="148"/>
                  </a:lnTo>
                  <a:lnTo>
                    <a:pt x="81" y="148"/>
                  </a:lnTo>
                  <a:lnTo>
                    <a:pt x="82" y="150"/>
                  </a:lnTo>
                  <a:lnTo>
                    <a:pt x="87" y="153"/>
                  </a:lnTo>
                  <a:lnTo>
                    <a:pt x="87" y="153"/>
                  </a:lnTo>
                  <a:lnTo>
                    <a:pt x="90" y="156"/>
                  </a:lnTo>
                  <a:lnTo>
                    <a:pt x="90" y="158"/>
                  </a:lnTo>
                  <a:lnTo>
                    <a:pt x="90" y="159"/>
                  </a:lnTo>
                  <a:lnTo>
                    <a:pt x="92" y="162"/>
                  </a:lnTo>
                  <a:lnTo>
                    <a:pt x="92" y="162"/>
                  </a:lnTo>
                  <a:lnTo>
                    <a:pt x="92" y="162"/>
                  </a:lnTo>
                  <a:lnTo>
                    <a:pt x="92" y="164"/>
                  </a:lnTo>
                  <a:lnTo>
                    <a:pt x="92" y="164"/>
                  </a:lnTo>
                  <a:lnTo>
                    <a:pt x="92" y="166"/>
                  </a:lnTo>
                  <a:lnTo>
                    <a:pt x="92" y="166"/>
                  </a:lnTo>
                  <a:lnTo>
                    <a:pt x="92" y="167"/>
                  </a:lnTo>
                  <a:lnTo>
                    <a:pt x="93" y="169"/>
                  </a:lnTo>
                  <a:lnTo>
                    <a:pt x="93" y="169"/>
                  </a:lnTo>
                  <a:lnTo>
                    <a:pt x="93" y="170"/>
                  </a:lnTo>
                  <a:lnTo>
                    <a:pt x="93" y="172"/>
                  </a:lnTo>
                  <a:lnTo>
                    <a:pt x="93" y="173"/>
                  </a:lnTo>
                  <a:lnTo>
                    <a:pt x="92" y="175"/>
                  </a:lnTo>
                  <a:lnTo>
                    <a:pt x="92" y="176"/>
                  </a:lnTo>
                  <a:lnTo>
                    <a:pt x="92" y="176"/>
                  </a:lnTo>
                  <a:lnTo>
                    <a:pt x="93" y="178"/>
                  </a:lnTo>
                  <a:lnTo>
                    <a:pt x="93" y="178"/>
                  </a:lnTo>
                  <a:lnTo>
                    <a:pt x="95" y="180"/>
                  </a:lnTo>
                  <a:lnTo>
                    <a:pt x="95" y="181"/>
                  </a:lnTo>
                  <a:lnTo>
                    <a:pt x="95" y="181"/>
                  </a:lnTo>
                  <a:lnTo>
                    <a:pt x="95" y="181"/>
                  </a:lnTo>
                  <a:lnTo>
                    <a:pt x="97" y="181"/>
                  </a:lnTo>
                  <a:lnTo>
                    <a:pt x="97" y="181"/>
                  </a:lnTo>
                  <a:lnTo>
                    <a:pt x="97" y="181"/>
                  </a:lnTo>
                  <a:lnTo>
                    <a:pt x="97" y="183"/>
                  </a:lnTo>
                  <a:lnTo>
                    <a:pt x="97" y="183"/>
                  </a:lnTo>
                  <a:lnTo>
                    <a:pt x="98" y="183"/>
                  </a:lnTo>
                  <a:lnTo>
                    <a:pt x="98" y="183"/>
                  </a:lnTo>
                  <a:lnTo>
                    <a:pt x="98" y="184"/>
                  </a:lnTo>
                  <a:lnTo>
                    <a:pt x="98" y="184"/>
                  </a:lnTo>
                  <a:lnTo>
                    <a:pt x="98" y="186"/>
                  </a:lnTo>
                  <a:lnTo>
                    <a:pt x="103" y="186"/>
                  </a:lnTo>
                  <a:lnTo>
                    <a:pt x="106" y="186"/>
                  </a:lnTo>
                  <a:lnTo>
                    <a:pt x="106" y="186"/>
                  </a:lnTo>
                  <a:lnTo>
                    <a:pt x="107" y="186"/>
                  </a:lnTo>
                  <a:lnTo>
                    <a:pt x="107" y="186"/>
                  </a:lnTo>
                  <a:lnTo>
                    <a:pt x="109" y="186"/>
                  </a:lnTo>
                  <a:lnTo>
                    <a:pt x="109" y="186"/>
                  </a:lnTo>
                  <a:lnTo>
                    <a:pt x="111" y="186"/>
                  </a:lnTo>
                  <a:lnTo>
                    <a:pt x="111" y="184"/>
                  </a:lnTo>
                  <a:lnTo>
                    <a:pt x="112" y="184"/>
                  </a:lnTo>
                  <a:lnTo>
                    <a:pt x="114" y="183"/>
                  </a:lnTo>
                  <a:lnTo>
                    <a:pt x="115" y="183"/>
                  </a:lnTo>
                  <a:lnTo>
                    <a:pt x="118" y="184"/>
                  </a:lnTo>
                  <a:lnTo>
                    <a:pt x="120" y="186"/>
                  </a:lnTo>
                  <a:lnTo>
                    <a:pt x="120" y="187"/>
                  </a:lnTo>
                  <a:lnTo>
                    <a:pt x="122" y="187"/>
                  </a:lnTo>
                  <a:lnTo>
                    <a:pt x="122" y="187"/>
                  </a:lnTo>
                  <a:lnTo>
                    <a:pt x="126" y="187"/>
                  </a:lnTo>
                  <a:lnTo>
                    <a:pt x="128" y="187"/>
                  </a:lnTo>
                  <a:lnTo>
                    <a:pt x="129" y="187"/>
                  </a:lnTo>
                  <a:lnTo>
                    <a:pt x="131" y="186"/>
                  </a:lnTo>
                  <a:lnTo>
                    <a:pt x="132" y="186"/>
                  </a:lnTo>
                  <a:lnTo>
                    <a:pt x="134" y="186"/>
                  </a:lnTo>
                  <a:lnTo>
                    <a:pt x="134" y="186"/>
                  </a:lnTo>
                  <a:lnTo>
                    <a:pt x="136" y="186"/>
                  </a:lnTo>
                  <a:lnTo>
                    <a:pt x="136" y="186"/>
                  </a:lnTo>
                  <a:lnTo>
                    <a:pt x="139" y="187"/>
                  </a:lnTo>
                  <a:lnTo>
                    <a:pt x="140" y="187"/>
                  </a:lnTo>
                  <a:lnTo>
                    <a:pt x="143" y="187"/>
                  </a:lnTo>
                  <a:lnTo>
                    <a:pt x="147" y="186"/>
                  </a:lnTo>
                  <a:lnTo>
                    <a:pt x="148" y="184"/>
                  </a:lnTo>
                  <a:lnTo>
                    <a:pt x="150" y="181"/>
                  </a:lnTo>
                  <a:lnTo>
                    <a:pt x="150" y="181"/>
                  </a:lnTo>
                  <a:lnTo>
                    <a:pt x="150" y="181"/>
                  </a:lnTo>
                  <a:lnTo>
                    <a:pt x="150" y="181"/>
                  </a:lnTo>
                  <a:lnTo>
                    <a:pt x="150" y="180"/>
                  </a:lnTo>
                  <a:lnTo>
                    <a:pt x="151" y="180"/>
                  </a:lnTo>
                  <a:lnTo>
                    <a:pt x="153" y="180"/>
                  </a:lnTo>
                  <a:lnTo>
                    <a:pt x="154" y="180"/>
                  </a:lnTo>
                  <a:lnTo>
                    <a:pt x="157" y="181"/>
                  </a:lnTo>
                  <a:lnTo>
                    <a:pt x="161" y="183"/>
                  </a:lnTo>
                  <a:lnTo>
                    <a:pt x="162" y="181"/>
                  </a:lnTo>
                  <a:lnTo>
                    <a:pt x="165" y="180"/>
                  </a:lnTo>
                  <a:lnTo>
                    <a:pt x="168" y="178"/>
                  </a:lnTo>
                  <a:lnTo>
                    <a:pt x="173" y="178"/>
                  </a:lnTo>
                  <a:lnTo>
                    <a:pt x="173" y="178"/>
                  </a:lnTo>
                  <a:lnTo>
                    <a:pt x="175" y="178"/>
                  </a:lnTo>
                  <a:lnTo>
                    <a:pt x="178" y="176"/>
                  </a:lnTo>
                  <a:lnTo>
                    <a:pt x="179" y="175"/>
                  </a:lnTo>
                  <a:lnTo>
                    <a:pt x="181" y="175"/>
                  </a:lnTo>
                  <a:lnTo>
                    <a:pt x="181" y="175"/>
                  </a:lnTo>
                  <a:lnTo>
                    <a:pt x="184" y="173"/>
                  </a:lnTo>
                  <a:lnTo>
                    <a:pt x="187" y="172"/>
                  </a:lnTo>
                  <a:lnTo>
                    <a:pt x="193" y="167"/>
                  </a:lnTo>
                  <a:lnTo>
                    <a:pt x="195" y="166"/>
                  </a:lnTo>
                  <a:lnTo>
                    <a:pt x="195" y="166"/>
                  </a:lnTo>
                  <a:close/>
                  <a:moveTo>
                    <a:pt x="184" y="69"/>
                  </a:moveTo>
                  <a:lnTo>
                    <a:pt x="184" y="67"/>
                  </a:lnTo>
                  <a:lnTo>
                    <a:pt x="183" y="69"/>
                  </a:lnTo>
                  <a:lnTo>
                    <a:pt x="181" y="69"/>
                  </a:lnTo>
                  <a:lnTo>
                    <a:pt x="181" y="72"/>
                  </a:lnTo>
                  <a:lnTo>
                    <a:pt x="181" y="76"/>
                  </a:lnTo>
                  <a:lnTo>
                    <a:pt x="181" y="76"/>
                  </a:lnTo>
                  <a:lnTo>
                    <a:pt x="183" y="76"/>
                  </a:lnTo>
                  <a:lnTo>
                    <a:pt x="183" y="76"/>
                  </a:lnTo>
                  <a:lnTo>
                    <a:pt x="184" y="76"/>
                  </a:lnTo>
                  <a:lnTo>
                    <a:pt x="184" y="73"/>
                  </a:lnTo>
                  <a:lnTo>
                    <a:pt x="184" y="72"/>
                  </a:lnTo>
                  <a:lnTo>
                    <a:pt x="184" y="70"/>
                  </a:lnTo>
                  <a:lnTo>
                    <a:pt x="184" y="69"/>
                  </a:lnTo>
                  <a:close/>
                  <a:moveTo>
                    <a:pt x="178" y="90"/>
                  </a:moveTo>
                  <a:lnTo>
                    <a:pt x="178" y="90"/>
                  </a:lnTo>
                  <a:lnTo>
                    <a:pt x="176" y="89"/>
                  </a:lnTo>
                  <a:lnTo>
                    <a:pt x="176" y="86"/>
                  </a:lnTo>
                  <a:lnTo>
                    <a:pt x="176" y="84"/>
                  </a:lnTo>
                  <a:lnTo>
                    <a:pt x="175" y="83"/>
                  </a:lnTo>
                  <a:lnTo>
                    <a:pt x="175" y="84"/>
                  </a:lnTo>
                  <a:lnTo>
                    <a:pt x="173" y="86"/>
                  </a:lnTo>
                  <a:lnTo>
                    <a:pt x="173" y="89"/>
                  </a:lnTo>
                  <a:lnTo>
                    <a:pt x="173" y="90"/>
                  </a:lnTo>
                  <a:lnTo>
                    <a:pt x="173" y="92"/>
                  </a:lnTo>
                  <a:lnTo>
                    <a:pt x="175" y="92"/>
                  </a:lnTo>
                  <a:lnTo>
                    <a:pt x="176" y="94"/>
                  </a:lnTo>
                  <a:lnTo>
                    <a:pt x="176" y="94"/>
                  </a:lnTo>
                  <a:lnTo>
                    <a:pt x="178" y="94"/>
                  </a:lnTo>
                  <a:lnTo>
                    <a:pt x="178" y="95"/>
                  </a:lnTo>
                  <a:lnTo>
                    <a:pt x="178" y="95"/>
                  </a:lnTo>
                  <a:lnTo>
                    <a:pt x="179" y="95"/>
                  </a:lnTo>
                  <a:lnTo>
                    <a:pt x="179" y="94"/>
                  </a:lnTo>
                  <a:lnTo>
                    <a:pt x="178" y="90"/>
                  </a:lnTo>
                  <a:close/>
                  <a:moveTo>
                    <a:pt x="186" y="115"/>
                  </a:moveTo>
                  <a:lnTo>
                    <a:pt x="184" y="117"/>
                  </a:lnTo>
                  <a:lnTo>
                    <a:pt x="183" y="119"/>
                  </a:lnTo>
                  <a:lnTo>
                    <a:pt x="181" y="120"/>
                  </a:lnTo>
                  <a:lnTo>
                    <a:pt x="179" y="120"/>
                  </a:lnTo>
                  <a:lnTo>
                    <a:pt x="181" y="122"/>
                  </a:lnTo>
                  <a:lnTo>
                    <a:pt x="181" y="122"/>
                  </a:lnTo>
                  <a:lnTo>
                    <a:pt x="183" y="122"/>
                  </a:lnTo>
                  <a:lnTo>
                    <a:pt x="183" y="120"/>
                  </a:lnTo>
                  <a:lnTo>
                    <a:pt x="184" y="120"/>
                  </a:lnTo>
                  <a:lnTo>
                    <a:pt x="186" y="117"/>
                  </a:lnTo>
                  <a:lnTo>
                    <a:pt x="186" y="115"/>
                  </a:lnTo>
                  <a:lnTo>
                    <a:pt x="186" y="11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49" name="Freeform 207">
              <a:extLst>
                <a:ext uri="{FF2B5EF4-FFF2-40B4-BE49-F238E27FC236}">
                  <a16:creationId xmlns:a16="http://schemas.microsoft.com/office/drawing/2014/main" id="{35E5AA0F-14EF-6A7C-B95E-572F638B1B94}"/>
                </a:ext>
              </a:extLst>
            </p:cNvPr>
            <p:cNvSpPr>
              <a:spLocks noEditPoints="1"/>
            </p:cNvSpPr>
            <p:nvPr/>
          </p:nvSpPr>
          <p:spPr bwMode="gray">
            <a:xfrm>
              <a:off x="3063" y="499"/>
              <a:ext cx="316" cy="210"/>
            </a:xfrm>
            <a:custGeom>
              <a:avLst/>
              <a:gdLst>
                <a:gd name="T0" fmla="*/ 314 w 316"/>
                <a:gd name="T1" fmla="*/ 82 h 210"/>
                <a:gd name="T2" fmla="*/ 303 w 316"/>
                <a:gd name="T3" fmla="*/ 74 h 210"/>
                <a:gd name="T4" fmla="*/ 283 w 316"/>
                <a:gd name="T5" fmla="*/ 64 h 210"/>
                <a:gd name="T6" fmla="*/ 269 w 316"/>
                <a:gd name="T7" fmla="*/ 55 h 210"/>
                <a:gd name="T8" fmla="*/ 250 w 316"/>
                <a:gd name="T9" fmla="*/ 58 h 210"/>
                <a:gd name="T10" fmla="*/ 236 w 316"/>
                <a:gd name="T11" fmla="*/ 53 h 210"/>
                <a:gd name="T12" fmla="*/ 231 w 316"/>
                <a:gd name="T13" fmla="*/ 39 h 210"/>
                <a:gd name="T14" fmla="*/ 227 w 316"/>
                <a:gd name="T15" fmla="*/ 33 h 210"/>
                <a:gd name="T16" fmla="*/ 214 w 316"/>
                <a:gd name="T17" fmla="*/ 28 h 210"/>
                <a:gd name="T18" fmla="*/ 213 w 316"/>
                <a:gd name="T19" fmla="*/ 19 h 210"/>
                <a:gd name="T20" fmla="*/ 199 w 316"/>
                <a:gd name="T21" fmla="*/ 0 h 210"/>
                <a:gd name="T22" fmla="*/ 173 w 316"/>
                <a:gd name="T23" fmla="*/ 8 h 210"/>
                <a:gd name="T24" fmla="*/ 153 w 316"/>
                <a:gd name="T25" fmla="*/ 11 h 210"/>
                <a:gd name="T26" fmla="*/ 147 w 316"/>
                <a:gd name="T27" fmla="*/ 30 h 210"/>
                <a:gd name="T28" fmla="*/ 130 w 316"/>
                <a:gd name="T29" fmla="*/ 27 h 210"/>
                <a:gd name="T30" fmla="*/ 120 w 316"/>
                <a:gd name="T31" fmla="*/ 22 h 210"/>
                <a:gd name="T32" fmla="*/ 106 w 316"/>
                <a:gd name="T33" fmla="*/ 22 h 210"/>
                <a:gd name="T34" fmla="*/ 91 w 316"/>
                <a:gd name="T35" fmla="*/ 22 h 210"/>
                <a:gd name="T36" fmla="*/ 61 w 316"/>
                <a:gd name="T37" fmla="*/ 13 h 210"/>
                <a:gd name="T38" fmla="*/ 33 w 316"/>
                <a:gd name="T39" fmla="*/ 22 h 210"/>
                <a:gd name="T40" fmla="*/ 31 w 316"/>
                <a:gd name="T41" fmla="*/ 35 h 210"/>
                <a:gd name="T42" fmla="*/ 34 w 316"/>
                <a:gd name="T43" fmla="*/ 49 h 210"/>
                <a:gd name="T44" fmla="*/ 14 w 316"/>
                <a:gd name="T45" fmla="*/ 71 h 210"/>
                <a:gd name="T46" fmla="*/ 12 w 316"/>
                <a:gd name="T47" fmla="*/ 91 h 210"/>
                <a:gd name="T48" fmla="*/ 0 w 316"/>
                <a:gd name="T49" fmla="*/ 104 h 210"/>
                <a:gd name="T50" fmla="*/ 8 w 316"/>
                <a:gd name="T51" fmla="*/ 116 h 210"/>
                <a:gd name="T52" fmla="*/ 17 w 316"/>
                <a:gd name="T53" fmla="*/ 118 h 210"/>
                <a:gd name="T54" fmla="*/ 37 w 316"/>
                <a:gd name="T55" fmla="*/ 122 h 210"/>
                <a:gd name="T56" fmla="*/ 59 w 316"/>
                <a:gd name="T57" fmla="*/ 122 h 210"/>
                <a:gd name="T58" fmla="*/ 80 w 316"/>
                <a:gd name="T59" fmla="*/ 111 h 210"/>
                <a:gd name="T60" fmla="*/ 95 w 316"/>
                <a:gd name="T61" fmla="*/ 107 h 210"/>
                <a:gd name="T62" fmla="*/ 109 w 316"/>
                <a:gd name="T63" fmla="*/ 115 h 210"/>
                <a:gd name="T64" fmla="*/ 119 w 316"/>
                <a:gd name="T65" fmla="*/ 121 h 210"/>
                <a:gd name="T66" fmla="*/ 125 w 316"/>
                <a:gd name="T67" fmla="*/ 133 h 210"/>
                <a:gd name="T68" fmla="*/ 131 w 316"/>
                <a:gd name="T69" fmla="*/ 146 h 210"/>
                <a:gd name="T70" fmla="*/ 136 w 316"/>
                <a:gd name="T71" fmla="*/ 161 h 210"/>
                <a:gd name="T72" fmla="*/ 128 w 316"/>
                <a:gd name="T73" fmla="*/ 160 h 210"/>
                <a:gd name="T74" fmla="*/ 122 w 316"/>
                <a:gd name="T75" fmla="*/ 158 h 210"/>
                <a:gd name="T76" fmla="*/ 116 w 316"/>
                <a:gd name="T77" fmla="*/ 176 h 210"/>
                <a:gd name="T78" fmla="*/ 106 w 316"/>
                <a:gd name="T79" fmla="*/ 185 h 210"/>
                <a:gd name="T80" fmla="*/ 119 w 316"/>
                <a:gd name="T81" fmla="*/ 188 h 210"/>
                <a:gd name="T82" fmla="*/ 136 w 316"/>
                <a:gd name="T83" fmla="*/ 177 h 210"/>
                <a:gd name="T84" fmla="*/ 161 w 316"/>
                <a:gd name="T85" fmla="*/ 155 h 210"/>
                <a:gd name="T86" fmla="*/ 170 w 316"/>
                <a:gd name="T87" fmla="*/ 141 h 210"/>
                <a:gd name="T88" fmla="*/ 175 w 316"/>
                <a:gd name="T89" fmla="*/ 158 h 210"/>
                <a:gd name="T90" fmla="*/ 170 w 316"/>
                <a:gd name="T91" fmla="*/ 163 h 210"/>
                <a:gd name="T92" fmla="*/ 203 w 316"/>
                <a:gd name="T93" fmla="*/ 172 h 210"/>
                <a:gd name="T94" fmla="*/ 200 w 316"/>
                <a:gd name="T95" fmla="*/ 193 h 210"/>
                <a:gd name="T96" fmla="*/ 222 w 316"/>
                <a:gd name="T97" fmla="*/ 201 h 210"/>
                <a:gd name="T98" fmla="*/ 250 w 316"/>
                <a:gd name="T99" fmla="*/ 194 h 210"/>
                <a:gd name="T100" fmla="*/ 234 w 316"/>
                <a:gd name="T101" fmla="*/ 188 h 210"/>
                <a:gd name="T102" fmla="*/ 231 w 316"/>
                <a:gd name="T103" fmla="*/ 163 h 210"/>
                <a:gd name="T104" fmla="*/ 253 w 316"/>
                <a:gd name="T105" fmla="*/ 151 h 210"/>
                <a:gd name="T106" fmla="*/ 283 w 316"/>
                <a:gd name="T107" fmla="*/ 140 h 210"/>
                <a:gd name="T108" fmla="*/ 288 w 316"/>
                <a:gd name="T109" fmla="*/ 129 h 210"/>
                <a:gd name="T110" fmla="*/ 311 w 316"/>
                <a:gd name="T111" fmla="*/ 118 h 210"/>
                <a:gd name="T112" fmla="*/ 313 w 316"/>
                <a:gd name="T113" fmla="*/ 108 h 210"/>
                <a:gd name="T114" fmla="*/ 310 w 316"/>
                <a:gd name="T115" fmla="*/ 99 h 210"/>
                <a:gd name="T116" fmla="*/ 308 w 316"/>
                <a:gd name="T117" fmla="*/ 9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0">
                  <a:moveTo>
                    <a:pt x="173" y="166"/>
                  </a:moveTo>
                  <a:lnTo>
                    <a:pt x="167" y="163"/>
                  </a:lnTo>
                  <a:lnTo>
                    <a:pt x="166" y="163"/>
                  </a:lnTo>
                  <a:lnTo>
                    <a:pt x="166" y="161"/>
                  </a:lnTo>
                  <a:lnTo>
                    <a:pt x="166" y="163"/>
                  </a:lnTo>
                  <a:lnTo>
                    <a:pt x="166" y="165"/>
                  </a:lnTo>
                  <a:lnTo>
                    <a:pt x="169" y="165"/>
                  </a:lnTo>
                  <a:lnTo>
                    <a:pt x="173" y="166"/>
                  </a:lnTo>
                  <a:lnTo>
                    <a:pt x="177" y="166"/>
                  </a:lnTo>
                  <a:lnTo>
                    <a:pt x="173" y="166"/>
                  </a:lnTo>
                  <a:close/>
                  <a:moveTo>
                    <a:pt x="316" y="83"/>
                  </a:moveTo>
                  <a:lnTo>
                    <a:pt x="316" y="82"/>
                  </a:lnTo>
                  <a:lnTo>
                    <a:pt x="314" y="82"/>
                  </a:lnTo>
                  <a:lnTo>
                    <a:pt x="314" y="80"/>
                  </a:lnTo>
                  <a:lnTo>
                    <a:pt x="316" y="79"/>
                  </a:lnTo>
                  <a:lnTo>
                    <a:pt x="316" y="79"/>
                  </a:lnTo>
                  <a:lnTo>
                    <a:pt x="316" y="77"/>
                  </a:lnTo>
                  <a:lnTo>
                    <a:pt x="316" y="77"/>
                  </a:lnTo>
                  <a:lnTo>
                    <a:pt x="314" y="77"/>
                  </a:lnTo>
                  <a:lnTo>
                    <a:pt x="313" y="77"/>
                  </a:lnTo>
                  <a:lnTo>
                    <a:pt x="311" y="77"/>
                  </a:lnTo>
                  <a:lnTo>
                    <a:pt x="310" y="77"/>
                  </a:lnTo>
                  <a:lnTo>
                    <a:pt x="308" y="75"/>
                  </a:lnTo>
                  <a:lnTo>
                    <a:pt x="305" y="74"/>
                  </a:lnTo>
                  <a:lnTo>
                    <a:pt x="305" y="74"/>
                  </a:lnTo>
                  <a:lnTo>
                    <a:pt x="303" y="74"/>
                  </a:lnTo>
                  <a:lnTo>
                    <a:pt x="302" y="72"/>
                  </a:lnTo>
                  <a:lnTo>
                    <a:pt x="300" y="72"/>
                  </a:lnTo>
                  <a:lnTo>
                    <a:pt x="300" y="71"/>
                  </a:lnTo>
                  <a:lnTo>
                    <a:pt x="300" y="71"/>
                  </a:lnTo>
                  <a:lnTo>
                    <a:pt x="300" y="69"/>
                  </a:lnTo>
                  <a:lnTo>
                    <a:pt x="299" y="71"/>
                  </a:lnTo>
                  <a:lnTo>
                    <a:pt x="297" y="71"/>
                  </a:lnTo>
                  <a:lnTo>
                    <a:pt x="295" y="71"/>
                  </a:lnTo>
                  <a:lnTo>
                    <a:pt x="292" y="69"/>
                  </a:lnTo>
                  <a:lnTo>
                    <a:pt x="291" y="68"/>
                  </a:lnTo>
                  <a:lnTo>
                    <a:pt x="289" y="68"/>
                  </a:lnTo>
                  <a:lnTo>
                    <a:pt x="286" y="68"/>
                  </a:lnTo>
                  <a:lnTo>
                    <a:pt x="283" y="64"/>
                  </a:lnTo>
                  <a:lnTo>
                    <a:pt x="283" y="64"/>
                  </a:lnTo>
                  <a:lnTo>
                    <a:pt x="281" y="64"/>
                  </a:lnTo>
                  <a:lnTo>
                    <a:pt x="281" y="68"/>
                  </a:lnTo>
                  <a:lnTo>
                    <a:pt x="281" y="68"/>
                  </a:lnTo>
                  <a:lnTo>
                    <a:pt x="281" y="68"/>
                  </a:lnTo>
                  <a:lnTo>
                    <a:pt x="280" y="68"/>
                  </a:lnTo>
                  <a:lnTo>
                    <a:pt x="278" y="68"/>
                  </a:lnTo>
                  <a:lnTo>
                    <a:pt x="274" y="63"/>
                  </a:lnTo>
                  <a:lnTo>
                    <a:pt x="272" y="60"/>
                  </a:lnTo>
                  <a:lnTo>
                    <a:pt x="272" y="60"/>
                  </a:lnTo>
                  <a:lnTo>
                    <a:pt x="272" y="58"/>
                  </a:lnTo>
                  <a:lnTo>
                    <a:pt x="270" y="57"/>
                  </a:lnTo>
                  <a:lnTo>
                    <a:pt x="269" y="55"/>
                  </a:lnTo>
                  <a:lnTo>
                    <a:pt x="269" y="55"/>
                  </a:lnTo>
                  <a:lnTo>
                    <a:pt x="267" y="55"/>
                  </a:lnTo>
                  <a:lnTo>
                    <a:pt x="266" y="55"/>
                  </a:lnTo>
                  <a:lnTo>
                    <a:pt x="264" y="57"/>
                  </a:lnTo>
                  <a:lnTo>
                    <a:pt x="264" y="57"/>
                  </a:lnTo>
                  <a:lnTo>
                    <a:pt x="261" y="57"/>
                  </a:lnTo>
                  <a:lnTo>
                    <a:pt x="256" y="58"/>
                  </a:lnTo>
                  <a:lnTo>
                    <a:pt x="256" y="60"/>
                  </a:lnTo>
                  <a:lnTo>
                    <a:pt x="255" y="60"/>
                  </a:lnTo>
                  <a:lnTo>
                    <a:pt x="253" y="60"/>
                  </a:lnTo>
                  <a:lnTo>
                    <a:pt x="253" y="58"/>
                  </a:lnTo>
                  <a:lnTo>
                    <a:pt x="253" y="58"/>
                  </a:lnTo>
                  <a:lnTo>
                    <a:pt x="250" y="58"/>
                  </a:lnTo>
                  <a:lnTo>
                    <a:pt x="249" y="58"/>
                  </a:lnTo>
                  <a:lnTo>
                    <a:pt x="249" y="57"/>
                  </a:lnTo>
                  <a:lnTo>
                    <a:pt x="247" y="57"/>
                  </a:lnTo>
                  <a:lnTo>
                    <a:pt x="247" y="55"/>
                  </a:lnTo>
                  <a:lnTo>
                    <a:pt x="245" y="55"/>
                  </a:lnTo>
                  <a:lnTo>
                    <a:pt x="244" y="55"/>
                  </a:lnTo>
                  <a:lnTo>
                    <a:pt x="242" y="53"/>
                  </a:lnTo>
                  <a:lnTo>
                    <a:pt x="241" y="55"/>
                  </a:lnTo>
                  <a:lnTo>
                    <a:pt x="238" y="57"/>
                  </a:lnTo>
                  <a:lnTo>
                    <a:pt x="236" y="55"/>
                  </a:lnTo>
                  <a:lnTo>
                    <a:pt x="236" y="55"/>
                  </a:lnTo>
                  <a:lnTo>
                    <a:pt x="236" y="53"/>
                  </a:lnTo>
                  <a:lnTo>
                    <a:pt x="236" y="53"/>
                  </a:lnTo>
                  <a:lnTo>
                    <a:pt x="234" y="53"/>
                  </a:lnTo>
                  <a:lnTo>
                    <a:pt x="233" y="50"/>
                  </a:lnTo>
                  <a:lnTo>
                    <a:pt x="233" y="50"/>
                  </a:lnTo>
                  <a:lnTo>
                    <a:pt x="233" y="49"/>
                  </a:lnTo>
                  <a:lnTo>
                    <a:pt x="233" y="49"/>
                  </a:lnTo>
                  <a:lnTo>
                    <a:pt x="234" y="47"/>
                  </a:lnTo>
                  <a:lnTo>
                    <a:pt x="234" y="46"/>
                  </a:lnTo>
                  <a:lnTo>
                    <a:pt x="233" y="44"/>
                  </a:lnTo>
                  <a:lnTo>
                    <a:pt x="233" y="44"/>
                  </a:lnTo>
                  <a:lnTo>
                    <a:pt x="233" y="44"/>
                  </a:lnTo>
                  <a:lnTo>
                    <a:pt x="233" y="44"/>
                  </a:lnTo>
                  <a:lnTo>
                    <a:pt x="233" y="41"/>
                  </a:lnTo>
                  <a:lnTo>
                    <a:pt x="231" y="39"/>
                  </a:lnTo>
                  <a:lnTo>
                    <a:pt x="231" y="39"/>
                  </a:lnTo>
                  <a:lnTo>
                    <a:pt x="231" y="39"/>
                  </a:lnTo>
                  <a:lnTo>
                    <a:pt x="231" y="38"/>
                  </a:lnTo>
                  <a:lnTo>
                    <a:pt x="231" y="38"/>
                  </a:lnTo>
                  <a:lnTo>
                    <a:pt x="231" y="38"/>
                  </a:lnTo>
                  <a:lnTo>
                    <a:pt x="231" y="36"/>
                  </a:lnTo>
                  <a:lnTo>
                    <a:pt x="230" y="38"/>
                  </a:lnTo>
                  <a:lnTo>
                    <a:pt x="228" y="36"/>
                  </a:lnTo>
                  <a:lnTo>
                    <a:pt x="228" y="35"/>
                  </a:lnTo>
                  <a:lnTo>
                    <a:pt x="228" y="35"/>
                  </a:lnTo>
                  <a:lnTo>
                    <a:pt x="228" y="33"/>
                  </a:lnTo>
                  <a:lnTo>
                    <a:pt x="227" y="33"/>
                  </a:lnTo>
                  <a:lnTo>
                    <a:pt x="227" y="33"/>
                  </a:lnTo>
                  <a:lnTo>
                    <a:pt x="227" y="33"/>
                  </a:lnTo>
                  <a:lnTo>
                    <a:pt x="224" y="33"/>
                  </a:lnTo>
                  <a:lnTo>
                    <a:pt x="222" y="33"/>
                  </a:lnTo>
                  <a:lnTo>
                    <a:pt x="220" y="33"/>
                  </a:lnTo>
                  <a:lnTo>
                    <a:pt x="219" y="33"/>
                  </a:lnTo>
                  <a:lnTo>
                    <a:pt x="217" y="32"/>
                  </a:lnTo>
                  <a:lnTo>
                    <a:pt x="213" y="32"/>
                  </a:lnTo>
                  <a:lnTo>
                    <a:pt x="213" y="32"/>
                  </a:lnTo>
                  <a:lnTo>
                    <a:pt x="213" y="32"/>
                  </a:lnTo>
                  <a:lnTo>
                    <a:pt x="213" y="30"/>
                  </a:lnTo>
                  <a:lnTo>
                    <a:pt x="213" y="30"/>
                  </a:lnTo>
                  <a:lnTo>
                    <a:pt x="214" y="30"/>
                  </a:lnTo>
                  <a:lnTo>
                    <a:pt x="214" y="28"/>
                  </a:lnTo>
                  <a:lnTo>
                    <a:pt x="214" y="28"/>
                  </a:lnTo>
                  <a:lnTo>
                    <a:pt x="213" y="28"/>
                  </a:lnTo>
                  <a:lnTo>
                    <a:pt x="213" y="28"/>
                  </a:lnTo>
                  <a:lnTo>
                    <a:pt x="213" y="27"/>
                  </a:lnTo>
                  <a:lnTo>
                    <a:pt x="213" y="27"/>
                  </a:lnTo>
                  <a:lnTo>
                    <a:pt x="213" y="25"/>
                  </a:lnTo>
                  <a:lnTo>
                    <a:pt x="213" y="22"/>
                  </a:lnTo>
                  <a:lnTo>
                    <a:pt x="211" y="21"/>
                  </a:lnTo>
                  <a:lnTo>
                    <a:pt x="211" y="21"/>
                  </a:lnTo>
                  <a:lnTo>
                    <a:pt x="211" y="21"/>
                  </a:lnTo>
                  <a:lnTo>
                    <a:pt x="211" y="19"/>
                  </a:lnTo>
                  <a:lnTo>
                    <a:pt x="211" y="19"/>
                  </a:lnTo>
                  <a:lnTo>
                    <a:pt x="213" y="19"/>
                  </a:lnTo>
                  <a:lnTo>
                    <a:pt x="216" y="17"/>
                  </a:lnTo>
                  <a:lnTo>
                    <a:pt x="216" y="17"/>
                  </a:lnTo>
                  <a:lnTo>
                    <a:pt x="216" y="17"/>
                  </a:lnTo>
                  <a:lnTo>
                    <a:pt x="216" y="16"/>
                  </a:lnTo>
                  <a:lnTo>
                    <a:pt x="211" y="11"/>
                  </a:lnTo>
                  <a:lnTo>
                    <a:pt x="209" y="5"/>
                  </a:lnTo>
                  <a:lnTo>
                    <a:pt x="208" y="3"/>
                  </a:lnTo>
                  <a:lnTo>
                    <a:pt x="208" y="3"/>
                  </a:lnTo>
                  <a:lnTo>
                    <a:pt x="205" y="2"/>
                  </a:lnTo>
                  <a:lnTo>
                    <a:pt x="205" y="2"/>
                  </a:lnTo>
                  <a:lnTo>
                    <a:pt x="203" y="0"/>
                  </a:lnTo>
                  <a:lnTo>
                    <a:pt x="202" y="0"/>
                  </a:lnTo>
                  <a:lnTo>
                    <a:pt x="199" y="0"/>
                  </a:lnTo>
                  <a:lnTo>
                    <a:pt x="195" y="0"/>
                  </a:lnTo>
                  <a:lnTo>
                    <a:pt x="194" y="0"/>
                  </a:lnTo>
                  <a:lnTo>
                    <a:pt x="189" y="3"/>
                  </a:lnTo>
                  <a:lnTo>
                    <a:pt x="188" y="3"/>
                  </a:lnTo>
                  <a:lnTo>
                    <a:pt x="184" y="2"/>
                  </a:lnTo>
                  <a:lnTo>
                    <a:pt x="183" y="2"/>
                  </a:lnTo>
                  <a:lnTo>
                    <a:pt x="181" y="2"/>
                  </a:lnTo>
                  <a:lnTo>
                    <a:pt x="180" y="2"/>
                  </a:lnTo>
                  <a:lnTo>
                    <a:pt x="180" y="2"/>
                  </a:lnTo>
                  <a:lnTo>
                    <a:pt x="178" y="7"/>
                  </a:lnTo>
                  <a:lnTo>
                    <a:pt x="177" y="8"/>
                  </a:lnTo>
                  <a:lnTo>
                    <a:pt x="175" y="8"/>
                  </a:lnTo>
                  <a:lnTo>
                    <a:pt x="173" y="8"/>
                  </a:lnTo>
                  <a:lnTo>
                    <a:pt x="173" y="8"/>
                  </a:lnTo>
                  <a:lnTo>
                    <a:pt x="172" y="8"/>
                  </a:lnTo>
                  <a:lnTo>
                    <a:pt x="170" y="8"/>
                  </a:lnTo>
                  <a:lnTo>
                    <a:pt x="170" y="8"/>
                  </a:lnTo>
                  <a:lnTo>
                    <a:pt x="169" y="7"/>
                  </a:lnTo>
                  <a:lnTo>
                    <a:pt x="166" y="7"/>
                  </a:lnTo>
                  <a:lnTo>
                    <a:pt x="163" y="7"/>
                  </a:lnTo>
                  <a:lnTo>
                    <a:pt x="159" y="8"/>
                  </a:lnTo>
                  <a:lnTo>
                    <a:pt x="159" y="8"/>
                  </a:lnTo>
                  <a:lnTo>
                    <a:pt x="158" y="8"/>
                  </a:lnTo>
                  <a:lnTo>
                    <a:pt x="156" y="8"/>
                  </a:lnTo>
                  <a:lnTo>
                    <a:pt x="156" y="8"/>
                  </a:lnTo>
                  <a:lnTo>
                    <a:pt x="153" y="11"/>
                  </a:lnTo>
                  <a:lnTo>
                    <a:pt x="152" y="13"/>
                  </a:lnTo>
                  <a:lnTo>
                    <a:pt x="152" y="13"/>
                  </a:lnTo>
                  <a:lnTo>
                    <a:pt x="150" y="16"/>
                  </a:lnTo>
                  <a:lnTo>
                    <a:pt x="150" y="16"/>
                  </a:lnTo>
                  <a:lnTo>
                    <a:pt x="148" y="19"/>
                  </a:lnTo>
                  <a:lnTo>
                    <a:pt x="148" y="22"/>
                  </a:lnTo>
                  <a:lnTo>
                    <a:pt x="148" y="24"/>
                  </a:lnTo>
                  <a:lnTo>
                    <a:pt x="148" y="25"/>
                  </a:lnTo>
                  <a:lnTo>
                    <a:pt x="148" y="27"/>
                  </a:lnTo>
                  <a:lnTo>
                    <a:pt x="150" y="28"/>
                  </a:lnTo>
                  <a:lnTo>
                    <a:pt x="148" y="30"/>
                  </a:lnTo>
                  <a:lnTo>
                    <a:pt x="148" y="32"/>
                  </a:lnTo>
                  <a:lnTo>
                    <a:pt x="147" y="30"/>
                  </a:lnTo>
                  <a:lnTo>
                    <a:pt x="147" y="30"/>
                  </a:lnTo>
                  <a:lnTo>
                    <a:pt x="147" y="30"/>
                  </a:lnTo>
                  <a:lnTo>
                    <a:pt x="147" y="30"/>
                  </a:lnTo>
                  <a:lnTo>
                    <a:pt x="144" y="28"/>
                  </a:lnTo>
                  <a:lnTo>
                    <a:pt x="144" y="27"/>
                  </a:lnTo>
                  <a:lnTo>
                    <a:pt x="142" y="25"/>
                  </a:lnTo>
                  <a:lnTo>
                    <a:pt x="141" y="25"/>
                  </a:lnTo>
                  <a:lnTo>
                    <a:pt x="139" y="25"/>
                  </a:lnTo>
                  <a:lnTo>
                    <a:pt x="138" y="25"/>
                  </a:lnTo>
                  <a:lnTo>
                    <a:pt x="133" y="25"/>
                  </a:lnTo>
                  <a:lnTo>
                    <a:pt x="131" y="27"/>
                  </a:lnTo>
                  <a:lnTo>
                    <a:pt x="130" y="27"/>
                  </a:lnTo>
                  <a:lnTo>
                    <a:pt x="130" y="27"/>
                  </a:lnTo>
                  <a:lnTo>
                    <a:pt x="127" y="27"/>
                  </a:lnTo>
                  <a:lnTo>
                    <a:pt x="127" y="27"/>
                  </a:lnTo>
                  <a:lnTo>
                    <a:pt x="125" y="25"/>
                  </a:lnTo>
                  <a:lnTo>
                    <a:pt x="125" y="25"/>
                  </a:lnTo>
                  <a:lnTo>
                    <a:pt x="125" y="25"/>
                  </a:lnTo>
                  <a:lnTo>
                    <a:pt x="125" y="24"/>
                  </a:lnTo>
                  <a:lnTo>
                    <a:pt x="125" y="24"/>
                  </a:lnTo>
                  <a:lnTo>
                    <a:pt x="123" y="22"/>
                  </a:lnTo>
                  <a:lnTo>
                    <a:pt x="123" y="21"/>
                  </a:lnTo>
                  <a:lnTo>
                    <a:pt x="122" y="21"/>
                  </a:lnTo>
                  <a:lnTo>
                    <a:pt x="122" y="21"/>
                  </a:lnTo>
                  <a:lnTo>
                    <a:pt x="120" y="22"/>
                  </a:lnTo>
                  <a:lnTo>
                    <a:pt x="120" y="22"/>
                  </a:lnTo>
                  <a:lnTo>
                    <a:pt x="120" y="22"/>
                  </a:lnTo>
                  <a:lnTo>
                    <a:pt x="120" y="22"/>
                  </a:lnTo>
                  <a:lnTo>
                    <a:pt x="119" y="24"/>
                  </a:lnTo>
                  <a:lnTo>
                    <a:pt x="117" y="24"/>
                  </a:lnTo>
                  <a:lnTo>
                    <a:pt x="116" y="27"/>
                  </a:lnTo>
                  <a:lnTo>
                    <a:pt x="116" y="25"/>
                  </a:lnTo>
                  <a:lnTo>
                    <a:pt x="114" y="25"/>
                  </a:lnTo>
                  <a:lnTo>
                    <a:pt x="114" y="24"/>
                  </a:lnTo>
                  <a:lnTo>
                    <a:pt x="113" y="22"/>
                  </a:lnTo>
                  <a:lnTo>
                    <a:pt x="111" y="22"/>
                  </a:lnTo>
                  <a:lnTo>
                    <a:pt x="108" y="22"/>
                  </a:lnTo>
                  <a:lnTo>
                    <a:pt x="106" y="21"/>
                  </a:lnTo>
                  <a:lnTo>
                    <a:pt x="106" y="22"/>
                  </a:lnTo>
                  <a:lnTo>
                    <a:pt x="105" y="22"/>
                  </a:lnTo>
                  <a:lnTo>
                    <a:pt x="103" y="22"/>
                  </a:lnTo>
                  <a:lnTo>
                    <a:pt x="102" y="22"/>
                  </a:lnTo>
                  <a:lnTo>
                    <a:pt x="100" y="22"/>
                  </a:lnTo>
                  <a:lnTo>
                    <a:pt x="100" y="24"/>
                  </a:lnTo>
                  <a:lnTo>
                    <a:pt x="98" y="25"/>
                  </a:lnTo>
                  <a:lnTo>
                    <a:pt x="98" y="25"/>
                  </a:lnTo>
                  <a:lnTo>
                    <a:pt x="97" y="25"/>
                  </a:lnTo>
                  <a:lnTo>
                    <a:pt x="98" y="22"/>
                  </a:lnTo>
                  <a:lnTo>
                    <a:pt x="97" y="22"/>
                  </a:lnTo>
                  <a:lnTo>
                    <a:pt x="94" y="21"/>
                  </a:lnTo>
                  <a:lnTo>
                    <a:pt x="92" y="22"/>
                  </a:lnTo>
                  <a:lnTo>
                    <a:pt x="91" y="22"/>
                  </a:lnTo>
                  <a:lnTo>
                    <a:pt x="91" y="21"/>
                  </a:lnTo>
                  <a:lnTo>
                    <a:pt x="87" y="17"/>
                  </a:lnTo>
                  <a:lnTo>
                    <a:pt x="87" y="17"/>
                  </a:lnTo>
                  <a:lnTo>
                    <a:pt x="87" y="17"/>
                  </a:lnTo>
                  <a:lnTo>
                    <a:pt x="84" y="17"/>
                  </a:lnTo>
                  <a:lnTo>
                    <a:pt x="81" y="16"/>
                  </a:lnTo>
                  <a:lnTo>
                    <a:pt x="78" y="16"/>
                  </a:lnTo>
                  <a:lnTo>
                    <a:pt x="77" y="16"/>
                  </a:lnTo>
                  <a:lnTo>
                    <a:pt x="75" y="14"/>
                  </a:lnTo>
                  <a:lnTo>
                    <a:pt x="73" y="14"/>
                  </a:lnTo>
                  <a:lnTo>
                    <a:pt x="67" y="13"/>
                  </a:lnTo>
                  <a:lnTo>
                    <a:pt x="64" y="13"/>
                  </a:lnTo>
                  <a:lnTo>
                    <a:pt x="61" y="13"/>
                  </a:lnTo>
                  <a:lnTo>
                    <a:pt x="55" y="11"/>
                  </a:lnTo>
                  <a:lnTo>
                    <a:pt x="52" y="13"/>
                  </a:lnTo>
                  <a:lnTo>
                    <a:pt x="50" y="13"/>
                  </a:lnTo>
                  <a:lnTo>
                    <a:pt x="48" y="13"/>
                  </a:lnTo>
                  <a:lnTo>
                    <a:pt x="45" y="13"/>
                  </a:lnTo>
                  <a:lnTo>
                    <a:pt x="44" y="13"/>
                  </a:lnTo>
                  <a:lnTo>
                    <a:pt x="42" y="13"/>
                  </a:lnTo>
                  <a:lnTo>
                    <a:pt x="39" y="14"/>
                  </a:lnTo>
                  <a:lnTo>
                    <a:pt x="39" y="14"/>
                  </a:lnTo>
                  <a:lnTo>
                    <a:pt x="37" y="16"/>
                  </a:lnTo>
                  <a:lnTo>
                    <a:pt x="36" y="19"/>
                  </a:lnTo>
                  <a:lnTo>
                    <a:pt x="33" y="22"/>
                  </a:lnTo>
                  <a:lnTo>
                    <a:pt x="33" y="22"/>
                  </a:lnTo>
                  <a:lnTo>
                    <a:pt x="31" y="21"/>
                  </a:lnTo>
                  <a:lnTo>
                    <a:pt x="30" y="21"/>
                  </a:lnTo>
                  <a:lnTo>
                    <a:pt x="28" y="21"/>
                  </a:lnTo>
                  <a:lnTo>
                    <a:pt x="27" y="21"/>
                  </a:lnTo>
                  <a:lnTo>
                    <a:pt x="27" y="21"/>
                  </a:lnTo>
                  <a:lnTo>
                    <a:pt x="27" y="24"/>
                  </a:lnTo>
                  <a:lnTo>
                    <a:pt x="27" y="24"/>
                  </a:lnTo>
                  <a:lnTo>
                    <a:pt x="27" y="25"/>
                  </a:lnTo>
                  <a:lnTo>
                    <a:pt x="28" y="27"/>
                  </a:lnTo>
                  <a:lnTo>
                    <a:pt x="27" y="28"/>
                  </a:lnTo>
                  <a:lnTo>
                    <a:pt x="27" y="30"/>
                  </a:lnTo>
                  <a:lnTo>
                    <a:pt x="28" y="32"/>
                  </a:lnTo>
                  <a:lnTo>
                    <a:pt x="31" y="35"/>
                  </a:lnTo>
                  <a:lnTo>
                    <a:pt x="33" y="38"/>
                  </a:lnTo>
                  <a:lnTo>
                    <a:pt x="33" y="39"/>
                  </a:lnTo>
                  <a:lnTo>
                    <a:pt x="33" y="39"/>
                  </a:lnTo>
                  <a:lnTo>
                    <a:pt x="34" y="43"/>
                  </a:lnTo>
                  <a:lnTo>
                    <a:pt x="34" y="43"/>
                  </a:lnTo>
                  <a:lnTo>
                    <a:pt x="34" y="44"/>
                  </a:lnTo>
                  <a:lnTo>
                    <a:pt x="33" y="44"/>
                  </a:lnTo>
                  <a:lnTo>
                    <a:pt x="33" y="44"/>
                  </a:lnTo>
                  <a:lnTo>
                    <a:pt x="33" y="44"/>
                  </a:lnTo>
                  <a:lnTo>
                    <a:pt x="33" y="44"/>
                  </a:lnTo>
                  <a:lnTo>
                    <a:pt x="33" y="46"/>
                  </a:lnTo>
                  <a:lnTo>
                    <a:pt x="34" y="46"/>
                  </a:lnTo>
                  <a:lnTo>
                    <a:pt x="34" y="49"/>
                  </a:lnTo>
                  <a:lnTo>
                    <a:pt x="34" y="52"/>
                  </a:lnTo>
                  <a:lnTo>
                    <a:pt x="34" y="52"/>
                  </a:lnTo>
                  <a:lnTo>
                    <a:pt x="33" y="53"/>
                  </a:lnTo>
                  <a:lnTo>
                    <a:pt x="33" y="55"/>
                  </a:lnTo>
                  <a:lnTo>
                    <a:pt x="28" y="55"/>
                  </a:lnTo>
                  <a:lnTo>
                    <a:pt x="28" y="55"/>
                  </a:lnTo>
                  <a:lnTo>
                    <a:pt x="27" y="57"/>
                  </a:lnTo>
                  <a:lnTo>
                    <a:pt x="25" y="60"/>
                  </a:lnTo>
                  <a:lnTo>
                    <a:pt x="23" y="61"/>
                  </a:lnTo>
                  <a:lnTo>
                    <a:pt x="23" y="61"/>
                  </a:lnTo>
                  <a:lnTo>
                    <a:pt x="20" y="64"/>
                  </a:lnTo>
                  <a:lnTo>
                    <a:pt x="16" y="69"/>
                  </a:lnTo>
                  <a:lnTo>
                    <a:pt x="14" y="71"/>
                  </a:lnTo>
                  <a:lnTo>
                    <a:pt x="14" y="72"/>
                  </a:lnTo>
                  <a:lnTo>
                    <a:pt x="11" y="77"/>
                  </a:lnTo>
                  <a:lnTo>
                    <a:pt x="11" y="77"/>
                  </a:lnTo>
                  <a:lnTo>
                    <a:pt x="9" y="79"/>
                  </a:lnTo>
                  <a:lnTo>
                    <a:pt x="9" y="80"/>
                  </a:lnTo>
                  <a:lnTo>
                    <a:pt x="11" y="83"/>
                  </a:lnTo>
                  <a:lnTo>
                    <a:pt x="11" y="85"/>
                  </a:lnTo>
                  <a:lnTo>
                    <a:pt x="11" y="86"/>
                  </a:lnTo>
                  <a:lnTo>
                    <a:pt x="11" y="88"/>
                  </a:lnTo>
                  <a:lnTo>
                    <a:pt x="11" y="88"/>
                  </a:lnTo>
                  <a:lnTo>
                    <a:pt x="11" y="89"/>
                  </a:lnTo>
                  <a:lnTo>
                    <a:pt x="12" y="91"/>
                  </a:lnTo>
                  <a:lnTo>
                    <a:pt x="12" y="91"/>
                  </a:lnTo>
                  <a:lnTo>
                    <a:pt x="12" y="91"/>
                  </a:lnTo>
                  <a:lnTo>
                    <a:pt x="12" y="93"/>
                  </a:lnTo>
                  <a:lnTo>
                    <a:pt x="12" y="93"/>
                  </a:lnTo>
                  <a:lnTo>
                    <a:pt x="11" y="91"/>
                  </a:lnTo>
                  <a:lnTo>
                    <a:pt x="8" y="91"/>
                  </a:lnTo>
                  <a:lnTo>
                    <a:pt x="8" y="91"/>
                  </a:lnTo>
                  <a:lnTo>
                    <a:pt x="8" y="93"/>
                  </a:lnTo>
                  <a:lnTo>
                    <a:pt x="6" y="93"/>
                  </a:lnTo>
                  <a:lnTo>
                    <a:pt x="6" y="94"/>
                  </a:lnTo>
                  <a:lnTo>
                    <a:pt x="5" y="96"/>
                  </a:lnTo>
                  <a:lnTo>
                    <a:pt x="3" y="99"/>
                  </a:lnTo>
                  <a:lnTo>
                    <a:pt x="3" y="100"/>
                  </a:lnTo>
                  <a:lnTo>
                    <a:pt x="0" y="104"/>
                  </a:lnTo>
                  <a:lnTo>
                    <a:pt x="0" y="108"/>
                  </a:lnTo>
                  <a:lnTo>
                    <a:pt x="2" y="108"/>
                  </a:lnTo>
                  <a:lnTo>
                    <a:pt x="2" y="108"/>
                  </a:lnTo>
                  <a:lnTo>
                    <a:pt x="3" y="108"/>
                  </a:lnTo>
                  <a:lnTo>
                    <a:pt x="3" y="110"/>
                  </a:lnTo>
                  <a:lnTo>
                    <a:pt x="3" y="110"/>
                  </a:lnTo>
                  <a:lnTo>
                    <a:pt x="3" y="111"/>
                  </a:lnTo>
                  <a:lnTo>
                    <a:pt x="3" y="111"/>
                  </a:lnTo>
                  <a:lnTo>
                    <a:pt x="5" y="113"/>
                  </a:lnTo>
                  <a:lnTo>
                    <a:pt x="5" y="113"/>
                  </a:lnTo>
                  <a:lnTo>
                    <a:pt x="8" y="115"/>
                  </a:lnTo>
                  <a:lnTo>
                    <a:pt x="8" y="116"/>
                  </a:lnTo>
                  <a:lnTo>
                    <a:pt x="8" y="116"/>
                  </a:lnTo>
                  <a:lnTo>
                    <a:pt x="9" y="116"/>
                  </a:lnTo>
                  <a:lnTo>
                    <a:pt x="9" y="116"/>
                  </a:lnTo>
                  <a:lnTo>
                    <a:pt x="11" y="116"/>
                  </a:lnTo>
                  <a:lnTo>
                    <a:pt x="11" y="116"/>
                  </a:lnTo>
                  <a:lnTo>
                    <a:pt x="12" y="116"/>
                  </a:lnTo>
                  <a:lnTo>
                    <a:pt x="12" y="118"/>
                  </a:lnTo>
                  <a:lnTo>
                    <a:pt x="12" y="119"/>
                  </a:lnTo>
                  <a:lnTo>
                    <a:pt x="12" y="119"/>
                  </a:lnTo>
                  <a:lnTo>
                    <a:pt x="12" y="121"/>
                  </a:lnTo>
                  <a:lnTo>
                    <a:pt x="14" y="121"/>
                  </a:lnTo>
                  <a:lnTo>
                    <a:pt x="14" y="121"/>
                  </a:lnTo>
                  <a:lnTo>
                    <a:pt x="17" y="119"/>
                  </a:lnTo>
                  <a:lnTo>
                    <a:pt x="17" y="118"/>
                  </a:lnTo>
                  <a:lnTo>
                    <a:pt x="19" y="118"/>
                  </a:lnTo>
                  <a:lnTo>
                    <a:pt x="19" y="118"/>
                  </a:lnTo>
                  <a:lnTo>
                    <a:pt x="19" y="118"/>
                  </a:lnTo>
                  <a:lnTo>
                    <a:pt x="23" y="119"/>
                  </a:lnTo>
                  <a:lnTo>
                    <a:pt x="27" y="119"/>
                  </a:lnTo>
                  <a:lnTo>
                    <a:pt x="27" y="119"/>
                  </a:lnTo>
                  <a:lnTo>
                    <a:pt x="28" y="119"/>
                  </a:lnTo>
                  <a:lnTo>
                    <a:pt x="28" y="119"/>
                  </a:lnTo>
                  <a:lnTo>
                    <a:pt x="33" y="121"/>
                  </a:lnTo>
                  <a:lnTo>
                    <a:pt x="34" y="121"/>
                  </a:lnTo>
                  <a:lnTo>
                    <a:pt x="34" y="121"/>
                  </a:lnTo>
                  <a:lnTo>
                    <a:pt x="36" y="122"/>
                  </a:lnTo>
                  <a:lnTo>
                    <a:pt x="37" y="122"/>
                  </a:lnTo>
                  <a:lnTo>
                    <a:pt x="39" y="121"/>
                  </a:lnTo>
                  <a:lnTo>
                    <a:pt x="42" y="121"/>
                  </a:lnTo>
                  <a:lnTo>
                    <a:pt x="44" y="121"/>
                  </a:lnTo>
                  <a:lnTo>
                    <a:pt x="44" y="122"/>
                  </a:lnTo>
                  <a:lnTo>
                    <a:pt x="45" y="122"/>
                  </a:lnTo>
                  <a:lnTo>
                    <a:pt x="48" y="125"/>
                  </a:lnTo>
                  <a:lnTo>
                    <a:pt x="48" y="127"/>
                  </a:lnTo>
                  <a:lnTo>
                    <a:pt x="50" y="127"/>
                  </a:lnTo>
                  <a:lnTo>
                    <a:pt x="52" y="125"/>
                  </a:lnTo>
                  <a:lnTo>
                    <a:pt x="53" y="124"/>
                  </a:lnTo>
                  <a:lnTo>
                    <a:pt x="53" y="124"/>
                  </a:lnTo>
                  <a:lnTo>
                    <a:pt x="55" y="124"/>
                  </a:lnTo>
                  <a:lnTo>
                    <a:pt x="59" y="122"/>
                  </a:lnTo>
                  <a:lnTo>
                    <a:pt x="61" y="121"/>
                  </a:lnTo>
                  <a:lnTo>
                    <a:pt x="62" y="121"/>
                  </a:lnTo>
                  <a:lnTo>
                    <a:pt x="62" y="121"/>
                  </a:lnTo>
                  <a:lnTo>
                    <a:pt x="67" y="121"/>
                  </a:lnTo>
                  <a:lnTo>
                    <a:pt x="70" y="119"/>
                  </a:lnTo>
                  <a:lnTo>
                    <a:pt x="72" y="118"/>
                  </a:lnTo>
                  <a:lnTo>
                    <a:pt x="73" y="116"/>
                  </a:lnTo>
                  <a:lnTo>
                    <a:pt x="73" y="115"/>
                  </a:lnTo>
                  <a:lnTo>
                    <a:pt x="73" y="115"/>
                  </a:lnTo>
                  <a:lnTo>
                    <a:pt x="77" y="113"/>
                  </a:lnTo>
                  <a:lnTo>
                    <a:pt x="78" y="113"/>
                  </a:lnTo>
                  <a:lnTo>
                    <a:pt x="80" y="113"/>
                  </a:lnTo>
                  <a:lnTo>
                    <a:pt x="80" y="111"/>
                  </a:lnTo>
                  <a:lnTo>
                    <a:pt x="80" y="111"/>
                  </a:lnTo>
                  <a:lnTo>
                    <a:pt x="83" y="110"/>
                  </a:lnTo>
                  <a:lnTo>
                    <a:pt x="84" y="110"/>
                  </a:lnTo>
                  <a:lnTo>
                    <a:pt x="84" y="110"/>
                  </a:lnTo>
                  <a:lnTo>
                    <a:pt x="86" y="110"/>
                  </a:lnTo>
                  <a:lnTo>
                    <a:pt x="89" y="110"/>
                  </a:lnTo>
                  <a:lnTo>
                    <a:pt x="89" y="110"/>
                  </a:lnTo>
                  <a:lnTo>
                    <a:pt x="92" y="108"/>
                  </a:lnTo>
                  <a:lnTo>
                    <a:pt x="92" y="108"/>
                  </a:lnTo>
                  <a:lnTo>
                    <a:pt x="94" y="108"/>
                  </a:lnTo>
                  <a:lnTo>
                    <a:pt x="95" y="107"/>
                  </a:lnTo>
                  <a:lnTo>
                    <a:pt x="95" y="107"/>
                  </a:lnTo>
                  <a:lnTo>
                    <a:pt x="95" y="107"/>
                  </a:lnTo>
                  <a:lnTo>
                    <a:pt x="95" y="107"/>
                  </a:lnTo>
                  <a:lnTo>
                    <a:pt x="98" y="108"/>
                  </a:lnTo>
                  <a:lnTo>
                    <a:pt x="100" y="108"/>
                  </a:lnTo>
                  <a:lnTo>
                    <a:pt x="102" y="110"/>
                  </a:lnTo>
                  <a:lnTo>
                    <a:pt x="103" y="110"/>
                  </a:lnTo>
                  <a:lnTo>
                    <a:pt x="103" y="110"/>
                  </a:lnTo>
                  <a:lnTo>
                    <a:pt x="105" y="111"/>
                  </a:lnTo>
                  <a:lnTo>
                    <a:pt x="105" y="111"/>
                  </a:lnTo>
                  <a:lnTo>
                    <a:pt x="105" y="113"/>
                  </a:lnTo>
                  <a:lnTo>
                    <a:pt x="106" y="113"/>
                  </a:lnTo>
                  <a:lnTo>
                    <a:pt x="108" y="113"/>
                  </a:lnTo>
                  <a:lnTo>
                    <a:pt x="109" y="113"/>
                  </a:lnTo>
                  <a:lnTo>
                    <a:pt x="109" y="115"/>
                  </a:lnTo>
                  <a:lnTo>
                    <a:pt x="109" y="116"/>
                  </a:lnTo>
                  <a:lnTo>
                    <a:pt x="109" y="116"/>
                  </a:lnTo>
                  <a:lnTo>
                    <a:pt x="109" y="115"/>
                  </a:lnTo>
                  <a:lnTo>
                    <a:pt x="111" y="116"/>
                  </a:lnTo>
                  <a:lnTo>
                    <a:pt x="111" y="116"/>
                  </a:lnTo>
                  <a:lnTo>
                    <a:pt x="111" y="118"/>
                  </a:lnTo>
                  <a:lnTo>
                    <a:pt x="113" y="116"/>
                  </a:lnTo>
                  <a:lnTo>
                    <a:pt x="113" y="116"/>
                  </a:lnTo>
                  <a:lnTo>
                    <a:pt x="114" y="116"/>
                  </a:lnTo>
                  <a:lnTo>
                    <a:pt x="117" y="116"/>
                  </a:lnTo>
                  <a:lnTo>
                    <a:pt x="119" y="119"/>
                  </a:lnTo>
                  <a:lnTo>
                    <a:pt x="119" y="121"/>
                  </a:lnTo>
                  <a:lnTo>
                    <a:pt x="119" y="121"/>
                  </a:lnTo>
                  <a:lnTo>
                    <a:pt x="120" y="121"/>
                  </a:lnTo>
                  <a:lnTo>
                    <a:pt x="122" y="121"/>
                  </a:lnTo>
                  <a:lnTo>
                    <a:pt x="122" y="119"/>
                  </a:lnTo>
                  <a:lnTo>
                    <a:pt x="123" y="121"/>
                  </a:lnTo>
                  <a:lnTo>
                    <a:pt x="125" y="122"/>
                  </a:lnTo>
                  <a:lnTo>
                    <a:pt x="125" y="125"/>
                  </a:lnTo>
                  <a:lnTo>
                    <a:pt x="125" y="127"/>
                  </a:lnTo>
                  <a:lnTo>
                    <a:pt x="123" y="129"/>
                  </a:lnTo>
                  <a:lnTo>
                    <a:pt x="123" y="130"/>
                  </a:lnTo>
                  <a:lnTo>
                    <a:pt x="123" y="132"/>
                  </a:lnTo>
                  <a:lnTo>
                    <a:pt x="123" y="133"/>
                  </a:lnTo>
                  <a:lnTo>
                    <a:pt x="123" y="133"/>
                  </a:lnTo>
                  <a:lnTo>
                    <a:pt x="125" y="133"/>
                  </a:lnTo>
                  <a:lnTo>
                    <a:pt x="127" y="135"/>
                  </a:lnTo>
                  <a:lnTo>
                    <a:pt x="128" y="136"/>
                  </a:lnTo>
                  <a:lnTo>
                    <a:pt x="128" y="136"/>
                  </a:lnTo>
                  <a:lnTo>
                    <a:pt x="128" y="138"/>
                  </a:lnTo>
                  <a:lnTo>
                    <a:pt x="130" y="138"/>
                  </a:lnTo>
                  <a:lnTo>
                    <a:pt x="130" y="138"/>
                  </a:lnTo>
                  <a:lnTo>
                    <a:pt x="130" y="140"/>
                  </a:lnTo>
                  <a:lnTo>
                    <a:pt x="130" y="141"/>
                  </a:lnTo>
                  <a:lnTo>
                    <a:pt x="130" y="143"/>
                  </a:lnTo>
                  <a:lnTo>
                    <a:pt x="130" y="143"/>
                  </a:lnTo>
                  <a:lnTo>
                    <a:pt x="131" y="144"/>
                  </a:lnTo>
                  <a:lnTo>
                    <a:pt x="131" y="146"/>
                  </a:lnTo>
                  <a:lnTo>
                    <a:pt x="131" y="146"/>
                  </a:lnTo>
                  <a:lnTo>
                    <a:pt x="131" y="147"/>
                  </a:lnTo>
                  <a:lnTo>
                    <a:pt x="133" y="149"/>
                  </a:lnTo>
                  <a:lnTo>
                    <a:pt x="136" y="149"/>
                  </a:lnTo>
                  <a:lnTo>
                    <a:pt x="138" y="151"/>
                  </a:lnTo>
                  <a:lnTo>
                    <a:pt x="138" y="152"/>
                  </a:lnTo>
                  <a:lnTo>
                    <a:pt x="138" y="155"/>
                  </a:lnTo>
                  <a:lnTo>
                    <a:pt x="138" y="157"/>
                  </a:lnTo>
                  <a:lnTo>
                    <a:pt x="141" y="160"/>
                  </a:lnTo>
                  <a:lnTo>
                    <a:pt x="141" y="160"/>
                  </a:lnTo>
                  <a:lnTo>
                    <a:pt x="139" y="161"/>
                  </a:lnTo>
                  <a:lnTo>
                    <a:pt x="139" y="161"/>
                  </a:lnTo>
                  <a:lnTo>
                    <a:pt x="136" y="161"/>
                  </a:lnTo>
                  <a:lnTo>
                    <a:pt x="136" y="161"/>
                  </a:lnTo>
                  <a:lnTo>
                    <a:pt x="136" y="161"/>
                  </a:lnTo>
                  <a:lnTo>
                    <a:pt x="136" y="161"/>
                  </a:lnTo>
                  <a:lnTo>
                    <a:pt x="136" y="161"/>
                  </a:lnTo>
                  <a:lnTo>
                    <a:pt x="134" y="160"/>
                  </a:lnTo>
                  <a:lnTo>
                    <a:pt x="133" y="160"/>
                  </a:lnTo>
                  <a:lnTo>
                    <a:pt x="133" y="160"/>
                  </a:lnTo>
                  <a:lnTo>
                    <a:pt x="133" y="160"/>
                  </a:lnTo>
                  <a:lnTo>
                    <a:pt x="131" y="160"/>
                  </a:lnTo>
                  <a:lnTo>
                    <a:pt x="131" y="160"/>
                  </a:lnTo>
                  <a:lnTo>
                    <a:pt x="131" y="160"/>
                  </a:lnTo>
                  <a:lnTo>
                    <a:pt x="130" y="160"/>
                  </a:lnTo>
                  <a:lnTo>
                    <a:pt x="128" y="160"/>
                  </a:lnTo>
                  <a:lnTo>
                    <a:pt x="128" y="160"/>
                  </a:lnTo>
                  <a:lnTo>
                    <a:pt x="128" y="160"/>
                  </a:lnTo>
                  <a:lnTo>
                    <a:pt x="127" y="160"/>
                  </a:lnTo>
                  <a:lnTo>
                    <a:pt x="127" y="158"/>
                  </a:lnTo>
                  <a:lnTo>
                    <a:pt x="125" y="161"/>
                  </a:lnTo>
                  <a:lnTo>
                    <a:pt x="125" y="161"/>
                  </a:lnTo>
                  <a:lnTo>
                    <a:pt x="125" y="161"/>
                  </a:lnTo>
                  <a:lnTo>
                    <a:pt x="125" y="161"/>
                  </a:lnTo>
                  <a:lnTo>
                    <a:pt x="125" y="161"/>
                  </a:lnTo>
                  <a:lnTo>
                    <a:pt x="125" y="161"/>
                  </a:lnTo>
                  <a:lnTo>
                    <a:pt x="125" y="158"/>
                  </a:lnTo>
                  <a:lnTo>
                    <a:pt x="123" y="157"/>
                  </a:lnTo>
                  <a:lnTo>
                    <a:pt x="123" y="157"/>
                  </a:lnTo>
                  <a:lnTo>
                    <a:pt x="122" y="158"/>
                  </a:lnTo>
                  <a:lnTo>
                    <a:pt x="122" y="158"/>
                  </a:lnTo>
                  <a:lnTo>
                    <a:pt x="120" y="158"/>
                  </a:lnTo>
                  <a:lnTo>
                    <a:pt x="120" y="160"/>
                  </a:lnTo>
                  <a:lnTo>
                    <a:pt x="120" y="161"/>
                  </a:lnTo>
                  <a:lnTo>
                    <a:pt x="120" y="163"/>
                  </a:lnTo>
                  <a:lnTo>
                    <a:pt x="120" y="166"/>
                  </a:lnTo>
                  <a:lnTo>
                    <a:pt x="120" y="168"/>
                  </a:lnTo>
                  <a:lnTo>
                    <a:pt x="120" y="169"/>
                  </a:lnTo>
                  <a:lnTo>
                    <a:pt x="119" y="171"/>
                  </a:lnTo>
                  <a:lnTo>
                    <a:pt x="116" y="172"/>
                  </a:lnTo>
                  <a:lnTo>
                    <a:pt x="116" y="174"/>
                  </a:lnTo>
                  <a:lnTo>
                    <a:pt x="116" y="176"/>
                  </a:lnTo>
                  <a:lnTo>
                    <a:pt x="116" y="176"/>
                  </a:lnTo>
                  <a:lnTo>
                    <a:pt x="116" y="176"/>
                  </a:lnTo>
                  <a:lnTo>
                    <a:pt x="113" y="177"/>
                  </a:lnTo>
                  <a:lnTo>
                    <a:pt x="113" y="179"/>
                  </a:lnTo>
                  <a:lnTo>
                    <a:pt x="113" y="180"/>
                  </a:lnTo>
                  <a:lnTo>
                    <a:pt x="113" y="182"/>
                  </a:lnTo>
                  <a:lnTo>
                    <a:pt x="113" y="182"/>
                  </a:lnTo>
                  <a:lnTo>
                    <a:pt x="113" y="183"/>
                  </a:lnTo>
                  <a:lnTo>
                    <a:pt x="111" y="183"/>
                  </a:lnTo>
                  <a:lnTo>
                    <a:pt x="109" y="183"/>
                  </a:lnTo>
                  <a:lnTo>
                    <a:pt x="108" y="183"/>
                  </a:lnTo>
                  <a:lnTo>
                    <a:pt x="108" y="185"/>
                  </a:lnTo>
                  <a:lnTo>
                    <a:pt x="108" y="185"/>
                  </a:lnTo>
                  <a:lnTo>
                    <a:pt x="106" y="185"/>
                  </a:lnTo>
                  <a:lnTo>
                    <a:pt x="109" y="186"/>
                  </a:lnTo>
                  <a:lnTo>
                    <a:pt x="111" y="188"/>
                  </a:lnTo>
                  <a:lnTo>
                    <a:pt x="117" y="190"/>
                  </a:lnTo>
                  <a:lnTo>
                    <a:pt x="117" y="190"/>
                  </a:lnTo>
                  <a:lnTo>
                    <a:pt x="117" y="190"/>
                  </a:lnTo>
                  <a:lnTo>
                    <a:pt x="117" y="190"/>
                  </a:lnTo>
                  <a:lnTo>
                    <a:pt x="117" y="190"/>
                  </a:lnTo>
                  <a:lnTo>
                    <a:pt x="117" y="190"/>
                  </a:lnTo>
                  <a:lnTo>
                    <a:pt x="117" y="190"/>
                  </a:lnTo>
                  <a:lnTo>
                    <a:pt x="117" y="188"/>
                  </a:lnTo>
                  <a:lnTo>
                    <a:pt x="117" y="188"/>
                  </a:lnTo>
                  <a:lnTo>
                    <a:pt x="117" y="188"/>
                  </a:lnTo>
                  <a:lnTo>
                    <a:pt x="119" y="188"/>
                  </a:lnTo>
                  <a:lnTo>
                    <a:pt x="122" y="188"/>
                  </a:lnTo>
                  <a:lnTo>
                    <a:pt x="125" y="185"/>
                  </a:lnTo>
                  <a:lnTo>
                    <a:pt x="128" y="185"/>
                  </a:lnTo>
                  <a:lnTo>
                    <a:pt x="131" y="186"/>
                  </a:lnTo>
                  <a:lnTo>
                    <a:pt x="133" y="188"/>
                  </a:lnTo>
                  <a:lnTo>
                    <a:pt x="133" y="190"/>
                  </a:lnTo>
                  <a:lnTo>
                    <a:pt x="133" y="186"/>
                  </a:lnTo>
                  <a:lnTo>
                    <a:pt x="133" y="182"/>
                  </a:lnTo>
                  <a:lnTo>
                    <a:pt x="131" y="180"/>
                  </a:lnTo>
                  <a:lnTo>
                    <a:pt x="131" y="179"/>
                  </a:lnTo>
                  <a:lnTo>
                    <a:pt x="131" y="177"/>
                  </a:lnTo>
                  <a:lnTo>
                    <a:pt x="133" y="177"/>
                  </a:lnTo>
                  <a:lnTo>
                    <a:pt x="136" y="177"/>
                  </a:lnTo>
                  <a:lnTo>
                    <a:pt x="136" y="177"/>
                  </a:lnTo>
                  <a:lnTo>
                    <a:pt x="139" y="176"/>
                  </a:lnTo>
                  <a:lnTo>
                    <a:pt x="142" y="174"/>
                  </a:lnTo>
                  <a:lnTo>
                    <a:pt x="142" y="174"/>
                  </a:lnTo>
                  <a:lnTo>
                    <a:pt x="147" y="168"/>
                  </a:lnTo>
                  <a:lnTo>
                    <a:pt x="147" y="168"/>
                  </a:lnTo>
                  <a:lnTo>
                    <a:pt x="150" y="165"/>
                  </a:lnTo>
                  <a:lnTo>
                    <a:pt x="150" y="163"/>
                  </a:lnTo>
                  <a:lnTo>
                    <a:pt x="152" y="161"/>
                  </a:lnTo>
                  <a:lnTo>
                    <a:pt x="152" y="158"/>
                  </a:lnTo>
                  <a:lnTo>
                    <a:pt x="153" y="157"/>
                  </a:lnTo>
                  <a:lnTo>
                    <a:pt x="158" y="155"/>
                  </a:lnTo>
                  <a:lnTo>
                    <a:pt x="161" y="155"/>
                  </a:lnTo>
                  <a:lnTo>
                    <a:pt x="163" y="155"/>
                  </a:lnTo>
                  <a:lnTo>
                    <a:pt x="164" y="152"/>
                  </a:lnTo>
                  <a:lnTo>
                    <a:pt x="166" y="151"/>
                  </a:lnTo>
                  <a:lnTo>
                    <a:pt x="166" y="154"/>
                  </a:lnTo>
                  <a:lnTo>
                    <a:pt x="167" y="154"/>
                  </a:lnTo>
                  <a:lnTo>
                    <a:pt x="170" y="155"/>
                  </a:lnTo>
                  <a:lnTo>
                    <a:pt x="172" y="154"/>
                  </a:lnTo>
                  <a:lnTo>
                    <a:pt x="172" y="152"/>
                  </a:lnTo>
                  <a:lnTo>
                    <a:pt x="172" y="147"/>
                  </a:lnTo>
                  <a:lnTo>
                    <a:pt x="172" y="146"/>
                  </a:lnTo>
                  <a:lnTo>
                    <a:pt x="170" y="143"/>
                  </a:lnTo>
                  <a:lnTo>
                    <a:pt x="169" y="140"/>
                  </a:lnTo>
                  <a:lnTo>
                    <a:pt x="170" y="141"/>
                  </a:lnTo>
                  <a:lnTo>
                    <a:pt x="172" y="143"/>
                  </a:lnTo>
                  <a:lnTo>
                    <a:pt x="172" y="146"/>
                  </a:lnTo>
                  <a:lnTo>
                    <a:pt x="173" y="149"/>
                  </a:lnTo>
                  <a:lnTo>
                    <a:pt x="172" y="151"/>
                  </a:lnTo>
                  <a:lnTo>
                    <a:pt x="173" y="152"/>
                  </a:lnTo>
                  <a:lnTo>
                    <a:pt x="175" y="154"/>
                  </a:lnTo>
                  <a:lnTo>
                    <a:pt x="175" y="155"/>
                  </a:lnTo>
                  <a:lnTo>
                    <a:pt x="180" y="157"/>
                  </a:lnTo>
                  <a:lnTo>
                    <a:pt x="184" y="155"/>
                  </a:lnTo>
                  <a:lnTo>
                    <a:pt x="183" y="155"/>
                  </a:lnTo>
                  <a:lnTo>
                    <a:pt x="181" y="157"/>
                  </a:lnTo>
                  <a:lnTo>
                    <a:pt x="180" y="158"/>
                  </a:lnTo>
                  <a:lnTo>
                    <a:pt x="175" y="158"/>
                  </a:lnTo>
                  <a:lnTo>
                    <a:pt x="172" y="157"/>
                  </a:lnTo>
                  <a:lnTo>
                    <a:pt x="169" y="157"/>
                  </a:lnTo>
                  <a:lnTo>
                    <a:pt x="166" y="157"/>
                  </a:lnTo>
                  <a:lnTo>
                    <a:pt x="167" y="158"/>
                  </a:lnTo>
                  <a:lnTo>
                    <a:pt x="169" y="158"/>
                  </a:lnTo>
                  <a:lnTo>
                    <a:pt x="170" y="158"/>
                  </a:lnTo>
                  <a:lnTo>
                    <a:pt x="173" y="160"/>
                  </a:lnTo>
                  <a:lnTo>
                    <a:pt x="173" y="161"/>
                  </a:lnTo>
                  <a:lnTo>
                    <a:pt x="173" y="161"/>
                  </a:lnTo>
                  <a:lnTo>
                    <a:pt x="172" y="161"/>
                  </a:lnTo>
                  <a:lnTo>
                    <a:pt x="170" y="161"/>
                  </a:lnTo>
                  <a:lnTo>
                    <a:pt x="170" y="163"/>
                  </a:lnTo>
                  <a:lnTo>
                    <a:pt x="170" y="163"/>
                  </a:lnTo>
                  <a:lnTo>
                    <a:pt x="172" y="163"/>
                  </a:lnTo>
                  <a:lnTo>
                    <a:pt x="173" y="165"/>
                  </a:lnTo>
                  <a:lnTo>
                    <a:pt x="180" y="168"/>
                  </a:lnTo>
                  <a:lnTo>
                    <a:pt x="181" y="169"/>
                  </a:lnTo>
                  <a:lnTo>
                    <a:pt x="188" y="168"/>
                  </a:lnTo>
                  <a:lnTo>
                    <a:pt x="191" y="168"/>
                  </a:lnTo>
                  <a:lnTo>
                    <a:pt x="195" y="166"/>
                  </a:lnTo>
                  <a:lnTo>
                    <a:pt x="195" y="168"/>
                  </a:lnTo>
                  <a:lnTo>
                    <a:pt x="199" y="169"/>
                  </a:lnTo>
                  <a:lnTo>
                    <a:pt x="200" y="169"/>
                  </a:lnTo>
                  <a:lnTo>
                    <a:pt x="202" y="168"/>
                  </a:lnTo>
                  <a:lnTo>
                    <a:pt x="202" y="169"/>
                  </a:lnTo>
                  <a:lnTo>
                    <a:pt x="203" y="172"/>
                  </a:lnTo>
                  <a:lnTo>
                    <a:pt x="199" y="174"/>
                  </a:lnTo>
                  <a:lnTo>
                    <a:pt x="195" y="177"/>
                  </a:lnTo>
                  <a:lnTo>
                    <a:pt x="194" y="177"/>
                  </a:lnTo>
                  <a:lnTo>
                    <a:pt x="188" y="180"/>
                  </a:lnTo>
                  <a:lnTo>
                    <a:pt x="183" y="185"/>
                  </a:lnTo>
                  <a:lnTo>
                    <a:pt x="183" y="186"/>
                  </a:lnTo>
                  <a:lnTo>
                    <a:pt x="184" y="188"/>
                  </a:lnTo>
                  <a:lnTo>
                    <a:pt x="188" y="186"/>
                  </a:lnTo>
                  <a:lnTo>
                    <a:pt x="189" y="186"/>
                  </a:lnTo>
                  <a:lnTo>
                    <a:pt x="194" y="191"/>
                  </a:lnTo>
                  <a:lnTo>
                    <a:pt x="195" y="191"/>
                  </a:lnTo>
                  <a:lnTo>
                    <a:pt x="199" y="191"/>
                  </a:lnTo>
                  <a:lnTo>
                    <a:pt x="200" y="193"/>
                  </a:lnTo>
                  <a:lnTo>
                    <a:pt x="202" y="196"/>
                  </a:lnTo>
                  <a:lnTo>
                    <a:pt x="202" y="197"/>
                  </a:lnTo>
                  <a:lnTo>
                    <a:pt x="200" y="204"/>
                  </a:lnTo>
                  <a:lnTo>
                    <a:pt x="200" y="205"/>
                  </a:lnTo>
                  <a:lnTo>
                    <a:pt x="199" y="205"/>
                  </a:lnTo>
                  <a:lnTo>
                    <a:pt x="199" y="207"/>
                  </a:lnTo>
                  <a:lnTo>
                    <a:pt x="203" y="210"/>
                  </a:lnTo>
                  <a:lnTo>
                    <a:pt x="205" y="210"/>
                  </a:lnTo>
                  <a:lnTo>
                    <a:pt x="206" y="210"/>
                  </a:lnTo>
                  <a:lnTo>
                    <a:pt x="209" y="210"/>
                  </a:lnTo>
                  <a:lnTo>
                    <a:pt x="214" y="207"/>
                  </a:lnTo>
                  <a:lnTo>
                    <a:pt x="217" y="202"/>
                  </a:lnTo>
                  <a:lnTo>
                    <a:pt x="222" y="201"/>
                  </a:lnTo>
                  <a:lnTo>
                    <a:pt x="224" y="201"/>
                  </a:lnTo>
                  <a:lnTo>
                    <a:pt x="228" y="201"/>
                  </a:lnTo>
                  <a:lnTo>
                    <a:pt x="228" y="197"/>
                  </a:lnTo>
                  <a:lnTo>
                    <a:pt x="233" y="196"/>
                  </a:lnTo>
                  <a:lnTo>
                    <a:pt x="234" y="193"/>
                  </a:lnTo>
                  <a:lnTo>
                    <a:pt x="236" y="193"/>
                  </a:lnTo>
                  <a:lnTo>
                    <a:pt x="238" y="193"/>
                  </a:lnTo>
                  <a:lnTo>
                    <a:pt x="239" y="194"/>
                  </a:lnTo>
                  <a:lnTo>
                    <a:pt x="241" y="194"/>
                  </a:lnTo>
                  <a:lnTo>
                    <a:pt x="241" y="196"/>
                  </a:lnTo>
                  <a:lnTo>
                    <a:pt x="245" y="194"/>
                  </a:lnTo>
                  <a:lnTo>
                    <a:pt x="249" y="194"/>
                  </a:lnTo>
                  <a:lnTo>
                    <a:pt x="250" y="194"/>
                  </a:lnTo>
                  <a:lnTo>
                    <a:pt x="252" y="191"/>
                  </a:lnTo>
                  <a:lnTo>
                    <a:pt x="252" y="190"/>
                  </a:lnTo>
                  <a:lnTo>
                    <a:pt x="253" y="188"/>
                  </a:lnTo>
                  <a:lnTo>
                    <a:pt x="253" y="186"/>
                  </a:lnTo>
                  <a:lnTo>
                    <a:pt x="252" y="185"/>
                  </a:lnTo>
                  <a:lnTo>
                    <a:pt x="249" y="185"/>
                  </a:lnTo>
                  <a:lnTo>
                    <a:pt x="247" y="185"/>
                  </a:lnTo>
                  <a:lnTo>
                    <a:pt x="245" y="185"/>
                  </a:lnTo>
                  <a:lnTo>
                    <a:pt x="244" y="186"/>
                  </a:lnTo>
                  <a:lnTo>
                    <a:pt x="241" y="185"/>
                  </a:lnTo>
                  <a:lnTo>
                    <a:pt x="239" y="186"/>
                  </a:lnTo>
                  <a:lnTo>
                    <a:pt x="236" y="188"/>
                  </a:lnTo>
                  <a:lnTo>
                    <a:pt x="234" y="188"/>
                  </a:lnTo>
                  <a:lnTo>
                    <a:pt x="233" y="186"/>
                  </a:lnTo>
                  <a:lnTo>
                    <a:pt x="231" y="185"/>
                  </a:lnTo>
                  <a:lnTo>
                    <a:pt x="227" y="179"/>
                  </a:lnTo>
                  <a:lnTo>
                    <a:pt x="225" y="174"/>
                  </a:lnTo>
                  <a:lnTo>
                    <a:pt x="224" y="171"/>
                  </a:lnTo>
                  <a:lnTo>
                    <a:pt x="224" y="169"/>
                  </a:lnTo>
                  <a:lnTo>
                    <a:pt x="224" y="166"/>
                  </a:lnTo>
                  <a:lnTo>
                    <a:pt x="225" y="165"/>
                  </a:lnTo>
                  <a:lnTo>
                    <a:pt x="227" y="165"/>
                  </a:lnTo>
                  <a:lnTo>
                    <a:pt x="230" y="160"/>
                  </a:lnTo>
                  <a:lnTo>
                    <a:pt x="231" y="161"/>
                  </a:lnTo>
                  <a:lnTo>
                    <a:pt x="231" y="163"/>
                  </a:lnTo>
                  <a:lnTo>
                    <a:pt x="231" y="163"/>
                  </a:lnTo>
                  <a:lnTo>
                    <a:pt x="230" y="165"/>
                  </a:lnTo>
                  <a:lnTo>
                    <a:pt x="227" y="168"/>
                  </a:lnTo>
                  <a:lnTo>
                    <a:pt x="227" y="168"/>
                  </a:lnTo>
                  <a:lnTo>
                    <a:pt x="228" y="168"/>
                  </a:lnTo>
                  <a:lnTo>
                    <a:pt x="230" y="166"/>
                  </a:lnTo>
                  <a:lnTo>
                    <a:pt x="231" y="166"/>
                  </a:lnTo>
                  <a:lnTo>
                    <a:pt x="233" y="161"/>
                  </a:lnTo>
                  <a:lnTo>
                    <a:pt x="241" y="155"/>
                  </a:lnTo>
                  <a:lnTo>
                    <a:pt x="244" y="154"/>
                  </a:lnTo>
                  <a:lnTo>
                    <a:pt x="247" y="154"/>
                  </a:lnTo>
                  <a:lnTo>
                    <a:pt x="249" y="154"/>
                  </a:lnTo>
                  <a:lnTo>
                    <a:pt x="252" y="152"/>
                  </a:lnTo>
                  <a:lnTo>
                    <a:pt x="253" y="151"/>
                  </a:lnTo>
                  <a:lnTo>
                    <a:pt x="256" y="151"/>
                  </a:lnTo>
                  <a:lnTo>
                    <a:pt x="258" y="152"/>
                  </a:lnTo>
                  <a:lnTo>
                    <a:pt x="259" y="149"/>
                  </a:lnTo>
                  <a:lnTo>
                    <a:pt x="263" y="149"/>
                  </a:lnTo>
                  <a:lnTo>
                    <a:pt x="266" y="147"/>
                  </a:lnTo>
                  <a:lnTo>
                    <a:pt x="267" y="147"/>
                  </a:lnTo>
                  <a:lnTo>
                    <a:pt x="270" y="143"/>
                  </a:lnTo>
                  <a:lnTo>
                    <a:pt x="275" y="143"/>
                  </a:lnTo>
                  <a:lnTo>
                    <a:pt x="281" y="143"/>
                  </a:lnTo>
                  <a:lnTo>
                    <a:pt x="283" y="143"/>
                  </a:lnTo>
                  <a:lnTo>
                    <a:pt x="283" y="141"/>
                  </a:lnTo>
                  <a:lnTo>
                    <a:pt x="283" y="141"/>
                  </a:lnTo>
                  <a:lnTo>
                    <a:pt x="283" y="140"/>
                  </a:lnTo>
                  <a:lnTo>
                    <a:pt x="283" y="140"/>
                  </a:lnTo>
                  <a:lnTo>
                    <a:pt x="284" y="138"/>
                  </a:lnTo>
                  <a:lnTo>
                    <a:pt x="284" y="138"/>
                  </a:lnTo>
                  <a:lnTo>
                    <a:pt x="283" y="138"/>
                  </a:lnTo>
                  <a:lnTo>
                    <a:pt x="283" y="138"/>
                  </a:lnTo>
                  <a:lnTo>
                    <a:pt x="283" y="136"/>
                  </a:lnTo>
                  <a:lnTo>
                    <a:pt x="283" y="136"/>
                  </a:lnTo>
                  <a:lnTo>
                    <a:pt x="283" y="135"/>
                  </a:lnTo>
                  <a:lnTo>
                    <a:pt x="283" y="135"/>
                  </a:lnTo>
                  <a:lnTo>
                    <a:pt x="283" y="133"/>
                  </a:lnTo>
                  <a:lnTo>
                    <a:pt x="284" y="130"/>
                  </a:lnTo>
                  <a:lnTo>
                    <a:pt x="286" y="130"/>
                  </a:lnTo>
                  <a:lnTo>
                    <a:pt x="288" y="129"/>
                  </a:lnTo>
                  <a:lnTo>
                    <a:pt x="291" y="129"/>
                  </a:lnTo>
                  <a:lnTo>
                    <a:pt x="291" y="127"/>
                  </a:lnTo>
                  <a:lnTo>
                    <a:pt x="294" y="124"/>
                  </a:lnTo>
                  <a:lnTo>
                    <a:pt x="294" y="122"/>
                  </a:lnTo>
                  <a:lnTo>
                    <a:pt x="297" y="124"/>
                  </a:lnTo>
                  <a:lnTo>
                    <a:pt x="299" y="124"/>
                  </a:lnTo>
                  <a:lnTo>
                    <a:pt x="303" y="124"/>
                  </a:lnTo>
                  <a:lnTo>
                    <a:pt x="308" y="124"/>
                  </a:lnTo>
                  <a:lnTo>
                    <a:pt x="310" y="124"/>
                  </a:lnTo>
                  <a:lnTo>
                    <a:pt x="310" y="122"/>
                  </a:lnTo>
                  <a:lnTo>
                    <a:pt x="310" y="121"/>
                  </a:lnTo>
                  <a:lnTo>
                    <a:pt x="311" y="118"/>
                  </a:lnTo>
                  <a:lnTo>
                    <a:pt x="311" y="118"/>
                  </a:lnTo>
                  <a:lnTo>
                    <a:pt x="313" y="115"/>
                  </a:lnTo>
                  <a:lnTo>
                    <a:pt x="313" y="113"/>
                  </a:lnTo>
                  <a:lnTo>
                    <a:pt x="313" y="113"/>
                  </a:lnTo>
                  <a:lnTo>
                    <a:pt x="313" y="113"/>
                  </a:lnTo>
                  <a:lnTo>
                    <a:pt x="313" y="111"/>
                  </a:lnTo>
                  <a:lnTo>
                    <a:pt x="311" y="111"/>
                  </a:lnTo>
                  <a:lnTo>
                    <a:pt x="311" y="111"/>
                  </a:lnTo>
                  <a:lnTo>
                    <a:pt x="311" y="111"/>
                  </a:lnTo>
                  <a:lnTo>
                    <a:pt x="311" y="111"/>
                  </a:lnTo>
                  <a:lnTo>
                    <a:pt x="311" y="110"/>
                  </a:lnTo>
                  <a:lnTo>
                    <a:pt x="311" y="110"/>
                  </a:lnTo>
                  <a:lnTo>
                    <a:pt x="313" y="110"/>
                  </a:lnTo>
                  <a:lnTo>
                    <a:pt x="313" y="108"/>
                  </a:lnTo>
                  <a:lnTo>
                    <a:pt x="311" y="107"/>
                  </a:lnTo>
                  <a:lnTo>
                    <a:pt x="311" y="105"/>
                  </a:lnTo>
                  <a:lnTo>
                    <a:pt x="311" y="105"/>
                  </a:lnTo>
                  <a:lnTo>
                    <a:pt x="311" y="105"/>
                  </a:lnTo>
                  <a:lnTo>
                    <a:pt x="310" y="104"/>
                  </a:lnTo>
                  <a:lnTo>
                    <a:pt x="310" y="104"/>
                  </a:lnTo>
                  <a:lnTo>
                    <a:pt x="308" y="104"/>
                  </a:lnTo>
                  <a:lnTo>
                    <a:pt x="308" y="104"/>
                  </a:lnTo>
                  <a:lnTo>
                    <a:pt x="308" y="102"/>
                  </a:lnTo>
                  <a:lnTo>
                    <a:pt x="308" y="102"/>
                  </a:lnTo>
                  <a:lnTo>
                    <a:pt x="310" y="100"/>
                  </a:lnTo>
                  <a:lnTo>
                    <a:pt x="310" y="99"/>
                  </a:lnTo>
                  <a:lnTo>
                    <a:pt x="310" y="99"/>
                  </a:lnTo>
                  <a:lnTo>
                    <a:pt x="311" y="97"/>
                  </a:lnTo>
                  <a:lnTo>
                    <a:pt x="311" y="97"/>
                  </a:lnTo>
                  <a:lnTo>
                    <a:pt x="313" y="99"/>
                  </a:lnTo>
                  <a:lnTo>
                    <a:pt x="314" y="97"/>
                  </a:lnTo>
                  <a:lnTo>
                    <a:pt x="314" y="97"/>
                  </a:lnTo>
                  <a:lnTo>
                    <a:pt x="314" y="97"/>
                  </a:lnTo>
                  <a:lnTo>
                    <a:pt x="314" y="97"/>
                  </a:lnTo>
                  <a:lnTo>
                    <a:pt x="311" y="96"/>
                  </a:lnTo>
                  <a:lnTo>
                    <a:pt x="310" y="96"/>
                  </a:lnTo>
                  <a:lnTo>
                    <a:pt x="310" y="94"/>
                  </a:lnTo>
                  <a:lnTo>
                    <a:pt x="310" y="94"/>
                  </a:lnTo>
                  <a:lnTo>
                    <a:pt x="308" y="93"/>
                  </a:lnTo>
                  <a:lnTo>
                    <a:pt x="308" y="93"/>
                  </a:lnTo>
                  <a:lnTo>
                    <a:pt x="310" y="91"/>
                  </a:lnTo>
                  <a:lnTo>
                    <a:pt x="313" y="91"/>
                  </a:lnTo>
                  <a:lnTo>
                    <a:pt x="314" y="89"/>
                  </a:lnTo>
                  <a:lnTo>
                    <a:pt x="316" y="88"/>
                  </a:lnTo>
                  <a:lnTo>
                    <a:pt x="316" y="86"/>
                  </a:lnTo>
                  <a:lnTo>
                    <a:pt x="316" y="85"/>
                  </a:lnTo>
                  <a:lnTo>
                    <a:pt x="316" y="8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0" name="Freeform 208">
              <a:extLst>
                <a:ext uri="{FF2B5EF4-FFF2-40B4-BE49-F238E27FC236}">
                  <a16:creationId xmlns:a16="http://schemas.microsoft.com/office/drawing/2014/main" id="{E19FF64F-02FB-91F8-9AFE-05273311DE06}"/>
                </a:ext>
              </a:extLst>
            </p:cNvPr>
            <p:cNvSpPr>
              <a:spLocks/>
            </p:cNvSpPr>
            <p:nvPr/>
          </p:nvSpPr>
          <p:spPr bwMode="gray">
            <a:xfrm>
              <a:off x="3194" y="1504"/>
              <a:ext cx="94" cy="98"/>
            </a:xfrm>
            <a:custGeom>
              <a:avLst/>
              <a:gdLst>
                <a:gd name="T0" fmla="*/ 71 w 94"/>
                <a:gd name="T1" fmla="*/ 91 h 98"/>
                <a:gd name="T2" fmla="*/ 61 w 94"/>
                <a:gd name="T3" fmla="*/ 91 h 98"/>
                <a:gd name="T4" fmla="*/ 52 w 94"/>
                <a:gd name="T5" fmla="*/ 91 h 98"/>
                <a:gd name="T6" fmla="*/ 42 w 94"/>
                <a:gd name="T7" fmla="*/ 91 h 98"/>
                <a:gd name="T8" fmla="*/ 33 w 94"/>
                <a:gd name="T9" fmla="*/ 91 h 98"/>
                <a:gd name="T10" fmla="*/ 24 w 94"/>
                <a:gd name="T11" fmla="*/ 91 h 98"/>
                <a:gd name="T12" fmla="*/ 22 w 94"/>
                <a:gd name="T13" fmla="*/ 91 h 98"/>
                <a:gd name="T14" fmla="*/ 17 w 94"/>
                <a:gd name="T15" fmla="*/ 92 h 98"/>
                <a:gd name="T16" fmla="*/ 16 w 94"/>
                <a:gd name="T17" fmla="*/ 92 h 98"/>
                <a:gd name="T18" fmla="*/ 13 w 94"/>
                <a:gd name="T19" fmla="*/ 92 h 98"/>
                <a:gd name="T20" fmla="*/ 10 w 94"/>
                <a:gd name="T21" fmla="*/ 95 h 98"/>
                <a:gd name="T22" fmla="*/ 7 w 94"/>
                <a:gd name="T23" fmla="*/ 98 h 98"/>
                <a:gd name="T24" fmla="*/ 5 w 94"/>
                <a:gd name="T25" fmla="*/ 97 h 98"/>
                <a:gd name="T26" fmla="*/ 0 w 94"/>
                <a:gd name="T27" fmla="*/ 97 h 98"/>
                <a:gd name="T28" fmla="*/ 0 w 94"/>
                <a:gd name="T29" fmla="*/ 91 h 98"/>
                <a:gd name="T30" fmla="*/ 0 w 94"/>
                <a:gd name="T31" fmla="*/ 84 h 98"/>
                <a:gd name="T32" fmla="*/ 2 w 94"/>
                <a:gd name="T33" fmla="*/ 75 h 98"/>
                <a:gd name="T34" fmla="*/ 3 w 94"/>
                <a:gd name="T35" fmla="*/ 70 h 98"/>
                <a:gd name="T36" fmla="*/ 5 w 94"/>
                <a:gd name="T37" fmla="*/ 66 h 98"/>
                <a:gd name="T38" fmla="*/ 7 w 94"/>
                <a:gd name="T39" fmla="*/ 59 h 98"/>
                <a:gd name="T40" fmla="*/ 11 w 94"/>
                <a:gd name="T41" fmla="*/ 56 h 98"/>
                <a:gd name="T42" fmla="*/ 16 w 94"/>
                <a:gd name="T43" fmla="*/ 52 h 98"/>
                <a:gd name="T44" fmla="*/ 28 w 94"/>
                <a:gd name="T45" fmla="*/ 39 h 98"/>
                <a:gd name="T46" fmla="*/ 30 w 94"/>
                <a:gd name="T47" fmla="*/ 36 h 98"/>
                <a:gd name="T48" fmla="*/ 28 w 94"/>
                <a:gd name="T49" fmla="*/ 33 h 98"/>
                <a:gd name="T50" fmla="*/ 25 w 94"/>
                <a:gd name="T51" fmla="*/ 33 h 98"/>
                <a:gd name="T52" fmla="*/ 22 w 94"/>
                <a:gd name="T53" fmla="*/ 31 h 98"/>
                <a:gd name="T54" fmla="*/ 21 w 94"/>
                <a:gd name="T55" fmla="*/ 26 h 98"/>
                <a:gd name="T56" fmla="*/ 22 w 94"/>
                <a:gd name="T57" fmla="*/ 22 h 98"/>
                <a:gd name="T58" fmla="*/ 21 w 94"/>
                <a:gd name="T59" fmla="*/ 20 h 98"/>
                <a:gd name="T60" fmla="*/ 22 w 94"/>
                <a:gd name="T61" fmla="*/ 14 h 98"/>
                <a:gd name="T62" fmla="*/ 22 w 94"/>
                <a:gd name="T63" fmla="*/ 12 h 98"/>
                <a:gd name="T64" fmla="*/ 25 w 94"/>
                <a:gd name="T65" fmla="*/ 8 h 98"/>
                <a:gd name="T66" fmla="*/ 32 w 94"/>
                <a:gd name="T67" fmla="*/ 8 h 98"/>
                <a:gd name="T68" fmla="*/ 36 w 94"/>
                <a:gd name="T69" fmla="*/ 8 h 98"/>
                <a:gd name="T70" fmla="*/ 41 w 94"/>
                <a:gd name="T71" fmla="*/ 8 h 98"/>
                <a:gd name="T72" fmla="*/ 44 w 94"/>
                <a:gd name="T73" fmla="*/ 11 h 98"/>
                <a:gd name="T74" fmla="*/ 46 w 94"/>
                <a:gd name="T75" fmla="*/ 9 h 98"/>
                <a:gd name="T76" fmla="*/ 52 w 94"/>
                <a:gd name="T77" fmla="*/ 8 h 98"/>
                <a:gd name="T78" fmla="*/ 57 w 94"/>
                <a:gd name="T79" fmla="*/ 6 h 98"/>
                <a:gd name="T80" fmla="*/ 66 w 94"/>
                <a:gd name="T81" fmla="*/ 8 h 98"/>
                <a:gd name="T82" fmla="*/ 71 w 94"/>
                <a:gd name="T83" fmla="*/ 6 h 98"/>
                <a:gd name="T84" fmla="*/ 80 w 94"/>
                <a:gd name="T85" fmla="*/ 5 h 98"/>
                <a:gd name="T86" fmla="*/ 80 w 94"/>
                <a:gd name="T87" fmla="*/ 6 h 98"/>
                <a:gd name="T88" fmla="*/ 85 w 94"/>
                <a:gd name="T89" fmla="*/ 9 h 98"/>
                <a:gd name="T90" fmla="*/ 85 w 94"/>
                <a:gd name="T91" fmla="*/ 14 h 98"/>
                <a:gd name="T92" fmla="*/ 88 w 94"/>
                <a:gd name="T93" fmla="*/ 22 h 98"/>
                <a:gd name="T94" fmla="*/ 91 w 94"/>
                <a:gd name="T95" fmla="*/ 25 h 98"/>
                <a:gd name="T96" fmla="*/ 93 w 94"/>
                <a:gd name="T97" fmla="*/ 28 h 98"/>
                <a:gd name="T98" fmla="*/ 94 w 94"/>
                <a:gd name="T99" fmla="*/ 34 h 98"/>
                <a:gd name="T100" fmla="*/ 94 w 94"/>
                <a:gd name="T101" fmla="*/ 42 h 98"/>
                <a:gd name="T102" fmla="*/ 94 w 94"/>
                <a:gd name="T103" fmla="*/ 45 h 98"/>
                <a:gd name="T104" fmla="*/ 93 w 94"/>
                <a:gd name="T105" fmla="*/ 48 h 98"/>
                <a:gd name="T106" fmla="*/ 91 w 94"/>
                <a:gd name="T107" fmla="*/ 52 h 98"/>
                <a:gd name="T108" fmla="*/ 89 w 94"/>
                <a:gd name="T109" fmla="*/ 52 h 98"/>
                <a:gd name="T110" fmla="*/ 86 w 94"/>
                <a:gd name="T111" fmla="*/ 55 h 98"/>
                <a:gd name="T112" fmla="*/ 83 w 94"/>
                <a:gd name="T113" fmla="*/ 61 h 98"/>
                <a:gd name="T114" fmla="*/ 78 w 94"/>
                <a:gd name="T115" fmla="*/ 66 h 98"/>
                <a:gd name="T116" fmla="*/ 77 w 94"/>
                <a:gd name="T117" fmla="*/ 73 h 98"/>
                <a:gd name="T118" fmla="*/ 75 w 94"/>
                <a:gd name="T119" fmla="*/ 9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98">
                  <a:moveTo>
                    <a:pt x="75" y="91"/>
                  </a:moveTo>
                  <a:lnTo>
                    <a:pt x="74" y="91"/>
                  </a:lnTo>
                  <a:lnTo>
                    <a:pt x="71" y="91"/>
                  </a:lnTo>
                  <a:lnTo>
                    <a:pt x="68" y="91"/>
                  </a:lnTo>
                  <a:lnTo>
                    <a:pt x="64" y="91"/>
                  </a:lnTo>
                  <a:lnTo>
                    <a:pt x="61" y="91"/>
                  </a:lnTo>
                  <a:lnTo>
                    <a:pt x="58" y="91"/>
                  </a:lnTo>
                  <a:lnTo>
                    <a:pt x="55" y="91"/>
                  </a:lnTo>
                  <a:lnTo>
                    <a:pt x="52" y="91"/>
                  </a:lnTo>
                  <a:lnTo>
                    <a:pt x="49" y="91"/>
                  </a:lnTo>
                  <a:lnTo>
                    <a:pt x="46" y="91"/>
                  </a:lnTo>
                  <a:lnTo>
                    <a:pt x="42" y="91"/>
                  </a:lnTo>
                  <a:lnTo>
                    <a:pt x="39" y="91"/>
                  </a:lnTo>
                  <a:lnTo>
                    <a:pt x="36" y="91"/>
                  </a:lnTo>
                  <a:lnTo>
                    <a:pt x="33" y="91"/>
                  </a:lnTo>
                  <a:lnTo>
                    <a:pt x="30" y="91"/>
                  </a:lnTo>
                  <a:lnTo>
                    <a:pt x="27" y="91"/>
                  </a:lnTo>
                  <a:lnTo>
                    <a:pt x="24" y="91"/>
                  </a:lnTo>
                  <a:lnTo>
                    <a:pt x="22" y="91"/>
                  </a:lnTo>
                  <a:lnTo>
                    <a:pt x="22" y="91"/>
                  </a:lnTo>
                  <a:lnTo>
                    <a:pt x="22" y="91"/>
                  </a:lnTo>
                  <a:lnTo>
                    <a:pt x="21" y="91"/>
                  </a:lnTo>
                  <a:lnTo>
                    <a:pt x="19" y="91"/>
                  </a:lnTo>
                  <a:lnTo>
                    <a:pt x="17" y="92"/>
                  </a:lnTo>
                  <a:lnTo>
                    <a:pt x="16" y="92"/>
                  </a:lnTo>
                  <a:lnTo>
                    <a:pt x="16" y="92"/>
                  </a:lnTo>
                  <a:lnTo>
                    <a:pt x="16" y="92"/>
                  </a:lnTo>
                  <a:lnTo>
                    <a:pt x="14" y="92"/>
                  </a:lnTo>
                  <a:lnTo>
                    <a:pt x="14" y="92"/>
                  </a:lnTo>
                  <a:lnTo>
                    <a:pt x="13" y="92"/>
                  </a:lnTo>
                  <a:lnTo>
                    <a:pt x="13" y="94"/>
                  </a:lnTo>
                  <a:lnTo>
                    <a:pt x="11" y="95"/>
                  </a:lnTo>
                  <a:lnTo>
                    <a:pt x="10" y="95"/>
                  </a:lnTo>
                  <a:lnTo>
                    <a:pt x="10" y="97"/>
                  </a:lnTo>
                  <a:lnTo>
                    <a:pt x="7" y="98"/>
                  </a:lnTo>
                  <a:lnTo>
                    <a:pt x="7" y="98"/>
                  </a:lnTo>
                  <a:lnTo>
                    <a:pt x="5" y="98"/>
                  </a:lnTo>
                  <a:lnTo>
                    <a:pt x="5" y="98"/>
                  </a:lnTo>
                  <a:lnTo>
                    <a:pt x="5" y="97"/>
                  </a:lnTo>
                  <a:lnTo>
                    <a:pt x="5" y="97"/>
                  </a:lnTo>
                  <a:lnTo>
                    <a:pt x="0" y="97"/>
                  </a:lnTo>
                  <a:lnTo>
                    <a:pt x="0" y="97"/>
                  </a:lnTo>
                  <a:lnTo>
                    <a:pt x="0" y="97"/>
                  </a:lnTo>
                  <a:lnTo>
                    <a:pt x="0" y="92"/>
                  </a:lnTo>
                  <a:lnTo>
                    <a:pt x="0" y="91"/>
                  </a:lnTo>
                  <a:lnTo>
                    <a:pt x="0" y="89"/>
                  </a:lnTo>
                  <a:lnTo>
                    <a:pt x="0" y="86"/>
                  </a:lnTo>
                  <a:lnTo>
                    <a:pt x="0" y="84"/>
                  </a:lnTo>
                  <a:lnTo>
                    <a:pt x="2" y="83"/>
                  </a:lnTo>
                  <a:lnTo>
                    <a:pt x="0" y="81"/>
                  </a:lnTo>
                  <a:lnTo>
                    <a:pt x="2" y="75"/>
                  </a:lnTo>
                  <a:lnTo>
                    <a:pt x="2" y="73"/>
                  </a:lnTo>
                  <a:lnTo>
                    <a:pt x="2" y="72"/>
                  </a:lnTo>
                  <a:lnTo>
                    <a:pt x="3" y="70"/>
                  </a:lnTo>
                  <a:lnTo>
                    <a:pt x="3" y="70"/>
                  </a:lnTo>
                  <a:lnTo>
                    <a:pt x="3" y="69"/>
                  </a:lnTo>
                  <a:lnTo>
                    <a:pt x="5" y="66"/>
                  </a:lnTo>
                  <a:lnTo>
                    <a:pt x="7" y="64"/>
                  </a:lnTo>
                  <a:lnTo>
                    <a:pt x="7" y="61"/>
                  </a:lnTo>
                  <a:lnTo>
                    <a:pt x="7" y="59"/>
                  </a:lnTo>
                  <a:lnTo>
                    <a:pt x="7" y="59"/>
                  </a:lnTo>
                  <a:lnTo>
                    <a:pt x="8" y="58"/>
                  </a:lnTo>
                  <a:lnTo>
                    <a:pt x="11" y="56"/>
                  </a:lnTo>
                  <a:lnTo>
                    <a:pt x="11" y="53"/>
                  </a:lnTo>
                  <a:lnTo>
                    <a:pt x="13" y="52"/>
                  </a:lnTo>
                  <a:lnTo>
                    <a:pt x="16" y="52"/>
                  </a:lnTo>
                  <a:lnTo>
                    <a:pt x="16" y="52"/>
                  </a:lnTo>
                  <a:lnTo>
                    <a:pt x="24" y="44"/>
                  </a:lnTo>
                  <a:lnTo>
                    <a:pt x="28" y="39"/>
                  </a:lnTo>
                  <a:lnTo>
                    <a:pt x="30" y="37"/>
                  </a:lnTo>
                  <a:lnTo>
                    <a:pt x="30" y="36"/>
                  </a:lnTo>
                  <a:lnTo>
                    <a:pt x="30" y="36"/>
                  </a:lnTo>
                  <a:lnTo>
                    <a:pt x="28" y="34"/>
                  </a:lnTo>
                  <a:lnTo>
                    <a:pt x="28" y="34"/>
                  </a:lnTo>
                  <a:lnTo>
                    <a:pt x="28" y="33"/>
                  </a:lnTo>
                  <a:lnTo>
                    <a:pt x="27" y="33"/>
                  </a:lnTo>
                  <a:lnTo>
                    <a:pt x="27" y="33"/>
                  </a:lnTo>
                  <a:lnTo>
                    <a:pt x="25" y="33"/>
                  </a:lnTo>
                  <a:lnTo>
                    <a:pt x="25" y="31"/>
                  </a:lnTo>
                  <a:lnTo>
                    <a:pt x="24" y="31"/>
                  </a:lnTo>
                  <a:lnTo>
                    <a:pt x="22" y="31"/>
                  </a:lnTo>
                  <a:lnTo>
                    <a:pt x="21" y="30"/>
                  </a:lnTo>
                  <a:lnTo>
                    <a:pt x="21" y="28"/>
                  </a:lnTo>
                  <a:lnTo>
                    <a:pt x="21" y="26"/>
                  </a:lnTo>
                  <a:lnTo>
                    <a:pt x="22" y="23"/>
                  </a:lnTo>
                  <a:lnTo>
                    <a:pt x="22" y="22"/>
                  </a:lnTo>
                  <a:lnTo>
                    <a:pt x="22" y="22"/>
                  </a:lnTo>
                  <a:lnTo>
                    <a:pt x="22" y="22"/>
                  </a:lnTo>
                  <a:lnTo>
                    <a:pt x="21" y="20"/>
                  </a:lnTo>
                  <a:lnTo>
                    <a:pt x="21" y="20"/>
                  </a:lnTo>
                  <a:lnTo>
                    <a:pt x="21" y="17"/>
                  </a:lnTo>
                  <a:lnTo>
                    <a:pt x="22" y="16"/>
                  </a:lnTo>
                  <a:lnTo>
                    <a:pt x="22" y="14"/>
                  </a:lnTo>
                  <a:lnTo>
                    <a:pt x="24" y="14"/>
                  </a:lnTo>
                  <a:lnTo>
                    <a:pt x="24" y="12"/>
                  </a:lnTo>
                  <a:lnTo>
                    <a:pt x="22" y="12"/>
                  </a:lnTo>
                  <a:lnTo>
                    <a:pt x="22" y="11"/>
                  </a:lnTo>
                  <a:lnTo>
                    <a:pt x="24" y="9"/>
                  </a:lnTo>
                  <a:lnTo>
                    <a:pt x="25" y="8"/>
                  </a:lnTo>
                  <a:lnTo>
                    <a:pt x="28" y="6"/>
                  </a:lnTo>
                  <a:lnTo>
                    <a:pt x="28" y="6"/>
                  </a:lnTo>
                  <a:lnTo>
                    <a:pt x="32" y="8"/>
                  </a:lnTo>
                  <a:lnTo>
                    <a:pt x="33" y="9"/>
                  </a:lnTo>
                  <a:lnTo>
                    <a:pt x="35" y="9"/>
                  </a:lnTo>
                  <a:lnTo>
                    <a:pt x="36" y="8"/>
                  </a:lnTo>
                  <a:lnTo>
                    <a:pt x="39" y="6"/>
                  </a:lnTo>
                  <a:lnTo>
                    <a:pt x="39" y="8"/>
                  </a:lnTo>
                  <a:lnTo>
                    <a:pt x="41" y="8"/>
                  </a:lnTo>
                  <a:lnTo>
                    <a:pt x="41" y="9"/>
                  </a:lnTo>
                  <a:lnTo>
                    <a:pt x="44" y="11"/>
                  </a:lnTo>
                  <a:lnTo>
                    <a:pt x="44" y="11"/>
                  </a:lnTo>
                  <a:lnTo>
                    <a:pt x="46" y="11"/>
                  </a:lnTo>
                  <a:lnTo>
                    <a:pt x="46" y="11"/>
                  </a:lnTo>
                  <a:lnTo>
                    <a:pt x="46" y="9"/>
                  </a:lnTo>
                  <a:lnTo>
                    <a:pt x="47" y="9"/>
                  </a:lnTo>
                  <a:lnTo>
                    <a:pt x="49" y="8"/>
                  </a:lnTo>
                  <a:lnTo>
                    <a:pt x="52" y="8"/>
                  </a:lnTo>
                  <a:lnTo>
                    <a:pt x="55" y="8"/>
                  </a:lnTo>
                  <a:lnTo>
                    <a:pt x="55" y="8"/>
                  </a:lnTo>
                  <a:lnTo>
                    <a:pt x="57" y="6"/>
                  </a:lnTo>
                  <a:lnTo>
                    <a:pt x="60" y="5"/>
                  </a:lnTo>
                  <a:lnTo>
                    <a:pt x="63" y="8"/>
                  </a:lnTo>
                  <a:lnTo>
                    <a:pt x="66" y="8"/>
                  </a:lnTo>
                  <a:lnTo>
                    <a:pt x="69" y="8"/>
                  </a:lnTo>
                  <a:lnTo>
                    <a:pt x="69" y="6"/>
                  </a:lnTo>
                  <a:lnTo>
                    <a:pt x="71" y="6"/>
                  </a:lnTo>
                  <a:lnTo>
                    <a:pt x="74" y="3"/>
                  </a:lnTo>
                  <a:lnTo>
                    <a:pt x="77" y="0"/>
                  </a:lnTo>
                  <a:lnTo>
                    <a:pt x="80" y="5"/>
                  </a:lnTo>
                  <a:lnTo>
                    <a:pt x="82" y="5"/>
                  </a:lnTo>
                  <a:lnTo>
                    <a:pt x="80" y="6"/>
                  </a:lnTo>
                  <a:lnTo>
                    <a:pt x="80" y="6"/>
                  </a:lnTo>
                  <a:lnTo>
                    <a:pt x="82" y="8"/>
                  </a:lnTo>
                  <a:lnTo>
                    <a:pt x="85" y="8"/>
                  </a:lnTo>
                  <a:lnTo>
                    <a:pt x="85" y="9"/>
                  </a:lnTo>
                  <a:lnTo>
                    <a:pt x="85" y="9"/>
                  </a:lnTo>
                  <a:lnTo>
                    <a:pt x="85" y="14"/>
                  </a:lnTo>
                  <a:lnTo>
                    <a:pt x="85" y="14"/>
                  </a:lnTo>
                  <a:lnTo>
                    <a:pt x="86" y="17"/>
                  </a:lnTo>
                  <a:lnTo>
                    <a:pt x="86" y="19"/>
                  </a:lnTo>
                  <a:lnTo>
                    <a:pt x="88" y="22"/>
                  </a:lnTo>
                  <a:lnTo>
                    <a:pt x="91" y="23"/>
                  </a:lnTo>
                  <a:lnTo>
                    <a:pt x="91" y="23"/>
                  </a:lnTo>
                  <a:lnTo>
                    <a:pt x="91" y="25"/>
                  </a:lnTo>
                  <a:lnTo>
                    <a:pt x="93" y="26"/>
                  </a:lnTo>
                  <a:lnTo>
                    <a:pt x="93" y="28"/>
                  </a:lnTo>
                  <a:lnTo>
                    <a:pt x="93" y="28"/>
                  </a:lnTo>
                  <a:lnTo>
                    <a:pt x="94" y="30"/>
                  </a:lnTo>
                  <a:lnTo>
                    <a:pt x="93" y="31"/>
                  </a:lnTo>
                  <a:lnTo>
                    <a:pt x="94" y="34"/>
                  </a:lnTo>
                  <a:lnTo>
                    <a:pt x="94" y="37"/>
                  </a:lnTo>
                  <a:lnTo>
                    <a:pt x="94" y="41"/>
                  </a:lnTo>
                  <a:lnTo>
                    <a:pt x="94" y="42"/>
                  </a:lnTo>
                  <a:lnTo>
                    <a:pt x="94" y="44"/>
                  </a:lnTo>
                  <a:lnTo>
                    <a:pt x="94" y="44"/>
                  </a:lnTo>
                  <a:lnTo>
                    <a:pt x="94" y="45"/>
                  </a:lnTo>
                  <a:lnTo>
                    <a:pt x="94" y="45"/>
                  </a:lnTo>
                  <a:lnTo>
                    <a:pt x="93" y="47"/>
                  </a:lnTo>
                  <a:lnTo>
                    <a:pt x="93" y="48"/>
                  </a:lnTo>
                  <a:lnTo>
                    <a:pt x="91" y="48"/>
                  </a:lnTo>
                  <a:lnTo>
                    <a:pt x="93" y="50"/>
                  </a:lnTo>
                  <a:lnTo>
                    <a:pt x="91" y="52"/>
                  </a:lnTo>
                  <a:lnTo>
                    <a:pt x="91" y="52"/>
                  </a:lnTo>
                  <a:lnTo>
                    <a:pt x="91" y="52"/>
                  </a:lnTo>
                  <a:lnTo>
                    <a:pt x="89" y="52"/>
                  </a:lnTo>
                  <a:lnTo>
                    <a:pt x="88" y="53"/>
                  </a:lnTo>
                  <a:lnTo>
                    <a:pt x="86" y="53"/>
                  </a:lnTo>
                  <a:lnTo>
                    <a:pt x="86" y="55"/>
                  </a:lnTo>
                  <a:lnTo>
                    <a:pt x="85" y="58"/>
                  </a:lnTo>
                  <a:lnTo>
                    <a:pt x="83" y="61"/>
                  </a:lnTo>
                  <a:lnTo>
                    <a:pt x="83" y="61"/>
                  </a:lnTo>
                  <a:lnTo>
                    <a:pt x="80" y="62"/>
                  </a:lnTo>
                  <a:lnTo>
                    <a:pt x="80" y="64"/>
                  </a:lnTo>
                  <a:lnTo>
                    <a:pt x="78" y="66"/>
                  </a:lnTo>
                  <a:lnTo>
                    <a:pt x="78" y="67"/>
                  </a:lnTo>
                  <a:lnTo>
                    <a:pt x="77" y="70"/>
                  </a:lnTo>
                  <a:lnTo>
                    <a:pt x="77" y="73"/>
                  </a:lnTo>
                  <a:lnTo>
                    <a:pt x="77" y="80"/>
                  </a:lnTo>
                  <a:lnTo>
                    <a:pt x="75" y="88"/>
                  </a:lnTo>
                  <a:lnTo>
                    <a:pt x="75" y="9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1" name="Freeform 209">
              <a:extLst>
                <a:ext uri="{FF2B5EF4-FFF2-40B4-BE49-F238E27FC236}">
                  <a16:creationId xmlns:a16="http://schemas.microsoft.com/office/drawing/2014/main" id="{3B402398-E252-61AA-EC57-B7F670D7FF27}"/>
                </a:ext>
              </a:extLst>
            </p:cNvPr>
            <p:cNvSpPr>
              <a:spLocks noEditPoints="1"/>
            </p:cNvSpPr>
            <p:nvPr/>
          </p:nvSpPr>
          <p:spPr bwMode="gray">
            <a:xfrm>
              <a:off x="6" y="33"/>
              <a:ext cx="1493" cy="1102"/>
            </a:xfrm>
            <a:custGeom>
              <a:avLst/>
              <a:gdLst>
                <a:gd name="T0" fmla="*/ 962 w 1493"/>
                <a:gd name="T1" fmla="*/ 1044 h 1102"/>
                <a:gd name="T2" fmla="*/ 1101 w 1493"/>
                <a:gd name="T3" fmla="*/ 994 h 1102"/>
                <a:gd name="T4" fmla="*/ 566 w 1493"/>
                <a:gd name="T5" fmla="*/ 912 h 1102"/>
                <a:gd name="T6" fmla="*/ 1395 w 1493"/>
                <a:gd name="T7" fmla="*/ 757 h 1102"/>
                <a:gd name="T8" fmla="*/ 1282 w 1493"/>
                <a:gd name="T9" fmla="*/ 710 h 1102"/>
                <a:gd name="T10" fmla="*/ 1142 w 1493"/>
                <a:gd name="T11" fmla="*/ 657 h 1102"/>
                <a:gd name="T12" fmla="*/ 1190 w 1493"/>
                <a:gd name="T13" fmla="*/ 627 h 1102"/>
                <a:gd name="T14" fmla="*/ 1120 w 1493"/>
                <a:gd name="T15" fmla="*/ 606 h 1102"/>
                <a:gd name="T16" fmla="*/ 519 w 1493"/>
                <a:gd name="T17" fmla="*/ 587 h 1102"/>
                <a:gd name="T18" fmla="*/ 1115 w 1493"/>
                <a:gd name="T19" fmla="*/ 581 h 1102"/>
                <a:gd name="T20" fmla="*/ 1140 w 1493"/>
                <a:gd name="T21" fmla="*/ 660 h 1102"/>
                <a:gd name="T22" fmla="*/ 1192 w 1493"/>
                <a:gd name="T23" fmla="*/ 631 h 1102"/>
                <a:gd name="T24" fmla="*/ 1486 w 1493"/>
                <a:gd name="T25" fmla="*/ 649 h 1102"/>
                <a:gd name="T26" fmla="*/ 1432 w 1493"/>
                <a:gd name="T27" fmla="*/ 642 h 1102"/>
                <a:gd name="T28" fmla="*/ 1325 w 1493"/>
                <a:gd name="T29" fmla="*/ 699 h 1102"/>
                <a:gd name="T30" fmla="*/ 1207 w 1493"/>
                <a:gd name="T31" fmla="*/ 742 h 1102"/>
                <a:gd name="T32" fmla="*/ 1206 w 1493"/>
                <a:gd name="T33" fmla="*/ 678 h 1102"/>
                <a:gd name="T34" fmla="*/ 1167 w 1493"/>
                <a:gd name="T35" fmla="*/ 667 h 1102"/>
                <a:gd name="T36" fmla="*/ 1128 w 1493"/>
                <a:gd name="T37" fmla="*/ 714 h 1102"/>
                <a:gd name="T38" fmla="*/ 1145 w 1493"/>
                <a:gd name="T39" fmla="*/ 643 h 1102"/>
                <a:gd name="T40" fmla="*/ 1189 w 1493"/>
                <a:gd name="T41" fmla="*/ 624 h 1102"/>
                <a:gd name="T42" fmla="*/ 1107 w 1493"/>
                <a:gd name="T43" fmla="*/ 610 h 1102"/>
                <a:gd name="T44" fmla="*/ 1048 w 1493"/>
                <a:gd name="T45" fmla="*/ 577 h 1102"/>
                <a:gd name="T46" fmla="*/ 521 w 1493"/>
                <a:gd name="T47" fmla="*/ 591 h 1102"/>
                <a:gd name="T48" fmla="*/ 510 w 1493"/>
                <a:gd name="T49" fmla="*/ 584 h 1102"/>
                <a:gd name="T50" fmla="*/ 483 w 1493"/>
                <a:gd name="T51" fmla="*/ 715 h 1102"/>
                <a:gd name="T52" fmla="*/ 522 w 1493"/>
                <a:gd name="T53" fmla="*/ 829 h 1102"/>
                <a:gd name="T54" fmla="*/ 613 w 1493"/>
                <a:gd name="T55" fmla="*/ 942 h 1102"/>
                <a:gd name="T56" fmla="*/ 874 w 1493"/>
                <a:gd name="T57" fmla="*/ 997 h 1102"/>
                <a:gd name="T58" fmla="*/ 957 w 1493"/>
                <a:gd name="T59" fmla="*/ 1056 h 1102"/>
                <a:gd name="T60" fmla="*/ 1006 w 1493"/>
                <a:gd name="T61" fmla="*/ 1006 h 1102"/>
                <a:gd name="T62" fmla="*/ 1103 w 1493"/>
                <a:gd name="T63" fmla="*/ 1012 h 1102"/>
                <a:gd name="T64" fmla="*/ 1124 w 1493"/>
                <a:gd name="T65" fmla="*/ 990 h 1102"/>
                <a:gd name="T66" fmla="*/ 1217 w 1493"/>
                <a:gd name="T67" fmla="*/ 1039 h 1102"/>
                <a:gd name="T68" fmla="*/ 1260 w 1493"/>
                <a:gd name="T69" fmla="*/ 1050 h 1102"/>
                <a:gd name="T70" fmla="*/ 1253 w 1493"/>
                <a:gd name="T71" fmla="*/ 948 h 1102"/>
                <a:gd name="T72" fmla="*/ 1320 w 1493"/>
                <a:gd name="T73" fmla="*/ 892 h 1102"/>
                <a:gd name="T74" fmla="*/ 1340 w 1493"/>
                <a:gd name="T75" fmla="*/ 867 h 1102"/>
                <a:gd name="T76" fmla="*/ 1312 w 1493"/>
                <a:gd name="T77" fmla="*/ 812 h 1102"/>
                <a:gd name="T78" fmla="*/ 1337 w 1493"/>
                <a:gd name="T79" fmla="*/ 795 h 1102"/>
                <a:gd name="T80" fmla="*/ 1351 w 1493"/>
                <a:gd name="T81" fmla="*/ 814 h 1102"/>
                <a:gd name="T82" fmla="*/ 1371 w 1493"/>
                <a:gd name="T83" fmla="*/ 753 h 1102"/>
                <a:gd name="T84" fmla="*/ 1429 w 1493"/>
                <a:gd name="T85" fmla="*/ 720 h 1102"/>
                <a:gd name="T86" fmla="*/ 1475 w 1493"/>
                <a:gd name="T87" fmla="*/ 678 h 1102"/>
                <a:gd name="T88" fmla="*/ 1192 w 1493"/>
                <a:gd name="T89" fmla="*/ 624 h 1102"/>
                <a:gd name="T90" fmla="*/ 1140 w 1493"/>
                <a:gd name="T91" fmla="*/ 659 h 1102"/>
                <a:gd name="T92" fmla="*/ 1078 w 1493"/>
                <a:gd name="T93" fmla="*/ 613 h 1102"/>
                <a:gd name="T94" fmla="*/ 324 w 1493"/>
                <a:gd name="T95" fmla="*/ 371 h 1102"/>
                <a:gd name="T96" fmla="*/ 324 w 1493"/>
                <a:gd name="T97" fmla="*/ 350 h 1102"/>
                <a:gd name="T98" fmla="*/ 341 w 1493"/>
                <a:gd name="T99" fmla="*/ 347 h 1102"/>
                <a:gd name="T100" fmla="*/ 333 w 1493"/>
                <a:gd name="T101" fmla="*/ 325 h 1102"/>
                <a:gd name="T102" fmla="*/ 294 w 1493"/>
                <a:gd name="T103" fmla="*/ 332 h 1102"/>
                <a:gd name="T104" fmla="*/ 308 w 1493"/>
                <a:gd name="T105" fmla="*/ 282 h 1102"/>
                <a:gd name="T106" fmla="*/ 88 w 1493"/>
                <a:gd name="T107" fmla="*/ 213 h 1102"/>
                <a:gd name="T108" fmla="*/ 0 w 1493"/>
                <a:gd name="T109" fmla="*/ 210 h 1102"/>
                <a:gd name="T110" fmla="*/ 297 w 1493"/>
                <a:gd name="T111" fmla="*/ 244 h 1102"/>
                <a:gd name="T112" fmla="*/ 41 w 1493"/>
                <a:gd name="T113" fmla="*/ 172 h 1102"/>
                <a:gd name="T114" fmla="*/ 25 w 1493"/>
                <a:gd name="T115" fmla="*/ 241 h 1102"/>
                <a:gd name="T116" fmla="*/ 66 w 1493"/>
                <a:gd name="T117" fmla="*/ 191 h 1102"/>
                <a:gd name="T118" fmla="*/ 128 w 1493"/>
                <a:gd name="T119" fmla="*/ 214 h 1102"/>
                <a:gd name="T120" fmla="*/ 243 w 1493"/>
                <a:gd name="T121" fmla="*/ 257 h 1102"/>
                <a:gd name="T122" fmla="*/ 297 w 1493"/>
                <a:gd name="T123" fmla="*/ 275 h 1102"/>
                <a:gd name="T124" fmla="*/ 346 w 1493"/>
                <a:gd name="T125" fmla="*/ 340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3" h="1102">
                  <a:moveTo>
                    <a:pt x="1234" y="1102"/>
                  </a:moveTo>
                  <a:lnTo>
                    <a:pt x="1232" y="1102"/>
                  </a:lnTo>
                  <a:lnTo>
                    <a:pt x="1232" y="1102"/>
                  </a:lnTo>
                  <a:lnTo>
                    <a:pt x="1234" y="1102"/>
                  </a:lnTo>
                  <a:lnTo>
                    <a:pt x="1234" y="1102"/>
                  </a:lnTo>
                  <a:lnTo>
                    <a:pt x="1234" y="1102"/>
                  </a:lnTo>
                  <a:lnTo>
                    <a:pt x="1234" y="1102"/>
                  </a:lnTo>
                  <a:close/>
                  <a:moveTo>
                    <a:pt x="1237" y="1098"/>
                  </a:moveTo>
                  <a:lnTo>
                    <a:pt x="1237" y="1100"/>
                  </a:lnTo>
                  <a:lnTo>
                    <a:pt x="1235" y="1102"/>
                  </a:lnTo>
                  <a:lnTo>
                    <a:pt x="1237" y="1100"/>
                  </a:lnTo>
                  <a:lnTo>
                    <a:pt x="1239" y="1100"/>
                  </a:lnTo>
                  <a:lnTo>
                    <a:pt x="1239" y="1100"/>
                  </a:lnTo>
                  <a:lnTo>
                    <a:pt x="1237" y="1098"/>
                  </a:lnTo>
                  <a:close/>
                  <a:moveTo>
                    <a:pt x="1242" y="1098"/>
                  </a:moveTo>
                  <a:lnTo>
                    <a:pt x="1240" y="1098"/>
                  </a:lnTo>
                  <a:lnTo>
                    <a:pt x="1240" y="1098"/>
                  </a:lnTo>
                  <a:lnTo>
                    <a:pt x="1240" y="1100"/>
                  </a:lnTo>
                  <a:lnTo>
                    <a:pt x="1240" y="1100"/>
                  </a:lnTo>
                  <a:lnTo>
                    <a:pt x="1240" y="1100"/>
                  </a:lnTo>
                  <a:lnTo>
                    <a:pt x="1242" y="1100"/>
                  </a:lnTo>
                  <a:lnTo>
                    <a:pt x="1242" y="1100"/>
                  </a:lnTo>
                  <a:lnTo>
                    <a:pt x="1242" y="1098"/>
                  </a:lnTo>
                  <a:close/>
                  <a:moveTo>
                    <a:pt x="1246" y="1098"/>
                  </a:moveTo>
                  <a:lnTo>
                    <a:pt x="1245" y="1098"/>
                  </a:lnTo>
                  <a:lnTo>
                    <a:pt x="1245" y="1098"/>
                  </a:lnTo>
                  <a:lnTo>
                    <a:pt x="1246" y="1098"/>
                  </a:lnTo>
                  <a:lnTo>
                    <a:pt x="1248" y="1098"/>
                  </a:lnTo>
                  <a:lnTo>
                    <a:pt x="1248" y="1097"/>
                  </a:lnTo>
                  <a:lnTo>
                    <a:pt x="1246" y="1098"/>
                  </a:lnTo>
                  <a:close/>
                  <a:moveTo>
                    <a:pt x="1251" y="1095"/>
                  </a:moveTo>
                  <a:lnTo>
                    <a:pt x="1250" y="1097"/>
                  </a:lnTo>
                  <a:lnTo>
                    <a:pt x="1250" y="1097"/>
                  </a:lnTo>
                  <a:lnTo>
                    <a:pt x="1250" y="1097"/>
                  </a:lnTo>
                  <a:lnTo>
                    <a:pt x="1251" y="1097"/>
                  </a:lnTo>
                  <a:lnTo>
                    <a:pt x="1251" y="1097"/>
                  </a:lnTo>
                  <a:lnTo>
                    <a:pt x="1251" y="1095"/>
                  </a:lnTo>
                  <a:close/>
                  <a:moveTo>
                    <a:pt x="1254" y="1094"/>
                  </a:moveTo>
                  <a:lnTo>
                    <a:pt x="1253" y="1095"/>
                  </a:lnTo>
                  <a:lnTo>
                    <a:pt x="1254" y="1095"/>
                  </a:lnTo>
                  <a:lnTo>
                    <a:pt x="1254" y="1094"/>
                  </a:lnTo>
                  <a:lnTo>
                    <a:pt x="1254" y="1094"/>
                  </a:lnTo>
                  <a:close/>
                  <a:moveTo>
                    <a:pt x="1260" y="1086"/>
                  </a:moveTo>
                  <a:lnTo>
                    <a:pt x="1259" y="1088"/>
                  </a:lnTo>
                  <a:lnTo>
                    <a:pt x="1259" y="1089"/>
                  </a:lnTo>
                  <a:lnTo>
                    <a:pt x="1257" y="1089"/>
                  </a:lnTo>
                  <a:lnTo>
                    <a:pt x="1257" y="1091"/>
                  </a:lnTo>
                  <a:lnTo>
                    <a:pt x="1256" y="1091"/>
                  </a:lnTo>
                  <a:lnTo>
                    <a:pt x="1254" y="1092"/>
                  </a:lnTo>
                  <a:lnTo>
                    <a:pt x="1254" y="1094"/>
                  </a:lnTo>
                  <a:lnTo>
                    <a:pt x="1257" y="1091"/>
                  </a:lnTo>
                  <a:lnTo>
                    <a:pt x="1260" y="1086"/>
                  </a:lnTo>
                  <a:lnTo>
                    <a:pt x="1260" y="1086"/>
                  </a:lnTo>
                  <a:close/>
                  <a:moveTo>
                    <a:pt x="1228" y="1064"/>
                  </a:moveTo>
                  <a:lnTo>
                    <a:pt x="1228" y="1064"/>
                  </a:lnTo>
                  <a:lnTo>
                    <a:pt x="1226" y="1062"/>
                  </a:lnTo>
                  <a:lnTo>
                    <a:pt x="1226" y="1064"/>
                  </a:lnTo>
                  <a:lnTo>
                    <a:pt x="1228" y="1066"/>
                  </a:lnTo>
                  <a:lnTo>
                    <a:pt x="1228" y="1066"/>
                  </a:lnTo>
                  <a:lnTo>
                    <a:pt x="1229" y="1064"/>
                  </a:lnTo>
                  <a:lnTo>
                    <a:pt x="1228" y="1064"/>
                  </a:lnTo>
                  <a:close/>
                  <a:moveTo>
                    <a:pt x="1228" y="1061"/>
                  </a:moveTo>
                  <a:lnTo>
                    <a:pt x="1226" y="1059"/>
                  </a:lnTo>
                  <a:lnTo>
                    <a:pt x="1228" y="1062"/>
                  </a:lnTo>
                  <a:lnTo>
                    <a:pt x="1228" y="1064"/>
                  </a:lnTo>
                  <a:lnTo>
                    <a:pt x="1228" y="1062"/>
                  </a:lnTo>
                  <a:lnTo>
                    <a:pt x="1228" y="1061"/>
                  </a:lnTo>
                  <a:close/>
                  <a:moveTo>
                    <a:pt x="963" y="1067"/>
                  </a:moveTo>
                  <a:lnTo>
                    <a:pt x="960" y="1058"/>
                  </a:lnTo>
                  <a:lnTo>
                    <a:pt x="960" y="1050"/>
                  </a:lnTo>
                  <a:lnTo>
                    <a:pt x="959" y="1052"/>
                  </a:lnTo>
                  <a:lnTo>
                    <a:pt x="959" y="1058"/>
                  </a:lnTo>
                  <a:lnTo>
                    <a:pt x="962" y="1067"/>
                  </a:lnTo>
                  <a:lnTo>
                    <a:pt x="963" y="1072"/>
                  </a:lnTo>
                  <a:lnTo>
                    <a:pt x="963" y="1070"/>
                  </a:lnTo>
                  <a:lnTo>
                    <a:pt x="963" y="1067"/>
                  </a:lnTo>
                  <a:close/>
                  <a:moveTo>
                    <a:pt x="963" y="1039"/>
                  </a:moveTo>
                  <a:lnTo>
                    <a:pt x="962" y="1044"/>
                  </a:lnTo>
                  <a:lnTo>
                    <a:pt x="960" y="1048"/>
                  </a:lnTo>
                  <a:lnTo>
                    <a:pt x="960" y="1050"/>
                  </a:lnTo>
                  <a:lnTo>
                    <a:pt x="960" y="1048"/>
                  </a:lnTo>
                  <a:lnTo>
                    <a:pt x="962" y="1044"/>
                  </a:lnTo>
                  <a:lnTo>
                    <a:pt x="965" y="1037"/>
                  </a:lnTo>
                  <a:lnTo>
                    <a:pt x="963" y="1039"/>
                  </a:lnTo>
                  <a:close/>
                  <a:moveTo>
                    <a:pt x="1262" y="1048"/>
                  </a:moveTo>
                  <a:lnTo>
                    <a:pt x="1259" y="1041"/>
                  </a:lnTo>
                  <a:lnTo>
                    <a:pt x="1257" y="1039"/>
                  </a:lnTo>
                  <a:lnTo>
                    <a:pt x="1257" y="1037"/>
                  </a:lnTo>
                  <a:lnTo>
                    <a:pt x="1259" y="1042"/>
                  </a:lnTo>
                  <a:lnTo>
                    <a:pt x="1260" y="1047"/>
                  </a:lnTo>
                  <a:lnTo>
                    <a:pt x="1262" y="1050"/>
                  </a:lnTo>
                  <a:lnTo>
                    <a:pt x="1262" y="1048"/>
                  </a:lnTo>
                  <a:close/>
                  <a:moveTo>
                    <a:pt x="968" y="1031"/>
                  </a:moveTo>
                  <a:lnTo>
                    <a:pt x="968" y="1033"/>
                  </a:lnTo>
                  <a:lnTo>
                    <a:pt x="967" y="1034"/>
                  </a:lnTo>
                  <a:lnTo>
                    <a:pt x="967" y="1034"/>
                  </a:lnTo>
                  <a:lnTo>
                    <a:pt x="965" y="1036"/>
                  </a:lnTo>
                  <a:lnTo>
                    <a:pt x="967" y="1036"/>
                  </a:lnTo>
                  <a:lnTo>
                    <a:pt x="968" y="1034"/>
                  </a:lnTo>
                  <a:lnTo>
                    <a:pt x="970" y="1033"/>
                  </a:lnTo>
                  <a:lnTo>
                    <a:pt x="968" y="1031"/>
                  </a:lnTo>
                  <a:close/>
                  <a:moveTo>
                    <a:pt x="976" y="1026"/>
                  </a:moveTo>
                  <a:lnTo>
                    <a:pt x="976" y="1028"/>
                  </a:lnTo>
                  <a:lnTo>
                    <a:pt x="974" y="1028"/>
                  </a:lnTo>
                  <a:lnTo>
                    <a:pt x="971" y="1030"/>
                  </a:lnTo>
                  <a:lnTo>
                    <a:pt x="971" y="1030"/>
                  </a:lnTo>
                  <a:lnTo>
                    <a:pt x="970" y="1031"/>
                  </a:lnTo>
                  <a:lnTo>
                    <a:pt x="971" y="1031"/>
                  </a:lnTo>
                  <a:lnTo>
                    <a:pt x="974" y="1030"/>
                  </a:lnTo>
                  <a:lnTo>
                    <a:pt x="976" y="1028"/>
                  </a:lnTo>
                  <a:lnTo>
                    <a:pt x="977" y="1026"/>
                  </a:lnTo>
                  <a:lnTo>
                    <a:pt x="976" y="1026"/>
                  </a:lnTo>
                  <a:close/>
                  <a:moveTo>
                    <a:pt x="1004" y="1008"/>
                  </a:moveTo>
                  <a:lnTo>
                    <a:pt x="1004" y="1009"/>
                  </a:lnTo>
                  <a:lnTo>
                    <a:pt x="999" y="1012"/>
                  </a:lnTo>
                  <a:lnTo>
                    <a:pt x="1001" y="1011"/>
                  </a:lnTo>
                  <a:lnTo>
                    <a:pt x="1004" y="1009"/>
                  </a:lnTo>
                  <a:lnTo>
                    <a:pt x="1006" y="1008"/>
                  </a:lnTo>
                  <a:lnTo>
                    <a:pt x="1004" y="1008"/>
                  </a:lnTo>
                  <a:close/>
                  <a:moveTo>
                    <a:pt x="1059" y="1003"/>
                  </a:moveTo>
                  <a:lnTo>
                    <a:pt x="1057" y="1003"/>
                  </a:lnTo>
                  <a:lnTo>
                    <a:pt x="1056" y="1001"/>
                  </a:lnTo>
                  <a:lnTo>
                    <a:pt x="1056" y="1001"/>
                  </a:lnTo>
                  <a:lnTo>
                    <a:pt x="1054" y="1003"/>
                  </a:lnTo>
                  <a:lnTo>
                    <a:pt x="1054" y="1003"/>
                  </a:lnTo>
                  <a:lnTo>
                    <a:pt x="1057" y="1005"/>
                  </a:lnTo>
                  <a:lnTo>
                    <a:pt x="1057" y="1005"/>
                  </a:lnTo>
                  <a:lnTo>
                    <a:pt x="1059" y="1003"/>
                  </a:lnTo>
                  <a:lnTo>
                    <a:pt x="1059" y="1003"/>
                  </a:lnTo>
                  <a:lnTo>
                    <a:pt x="1059" y="1003"/>
                  </a:lnTo>
                  <a:close/>
                  <a:moveTo>
                    <a:pt x="1181" y="1000"/>
                  </a:moveTo>
                  <a:lnTo>
                    <a:pt x="1179" y="1001"/>
                  </a:lnTo>
                  <a:lnTo>
                    <a:pt x="1178" y="1001"/>
                  </a:lnTo>
                  <a:lnTo>
                    <a:pt x="1176" y="1001"/>
                  </a:lnTo>
                  <a:lnTo>
                    <a:pt x="1174" y="1001"/>
                  </a:lnTo>
                  <a:lnTo>
                    <a:pt x="1176" y="1003"/>
                  </a:lnTo>
                  <a:lnTo>
                    <a:pt x="1179" y="1001"/>
                  </a:lnTo>
                  <a:lnTo>
                    <a:pt x="1182" y="1000"/>
                  </a:lnTo>
                  <a:lnTo>
                    <a:pt x="1181" y="1000"/>
                  </a:lnTo>
                  <a:close/>
                  <a:moveTo>
                    <a:pt x="1109" y="1000"/>
                  </a:moveTo>
                  <a:lnTo>
                    <a:pt x="1107" y="1001"/>
                  </a:lnTo>
                  <a:lnTo>
                    <a:pt x="1107" y="1001"/>
                  </a:lnTo>
                  <a:lnTo>
                    <a:pt x="1109" y="1000"/>
                  </a:lnTo>
                  <a:lnTo>
                    <a:pt x="1109" y="1000"/>
                  </a:lnTo>
                  <a:lnTo>
                    <a:pt x="1109" y="1000"/>
                  </a:lnTo>
                  <a:close/>
                  <a:moveTo>
                    <a:pt x="1110" y="995"/>
                  </a:moveTo>
                  <a:lnTo>
                    <a:pt x="1109" y="994"/>
                  </a:lnTo>
                  <a:lnTo>
                    <a:pt x="1110" y="995"/>
                  </a:lnTo>
                  <a:lnTo>
                    <a:pt x="1109" y="998"/>
                  </a:lnTo>
                  <a:lnTo>
                    <a:pt x="1110" y="998"/>
                  </a:lnTo>
                  <a:lnTo>
                    <a:pt x="1110" y="995"/>
                  </a:lnTo>
                  <a:lnTo>
                    <a:pt x="1110" y="995"/>
                  </a:lnTo>
                  <a:close/>
                  <a:moveTo>
                    <a:pt x="1104" y="990"/>
                  </a:moveTo>
                  <a:lnTo>
                    <a:pt x="1103" y="992"/>
                  </a:lnTo>
                  <a:lnTo>
                    <a:pt x="1101" y="992"/>
                  </a:lnTo>
                  <a:lnTo>
                    <a:pt x="1101" y="994"/>
                  </a:lnTo>
                  <a:lnTo>
                    <a:pt x="1101" y="994"/>
                  </a:lnTo>
                  <a:lnTo>
                    <a:pt x="1103" y="994"/>
                  </a:lnTo>
                  <a:lnTo>
                    <a:pt x="1103" y="994"/>
                  </a:lnTo>
                  <a:lnTo>
                    <a:pt x="1103" y="992"/>
                  </a:lnTo>
                  <a:lnTo>
                    <a:pt x="1103" y="992"/>
                  </a:lnTo>
                  <a:lnTo>
                    <a:pt x="1104" y="990"/>
                  </a:lnTo>
                  <a:close/>
                  <a:moveTo>
                    <a:pt x="1113" y="990"/>
                  </a:moveTo>
                  <a:lnTo>
                    <a:pt x="1112" y="989"/>
                  </a:lnTo>
                  <a:lnTo>
                    <a:pt x="1112" y="989"/>
                  </a:lnTo>
                  <a:lnTo>
                    <a:pt x="1113" y="990"/>
                  </a:lnTo>
                  <a:lnTo>
                    <a:pt x="1115" y="990"/>
                  </a:lnTo>
                  <a:lnTo>
                    <a:pt x="1115" y="990"/>
                  </a:lnTo>
                  <a:lnTo>
                    <a:pt x="1113" y="990"/>
                  </a:lnTo>
                  <a:close/>
                  <a:moveTo>
                    <a:pt x="1123" y="989"/>
                  </a:moveTo>
                  <a:lnTo>
                    <a:pt x="1120" y="989"/>
                  </a:lnTo>
                  <a:lnTo>
                    <a:pt x="1118" y="989"/>
                  </a:lnTo>
                  <a:lnTo>
                    <a:pt x="1120" y="990"/>
                  </a:lnTo>
                  <a:lnTo>
                    <a:pt x="1121" y="990"/>
                  </a:lnTo>
                  <a:lnTo>
                    <a:pt x="1123" y="989"/>
                  </a:lnTo>
                  <a:lnTo>
                    <a:pt x="1123" y="989"/>
                  </a:lnTo>
                  <a:close/>
                  <a:moveTo>
                    <a:pt x="1239" y="975"/>
                  </a:moveTo>
                  <a:lnTo>
                    <a:pt x="1239" y="976"/>
                  </a:lnTo>
                  <a:lnTo>
                    <a:pt x="1239" y="978"/>
                  </a:lnTo>
                  <a:lnTo>
                    <a:pt x="1239" y="980"/>
                  </a:lnTo>
                  <a:lnTo>
                    <a:pt x="1240" y="975"/>
                  </a:lnTo>
                  <a:lnTo>
                    <a:pt x="1239" y="975"/>
                  </a:lnTo>
                  <a:close/>
                  <a:moveTo>
                    <a:pt x="591" y="936"/>
                  </a:moveTo>
                  <a:lnTo>
                    <a:pt x="588" y="934"/>
                  </a:lnTo>
                  <a:lnTo>
                    <a:pt x="588" y="933"/>
                  </a:lnTo>
                  <a:lnTo>
                    <a:pt x="588" y="933"/>
                  </a:lnTo>
                  <a:lnTo>
                    <a:pt x="588" y="934"/>
                  </a:lnTo>
                  <a:lnTo>
                    <a:pt x="590" y="936"/>
                  </a:lnTo>
                  <a:lnTo>
                    <a:pt x="591" y="937"/>
                  </a:lnTo>
                  <a:lnTo>
                    <a:pt x="591" y="937"/>
                  </a:lnTo>
                  <a:lnTo>
                    <a:pt x="591" y="936"/>
                  </a:lnTo>
                  <a:close/>
                  <a:moveTo>
                    <a:pt x="573" y="928"/>
                  </a:moveTo>
                  <a:lnTo>
                    <a:pt x="573" y="928"/>
                  </a:lnTo>
                  <a:lnTo>
                    <a:pt x="571" y="926"/>
                  </a:lnTo>
                  <a:lnTo>
                    <a:pt x="569" y="926"/>
                  </a:lnTo>
                  <a:lnTo>
                    <a:pt x="571" y="928"/>
                  </a:lnTo>
                  <a:lnTo>
                    <a:pt x="571" y="928"/>
                  </a:lnTo>
                  <a:lnTo>
                    <a:pt x="573" y="928"/>
                  </a:lnTo>
                  <a:lnTo>
                    <a:pt x="573" y="928"/>
                  </a:lnTo>
                  <a:close/>
                  <a:moveTo>
                    <a:pt x="591" y="925"/>
                  </a:moveTo>
                  <a:lnTo>
                    <a:pt x="591" y="925"/>
                  </a:lnTo>
                  <a:lnTo>
                    <a:pt x="588" y="923"/>
                  </a:lnTo>
                  <a:lnTo>
                    <a:pt x="588" y="923"/>
                  </a:lnTo>
                  <a:lnTo>
                    <a:pt x="588" y="923"/>
                  </a:lnTo>
                  <a:lnTo>
                    <a:pt x="588" y="923"/>
                  </a:lnTo>
                  <a:lnTo>
                    <a:pt x="588" y="925"/>
                  </a:lnTo>
                  <a:lnTo>
                    <a:pt x="590" y="925"/>
                  </a:lnTo>
                  <a:lnTo>
                    <a:pt x="590" y="925"/>
                  </a:lnTo>
                  <a:lnTo>
                    <a:pt x="590" y="926"/>
                  </a:lnTo>
                  <a:lnTo>
                    <a:pt x="591" y="926"/>
                  </a:lnTo>
                  <a:lnTo>
                    <a:pt x="593" y="926"/>
                  </a:lnTo>
                  <a:lnTo>
                    <a:pt x="591" y="925"/>
                  </a:lnTo>
                  <a:close/>
                  <a:moveTo>
                    <a:pt x="563" y="912"/>
                  </a:moveTo>
                  <a:lnTo>
                    <a:pt x="562" y="911"/>
                  </a:lnTo>
                  <a:lnTo>
                    <a:pt x="558" y="912"/>
                  </a:lnTo>
                  <a:lnTo>
                    <a:pt x="560" y="914"/>
                  </a:lnTo>
                  <a:lnTo>
                    <a:pt x="560" y="914"/>
                  </a:lnTo>
                  <a:lnTo>
                    <a:pt x="562" y="914"/>
                  </a:lnTo>
                  <a:lnTo>
                    <a:pt x="563" y="912"/>
                  </a:lnTo>
                  <a:lnTo>
                    <a:pt x="563" y="912"/>
                  </a:lnTo>
                  <a:close/>
                  <a:moveTo>
                    <a:pt x="557" y="911"/>
                  </a:moveTo>
                  <a:lnTo>
                    <a:pt x="557" y="911"/>
                  </a:lnTo>
                  <a:lnTo>
                    <a:pt x="555" y="911"/>
                  </a:lnTo>
                  <a:lnTo>
                    <a:pt x="555" y="911"/>
                  </a:lnTo>
                  <a:lnTo>
                    <a:pt x="557" y="912"/>
                  </a:lnTo>
                  <a:lnTo>
                    <a:pt x="557" y="911"/>
                  </a:lnTo>
                  <a:lnTo>
                    <a:pt x="557" y="911"/>
                  </a:lnTo>
                  <a:close/>
                  <a:moveTo>
                    <a:pt x="571" y="911"/>
                  </a:moveTo>
                  <a:lnTo>
                    <a:pt x="568" y="911"/>
                  </a:lnTo>
                  <a:lnTo>
                    <a:pt x="565" y="911"/>
                  </a:lnTo>
                  <a:lnTo>
                    <a:pt x="565" y="911"/>
                  </a:lnTo>
                  <a:lnTo>
                    <a:pt x="565" y="911"/>
                  </a:lnTo>
                  <a:lnTo>
                    <a:pt x="565" y="912"/>
                  </a:lnTo>
                  <a:lnTo>
                    <a:pt x="566" y="912"/>
                  </a:lnTo>
                  <a:lnTo>
                    <a:pt x="571" y="912"/>
                  </a:lnTo>
                  <a:lnTo>
                    <a:pt x="571" y="911"/>
                  </a:lnTo>
                  <a:lnTo>
                    <a:pt x="571" y="911"/>
                  </a:lnTo>
                  <a:close/>
                  <a:moveTo>
                    <a:pt x="1325" y="897"/>
                  </a:moveTo>
                  <a:lnTo>
                    <a:pt x="1323" y="897"/>
                  </a:lnTo>
                  <a:lnTo>
                    <a:pt x="1323" y="898"/>
                  </a:lnTo>
                  <a:lnTo>
                    <a:pt x="1325" y="898"/>
                  </a:lnTo>
                  <a:lnTo>
                    <a:pt x="1325" y="898"/>
                  </a:lnTo>
                  <a:lnTo>
                    <a:pt x="1325" y="898"/>
                  </a:lnTo>
                  <a:lnTo>
                    <a:pt x="1325" y="897"/>
                  </a:lnTo>
                  <a:close/>
                  <a:moveTo>
                    <a:pt x="1331" y="892"/>
                  </a:moveTo>
                  <a:lnTo>
                    <a:pt x="1328" y="897"/>
                  </a:lnTo>
                  <a:lnTo>
                    <a:pt x="1326" y="898"/>
                  </a:lnTo>
                  <a:lnTo>
                    <a:pt x="1326" y="898"/>
                  </a:lnTo>
                  <a:lnTo>
                    <a:pt x="1329" y="895"/>
                  </a:lnTo>
                  <a:lnTo>
                    <a:pt x="1331" y="892"/>
                  </a:lnTo>
                  <a:lnTo>
                    <a:pt x="1331" y="892"/>
                  </a:lnTo>
                  <a:close/>
                  <a:moveTo>
                    <a:pt x="1337" y="887"/>
                  </a:moveTo>
                  <a:lnTo>
                    <a:pt x="1336" y="889"/>
                  </a:lnTo>
                  <a:lnTo>
                    <a:pt x="1336" y="889"/>
                  </a:lnTo>
                  <a:lnTo>
                    <a:pt x="1339" y="887"/>
                  </a:lnTo>
                  <a:lnTo>
                    <a:pt x="1337" y="887"/>
                  </a:lnTo>
                  <a:close/>
                  <a:moveTo>
                    <a:pt x="1343" y="875"/>
                  </a:moveTo>
                  <a:lnTo>
                    <a:pt x="1343" y="875"/>
                  </a:lnTo>
                  <a:lnTo>
                    <a:pt x="1343" y="875"/>
                  </a:lnTo>
                  <a:lnTo>
                    <a:pt x="1343" y="878"/>
                  </a:lnTo>
                  <a:lnTo>
                    <a:pt x="1343" y="881"/>
                  </a:lnTo>
                  <a:lnTo>
                    <a:pt x="1343" y="884"/>
                  </a:lnTo>
                  <a:lnTo>
                    <a:pt x="1340" y="886"/>
                  </a:lnTo>
                  <a:lnTo>
                    <a:pt x="1340" y="886"/>
                  </a:lnTo>
                  <a:lnTo>
                    <a:pt x="1343" y="886"/>
                  </a:lnTo>
                  <a:lnTo>
                    <a:pt x="1343" y="884"/>
                  </a:lnTo>
                  <a:lnTo>
                    <a:pt x="1345" y="881"/>
                  </a:lnTo>
                  <a:lnTo>
                    <a:pt x="1345" y="879"/>
                  </a:lnTo>
                  <a:lnTo>
                    <a:pt x="1343" y="875"/>
                  </a:lnTo>
                  <a:close/>
                  <a:moveTo>
                    <a:pt x="1342" y="872"/>
                  </a:moveTo>
                  <a:lnTo>
                    <a:pt x="1340" y="870"/>
                  </a:lnTo>
                  <a:lnTo>
                    <a:pt x="1342" y="873"/>
                  </a:lnTo>
                  <a:lnTo>
                    <a:pt x="1342" y="873"/>
                  </a:lnTo>
                  <a:lnTo>
                    <a:pt x="1342" y="872"/>
                  </a:lnTo>
                  <a:lnTo>
                    <a:pt x="1342" y="872"/>
                  </a:lnTo>
                  <a:close/>
                  <a:moveTo>
                    <a:pt x="1350" y="820"/>
                  </a:moveTo>
                  <a:lnTo>
                    <a:pt x="1348" y="825"/>
                  </a:lnTo>
                  <a:lnTo>
                    <a:pt x="1346" y="828"/>
                  </a:lnTo>
                  <a:lnTo>
                    <a:pt x="1346" y="828"/>
                  </a:lnTo>
                  <a:lnTo>
                    <a:pt x="1350" y="823"/>
                  </a:lnTo>
                  <a:lnTo>
                    <a:pt x="1350" y="821"/>
                  </a:lnTo>
                  <a:lnTo>
                    <a:pt x="1351" y="818"/>
                  </a:lnTo>
                  <a:lnTo>
                    <a:pt x="1350" y="820"/>
                  </a:lnTo>
                  <a:close/>
                  <a:moveTo>
                    <a:pt x="1365" y="790"/>
                  </a:moveTo>
                  <a:lnTo>
                    <a:pt x="1365" y="792"/>
                  </a:lnTo>
                  <a:lnTo>
                    <a:pt x="1368" y="787"/>
                  </a:lnTo>
                  <a:lnTo>
                    <a:pt x="1368" y="786"/>
                  </a:lnTo>
                  <a:lnTo>
                    <a:pt x="1365" y="790"/>
                  </a:lnTo>
                  <a:close/>
                  <a:moveTo>
                    <a:pt x="1368" y="765"/>
                  </a:moveTo>
                  <a:lnTo>
                    <a:pt x="1367" y="767"/>
                  </a:lnTo>
                  <a:lnTo>
                    <a:pt x="1365" y="768"/>
                  </a:lnTo>
                  <a:lnTo>
                    <a:pt x="1367" y="768"/>
                  </a:lnTo>
                  <a:lnTo>
                    <a:pt x="1368" y="768"/>
                  </a:lnTo>
                  <a:lnTo>
                    <a:pt x="1368" y="767"/>
                  </a:lnTo>
                  <a:lnTo>
                    <a:pt x="1368" y="767"/>
                  </a:lnTo>
                  <a:lnTo>
                    <a:pt x="1368" y="765"/>
                  </a:lnTo>
                  <a:lnTo>
                    <a:pt x="1368" y="765"/>
                  </a:lnTo>
                  <a:close/>
                  <a:moveTo>
                    <a:pt x="1404" y="756"/>
                  </a:moveTo>
                  <a:lnTo>
                    <a:pt x="1403" y="757"/>
                  </a:lnTo>
                  <a:lnTo>
                    <a:pt x="1403" y="756"/>
                  </a:lnTo>
                  <a:lnTo>
                    <a:pt x="1401" y="756"/>
                  </a:lnTo>
                  <a:lnTo>
                    <a:pt x="1400" y="757"/>
                  </a:lnTo>
                  <a:lnTo>
                    <a:pt x="1398" y="757"/>
                  </a:lnTo>
                  <a:lnTo>
                    <a:pt x="1396" y="759"/>
                  </a:lnTo>
                  <a:lnTo>
                    <a:pt x="1396" y="759"/>
                  </a:lnTo>
                  <a:lnTo>
                    <a:pt x="1395" y="759"/>
                  </a:lnTo>
                  <a:lnTo>
                    <a:pt x="1396" y="757"/>
                  </a:lnTo>
                  <a:lnTo>
                    <a:pt x="1398" y="756"/>
                  </a:lnTo>
                  <a:lnTo>
                    <a:pt x="1400" y="754"/>
                  </a:lnTo>
                  <a:lnTo>
                    <a:pt x="1398" y="754"/>
                  </a:lnTo>
                  <a:lnTo>
                    <a:pt x="1395" y="757"/>
                  </a:lnTo>
                  <a:lnTo>
                    <a:pt x="1395" y="757"/>
                  </a:lnTo>
                  <a:lnTo>
                    <a:pt x="1390" y="757"/>
                  </a:lnTo>
                  <a:lnTo>
                    <a:pt x="1387" y="759"/>
                  </a:lnTo>
                  <a:lnTo>
                    <a:pt x="1386" y="759"/>
                  </a:lnTo>
                  <a:lnTo>
                    <a:pt x="1384" y="759"/>
                  </a:lnTo>
                  <a:lnTo>
                    <a:pt x="1382" y="759"/>
                  </a:lnTo>
                  <a:lnTo>
                    <a:pt x="1381" y="759"/>
                  </a:lnTo>
                  <a:lnTo>
                    <a:pt x="1381" y="759"/>
                  </a:lnTo>
                  <a:lnTo>
                    <a:pt x="1379" y="759"/>
                  </a:lnTo>
                  <a:lnTo>
                    <a:pt x="1379" y="759"/>
                  </a:lnTo>
                  <a:lnTo>
                    <a:pt x="1378" y="759"/>
                  </a:lnTo>
                  <a:lnTo>
                    <a:pt x="1376" y="759"/>
                  </a:lnTo>
                  <a:lnTo>
                    <a:pt x="1376" y="760"/>
                  </a:lnTo>
                  <a:lnTo>
                    <a:pt x="1376" y="760"/>
                  </a:lnTo>
                  <a:lnTo>
                    <a:pt x="1376" y="760"/>
                  </a:lnTo>
                  <a:lnTo>
                    <a:pt x="1375" y="762"/>
                  </a:lnTo>
                  <a:lnTo>
                    <a:pt x="1371" y="762"/>
                  </a:lnTo>
                  <a:lnTo>
                    <a:pt x="1370" y="764"/>
                  </a:lnTo>
                  <a:lnTo>
                    <a:pt x="1370" y="765"/>
                  </a:lnTo>
                  <a:lnTo>
                    <a:pt x="1370" y="765"/>
                  </a:lnTo>
                  <a:lnTo>
                    <a:pt x="1370" y="767"/>
                  </a:lnTo>
                  <a:lnTo>
                    <a:pt x="1371" y="767"/>
                  </a:lnTo>
                  <a:lnTo>
                    <a:pt x="1371" y="765"/>
                  </a:lnTo>
                  <a:lnTo>
                    <a:pt x="1373" y="765"/>
                  </a:lnTo>
                  <a:lnTo>
                    <a:pt x="1373" y="765"/>
                  </a:lnTo>
                  <a:lnTo>
                    <a:pt x="1373" y="767"/>
                  </a:lnTo>
                  <a:lnTo>
                    <a:pt x="1371" y="767"/>
                  </a:lnTo>
                  <a:lnTo>
                    <a:pt x="1375" y="767"/>
                  </a:lnTo>
                  <a:lnTo>
                    <a:pt x="1376" y="767"/>
                  </a:lnTo>
                  <a:lnTo>
                    <a:pt x="1382" y="765"/>
                  </a:lnTo>
                  <a:lnTo>
                    <a:pt x="1384" y="765"/>
                  </a:lnTo>
                  <a:lnTo>
                    <a:pt x="1384" y="765"/>
                  </a:lnTo>
                  <a:lnTo>
                    <a:pt x="1392" y="762"/>
                  </a:lnTo>
                  <a:lnTo>
                    <a:pt x="1393" y="762"/>
                  </a:lnTo>
                  <a:lnTo>
                    <a:pt x="1395" y="762"/>
                  </a:lnTo>
                  <a:lnTo>
                    <a:pt x="1398" y="760"/>
                  </a:lnTo>
                  <a:lnTo>
                    <a:pt x="1400" y="760"/>
                  </a:lnTo>
                  <a:lnTo>
                    <a:pt x="1407" y="756"/>
                  </a:lnTo>
                  <a:lnTo>
                    <a:pt x="1404" y="756"/>
                  </a:lnTo>
                  <a:close/>
                  <a:moveTo>
                    <a:pt x="1440" y="751"/>
                  </a:moveTo>
                  <a:lnTo>
                    <a:pt x="1440" y="748"/>
                  </a:lnTo>
                  <a:lnTo>
                    <a:pt x="1439" y="748"/>
                  </a:lnTo>
                  <a:lnTo>
                    <a:pt x="1439" y="750"/>
                  </a:lnTo>
                  <a:lnTo>
                    <a:pt x="1439" y="750"/>
                  </a:lnTo>
                  <a:lnTo>
                    <a:pt x="1436" y="751"/>
                  </a:lnTo>
                  <a:lnTo>
                    <a:pt x="1439" y="751"/>
                  </a:lnTo>
                  <a:lnTo>
                    <a:pt x="1440" y="751"/>
                  </a:lnTo>
                  <a:lnTo>
                    <a:pt x="1440" y="751"/>
                  </a:lnTo>
                  <a:close/>
                  <a:moveTo>
                    <a:pt x="1431" y="748"/>
                  </a:moveTo>
                  <a:lnTo>
                    <a:pt x="1429" y="746"/>
                  </a:lnTo>
                  <a:lnTo>
                    <a:pt x="1428" y="746"/>
                  </a:lnTo>
                  <a:lnTo>
                    <a:pt x="1426" y="748"/>
                  </a:lnTo>
                  <a:lnTo>
                    <a:pt x="1426" y="750"/>
                  </a:lnTo>
                  <a:lnTo>
                    <a:pt x="1426" y="750"/>
                  </a:lnTo>
                  <a:lnTo>
                    <a:pt x="1431" y="748"/>
                  </a:lnTo>
                  <a:lnTo>
                    <a:pt x="1431" y="748"/>
                  </a:lnTo>
                  <a:close/>
                  <a:moveTo>
                    <a:pt x="1417" y="745"/>
                  </a:moveTo>
                  <a:lnTo>
                    <a:pt x="1415" y="745"/>
                  </a:lnTo>
                  <a:lnTo>
                    <a:pt x="1415" y="745"/>
                  </a:lnTo>
                  <a:lnTo>
                    <a:pt x="1415" y="746"/>
                  </a:lnTo>
                  <a:lnTo>
                    <a:pt x="1417" y="746"/>
                  </a:lnTo>
                  <a:lnTo>
                    <a:pt x="1417" y="745"/>
                  </a:lnTo>
                  <a:lnTo>
                    <a:pt x="1417" y="745"/>
                  </a:lnTo>
                  <a:close/>
                  <a:moveTo>
                    <a:pt x="1418" y="743"/>
                  </a:moveTo>
                  <a:lnTo>
                    <a:pt x="1418" y="743"/>
                  </a:lnTo>
                  <a:lnTo>
                    <a:pt x="1417" y="745"/>
                  </a:lnTo>
                  <a:lnTo>
                    <a:pt x="1417" y="746"/>
                  </a:lnTo>
                  <a:lnTo>
                    <a:pt x="1417" y="746"/>
                  </a:lnTo>
                  <a:lnTo>
                    <a:pt x="1417" y="746"/>
                  </a:lnTo>
                  <a:lnTo>
                    <a:pt x="1418" y="746"/>
                  </a:lnTo>
                  <a:lnTo>
                    <a:pt x="1418" y="742"/>
                  </a:lnTo>
                  <a:lnTo>
                    <a:pt x="1418" y="743"/>
                  </a:lnTo>
                  <a:close/>
                  <a:moveTo>
                    <a:pt x="1284" y="709"/>
                  </a:moveTo>
                  <a:lnTo>
                    <a:pt x="1282" y="709"/>
                  </a:lnTo>
                  <a:lnTo>
                    <a:pt x="1282" y="709"/>
                  </a:lnTo>
                  <a:lnTo>
                    <a:pt x="1282" y="710"/>
                  </a:lnTo>
                  <a:lnTo>
                    <a:pt x="1282" y="710"/>
                  </a:lnTo>
                  <a:lnTo>
                    <a:pt x="1282" y="710"/>
                  </a:lnTo>
                  <a:lnTo>
                    <a:pt x="1282" y="710"/>
                  </a:lnTo>
                  <a:lnTo>
                    <a:pt x="1284" y="710"/>
                  </a:lnTo>
                  <a:lnTo>
                    <a:pt x="1284" y="709"/>
                  </a:lnTo>
                  <a:lnTo>
                    <a:pt x="1284" y="709"/>
                  </a:lnTo>
                  <a:close/>
                  <a:moveTo>
                    <a:pt x="1331" y="685"/>
                  </a:moveTo>
                  <a:lnTo>
                    <a:pt x="1331" y="685"/>
                  </a:lnTo>
                  <a:lnTo>
                    <a:pt x="1331" y="687"/>
                  </a:lnTo>
                  <a:lnTo>
                    <a:pt x="1331" y="687"/>
                  </a:lnTo>
                  <a:lnTo>
                    <a:pt x="1331" y="685"/>
                  </a:lnTo>
                  <a:lnTo>
                    <a:pt x="1331" y="685"/>
                  </a:lnTo>
                  <a:lnTo>
                    <a:pt x="1331" y="685"/>
                  </a:lnTo>
                  <a:close/>
                  <a:moveTo>
                    <a:pt x="1464" y="681"/>
                  </a:moveTo>
                  <a:lnTo>
                    <a:pt x="1464" y="681"/>
                  </a:lnTo>
                  <a:lnTo>
                    <a:pt x="1464" y="681"/>
                  </a:lnTo>
                  <a:lnTo>
                    <a:pt x="1464" y="681"/>
                  </a:lnTo>
                  <a:lnTo>
                    <a:pt x="1464" y="682"/>
                  </a:lnTo>
                  <a:lnTo>
                    <a:pt x="1464" y="682"/>
                  </a:lnTo>
                  <a:lnTo>
                    <a:pt x="1464" y="681"/>
                  </a:lnTo>
                  <a:lnTo>
                    <a:pt x="1464" y="681"/>
                  </a:lnTo>
                  <a:close/>
                  <a:moveTo>
                    <a:pt x="1332" y="679"/>
                  </a:moveTo>
                  <a:lnTo>
                    <a:pt x="1332" y="679"/>
                  </a:lnTo>
                  <a:lnTo>
                    <a:pt x="1332" y="679"/>
                  </a:lnTo>
                  <a:lnTo>
                    <a:pt x="1332" y="679"/>
                  </a:lnTo>
                  <a:lnTo>
                    <a:pt x="1332" y="679"/>
                  </a:lnTo>
                  <a:lnTo>
                    <a:pt x="1334" y="679"/>
                  </a:lnTo>
                  <a:lnTo>
                    <a:pt x="1334" y="679"/>
                  </a:lnTo>
                  <a:lnTo>
                    <a:pt x="1332" y="679"/>
                  </a:lnTo>
                  <a:close/>
                  <a:moveTo>
                    <a:pt x="1472" y="678"/>
                  </a:moveTo>
                  <a:lnTo>
                    <a:pt x="1472" y="676"/>
                  </a:lnTo>
                  <a:lnTo>
                    <a:pt x="1470" y="674"/>
                  </a:lnTo>
                  <a:lnTo>
                    <a:pt x="1470" y="676"/>
                  </a:lnTo>
                  <a:lnTo>
                    <a:pt x="1468" y="678"/>
                  </a:lnTo>
                  <a:lnTo>
                    <a:pt x="1468" y="679"/>
                  </a:lnTo>
                  <a:lnTo>
                    <a:pt x="1468" y="679"/>
                  </a:lnTo>
                  <a:lnTo>
                    <a:pt x="1470" y="681"/>
                  </a:lnTo>
                  <a:lnTo>
                    <a:pt x="1470" y="679"/>
                  </a:lnTo>
                  <a:lnTo>
                    <a:pt x="1470" y="679"/>
                  </a:lnTo>
                  <a:lnTo>
                    <a:pt x="1472" y="679"/>
                  </a:lnTo>
                  <a:lnTo>
                    <a:pt x="1472" y="678"/>
                  </a:lnTo>
                  <a:lnTo>
                    <a:pt x="1472" y="678"/>
                  </a:lnTo>
                  <a:close/>
                  <a:moveTo>
                    <a:pt x="1160" y="659"/>
                  </a:moveTo>
                  <a:lnTo>
                    <a:pt x="1159" y="657"/>
                  </a:lnTo>
                  <a:lnTo>
                    <a:pt x="1159" y="657"/>
                  </a:lnTo>
                  <a:lnTo>
                    <a:pt x="1159" y="659"/>
                  </a:lnTo>
                  <a:lnTo>
                    <a:pt x="1159" y="659"/>
                  </a:lnTo>
                  <a:lnTo>
                    <a:pt x="1159" y="659"/>
                  </a:lnTo>
                  <a:lnTo>
                    <a:pt x="1160" y="659"/>
                  </a:lnTo>
                  <a:lnTo>
                    <a:pt x="1160" y="659"/>
                  </a:lnTo>
                  <a:lnTo>
                    <a:pt x="1160" y="659"/>
                  </a:lnTo>
                  <a:close/>
                  <a:moveTo>
                    <a:pt x="1142" y="654"/>
                  </a:moveTo>
                  <a:lnTo>
                    <a:pt x="1142" y="654"/>
                  </a:lnTo>
                  <a:lnTo>
                    <a:pt x="1140" y="654"/>
                  </a:lnTo>
                  <a:lnTo>
                    <a:pt x="1140" y="656"/>
                  </a:lnTo>
                  <a:lnTo>
                    <a:pt x="1139" y="657"/>
                  </a:lnTo>
                  <a:lnTo>
                    <a:pt x="1139" y="657"/>
                  </a:lnTo>
                  <a:lnTo>
                    <a:pt x="1137" y="659"/>
                  </a:lnTo>
                  <a:lnTo>
                    <a:pt x="1137" y="660"/>
                  </a:lnTo>
                  <a:lnTo>
                    <a:pt x="1137" y="660"/>
                  </a:lnTo>
                  <a:lnTo>
                    <a:pt x="1135" y="663"/>
                  </a:lnTo>
                  <a:lnTo>
                    <a:pt x="1135" y="663"/>
                  </a:lnTo>
                  <a:lnTo>
                    <a:pt x="1135" y="663"/>
                  </a:lnTo>
                  <a:lnTo>
                    <a:pt x="1135" y="665"/>
                  </a:lnTo>
                  <a:lnTo>
                    <a:pt x="1135" y="665"/>
                  </a:lnTo>
                  <a:lnTo>
                    <a:pt x="1137" y="667"/>
                  </a:lnTo>
                  <a:lnTo>
                    <a:pt x="1137" y="665"/>
                  </a:lnTo>
                  <a:lnTo>
                    <a:pt x="1139" y="663"/>
                  </a:lnTo>
                  <a:lnTo>
                    <a:pt x="1139" y="663"/>
                  </a:lnTo>
                  <a:lnTo>
                    <a:pt x="1139" y="663"/>
                  </a:lnTo>
                  <a:lnTo>
                    <a:pt x="1139" y="662"/>
                  </a:lnTo>
                  <a:lnTo>
                    <a:pt x="1140" y="660"/>
                  </a:lnTo>
                  <a:lnTo>
                    <a:pt x="1140" y="660"/>
                  </a:lnTo>
                  <a:lnTo>
                    <a:pt x="1140" y="660"/>
                  </a:lnTo>
                  <a:lnTo>
                    <a:pt x="1140" y="660"/>
                  </a:lnTo>
                  <a:lnTo>
                    <a:pt x="1140" y="659"/>
                  </a:lnTo>
                  <a:lnTo>
                    <a:pt x="1140" y="659"/>
                  </a:lnTo>
                  <a:lnTo>
                    <a:pt x="1140" y="659"/>
                  </a:lnTo>
                  <a:lnTo>
                    <a:pt x="1140" y="657"/>
                  </a:lnTo>
                  <a:lnTo>
                    <a:pt x="1142" y="657"/>
                  </a:lnTo>
                  <a:lnTo>
                    <a:pt x="1142" y="657"/>
                  </a:lnTo>
                  <a:lnTo>
                    <a:pt x="1142" y="656"/>
                  </a:lnTo>
                  <a:lnTo>
                    <a:pt x="1142" y="656"/>
                  </a:lnTo>
                  <a:lnTo>
                    <a:pt x="1142" y="656"/>
                  </a:lnTo>
                  <a:lnTo>
                    <a:pt x="1142" y="656"/>
                  </a:lnTo>
                  <a:lnTo>
                    <a:pt x="1142" y="654"/>
                  </a:lnTo>
                  <a:lnTo>
                    <a:pt x="1142" y="654"/>
                  </a:lnTo>
                  <a:close/>
                  <a:moveTo>
                    <a:pt x="1145" y="651"/>
                  </a:moveTo>
                  <a:lnTo>
                    <a:pt x="1145" y="651"/>
                  </a:lnTo>
                  <a:lnTo>
                    <a:pt x="1143" y="651"/>
                  </a:lnTo>
                  <a:lnTo>
                    <a:pt x="1143" y="651"/>
                  </a:lnTo>
                  <a:lnTo>
                    <a:pt x="1143" y="652"/>
                  </a:lnTo>
                  <a:lnTo>
                    <a:pt x="1143" y="652"/>
                  </a:lnTo>
                  <a:lnTo>
                    <a:pt x="1143" y="652"/>
                  </a:lnTo>
                  <a:lnTo>
                    <a:pt x="1145" y="652"/>
                  </a:lnTo>
                  <a:lnTo>
                    <a:pt x="1145" y="652"/>
                  </a:lnTo>
                  <a:lnTo>
                    <a:pt x="1145" y="651"/>
                  </a:lnTo>
                  <a:close/>
                  <a:moveTo>
                    <a:pt x="1168" y="643"/>
                  </a:moveTo>
                  <a:lnTo>
                    <a:pt x="1168" y="642"/>
                  </a:lnTo>
                  <a:lnTo>
                    <a:pt x="1167" y="643"/>
                  </a:lnTo>
                  <a:lnTo>
                    <a:pt x="1167" y="645"/>
                  </a:lnTo>
                  <a:lnTo>
                    <a:pt x="1167" y="646"/>
                  </a:lnTo>
                  <a:lnTo>
                    <a:pt x="1167" y="646"/>
                  </a:lnTo>
                  <a:lnTo>
                    <a:pt x="1167" y="646"/>
                  </a:lnTo>
                  <a:lnTo>
                    <a:pt x="1168" y="646"/>
                  </a:lnTo>
                  <a:lnTo>
                    <a:pt x="1168" y="645"/>
                  </a:lnTo>
                  <a:lnTo>
                    <a:pt x="1168" y="643"/>
                  </a:lnTo>
                  <a:lnTo>
                    <a:pt x="1168" y="643"/>
                  </a:lnTo>
                  <a:close/>
                  <a:moveTo>
                    <a:pt x="1189" y="642"/>
                  </a:moveTo>
                  <a:lnTo>
                    <a:pt x="1187" y="642"/>
                  </a:lnTo>
                  <a:lnTo>
                    <a:pt x="1187" y="642"/>
                  </a:lnTo>
                  <a:lnTo>
                    <a:pt x="1185" y="642"/>
                  </a:lnTo>
                  <a:lnTo>
                    <a:pt x="1184" y="642"/>
                  </a:lnTo>
                  <a:lnTo>
                    <a:pt x="1185" y="643"/>
                  </a:lnTo>
                  <a:lnTo>
                    <a:pt x="1187" y="643"/>
                  </a:lnTo>
                  <a:lnTo>
                    <a:pt x="1187" y="643"/>
                  </a:lnTo>
                  <a:lnTo>
                    <a:pt x="1187" y="643"/>
                  </a:lnTo>
                  <a:lnTo>
                    <a:pt x="1189" y="643"/>
                  </a:lnTo>
                  <a:lnTo>
                    <a:pt x="1189" y="642"/>
                  </a:lnTo>
                  <a:close/>
                  <a:moveTo>
                    <a:pt x="1203" y="637"/>
                  </a:moveTo>
                  <a:lnTo>
                    <a:pt x="1203" y="635"/>
                  </a:lnTo>
                  <a:lnTo>
                    <a:pt x="1203" y="635"/>
                  </a:lnTo>
                  <a:lnTo>
                    <a:pt x="1201" y="634"/>
                  </a:lnTo>
                  <a:lnTo>
                    <a:pt x="1199" y="634"/>
                  </a:lnTo>
                  <a:lnTo>
                    <a:pt x="1199" y="634"/>
                  </a:lnTo>
                  <a:lnTo>
                    <a:pt x="1199" y="635"/>
                  </a:lnTo>
                  <a:lnTo>
                    <a:pt x="1199" y="635"/>
                  </a:lnTo>
                  <a:lnTo>
                    <a:pt x="1199" y="635"/>
                  </a:lnTo>
                  <a:lnTo>
                    <a:pt x="1198" y="637"/>
                  </a:lnTo>
                  <a:lnTo>
                    <a:pt x="1198" y="637"/>
                  </a:lnTo>
                  <a:lnTo>
                    <a:pt x="1198" y="637"/>
                  </a:lnTo>
                  <a:lnTo>
                    <a:pt x="1196" y="637"/>
                  </a:lnTo>
                  <a:lnTo>
                    <a:pt x="1196" y="637"/>
                  </a:lnTo>
                  <a:lnTo>
                    <a:pt x="1196" y="637"/>
                  </a:lnTo>
                  <a:lnTo>
                    <a:pt x="1198" y="638"/>
                  </a:lnTo>
                  <a:lnTo>
                    <a:pt x="1199" y="638"/>
                  </a:lnTo>
                  <a:lnTo>
                    <a:pt x="1201" y="638"/>
                  </a:lnTo>
                  <a:lnTo>
                    <a:pt x="1203" y="638"/>
                  </a:lnTo>
                  <a:lnTo>
                    <a:pt x="1204" y="637"/>
                  </a:lnTo>
                  <a:lnTo>
                    <a:pt x="1203" y="637"/>
                  </a:lnTo>
                  <a:close/>
                  <a:moveTo>
                    <a:pt x="1192" y="629"/>
                  </a:moveTo>
                  <a:lnTo>
                    <a:pt x="1192" y="629"/>
                  </a:lnTo>
                  <a:lnTo>
                    <a:pt x="1192" y="629"/>
                  </a:lnTo>
                  <a:lnTo>
                    <a:pt x="1192" y="629"/>
                  </a:lnTo>
                  <a:lnTo>
                    <a:pt x="1192" y="629"/>
                  </a:lnTo>
                  <a:lnTo>
                    <a:pt x="1192" y="629"/>
                  </a:lnTo>
                  <a:lnTo>
                    <a:pt x="1192" y="631"/>
                  </a:lnTo>
                  <a:lnTo>
                    <a:pt x="1192" y="631"/>
                  </a:lnTo>
                  <a:lnTo>
                    <a:pt x="1193" y="631"/>
                  </a:lnTo>
                  <a:lnTo>
                    <a:pt x="1192" y="629"/>
                  </a:lnTo>
                  <a:close/>
                  <a:moveTo>
                    <a:pt x="1192" y="626"/>
                  </a:moveTo>
                  <a:lnTo>
                    <a:pt x="1192" y="624"/>
                  </a:lnTo>
                  <a:lnTo>
                    <a:pt x="1192" y="624"/>
                  </a:lnTo>
                  <a:lnTo>
                    <a:pt x="1192" y="623"/>
                  </a:lnTo>
                  <a:lnTo>
                    <a:pt x="1192" y="623"/>
                  </a:lnTo>
                  <a:lnTo>
                    <a:pt x="1190" y="623"/>
                  </a:lnTo>
                  <a:lnTo>
                    <a:pt x="1190" y="624"/>
                  </a:lnTo>
                  <a:lnTo>
                    <a:pt x="1190" y="626"/>
                  </a:lnTo>
                  <a:lnTo>
                    <a:pt x="1190" y="627"/>
                  </a:lnTo>
                  <a:lnTo>
                    <a:pt x="1192" y="627"/>
                  </a:lnTo>
                  <a:lnTo>
                    <a:pt x="1192" y="627"/>
                  </a:lnTo>
                  <a:lnTo>
                    <a:pt x="1192" y="627"/>
                  </a:lnTo>
                  <a:lnTo>
                    <a:pt x="1192" y="627"/>
                  </a:lnTo>
                  <a:lnTo>
                    <a:pt x="1192" y="626"/>
                  </a:lnTo>
                  <a:close/>
                  <a:moveTo>
                    <a:pt x="1079" y="615"/>
                  </a:moveTo>
                  <a:lnTo>
                    <a:pt x="1079" y="615"/>
                  </a:lnTo>
                  <a:lnTo>
                    <a:pt x="1076" y="617"/>
                  </a:lnTo>
                  <a:lnTo>
                    <a:pt x="1076" y="617"/>
                  </a:lnTo>
                  <a:lnTo>
                    <a:pt x="1076" y="617"/>
                  </a:lnTo>
                  <a:lnTo>
                    <a:pt x="1076" y="617"/>
                  </a:lnTo>
                  <a:lnTo>
                    <a:pt x="1076" y="617"/>
                  </a:lnTo>
                  <a:lnTo>
                    <a:pt x="1078" y="617"/>
                  </a:lnTo>
                  <a:lnTo>
                    <a:pt x="1078" y="617"/>
                  </a:lnTo>
                  <a:lnTo>
                    <a:pt x="1078" y="615"/>
                  </a:lnTo>
                  <a:lnTo>
                    <a:pt x="1079" y="615"/>
                  </a:lnTo>
                  <a:lnTo>
                    <a:pt x="1079" y="615"/>
                  </a:lnTo>
                  <a:close/>
                  <a:moveTo>
                    <a:pt x="1079" y="612"/>
                  </a:moveTo>
                  <a:lnTo>
                    <a:pt x="1079" y="612"/>
                  </a:lnTo>
                  <a:lnTo>
                    <a:pt x="1078" y="613"/>
                  </a:lnTo>
                  <a:lnTo>
                    <a:pt x="1078" y="613"/>
                  </a:lnTo>
                  <a:lnTo>
                    <a:pt x="1079" y="613"/>
                  </a:lnTo>
                  <a:lnTo>
                    <a:pt x="1079" y="613"/>
                  </a:lnTo>
                  <a:lnTo>
                    <a:pt x="1079" y="612"/>
                  </a:lnTo>
                  <a:lnTo>
                    <a:pt x="1079" y="612"/>
                  </a:lnTo>
                  <a:close/>
                  <a:moveTo>
                    <a:pt x="1076" y="613"/>
                  </a:moveTo>
                  <a:lnTo>
                    <a:pt x="1076" y="612"/>
                  </a:lnTo>
                  <a:lnTo>
                    <a:pt x="1076" y="612"/>
                  </a:lnTo>
                  <a:lnTo>
                    <a:pt x="1076" y="612"/>
                  </a:lnTo>
                  <a:lnTo>
                    <a:pt x="1076" y="613"/>
                  </a:lnTo>
                  <a:lnTo>
                    <a:pt x="1076" y="613"/>
                  </a:lnTo>
                  <a:lnTo>
                    <a:pt x="1078" y="613"/>
                  </a:lnTo>
                  <a:lnTo>
                    <a:pt x="1076" y="613"/>
                  </a:lnTo>
                  <a:close/>
                  <a:moveTo>
                    <a:pt x="1082" y="609"/>
                  </a:moveTo>
                  <a:lnTo>
                    <a:pt x="1081" y="610"/>
                  </a:lnTo>
                  <a:lnTo>
                    <a:pt x="1081" y="610"/>
                  </a:lnTo>
                  <a:lnTo>
                    <a:pt x="1081" y="610"/>
                  </a:lnTo>
                  <a:lnTo>
                    <a:pt x="1081" y="610"/>
                  </a:lnTo>
                  <a:lnTo>
                    <a:pt x="1082" y="610"/>
                  </a:lnTo>
                  <a:lnTo>
                    <a:pt x="1082" y="610"/>
                  </a:lnTo>
                  <a:lnTo>
                    <a:pt x="1082" y="610"/>
                  </a:lnTo>
                  <a:lnTo>
                    <a:pt x="1082" y="609"/>
                  </a:lnTo>
                  <a:close/>
                  <a:moveTo>
                    <a:pt x="512" y="604"/>
                  </a:moveTo>
                  <a:lnTo>
                    <a:pt x="512" y="604"/>
                  </a:lnTo>
                  <a:lnTo>
                    <a:pt x="512" y="606"/>
                  </a:lnTo>
                  <a:lnTo>
                    <a:pt x="512" y="607"/>
                  </a:lnTo>
                  <a:lnTo>
                    <a:pt x="513" y="607"/>
                  </a:lnTo>
                  <a:lnTo>
                    <a:pt x="513" y="606"/>
                  </a:lnTo>
                  <a:lnTo>
                    <a:pt x="513" y="606"/>
                  </a:lnTo>
                  <a:lnTo>
                    <a:pt x="512" y="604"/>
                  </a:lnTo>
                  <a:close/>
                  <a:moveTo>
                    <a:pt x="1128" y="601"/>
                  </a:moveTo>
                  <a:lnTo>
                    <a:pt x="1129" y="599"/>
                  </a:lnTo>
                  <a:lnTo>
                    <a:pt x="1128" y="599"/>
                  </a:lnTo>
                  <a:lnTo>
                    <a:pt x="1126" y="599"/>
                  </a:lnTo>
                  <a:lnTo>
                    <a:pt x="1124" y="599"/>
                  </a:lnTo>
                  <a:lnTo>
                    <a:pt x="1123" y="599"/>
                  </a:lnTo>
                  <a:lnTo>
                    <a:pt x="1118" y="601"/>
                  </a:lnTo>
                  <a:lnTo>
                    <a:pt x="1117" y="601"/>
                  </a:lnTo>
                  <a:lnTo>
                    <a:pt x="1115" y="604"/>
                  </a:lnTo>
                  <a:lnTo>
                    <a:pt x="1113" y="606"/>
                  </a:lnTo>
                  <a:lnTo>
                    <a:pt x="1113" y="607"/>
                  </a:lnTo>
                  <a:lnTo>
                    <a:pt x="1113" y="607"/>
                  </a:lnTo>
                  <a:lnTo>
                    <a:pt x="1117" y="609"/>
                  </a:lnTo>
                  <a:lnTo>
                    <a:pt x="1117" y="607"/>
                  </a:lnTo>
                  <a:lnTo>
                    <a:pt x="1117" y="607"/>
                  </a:lnTo>
                  <a:lnTo>
                    <a:pt x="1117" y="607"/>
                  </a:lnTo>
                  <a:lnTo>
                    <a:pt x="1117" y="606"/>
                  </a:lnTo>
                  <a:lnTo>
                    <a:pt x="1117" y="607"/>
                  </a:lnTo>
                  <a:lnTo>
                    <a:pt x="1117" y="607"/>
                  </a:lnTo>
                  <a:lnTo>
                    <a:pt x="1117" y="609"/>
                  </a:lnTo>
                  <a:lnTo>
                    <a:pt x="1117" y="609"/>
                  </a:lnTo>
                  <a:lnTo>
                    <a:pt x="1117" y="610"/>
                  </a:lnTo>
                  <a:lnTo>
                    <a:pt x="1117" y="610"/>
                  </a:lnTo>
                  <a:lnTo>
                    <a:pt x="1117" y="610"/>
                  </a:lnTo>
                  <a:lnTo>
                    <a:pt x="1118" y="609"/>
                  </a:lnTo>
                  <a:lnTo>
                    <a:pt x="1120" y="607"/>
                  </a:lnTo>
                  <a:lnTo>
                    <a:pt x="1120" y="607"/>
                  </a:lnTo>
                  <a:lnTo>
                    <a:pt x="1120" y="606"/>
                  </a:lnTo>
                  <a:lnTo>
                    <a:pt x="1124" y="602"/>
                  </a:lnTo>
                  <a:lnTo>
                    <a:pt x="1124" y="602"/>
                  </a:lnTo>
                  <a:lnTo>
                    <a:pt x="1124" y="602"/>
                  </a:lnTo>
                  <a:lnTo>
                    <a:pt x="1124" y="601"/>
                  </a:lnTo>
                  <a:lnTo>
                    <a:pt x="1124" y="601"/>
                  </a:lnTo>
                  <a:lnTo>
                    <a:pt x="1128" y="601"/>
                  </a:lnTo>
                  <a:close/>
                  <a:moveTo>
                    <a:pt x="519" y="599"/>
                  </a:moveTo>
                  <a:lnTo>
                    <a:pt x="519" y="599"/>
                  </a:lnTo>
                  <a:lnTo>
                    <a:pt x="519" y="599"/>
                  </a:lnTo>
                  <a:lnTo>
                    <a:pt x="519" y="601"/>
                  </a:lnTo>
                  <a:lnTo>
                    <a:pt x="519" y="602"/>
                  </a:lnTo>
                  <a:lnTo>
                    <a:pt x="519" y="601"/>
                  </a:lnTo>
                  <a:lnTo>
                    <a:pt x="519" y="601"/>
                  </a:lnTo>
                  <a:lnTo>
                    <a:pt x="519" y="602"/>
                  </a:lnTo>
                  <a:lnTo>
                    <a:pt x="519" y="602"/>
                  </a:lnTo>
                  <a:lnTo>
                    <a:pt x="521" y="601"/>
                  </a:lnTo>
                  <a:lnTo>
                    <a:pt x="521" y="601"/>
                  </a:lnTo>
                  <a:lnTo>
                    <a:pt x="519" y="599"/>
                  </a:lnTo>
                  <a:close/>
                  <a:moveTo>
                    <a:pt x="519" y="593"/>
                  </a:moveTo>
                  <a:lnTo>
                    <a:pt x="518" y="593"/>
                  </a:lnTo>
                  <a:lnTo>
                    <a:pt x="518" y="593"/>
                  </a:lnTo>
                  <a:lnTo>
                    <a:pt x="518" y="593"/>
                  </a:lnTo>
                  <a:lnTo>
                    <a:pt x="518" y="595"/>
                  </a:lnTo>
                  <a:lnTo>
                    <a:pt x="518" y="595"/>
                  </a:lnTo>
                  <a:lnTo>
                    <a:pt x="518" y="596"/>
                  </a:lnTo>
                  <a:lnTo>
                    <a:pt x="519" y="596"/>
                  </a:lnTo>
                  <a:lnTo>
                    <a:pt x="519" y="596"/>
                  </a:lnTo>
                  <a:lnTo>
                    <a:pt x="519" y="593"/>
                  </a:lnTo>
                  <a:close/>
                  <a:moveTo>
                    <a:pt x="1115" y="581"/>
                  </a:moveTo>
                  <a:lnTo>
                    <a:pt x="1115" y="581"/>
                  </a:lnTo>
                  <a:lnTo>
                    <a:pt x="1113" y="581"/>
                  </a:lnTo>
                  <a:lnTo>
                    <a:pt x="1110" y="582"/>
                  </a:lnTo>
                  <a:lnTo>
                    <a:pt x="1104" y="587"/>
                  </a:lnTo>
                  <a:lnTo>
                    <a:pt x="1104" y="587"/>
                  </a:lnTo>
                  <a:lnTo>
                    <a:pt x="1103" y="587"/>
                  </a:lnTo>
                  <a:lnTo>
                    <a:pt x="1104" y="587"/>
                  </a:lnTo>
                  <a:lnTo>
                    <a:pt x="1104" y="588"/>
                  </a:lnTo>
                  <a:lnTo>
                    <a:pt x="1103" y="588"/>
                  </a:lnTo>
                  <a:lnTo>
                    <a:pt x="1103" y="590"/>
                  </a:lnTo>
                  <a:lnTo>
                    <a:pt x="1104" y="590"/>
                  </a:lnTo>
                  <a:lnTo>
                    <a:pt x="1106" y="590"/>
                  </a:lnTo>
                  <a:lnTo>
                    <a:pt x="1107" y="588"/>
                  </a:lnTo>
                  <a:lnTo>
                    <a:pt x="1107" y="588"/>
                  </a:lnTo>
                  <a:lnTo>
                    <a:pt x="1109" y="588"/>
                  </a:lnTo>
                  <a:lnTo>
                    <a:pt x="1107" y="588"/>
                  </a:lnTo>
                  <a:lnTo>
                    <a:pt x="1107" y="587"/>
                  </a:lnTo>
                  <a:lnTo>
                    <a:pt x="1109" y="587"/>
                  </a:lnTo>
                  <a:lnTo>
                    <a:pt x="1113" y="584"/>
                  </a:lnTo>
                  <a:lnTo>
                    <a:pt x="1113" y="584"/>
                  </a:lnTo>
                  <a:lnTo>
                    <a:pt x="1113" y="584"/>
                  </a:lnTo>
                  <a:lnTo>
                    <a:pt x="1113" y="582"/>
                  </a:lnTo>
                  <a:lnTo>
                    <a:pt x="1115" y="581"/>
                  </a:lnTo>
                  <a:close/>
                  <a:moveTo>
                    <a:pt x="519" y="584"/>
                  </a:moveTo>
                  <a:lnTo>
                    <a:pt x="518" y="585"/>
                  </a:lnTo>
                  <a:lnTo>
                    <a:pt x="518" y="581"/>
                  </a:lnTo>
                  <a:lnTo>
                    <a:pt x="518" y="581"/>
                  </a:lnTo>
                  <a:lnTo>
                    <a:pt x="516" y="579"/>
                  </a:lnTo>
                  <a:lnTo>
                    <a:pt x="515" y="579"/>
                  </a:lnTo>
                  <a:lnTo>
                    <a:pt x="515" y="579"/>
                  </a:lnTo>
                  <a:lnTo>
                    <a:pt x="518" y="577"/>
                  </a:lnTo>
                  <a:lnTo>
                    <a:pt x="518" y="577"/>
                  </a:lnTo>
                  <a:lnTo>
                    <a:pt x="518" y="576"/>
                  </a:lnTo>
                  <a:lnTo>
                    <a:pt x="516" y="576"/>
                  </a:lnTo>
                  <a:lnTo>
                    <a:pt x="516" y="576"/>
                  </a:lnTo>
                  <a:lnTo>
                    <a:pt x="516" y="576"/>
                  </a:lnTo>
                  <a:lnTo>
                    <a:pt x="515" y="577"/>
                  </a:lnTo>
                  <a:lnTo>
                    <a:pt x="515" y="579"/>
                  </a:lnTo>
                  <a:lnTo>
                    <a:pt x="515" y="579"/>
                  </a:lnTo>
                  <a:lnTo>
                    <a:pt x="515" y="581"/>
                  </a:lnTo>
                  <a:lnTo>
                    <a:pt x="516" y="581"/>
                  </a:lnTo>
                  <a:lnTo>
                    <a:pt x="516" y="582"/>
                  </a:lnTo>
                  <a:lnTo>
                    <a:pt x="516" y="582"/>
                  </a:lnTo>
                  <a:lnTo>
                    <a:pt x="516" y="584"/>
                  </a:lnTo>
                  <a:lnTo>
                    <a:pt x="518" y="585"/>
                  </a:lnTo>
                  <a:lnTo>
                    <a:pt x="518" y="585"/>
                  </a:lnTo>
                  <a:lnTo>
                    <a:pt x="519" y="585"/>
                  </a:lnTo>
                  <a:lnTo>
                    <a:pt x="519" y="587"/>
                  </a:lnTo>
                  <a:lnTo>
                    <a:pt x="519" y="587"/>
                  </a:lnTo>
                  <a:lnTo>
                    <a:pt x="521" y="587"/>
                  </a:lnTo>
                  <a:lnTo>
                    <a:pt x="521" y="587"/>
                  </a:lnTo>
                  <a:lnTo>
                    <a:pt x="521" y="587"/>
                  </a:lnTo>
                  <a:lnTo>
                    <a:pt x="521" y="585"/>
                  </a:lnTo>
                  <a:lnTo>
                    <a:pt x="519" y="584"/>
                  </a:lnTo>
                  <a:close/>
                  <a:moveTo>
                    <a:pt x="513" y="573"/>
                  </a:moveTo>
                  <a:lnTo>
                    <a:pt x="512" y="571"/>
                  </a:lnTo>
                  <a:lnTo>
                    <a:pt x="512" y="571"/>
                  </a:lnTo>
                  <a:lnTo>
                    <a:pt x="512" y="571"/>
                  </a:lnTo>
                  <a:lnTo>
                    <a:pt x="512" y="573"/>
                  </a:lnTo>
                  <a:lnTo>
                    <a:pt x="512" y="573"/>
                  </a:lnTo>
                  <a:lnTo>
                    <a:pt x="512" y="574"/>
                  </a:lnTo>
                  <a:lnTo>
                    <a:pt x="513" y="574"/>
                  </a:lnTo>
                  <a:lnTo>
                    <a:pt x="513" y="574"/>
                  </a:lnTo>
                  <a:lnTo>
                    <a:pt x="513" y="573"/>
                  </a:lnTo>
                  <a:lnTo>
                    <a:pt x="513" y="573"/>
                  </a:lnTo>
                  <a:close/>
                  <a:moveTo>
                    <a:pt x="510" y="573"/>
                  </a:moveTo>
                  <a:lnTo>
                    <a:pt x="510" y="571"/>
                  </a:lnTo>
                  <a:lnTo>
                    <a:pt x="508" y="570"/>
                  </a:lnTo>
                  <a:lnTo>
                    <a:pt x="507" y="570"/>
                  </a:lnTo>
                  <a:lnTo>
                    <a:pt x="507" y="570"/>
                  </a:lnTo>
                  <a:lnTo>
                    <a:pt x="507" y="571"/>
                  </a:lnTo>
                  <a:lnTo>
                    <a:pt x="507" y="573"/>
                  </a:lnTo>
                  <a:lnTo>
                    <a:pt x="508" y="573"/>
                  </a:lnTo>
                  <a:lnTo>
                    <a:pt x="510" y="573"/>
                  </a:lnTo>
                  <a:lnTo>
                    <a:pt x="510" y="573"/>
                  </a:lnTo>
                  <a:close/>
                  <a:moveTo>
                    <a:pt x="513" y="568"/>
                  </a:moveTo>
                  <a:lnTo>
                    <a:pt x="512" y="566"/>
                  </a:lnTo>
                  <a:lnTo>
                    <a:pt x="512" y="566"/>
                  </a:lnTo>
                  <a:lnTo>
                    <a:pt x="510" y="568"/>
                  </a:lnTo>
                  <a:lnTo>
                    <a:pt x="510" y="568"/>
                  </a:lnTo>
                  <a:lnTo>
                    <a:pt x="510" y="568"/>
                  </a:lnTo>
                  <a:lnTo>
                    <a:pt x="512" y="570"/>
                  </a:lnTo>
                  <a:lnTo>
                    <a:pt x="512" y="570"/>
                  </a:lnTo>
                  <a:lnTo>
                    <a:pt x="512" y="568"/>
                  </a:lnTo>
                  <a:lnTo>
                    <a:pt x="512" y="568"/>
                  </a:lnTo>
                  <a:lnTo>
                    <a:pt x="513" y="570"/>
                  </a:lnTo>
                  <a:lnTo>
                    <a:pt x="513" y="568"/>
                  </a:lnTo>
                  <a:lnTo>
                    <a:pt x="515" y="568"/>
                  </a:lnTo>
                  <a:lnTo>
                    <a:pt x="513" y="568"/>
                  </a:lnTo>
                  <a:close/>
                  <a:moveTo>
                    <a:pt x="1076" y="613"/>
                  </a:moveTo>
                  <a:lnTo>
                    <a:pt x="1076" y="612"/>
                  </a:lnTo>
                  <a:lnTo>
                    <a:pt x="1076" y="612"/>
                  </a:lnTo>
                  <a:lnTo>
                    <a:pt x="1076" y="612"/>
                  </a:lnTo>
                  <a:lnTo>
                    <a:pt x="1076" y="613"/>
                  </a:lnTo>
                  <a:lnTo>
                    <a:pt x="1076" y="613"/>
                  </a:lnTo>
                  <a:lnTo>
                    <a:pt x="1078" y="613"/>
                  </a:lnTo>
                  <a:lnTo>
                    <a:pt x="1076" y="613"/>
                  </a:lnTo>
                  <a:close/>
                  <a:moveTo>
                    <a:pt x="1079" y="615"/>
                  </a:moveTo>
                  <a:lnTo>
                    <a:pt x="1079" y="615"/>
                  </a:lnTo>
                  <a:lnTo>
                    <a:pt x="1076" y="617"/>
                  </a:lnTo>
                  <a:lnTo>
                    <a:pt x="1076" y="617"/>
                  </a:lnTo>
                  <a:lnTo>
                    <a:pt x="1076" y="617"/>
                  </a:lnTo>
                  <a:lnTo>
                    <a:pt x="1076" y="617"/>
                  </a:lnTo>
                  <a:lnTo>
                    <a:pt x="1076" y="617"/>
                  </a:lnTo>
                  <a:lnTo>
                    <a:pt x="1078" y="617"/>
                  </a:lnTo>
                  <a:lnTo>
                    <a:pt x="1078" y="617"/>
                  </a:lnTo>
                  <a:lnTo>
                    <a:pt x="1078" y="615"/>
                  </a:lnTo>
                  <a:lnTo>
                    <a:pt x="1079" y="615"/>
                  </a:lnTo>
                  <a:lnTo>
                    <a:pt x="1079" y="615"/>
                  </a:lnTo>
                  <a:close/>
                  <a:moveTo>
                    <a:pt x="1079" y="612"/>
                  </a:moveTo>
                  <a:lnTo>
                    <a:pt x="1079" y="612"/>
                  </a:lnTo>
                  <a:lnTo>
                    <a:pt x="1078" y="613"/>
                  </a:lnTo>
                  <a:lnTo>
                    <a:pt x="1078" y="613"/>
                  </a:lnTo>
                  <a:lnTo>
                    <a:pt x="1079" y="613"/>
                  </a:lnTo>
                  <a:lnTo>
                    <a:pt x="1079" y="613"/>
                  </a:lnTo>
                  <a:lnTo>
                    <a:pt x="1079" y="612"/>
                  </a:lnTo>
                  <a:lnTo>
                    <a:pt x="1079" y="612"/>
                  </a:lnTo>
                  <a:close/>
                  <a:moveTo>
                    <a:pt x="1082" y="609"/>
                  </a:moveTo>
                  <a:lnTo>
                    <a:pt x="1081" y="610"/>
                  </a:lnTo>
                  <a:lnTo>
                    <a:pt x="1081" y="610"/>
                  </a:lnTo>
                  <a:lnTo>
                    <a:pt x="1081" y="610"/>
                  </a:lnTo>
                  <a:lnTo>
                    <a:pt x="1081" y="610"/>
                  </a:lnTo>
                  <a:lnTo>
                    <a:pt x="1082" y="610"/>
                  </a:lnTo>
                  <a:lnTo>
                    <a:pt x="1082" y="610"/>
                  </a:lnTo>
                  <a:lnTo>
                    <a:pt x="1082" y="610"/>
                  </a:lnTo>
                  <a:lnTo>
                    <a:pt x="1082" y="609"/>
                  </a:lnTo>
                  <a:close/>
                  <a:moveTo>
                    <a:pt x="1115" y="581"/>
                  </a:moveTo>
                  <a:lnTo>
                    <a:pt x="1115" y="581"/>
                  </a:lnTo>
                  <a:lnTo>
                    <a:pt x="1113" y="581"/>
                  </a:lnTo>
                  <a:lnTo>
                    <a:pt x="1110" y="582"/>
                  </a:lnTo>
                  <a:lnTo>
                    <a:pt x="1104" y="587"/>
                  </a:lnTo>
                  <a:lnTo>
                    <a:pt x="1104" y="587"/>
                  </a:lnTo>
                  <a:lnTo>
                    <a:pt x="1103" y="587"/>
                  </a:lnTo>
                  <a:lnTo>
                    <a:pt x="1104" y="587"/>
                  </a:lnTo>
                  <a:lnTo>
                    <a:pt x="1104" y="588"/>
                  </a:lnTo>
                  <a:lnTo>
                    <a:pt x="1103" y="588"/>
                  </a:lnTo>
                  <a:lnTo>
                    <a:pt x="1103" y="590"/>
                  </a:lnTo>
                  <a:lnTo>
                    <a:pt x="1104" y="590"/>
                  </a:lnTo>
                  <a:lnTo>
                    <a:pt x="1106" y="590"/>
                  </a:lnTo>
                  <a:lnTo>
                    <a:pt x="1107" y="588"/>
                  </a:lnTo>
                  <a:lnTo>
                    <a:pt x="1107" y="588"/>
                  </a:lnTo>
                  <a:lnTo>
                    <a:pt x="1109" y="588"/>
                  </a:lnTo>
                  <a:lnTo>
                    <a:pt x="1107" y="588"/>
                  </a:lnTo>
                  <a:lnTo>
                    <a:pt x="1107" y="587"/>
                  </a:lnTo>
                  <a:lnTo>
                    <a:pt x="1109" y="587"/>
                  </a:lnTo>
                  <a:lnTo>
                    <a:pt x="1113" y="584"/>
                  </a:lnTo>
                  <a:lnTo>
                    <a:pt x="1113" y="584"/>
                  </a:lnTo>
                  <a:lnTo>
                    <a:pt x="1113" y="584"/>
                  </a:lnTo>
                  <a:lnTo>
                    <a:pt x="1113" y="582"/>
                  </a:lnTo>
                  <a:lnTo>
                    <a:pt x="1115" y="581"/>
                  </a:lnTo>
                  <a:close/>
                  <a:moveTo>
                    <a:pt x="1128" y="601"/>
                  </a:moveTo>
                  <a:lnTo>
                    <a:pt x="1129" y="599"/>
                  </a:lnTo>
                  <a:lnTo>
                    <a:pt x="1128" y="599"/>
                  </a:lnTo>
                  <a:lnTo>
                    <a:pt x="1126" y="599"/>
                  </a:lnTo>
                  <a:lnTo>
                    <a:pt x="1124" y="599"/>
                  </a:lnTo>
                  <a:lnTo>
                    <a:pt x="1123" y="599"/>
                  </a:lnTo>
                  <a:lnTo>
                    <a:pt x="1118" y="601"/>
                  </a:lnTo>
                  <a:lnTo>
                    <a:pt x="1117" y="601"/>
                  </a:lnTo>
                  <a:lnTo>
                    <a:pt x="1115" y="604"/>
                  </a:lnTo>
                  <a:lnTo>
                    <a:pt x="1113" y="606"/>
                  </a:lnTo>
                  <a:lnTo>
                    <a:pt x="1113" y="607"/>
                  </a:lnTo>
                  <a:lnTo>
                    <a:pt x="1113" y="607"/>
                  </a:lnTo>
                  <a:lnTo>
                    <a:pt x="1117" y="609"/>
                  </a:lnTo>
                  <a:lnTo>
                    <a:pt x="1117" y="607"/>
                  </a:lnTo>
                  <a:lnTo>
                    <a:pt x="1117" y="607"/>
                  </a:lnTo>
                  <a:lnTo>
                    <a:pt x="1117" y="607"/>
                  </a:lnTo>
                  <a:lnTo>
                    <a:pt x="1117" y="606"/>
                  </a:lnTo>
                  <a:lnTo>
                    <a:pt x="1117" y="607"/>
                  </a:lnTo>
                  <a:lnTo>
                    <a:pt x="1117" y="607"/>
                  </a:lnTo>
                  <a:lnTo>
                    <a:pt x="1117" y="609"/>
                  </a:lnTo>
                  <a:lnTo>
                    <a:pt x="1117" y="609"/>
                  </a:lnTo>
                  <a:lnTo>
                    <a:pt x="1117" y="610"/>
                  </a:lnTo>
                  <a:lnTo>
                    <a:pt x="1117" y="610"/>
                  </a:lnTo>
                  <a:lnTo>
                    <a:pt x="1117" y="610"/>
                  </a:lnTo>
                  <a:lnTo>
                    <a:pt x="1118" y="609"/>
                  </a:lnTo>
                  <a:lnTo>
                    <a:pt x="1120" y="607"/>
                  </a:lnTo>
                  <a:lnTo>
                    <a:pt x="1120" y="607"/>
                  </a:lnTo>
                  <a:lnTo>
                    <a:pt x="1120" y="606"/>
                  </a:lnTo>
                  <a:lnTo>
                    <a:pt x="1124" y="602"/>
                  </a:lnTo>
                  <a:lnTo>
                    <a:pt x="1124" y="602"/>
                  </a:lnTo>
                  <a:lnTo>
                    <a:pt x="1124" y="602"/>
                  </a:lnTo>
                  <a:lnTo>
                    <a:pt x="1124" y="601"/>
                  </a:lnTo>
                  <a:lnTo>
                    <a:pt x="1124" y="601"/>
                  </a:lnTo>
                  <a:lnTo>
                    <a:pt x="1128" y="601"/>
                  </a:lnTo>
                  <a:close/>
                  <a:moveTo>
                    <a:pt x="1142" y="654"/>
                  </a:moveTo>
                  <a:lnTo>
                    <a:pt x="1142" y="654"/>
                  </a:lnTo>
                  <a:lnTo>
                    <a:pt x="1140" y="654"/>
                  </a:lnTo>
                  <a:lnTo>
                    <a:pt x="1140" y="656"/>
                  </a:lnTo>
                  <a:lnTo>
                    <a:pt x="1139" y="657"/>
                  </a:lnTo>
                  <a:lnTo>
                    <a:pt x="1139" y="657"/>
                  </a:lnTo>
                  <a:lnTo>
                    <a:pt x="1137" y="659"/>
                  </a:lnTo>
                  <a:lnTo>
                    <a:pt x="1137" y="660"/>
                  </a:lnTo>
                  <a:lnTo>
                    <a:pt x="1137" y="660"/>
                  </a:lnTo>
                  <a:lnTo>
                    <a:pt x="1135" y="663"/>
                  </a:lnTo>
                  <a:lnTo>
                    <a:pt x="1135" y="663"/>
                  </a:lnTo>
                  <a:lnTo>
                    <a:pt x="1135" y="663"/>
                  </a:lnTo>
                  <a:lnTo>
                    <a:pt x="1135" y="665"/>
                  </a:lnTo>
                  <a:lnTo>
                    <a:pt x="1135" y="665"/>
                  </a:lnTo>
                  <a:lnTo>
                    <a:pt x="1137" y="667"/>
                  </a:lnTo>
                  <a:lnTo>
                    <a:pt x="1137" y="665"/>
                  </a:lnTo>
                  <a:lnTo>
                    <a:pt x="1139" y="663"/>
                  </a:lnTo>
                  <a:lnTo>
                    <a:pt x="1139" y="663"/>
                  </a:lnTo>
                  <a:lnTo>
                    <a:pt x="1139" y="663"/>
                  </a:lnTo>
                  <a:lnTo>
                    <a:pt x="1139" y="662"/>
                  </a:lnTo>
                  <a:lnTo>
                    <a:pt x="1140" y="660"/>
                  </a:lnTo>
                  <a:lnTo>
                    <a:pt x="1140" y="660"/>
                  </a:lnTo>
                  <a:lnTo>
                    <a:pt x="1140" y="660"/>
                  </a:lnTo>
                  <a:lnTo>
                    <a:pt x="1140" y="660"/>
                  </a:lnTo>
                  <a:lnTo>
                    <a:pt x="1140" y="659"/>
                  </a:lnTo>
                  <a:lnTo>
                    <a:pt x="1140" y="659"/>
                  </a:lnTo>
                  <a:lnTo>
                    <a:pt x="1140" y="659"/>
                  </a:lnTo>
                  <a:lnTo>
                    <a:pt x="1140" y="657"/>
                  </a:lnTo>
                  <a:lnTo>
                    <a:pt x="1142" y="657"/>
                  </a:lnTo>
                  <a:lnTo>
                    <a:pt x="1142" y="657"/>
                  </a:lnTo>
                  <a:lnTo>
                    <a:pt x="1142" y="656"/>
                  </a:lnTo>
                  <a:lnTo>
                    <a:pt x="1142" y="656"/>
                  </a:lnTo>
                  <a:lnTo>
                    <a:pt x="1142" y="656"/>
                  </a:lnTo>
                  <a:lnTo>
                    <a:pt x="1142" y="656"/>
                  </a:lnTo>
                  <a:lnTo>
                    <a:pt x="1142" y="654"/>
                  </a:lnTo>
                  <a:lnTo>
                    <a:pt x="1142" y="654"/>
                  </a:lnTo>
                  <a:close/>
                  <a:moveTo>
                    <a:pt x="1145" y="651"/>
                  </a:moveTo>
                  <a:lnTo>
                    <a:pt x="1145" y="651"/>
                  </a:lnTo>
                  <a:lnTo>
                    <a:pt x="1143" y="651"/>
                  </a:lnTo>
                  <a:lnTo>
                    <a:pt x="1143" y="651"/>
                  </a:lnTo>
                  <a:lnTo>
                    <a:pt x="1143" y="652"/>
                  </a:lnTo>
                  <a:lnTo>
                    <a:pt x="1143" y="652"/>
                  </a:lnTo>
                  <a:lnTo>
                    <a:pt x="1143" y="652"/>
                  </a:lnTo>
                  <a:lnTo>
                    <a:pt x="1145" y="652"/>
                  </a:lnTo>
                  <a:lnTo>
                    <a:pt x="1145" y="652"/>
                  </a:lnTo>
                  <a:lnTo>
                    <a:pt x="1145" y="651"/>
                  </a:lnTo>
                  <a:close/>
                  <a:moveTo>
                    <a:pt x="1160" y="659"/>
                  </a:moveTo>
                  <a:lnTo>
                    <a:pt x="1159" y="657"/>
                  </a:lnTo>
                  <a:lnTo>
                    <a:pt x="1159" y="657"/>
                  </a:lnTo>
                  <a:lnTo>
                    <a:pt x="1159" y="659"/>
                  </a:lnTo>
                  <a:lnTo>
                    <a:pt x="1159" y="659"/>
                  </a:lnTo>
                  <a:lnTo>
                    <a:pt x="1159" y="659"/>
                  </a:lnTo>
                  <a:lnTo>
                    <a:pt x="1160" y="659"/>
                  </a:lnTo>
                  <a:lnTo>
                    <a:pt x="1160" y="659"/>
                  </a:lnTo>
                  <a:lnTo>
                    <a:pt x="1160" y="659"/>
                  </a:lnTo>
                  <a:close/>
                  <a:moveTo>
                    <a:pt x="1168" y="643"/>
                  </a:moveTo>
                  <a:lnTo>
                    <a:pt x="1168" y="642"/>
                  </a:lnTo>
                  <a:lnTo>
                    <a:pt x="1167" y="643"/>
                  </a:lnTo>
                  <a:lnTo>
                    <a:pt x="1167" y="645"/>
                  </a:lnTo>
                  <a:lnTo>
                    <a:pt x="1167" y="646"/>
                  </a:lnTo>
                  <a:lnTo>
                    <a:pt x="1167" y="646"/>
                  </a:lnTo>
                  <a:lnTo>
                    <a:pt x="1167" y="646"/>
                  </a:lnTo>
                  <a:lnTo>
                    <a:pt x="1168" y="646"/>
                  </a:lnTo>
                  <a:lnTo>
                    <a:pt x="1168" y="645"/>
                  </a:lnTo>
                  <a:lnTo>
                    <a:pt x="1168" y="643"/>
                  </a:lnTo>
                  <a:lnTo>
                    <a:pt x="1168" y="643"/>
                  </a:lnTo>
                  <a:close/>
                  <a:moveTo>
                    <a:pt x="1189" y="642"/>
                  </a:moveTo>
                  <a:lnTo>
                    <a:pt x="1187" y="642"/>
                  </a:lnTo>
                  <a:lnTo>
                    <a:pt x="1187" y="642"/>
                  </a:lnTo>
                  <a:lnTo>
                    <a:pt x="1185" y="642"/>
                  </a:lnTo>
                  <a:lnTo>
                    <a:pt x="1184" y="642"/>
                  </a:lnTo>
                  <a:lnTo>
                    <a:pt x="1185" y="643"/>
                  </a:lnTo>
                  <a:lnTo>
                    <a:pt x="1187" y="643"/>
                  </a:lnTo>
                  <a:lnTo>
                    <a:pt x="1187" y="643"/>
                  </a:lnTo>
                  <a:lnTo>
                    <a:pt x="1187" y="643"/>
                  </a:lnTo>
                  <a:lnTo>
                    <a:pt x="1189" y="643"/>
                  </a:lnTo>
                  <a:lnTo>
                    <a:pt x="1189" y="642"/>
                  </a:lnTo>
                  <a:close/>
                  <a:moveTo>
                    <a:pt x="1192" y="626"/>
                  </a:moveTo>
                  <a:lnTo>
                    <a:pt x="1192" y="624"/>
                  </a:lnTo>
                  <a:lnTo>
                    <a:pt x="1192" y="624"/>
                  </a:lnTo>
                  <a:lnTo>
                    <a:pt x="1192" y="623"/>
                  </a:lnTo>
                  <a:lnTo>
                    <a:pt x="1192" y="623"/>
                  </a:lnTo>
                  <a:lnTo>
                    <a:pt x="1190" y="623"/>
                  </a:lnTo>
                  <a:lnTo>
                    <a:pt x="1190" y="624"/>
                  </a:lnTo>
                  <a:lnTo>
                    <a:pt x="1190" y="626"/>
                  </a:lnTo>
                  <a:lnTo>
                    <a:pt x="1190" y="627"/>
                  </a:lnTo>
                  <a:lnTo>
                    <a:pt x="1192" y="627"/>
                  </a:lnTo>
                  <a:lnTo>
                    <a:pt x="1192" y="627"/>
                  </a:lnTo>
                  <a:lnTo>
                    <a:pt x="1192" y="627"/>
                  </a:lnTo>
                  <a:lnTo>
                    <a:pt x="1192" y="627"/>
                  </a:lnTo>
                  <a:lnTo>
                    <a:pt x="1192" y="626"/>
                  </a:lnTo>
                  <a:close/>
                  <a:moveTo>
                    <a:pt x="1192" y="629"/>
                  </a:moveTo>
                  <a:lnTo>
                    <a:pt x="1192" y="629"/>
                  </a:lnTo>
                  <a:lnTo>
                    <a:pt x="1192" y="629"/>
                  </a:lnTo>
                  <a:lnTo>
                    <a:pt x="1192" y="629"/>
                  </a:lnTo>
                  <a:lnTo>
                    <a:pt x="1192" y="629"/>
                  </a:lnTo>
                  <a:lnTo>
                    <a:pt x="1192" y="629"/>
                  </a:lnTo>
                  <a:lnTo>
                    <a:pt x="1192" y="631"/>
                  </a:lnTo>
                  <a:lnTo>
                    <a:pt x="1192" y="631"/>
                  </a:lnTo>
                  <a:lnTo>
                    <a:pt x="1193" y="631"/>
                  </a:lnTo>
                  <a:lnTo>
                    <a:pt x="1192" y="629"/>
                  </a:lnTo>
                  <a:close/>
                  <a:moveTo>
                    <a:pt x="1203" y="637"/>
                  </a:moveTo>
                  <a:lnTo>
                    <a:pt x="1203" y="635"/>
                  </a:lnTo>
                  <a:lnTo>
                    <a:pt x="1203" y="635"/>
                  </a:lnTo>
                  <a:lnTo>
                    <a:pt x="1201" y="634"/>
                  </a:lnTo>
                  <a:lnTo>
                    <a:pt x="1199" y="634"/>
                  </a:lnTo>
                  <a:lnTo>
                    <a:pt x="1199" y="634"/>
                  </a:lnTo>
                  <a:lnTo>
                    <a:pt x="1199" y="635"/>
                  </a:lnTo>
                  <a:lnTo>
                    <a:pt x="1199" y="635"/>
                  </a:lnTo>
                  <a:lnTo>
                    <a:pt x="1199" y="635"/>
                  </a:lnTo>
                  <a:lnTo>
                    <a:pt x="1198" y="637"/>
                  </a:lnTo>
                  <a:lnTo>
                    <a:pt x="1198" y="637"/>
                  </a:lnTo>
                  <a:lnTo>
                    <a:pt x="1198" y="637"/>
                  </a:lnTo>
                  <a:lnTo>
                    <a:pt x="1196" y="637"/>
                  </a:lnTo>
                  <a:lnTo>
                    <a:pt x="1196" y="637"/>
                  </a:lnTo>
                  <a:lnTo>
                    <a:pt x="1196" y="637"/>
                  </a:lnTo>
                  <a:lnTo>
                    <a:pt x="1198" y="638"/>
                  </a:lnTo>
                  <a:lnTo>
                    <a:pt x="1199" y="638"/>
                  </a:lnTo>
                  <a:lnTo>
                    <a:pt x="1201" y="638"/>
                  </a:lnTo>
                  <a:lnTo>
                    <a:pt x="1203" y="638"/>
                  </a:lnTo>
                  <a:lnTo>
                    <a:pt x="1204" y="637"/>
                  </a:lnTo>
                  <a:lnTo>
                    <a:pt x="1203" y="637"/>
                  </a:lnTo>
                  <a:close/>
                  <a:moveTo>
                    <a:pt x="1284" y="709"/>
                  </a:moveTo>
                  <a:lnTo>
                    <a:pt x="1282" y="709"/>
                  </a:lnTo>
                  <a:lnTo>
                    <a:pt x="1282" y="709"/>
                  </a:lnTo>
                  <a:lnTo>
                    <a:pt x="1282" y="710"/>
                  </a:lnTo>
                  <a:lnTo>
                    <a:pt x="1282" y="710"/>
                  </a:lnTo>
                  <a:lnTo>
                    <a:pt x="1282" y="710"/>
                  </a:lnTo>
                  <a:lnTo>
                    <a:pt x="1282" y="710"/>
                  </a:lnTo>
                  <a:lnTo>
                    <a:pt x="1284" y="710"/>
                  </a:lnTo>
                  <a:lnTo>
                    <a:pt x="1284" y="709"/>
                  </a:lnTo>
                  <a:lnTo>
                    <a:pt x="1284" y="709"/>
                  </a:lnTo>
                  <a:close/>
                  <a:moveTo>
                    <a:pt x="1331" y="685"/>
                  </a:moveTo>
                  <a:lnTo>
                    <a:pt x="1331" y="685"/>
                  </a:lnTo>
                  <a:lnTo>
                    <a:pt x="1331" y="687"/>
                  </a:lnTo>
                  <a:lnTo>
                    <a:pt x="1331" y="687"/>
                  </a:lnTo>
                  <a:lnTo>
                    <a:pt x="1331" y="685"/>
                  </a:lnTo>
                  <a:lnTo>
                    <a:pt x="1331" y="685"/>
                  </a:lnTo>
                  <a:lnTo>
                    <a:pt x="1331" y="685"/>
                  </a:lnTo>
                  <a:close/>
                  <a:moveTo>
                    <a:pt x="1332" y="679"/>
                  </a:moveTo>
                  <a:lnTo>
                    <a:pt x="1332" y="679"/>
                  </a:lnTo>
                  <a:lnTo>
                    <a:pt x="1332" y="679"/>
                  </a:lnTo>
                  <a:lnTo>
                    <a:pt x="1332" y="679"/>
                  </a:lnTo>
                  <a:lnTo>
                    <a:pt x="1332" y="679"/>
                  </a:lnTo>
                  <a:lnTo>
                    <a:pt x="1334" y="679"/>
                  </a:lnTo>
                  <a:lnTo>
                    <a:pt x="1334" y="679"/>
                  </a:lnTo>
                  <a:lnTo>
                    <a:pt x="1332" y="679"/>
                  </a:lnTo>
                  <a:close/>
                  <a:moveTo>
                    <a:pt x="1493" y="665"/>
                  </a:moveTo>
                  <a:lnTo>
                    <a:pt x="1492" y="665"/>
                  </a:lnTo>
                  <a:lnTo>
                    <a:pt x="1490" y="665"/>
                  </a:lnTo>
                  <a:lnTo>
                    <a:pt x="1490" y="663"/>
                  </a:lnTo>
                  <a:lnTo>
                    <a:pt x="1492" y="662"/>
                  </a:lnTo>
                  <a:lnTo>
                    <a:pt x="1492" y="660"/>
                  </a:lnTo>
                  <a:lnTo>
                    <a:pt x="1490" y="659"/>
                  </a:lnTo>
                  <a:lnTo>
                    <a:pt x="1490" y="657"/>
                  </a:lnTo>
                  <a:lnTo>
                    <a:pt x="1490" y="657"/>
                  </a:lnTo>
                  <a:lnTo>
                    <a:pt x="1489" y="657"/>
                  </a:lnTo>
                  <a:lnTo>
                    <a:pt x="1489" y="657"/>
                  </a:lnTo>
                  <a:lnTo>
                    <a:pt x="1489" y="657"/>
                  </a:lnTo>
                  <a:lnTo>
                    <a:pt x="1487" y="657"/>
                  </a:lnTo>
                  <a:lnTo>
                    <a:pt x="1487" y="657"/>
                  </a:lnTo>
                  <a:lnTo>
                    <a:pt x="1487" y="657"/>
                  </a:lnTo>
                  <a:lnTo>
                    <a:pt x="1486" y="657"/>
                  </a:lnTo>
                  <a:lnTo>
                    <a:pt x="1486" y="656"/>
                  </a:lnTo>
                  <a:lnTo>
                    <a:pt x="1484" y="656"/>
                  </a:lnTo>
                  <a:lnTo>
                    <a:pt x="1484" y="654"/>
                  </a:lnTo>
                  <a:lnTo>
                    <a:pt x="1484" y="654"/>
                  </a:lnTo>
                  <a:lnTo>
                    <a:pt x="1486" y="654"/>
                  </a:lnTo>
                  <a:lnTo>
                    <a:pt x="1486" y="652"/>
                  </a:lnTo>
                  <a:lnTo>
                    <a:pt x="1486" y="652"/>
                  </a:lnTo>
                  <a:lnTo>
                    <a:pt x="1486" y="652"/>
                  </a:lnTo>
                  <a:lnTo>
                    <a:pt x="1486" y="651"/>
                  </a:lnTo>
                  <a:lnTo>
                    <a:pt x="1486" y="651"/>
                  </a:lnTo>
                  <a:lnTo>
                    <a:pt x="1484" y="651"/>
                  </a:lnTo>
                  <a:lnTo>
                    <a:pt x="1484" y="649"/>
                  </a:lnTo>
                  <a:lnTo>
                    <a:pt x="1484" y="649"/>
                  </a:lnTo>
                  <a:lnTo>
                    <a:pt x="1486" y="649"/>
                  </a:lnTo>
                  <a:lnTo>
                    <a:pt x="1486" y="648"/>
                  </a:lnTo>
                  <a:lnTo>
                    <a:pt x="1486" y="648"/>
                  </a:lnTo>
                  <a:lnTo>
                    <a:pt x="1486" y="648"/>
                  </a:lnTo>
                  <a:lnTo>
                    <a:pt x="1486" y="648"/>
                  </a:lnTo>
                  <a:lnTo>
                    <a:pt x="1486" y="646"/>
                  </a:lnTo>
                  <a:lnTo>
                    <a:pt x="1484" y="646"/>
                  </a:lnTo>
                  <a:lnTo>
                    <a:pt x="1484" y="646"/>
                  </a:lnTo>
                  <a:lnTo>
                    <a:pt x="1482" y="646"/>
                  </a:lnTo>
                  <a:lnTo>
                    <a:pt x="1481" y="646"/>
                  </a:lnTo>
                  <a:lnTo>
                    <a:pt x="1481" y="645"/>
                  </a:lnTo>
                  <a:lnTo>
                    <a:pt x="1479" y="645"/>
                  </a:lnTo>
                  <a:lnTo>
                    <a:pt x="1479" y="645"/>
                  </a:lnTo>
                  <a:lnTo>
                    <a:pt x="1479" y="645"/>
                  </a:lnTo>
                  <a:lnTo>
                    <a:pt x="1479" y="645"/>
                  </a:lnTo>
                  <a:lnTo>
                    <a:pt x="1479" y="643"/>
                  </a:lnTo>
                  <a:lnTo>
                    <a:pt x="1479" y="643"/>
                  </a:lnTo>
                  <a:lnTo>
                    <a:pt x="1479" y="642"/>
                  </a:lnTo>
                  <a:lnTo>
                    <a:pt x="1479" y="642"/>
                  </a:lnTo>
                  <a:lnTo>
                    <a:pt x="1479" y="640"/>
                  </a:lnTo>
                  <a:lnTo>
                    <a:pt x="1479" y="640"/>
                  </a:lnTo>
                  <a:lnTo>
                    <a:pt x="1479" y="640"/>
                  </a:lnTo>
                  <a:lnTo>
                    <a:pt x="1479" y="640"/>
                  </a:lnTo>
                  <a:lnTo>
                    <a:pt x="1479" y="638"/>
                  </a:lnTo>
                  <a:lnTo>
                    <a:pt x="1479" y="638"/>
                  </a:lnTo>
                  <a:lnTo>
                    <a:pt x="1479" y="638"/>
                  </a:lnTo>
                  <a:lnTo>
                    <a:pt x="1479" y="635"/>
                  </a:lnTo>
                  <a:lnTo>
                    <a:pt x="1479" y="632"/>
                  </a:lnTo>
                  <a:lnTo>
                    <a:pt x="1479" y="627"/>
                  </a:lnTo>
                  <a:lnTo>
                    <a:pt x="1479" y="624"/>
                  </a:lnTo>
                  <a:lnTo>
                    <a:pt x="1479" y="621"/>
                  </a:lnTo>
                  <a:lnTo>
                    <a:pt x="1479" y="617"/>
                  </a:lnTo>
                  <a:lnTo>
                    <a:pt x="1479" y="617"/>
                  </a:lnTo>
                  <a:lnTo>
                    <a:pt x="1479" y="613"/>
                  </a:lnTo>
                  <a:lnTo>
                    <a:pt x="1479" y="609"/>
                  </a:lnTo>
                  <a:lnTo>
                    <a:pt x="1476" y="607"/>
                  </a:lnTo>
                  <a:lnTo>
                    <a:pt x="1473" y="604"/>
                  </a:lnTo>
                  <a:lnTo>
                    <a:pt x="1472" y="602"/>
                  </a:lnTo>
                  <a:lnTo>
                    <a:pt x="1470" y="602"/>
                  </a:lnTo>
                  <a:lnTo>
                    <a:pt x="1468" y="602"/>
                  </a:lnTo>
                  <a:lnTo>
                    <a:pt x="1468" y="602"/>
                  </a:lnTo>
                  <a:lnTo>
                    <a:pt x="1467" y="604"/>
                  </a:lnTo>
                  <a:lnTo>
                    <a:pt x="1464" y="606"/>
                  </a:lnTo>
                  <a:lnTo>
                    <a:pt x="1461" y="606"/>
                  </a:lnTo>
                  <a:lnTo>
                    <a:pt x="1461" y="606"/>
                  </a:lnTo>
                  <a:lnTo>
                    <a:pt x="1459" y="606"/>
                  </a:lnTo>
                  <a:lnTo>
                    <a:pt x="1459" y="606"/>
                  </a:lnTo>
                  <a:lnTo>
                    <a:pt x="1457" y="606"/>
                  </a:lnTo>
                  <a:lnTo>
                    <a:pt x="1457" y="604"/>
                  </a:lnTo>
                  <a:lnTo>
                    <a:pt x="1456" y="602"/>
                  </a:lnTo>
                  <a:lnTo>
                    <a:pt x="1457" y="601"/>
                  </a:lnTo>
                  <a:lnTo>
                    <a:pt x="1456" y="599"/>
                  </a:lnTo>
                  <a:lnTo>
                    <a:pt x="1453" y="599"/>
                  </a:lnTo>
                  <a:lnTo>
                    <a:pt x="1453" y="601"/>
                  </a:lnTo>
                  <a:lnTo>
                    <a:pt x="1453" y="601"/>
                  </a:lnTo>
                  <a:lnTo>
                    <a:pt x="1451" y="602"/>
                  </a:lnTo>
                  <a:lnTo>
                    <a:pt x="1450" y="606"/>
                  </a:lnTo>
                  <a:lnTo>
                    <a:pt x="1447" y="609"/>
                  </a:lnTo>
                  <a:lnTo>
                    <a:pt x="1447" y="609"/>
                  </a:lnTo>
                  <a:lnTo>
                    <a:pt x="1445" y="612"/>
                  </a:lnTo>
                  <a:lnTo>
                    <a:pt x="1442" y="615"/>
                  </a:lnTo>
                  <a:lnTo>
                    <a:pt x="1440" y="618"/>
                  </a:lnTo>
                  <a:lnTo>
                    <a:pt x="1440" y="618"/>
                  </a:lnTo>
                  <a:lnTo>
                    <a:pt x="1440" y="618"/>
                  </a:lnTo>
                  <a:lnTo>
                    <a:pt x="1440" y="621"/>
                  </a:lnTo>
                  <a:lnTo>
                    <a:pt x="1440" y="623"/>
                  </a:lnTo>
                  <a:lnTo>
                    <a:pt x="1439" y="626"/>
                  </a:lnTo>
                  <a:lnTo>
                    <a:pt x="1439" y="626"/>
                  </a:lnTo>
                  <a:lnTo>
                    <a:pt x="1437" y="627"/>
                  </a:lnTo>
                  <a:lnTo>
                    <a:pt x="1436" y="631"/>
                  </a:lnTo>
                  <a:lnTo>
                    <a:pt x="1436" y="634"/>
                  </a:lnTo>
                  <a:lnTo>
                    <a:pt x="1436" y="635"/>
                  </a:lnTo>
                  <a:lnTo>
                    <a:pt x="1436" y="637"/>
                  </a:lnTo>
                  <a:lnTo>
                    <a:pt x="1436" y="638"/>
                  </a:lnTo>
                  <a:lnTo>
                    <a:pt x="1436" y="638"/>
                  </a:lnTo>
                  <a:lnTo>
                    <a:pt x="1436" y="638"/>
                  </a:lnTo>
                  <a:lnTo>
                    <a:pt x="1434" y="640"/>
                  </a:lnTo>
                  <a:lnTo>
                    <a:pt x="1434" y="640"/>
                  </a:lnTo>
                  <a:lnTo>
                    <a:pt x="1432" y="642"/>
                  </a:lnTo>
                  <a:lnTo>
                    <a:pt x="1432" y="643"/>
                  </a:lnTo>
                  <a:lnTo>
                    <a:pt x="1432" y="643"/>
                  </a:lnTo>
                  <a:lnTo>
                    <a:pt x="1432" y="645"/>
                  </a:lnTo>
                  <a:lnTo>
                    <a:pt x="1429" y="646"/>
                  </a:lnTo>
                  <a:lnTo>
                    <a:pt x="1428" y="648"/>
                  </a:lnTo>
                  <a:lnTo>
                    <a:pt x="1428" y="649"/>
                  </a:lnTo>
                  <a:lnTo>
                    <a:pt x="1428" y="651"/>
                  </a:lnTo>
                  <a:lnTo>
                    <a:pt x="1428" y="651"/>
                  </a:lnTo>
                  <a:lnTo>
                    <a:pt x="1428" y="651"/>
                  </a:lnTo>
                  <a:lnTo>
                    <a:pt x="1428" y="651"/>
                  </a:lnTo>
                  <a:lnTo>
                    <a:pt x="1426" y="651"/>
                  </a:lnTo>
                  <a:lnTo>
                    <a:pt x="1426" y="652"/>
                  </a:lnTo>
                  <a:lnTo>
                    <a:pt x="1426" y="652"/>
                  </a:lnTo>
                  <a:lnTo>
                    <a:pt x="1426" y="654"/>
                  </a:lnTo>
                  <a:lnTo>
                    <a:pt x="1425" y="656"/>
                  </a:lnTo>
                  <a:lnTo>
                    <a:pt x="1425" y="656"/>
                  </a:lnTo>
                  <a:lnTo>
                    <a:pt x="1425" y="654"/>
                  </a:lnTo>
                  <a:lnTo>
                    <a:pt x="1423" y="654"/>
                  </a:lnTo>
                  <a:lnTo>
                    <a:pt x="1423" y="654"/>
                  </a:lnTo>
                  <a:lnTo>
                    <a:pt x="1421" y="654"/>
                  </a:lnTo>
                  <a:lnTo>
                    <a:pt x="1420" y="656"/>
                  </a:lnTo>
                  <a:lnTo>
                    <a:pt x="1420" y="656"/>
                  </a:lnTo>
                  <a:lnTo>
                    <a:pt x="1417" y="654"/>
                  </a:lnTo>
                  <a:lnTo>
                    <a:pt x="1415" y="657"/>
                  </a:lnTo>
                  <a:lnTo>
                    <a:pt x="1414" y="662"/>
                  </a:lnTo>
                  <a:lnTo>
                    <a:pt x="1414" y="662"/>
                  </a:lnTo>
                  <a:lnTo>
                    <a:pt x="1406" y="662"/>
                  </a:lnTo>
                  <a:lnTo>
                    <a:pt x="1370" y="662"/>
                  </a:lnTo>
                  <a:lnTo>
                    <a:pt x="1362" y="662"/>
                  </a:lnTo>
                  <a:lnTo>
                    <a:pt x="1357" y="662"/>
                  </a:lnTo>
                  <a:lnTo>
                    <a:pt x="1357" y="662"/>
                  </a:lnTo>
                  <a:lnTo>
                    <a:pt x="1354" y="662"/>
                  </a:lnTo>
                  <a:lnTo>
                    <a:pt x="1353" y="662"/>
                  </a:lnTo>
                  <a:lnTo>
                    <a:pt x="1350" y="663"/>
                  </a:lnTo>
                  <a:lnTo>
                    <a:pt x="1345" y="667"/>
                  </a:lnTo>
                  <a:lnTo>
                    <a:pt x="1339" y="674"/>
                  </a:lnTo>
                  <a:lnTo>
                    <a:pt x="1339" y="674"/>
                  </a:lnTo>
                  <a:lnTo>
                    <a:pt x="1339" y="674"/>
                  </a:lnTo>
                  <a:lnTo>
                    <a:pt x="1339" y="674"/>
                  </a:lnTo>
                  <a:lnTo>
                    <a:pt x="1339" y="676"/>
                  </a:lnTo>
                  <a:lnTo>
                    <a:pt x="1339" y="676"/>
                  </a:lnTo>
                  <a:lnTo>
                    <a:pt x="1331" y="682"/>
                  </a:lnTo>
                  <a:lnTo>
                    <a:pt x="1329" y="684"/>
                  </a:lnTo>
                  <a:lnTo>
                    <a:pt x="1329" y="685"/>
                  </a:lnTo>
                  <a:lnTo>
                    <a:pt x="1329" y="685"/>
                  </a:lnTo>
                  <a:lnTo>
                    <a:pt x="1329" y="685"/>
                  </a:lnTo>
                  <a:lnTo>
                    <a:pt x="1331" y="684"/>
                  </a:lnTo>
                  <a:lnTo>
                    <a:pt x="1332" y="684"/>
                  </a:lnTo>
                  <a:lnTo>
                    <a:pt x="1332" y="684"/>
                  </a:lnTo>
                  <a:lnTo>
                    <a:pt x="1332" y="685"/>
                  </a:lnTo>
                  <a:lnTo>
                    <a:pt x="1331" y="687"/>
                  </a:lnTo>
                  <a:lnTo>
                    <a:pt x="1332" y="687"/>
                  </a:lnTo>
                  <a:lnTo>
                    <a:pt x="1332" y="687"/>
                  </a:lnTo>
                  <a:lnTo>
                    <a:pt x="1334" y="687"/>
                  </a:lnTo>
                  <a:lnTo>
                    <a:pt x="1334" y="687"/>
                  </a:lnTo>
                  <a:lnTo>
                    <a:pt x="1332" y="687"/>
                  </a:lnTo>
                  <a:lnTo>
                    <a:pt x="1332" y="688"/>
                  </a:lnTo>
                  <a:lnTo>
                    <a:pt x="1331" y="690"/>
                  </a:lnTo>
                  <a:lnTo>
                    <a:pt x="1331" y="690"/>
                  </a:lnTo>
                  <a:lnTo>
                    <a:pt x="1331" y="690"/>
                  </a:lnTo>
                  <a:lnTo>
                    <a:pt x="1331" y="688"/>
                  </a:lnTo>
                  <a:lnTo>
                    <a:pt x="1329" y="690"/>
                  </a:lnTo>
                  <a:lnTo>
                    <a:pt x="1329" y="690"/>
                  </a:lnTo>
                  <a:lnTo>
                    <a:pt x="1331" y="690"/>
                  </a:lnTo>
                  <a:lnTo>
                    <a:pt x="1331" y="692"/>
                  </a:lnTo>
                  <a:lnTo>
                    <a:pt x="1331" y="692"/>
                  </a:lnTo>
                  <a:lnTo>
                    <a:pt x="1331" y="695"/>
                  </a:lnTo>
                  <a:lnTo>
                    <a:pt x="1331" y="695"/>
                  </a:lnTo>
                  <a:lnTo>
                    <a:pt x="1331" y="695"/>
                  </a:lnTo>
                  <a:lnTo>
                    <a:pt x="1331" y="695"/>
                  </a:lnTo>
                  <a:lnTo>
                    <a:pt x="1331" y="696"/>
                  </a:lnTo>
                  <a:lnTo>
                    <a:pt x="1331" y="696"/>
                  </a:lnTo>
                  <a:lnTo>
                    <a:pt x="1331" y="696"/>
                  </a:lnTo>
                  <a:lnTo>
                    <a:pt x="1331" y="698"/>
                  </a:lnTo>
                  <a:lnTo>
                    <a:pt x="1329" y="698"/>
                  </a:lnTo>
                  <a:lnTo>
                    <a:pt x="1328" y="698"/>
                  </a:lnTo>
                  <a:lnTo>
                    <a:pt x="1326" y="698"/>
                  </a:lnTo>
                  <a:lnTo>
                    <a:pt x="1325" y="699"/>
                  </a:lnTo>
                  <a:lnTo>
                    <a:pt x="1323" y="701"/>
                  </a:lnTo>
                  <a:lnTo>
                    <a:pt x="1323" y="701"/>
                  </a:lnTo>
                  <a:lnTo>
                    <a:pt x="1323" y="703"/>
                  </a:lnTo>
                  <a:lnTo>
                    <a:pt x="1321" y="703"/>
                  </a:lnTo>
                  <a:lnTo>
                    <a:pt x="1320" y="703"/>
                  </a:lnTo>
                  <a:lnTo>
                    <a:pt x="1318" y="704"/>
                  </a:lnTo>
                  <a:lnTo>
                    <a:pt x="1318" y="704"/>
                  </a:lnTo>
                  <a:lnTo>
                    <a:pt x="1318" y="704"/>
                  </a:lnTo>
                  <a:lnTo>
                    <a:pt x="1318" y="704"/>
                  </a:lnTo>
                  <a:lnTo>
                    <a:pt x="1317" y="704"/>
                  </a:lnTo>
                  <a:lnTo>
                    <a:pt x="1312" y="703"/>
                  </a:lnTo>
                  <a:lnTo>
                    <a:pt x="1310" y="704"/>
                  </a:lnTo>
                  <a:lnTo>
                    <a:pt x="1307" y="704"/>
                  </a:lnTo>
                  <a:lnTo>
                    <a:pt x="1306" y="704"/>
                  </a:lnTo>
                  <a:lnTo>
                    <a:pt x="1304" y="703"/>
                  </a:lnTo>
                  <a:lnTo>
                    <a:pt x="1303" y="703"/>
                  </a:lnTo>
                  <a:lnTo>
                    <a:pt x="1296" y="701"/>
                  </a:lnTo>
                  <a:lnTo>
                    <a:pt x="1292" y="701"/>
                  </a:lnTo>
                  <a:lnTo>
                    <a:pt x="1287" y="701"/>
                  </a:lnTo>
                  <a:lnTo>
                    <a:pt x="1281" y="704"/>
                  </a:lnTo>
                  <a:lnTo>
                    <a:pt x="1281" y="704"/>
                  </a:lnTo>
                  <a:lnTo>
                    <a:pt x="1281" y="704"/>
                  </a:lnTo>
                  <a:lnTo>
                    <a:pt x="1281" y="707"/>
                  </a:lnTo>
                  <a:lnTo>
                    <a:pt x="1284" y="709"/>
                  </a:lnTo>
                  <a:lnTo>
                    <a:pt x="1284" y="709"/>
                  </a:lnTo>
                  <a:lnTo>
                    <a:pt x="1284" y="709"/>
                  </a:lnTo>
                  <a:lnTo>
                    <a:pt x="1284" y="710"/>
                  </a:lnTo>
                  <a:lnTo>
                    <a:pt x="1284" y="712"/>
                  </a:lnTo>
                  <a:lnTo>
                    <a:pt x="1284" y="714"/>
                  </a:lnTo>
                  <a:lnTo>
                    <a:pt x="1284" y="715"/>
                  </a:lnTo>
                  <a:lnTo>
                    <a:pt x="1284" y="715"/>
                  </a:lnTo>
                  <a:lnTo>
                    <a:pt x="1284" y="717"/>
                  </a:lnTo>
                  <a:lnTo>
                    <a:pt x="1282" y="717"/>
                  </a:lnTo>
                  <a:lnTo>
                    <a:pt x="1281" y="718"/>
                  </a:lnTo>
                  <a:lnTo>
                    <a:pt x="1281" y="720"/>
                  </a:lnTo>
                  <a:lnTo>
                    <a:pt x="1279" y="721"/>
                  </a:lnTo>
                  <a:lnTo>
                    <a:pt x="1276" y="721"/>
                  </a:lnTo>
                  <a:lnTo>
                    <a:pt x="1275" y="723"/>
                  </a:lnTo>
                  <a:lnTo>
                    <a:pt x="1273" y="724"/>
                  </a:lnTo>
                  <a:lnTo>
                    <a:pt x="1270" y="728"/>
                  </a:lnTo>
                  <a:lnTo>
                    <a:pt x="1264" y="731"/>
                  </a:lnTo>
                  <a:lnTo>
                    <a:pt x="1262" y="731"/>
                  </a:lnTo>
                  <a:lnTo>
                    <a:pt x="1262" y="732"/>
                  </a:lnTo>
                  <a:lnTo>
                    <a:pt x="1260" y="732"/>
                  </a:lnTo>
                  <a:lnTo>
                    <a:pt x="1259" y="734"/>
                  </a:lnTo>
                  <a:lnTo>
                    <a:pt x="1250" y="737"/>
                  </a:lnTo>
                  <a:lnTo>
                    <a:pt x="1243" y="740"/>
                  </a:lnTo>
                  <a:lnTo>
                    <a:pt x="1239" y="742"/>
                  </a:lnTo>
                  <a:lnTo>
                    <a:pt x="1235" y="745"/>
                  </a:lnTo>
                  <a:lnTo>
                    <a:pt x="1234" y="746"/>
                  </a:lnTo>
                  <a:lnTo>
                    <a:pt x="1232" y="746"/>
                  </a:lnTo>
                  <a:lnTo>
                    <a:pt x="1231" y="746"/>
                  </a:lnTo>
                  <a:lnTo>
                    <a:pt x="1228" y="746"/>
                  </a:lnTo>
                  <a:lnTo>
                    <a:pt x="1224" y="746"/>
                  </a:lnTo>
                  <a:lnTo>
                    <a:pt x="1223" y="748"/>
                  </a:lnTo>
                  <a:lnTo>
                    <a:pt x="1221" y="748"/>
                  </a:lnTo>
                  <a:lnTo>
                    <a:pt x="1221" y="748"/>
                  </a:lnTo>
                  <a:lnTo>
                    <a:pt x="1220" y="748"/>
                  </a:lnTo>
                  <a:lnTo>
                    <a:pt x="1218" y="746"/>
                  </a:lnTo>
                  <a:lnTo>
                    <a:pt x="1218" y="746"/>
                  </a:lnTo>
                  <a:lnTo>
                    <a:pt x="1218" y="746"/>
                  </a:lnTo>
                  <a:lnTo>
                    <a:pt x="1217" y="746"/>
                  </a:lnTo>
                  <a:lnTo>
                    <a:pt x="1215" y="746"/>
                  </a:lnTo>
                  <a:lnTo>
                    <a:pt x="1214" y="748"/>
                  </a:lnTo>
                  <a:lnTo>
                    <a:pt x="1214" y="748"/>
                  </a:lnTo>
                  <a:lnTo>
                    <a:pt x="1212" y="746"/>
                  </a:lnTo>
                  <a:lnTo>
                    <a:pt x="1212" y="746"/>
                  </a:lnTo>
                  <a:lnTo>
                    <a:pt x="1217" y="745"/>
                  </a:lnTo>
                  <a:lnTo>
                    <a:pt x="1217" y="745"/>
                  </a:lnTo>
                  <a:lnTo>
                    <a:pt x="1215" y="745"/>
                  </a:lnTo>
                  <a:lnTo>
                    <a:pt x="1215" y="743"/>
                  </a:lnTo>
                  <a:lnTo>
                    <a:pt x="1215" y="745"/>
                  </a:lnTo>
                  <a:lnTo>
                    <a:pt x="1214" y="745"/>
                  </a:lnTo>
                  <a:lnTo>
                    <a:pt x="1214" y="745"/>
                  </a:lnTo>
                  <a:lnTo>
                    <a:pt x="1212" y="745"/>
                  </a:lnTo>
                  <a:lnTo>
                    <a:pt x="1212" y="745"/>
                  </a:lnTo>
                  <a:lnTo>
                    <a:pt x="1210" y="743"/>
                  </a:lnTo>
                  <a:lnTo>
                    <a:pt x="1207" y="742"/>
                  </a:lnTo>
                  <a:lnTo>
                    <a:pt x="1207" y="742"/>
                  </a:lnTo>
                  <a:lnTo>
                    <a:pt x="1206" y="740"/>
                  </a:lnTo>
                  <a:lnTo>
                    <a:pt x="1204" y="740"/>
                  </a:lnTo>
                  <a:lnTo>
                    <a:pt x="1204" y="740"/>
                  </a:lnTo>
                  <a:lnTo>
                    <a:pt x="1204" y="740"/>
                  </a:lnTo>
                  <a:lnTo>
                    <a:pt x="1206" y="737"/>
                  </a:lnTo>
                  <a:lnTo>
                    <a:pt x="1207" y="735"/>
                  </a:lnTo>
                  <a:lnTo>
                    <a:pt x="1207" y="735"/>
                  </a:lnTo>
                  <a:lnTo>
                    <a:pt x="1207" y="735"/>
                  </a:lnTo>
                  <a:lnTo>
                    <a:pt x="1207" y="735"/>
                  </a:lnTo>
                  <a:lnTo>
                    <a:pt x="1207" y="735"/>
                  </a:lnTo>
                  <a:lnTo>
                    <a:pt x="1207" y="734"/>
                  </a:lnTo>
                  <a:lnTo>
                    <a:pt x="1209" y="734"/>
                  </a:lnTo>
                  <a:lnTo>
                    <a:pt x="1209" y="732"/>
                  </a:lnTo>
                  <a:lnTo>
                    <a:pt x="1209" y="732"/>
                  </a:lnTo>
                  <a:lnTo>
                    <a:pt x="1209" y="731"/>
                  </a:lnTo>
                  <a:lnTo>
                    <a:pt x="1209" y="729"/>
                  </a:lnTo>
                  <a:lnTo>
                    <a:pt x="1210" y="728"/>
                  </a:lnTo>
                  <a:lnTo>
                    <a:pt x="1210" y="728"/>
                  </a:lnTo>
                  <a:lnTo>
                    <a:pt x="1210" y="728"/>
                  </a:lnTo>
                  <a:lnTo>
                    <a:pt x="1210" y="728"/>
                  </a:lnTo>
                  <a:lnTo>
                    <a:pt x="1212" y="726"/>
                  </a:lnTo>
                  <a:lnTo>
                    <a:pt x="1215" y="724"/>
                  </a:lnTo>
                  <a:lnTo>
                    <a:pt x="1217" y="723"/>
                  </a:lnTo>
                  <a:lnTo>
                    <a:pt x="1218" y="721"/>
                  </a:lnTo>
                  <a:lnTo>
                    <a:pt x="1220" y="720"/>
                  </a:lnTo>
                  <a:lnTo>
                    <a:pt x="1220" y="720"/>
                  </a:lnTo>
                  <a:lnTo>
                    <a:pt x="1221" y="717"/>
                  </a:lnTo>
                  <a:lnTo>
                    <a:pt x="1221" y="717"/>
                  </a:lnTo>
                  <a:lnTo>
                    <a:pt x="1223" y="710"/>
                  </a:lnTo>
                  <a:lnTo>
                    <a:pt x="1223" y="710"/>
                  </a:lnTo>
                  <a:lnTo>
                    <a:pt x="1221" y="709"/>
                  </a:lnTo>
                  <a:lnTo>
                    <a:pt x="1221" y="709"/>
                  </a:lnTo>
                  <a:lnTo>
                    <a:pt x="1220" y="704"/>
                  </a:lnTo>
                  <a:lnTo>
                    <a:pt x="1220" y="695"/>
                  </a:lnTo>
                  <a:lnTo>
                    <a:pt x="1218" y="690"/>
                  </a:lnTo>
                  <a:lnTo>
                    <a:pt x="1217" y="688"/>
                  </a:lnTo>
                  <a:lnTo>
                    <a:pt x="1215" y="687"/>
                  </a:lnTo>
                  <a:lnTo>
                    <a:pt x="1214" y="685"/>
                  </a:lnTo>
                  <a:lnTo>
                    <a:pt x="1214" y="685"/>
                  </a:lnTo>
                  <a:lnTo>
                    <a:pt x="1212" y="685"/>
                  </a:lnTo>
                  <a:lnTo>
                    <a:pt x="1210" y="685"/>
                  </a:lnTo>
                  <a:lnTo>
                    <a:pt x="1209" y="687"/>
                  </a:lnTo>
                  <a:lnTo>
                    <a:pt x="1207" y="687"/>
                  </a:lnTo>
                  <a:lnTo>
                    <a:pt x="1207" y="687"/>
                  </a:lnTo>
                  <a:lnTo>
                    <a:pt x="1206" y="688"/>
                  </a:lnTo>
                  <a:lnTo>
                    <a:pt x="1206" y="688"/>
                  </a:lnTo>
                  <a:lnTo>
                    <a:pt x="1206" y="688"/>
                  </a:lnTo>
                  <a:lnTo>
                    <a:pt x="1206" y="688"/>
                  </a:lnTo>
                  <a:lnTo>
                    <a:pt x="1206" y="688"/>
                  </a:lnTo>
                  <a:lnTo>
                    <a:pt x="1204" y="692"/>
                  </a:lnTo>
                  <a:lnTo>
                    <a:pt x="1204" y="693"/>
                  </a:lnTo>
                  <a:lnTo>
                    <a:pt x="1203" y="693"/>
                  </a:lnTo>
                  <a:lnTo>
                    <a:pt x="1203" y="693"/>
                  </a:lnTo>
                  <a:lnTo>
                    <a:pt x="1201" y="695"/>
                  </a:lnTo>
                  <a:lnTo>
                    <a:pt x="1201" y="695"/>
                  </a:lnTo>
                  <a:lnTo>
                    <a:pt x="1199" y="695"/>
                  </a:lnTo>
                  <a:lnTo>
                    <a:pt x="1198" y="695"/>
                  </a:lnTo>
                  <a:lnTo>
                    <a:pt x="1196" y="693"/>
                  </a:lnTo>
                  <a:lnTo>
                    <a:pt x="1196" y="693"/>
                  </a:lnTo>
                  <a:lnTo>
                    <a:pt x="1196" y="692"/>
                  </a:lnTo>
                  <a:lnTo>
                    <a:pt x="1196" y="690"/>
                  </a:lnTo>
                  <a:lnTo>
                    <a:pt x="1196" y="690"/>
                  </a:lnTo>
                  <a:lnTo>
                    <a:pt x="1196" y="687"/>
                  </a:lnTo>
                  <a:lnTo>
                    <a:pt x="1198" y="687"/>
                  </a:lnTo>
                  <a:lnTo>
                    <a:pt x="1199" y="687"/>
                  </a:lnTo>
                  <a:lnTo>
                    <a:pt x="1199" y="685"/>
                  </a:lnTo>
                  <a:lnTo>
                    <a:pt x="1199" y="685"/>
                  </a:lnTo>
                  <a:lnTo>
                    <a:pt x="1201" y="685"/>
                  </a:lnTo>
                  <a:lnTo>
                    <a:pt x="1201" y="685"/>
                  </a:lnTo>
                  <a:lnTo>
                    <a:pt x="1203" y="684"/>
                  </a:lnTo>
                  <a:lnTo>
                    <a:pt x="1203" y="681"/>
                  </a:lnTo>
                  <a:lnTo>
                    <a:pt x="1203" y="679"/>
                  </a:lnTo>
                  <a:lnTo>
                    <a:pt x="1204" y="679"/>
                  </a:lnTo>
                  <a:lnTo>
                    <a:pt x="1204" y="679"/>
                  </a:lnTo>
                  <a:lnTo>
                    <a:pt x="1204" y="679"/>
                  </a:lnTo>
                  <a:lnTo>
                    <a:pt x="1206" y="678"/>
                  </a:lnTo>
                  <a:lnTo>
                    <a:pt x="1206" y="678"/>
                  </a:lnTo>
                  <a:lnTo>
                    <a:pt x="1206" y="676"/>
                  </a:lnTo>
                  <a:lnTo>
                    <a:pt x="1206" y="673"/>
                  </a:lnTo>
                  <a:lnTo>
                    <a:pt x="1207" y="670"/>
                  </a:lnTo>
                  <a:lnTo>
                    <a:pt x="1207" y="670"/>
                  </a:lnTo>
                  <a:lnTo>
                    <a:pt x="1207" y="667"/>
                  </a:lnTo>
                  <a:lnTo>
                    <a:pt x="1206" y="665"/>
                  </a:lnTo>
                  <a:lnTo>
                    <a:pt x="1204" y="662"/>
                  </a:lnTo>
                  <a:lnTo>
                    <a:pt x="1204" y="662"/>
                  </a:lnTo>
                  <a:lnTo>
                    <a:pt x="1204" y="660"/>
                  </a:lnTo>
                  <a:lnTo>
                    <a:pt x="1204" y="660"/>
                  </a:lnTo>
                  <a:lnTo>
                    <a:pt x="1206" y="660"/>
                  </a:lnTo>
                  <a:lnTo>
                    <a:pt x="1207" y="660"/>
                  </a:lnTo>
                  <a:lnTo>
                    <a:pt x="1207" y="660"/>
                  </a:lnTo>
                  <a:lnTo>
                    <a:pt x="1207" y="660"/>
                  </a:lnTo>
                  <a:lnTo>
                    <a:pt x="1207" y="659"/>
                  </a:lnTo>
                  <a:lnTo>
                    <a:pt x="1206" y="659"/>
                  </a:lnTo>
                  <a:lnTo>
                    <a:pt x="1206" y="657"/>
                  </a:lnTo>
                  <a:lnTo>
                    <a:pt x="1206" y="657"/>
                  </a:lnTo>
                  <a:lnTo>
                    <a:pt x="1206" y="656"/>
                  </a:lnTo>
                  <a:lnTo>
                    <a:pt x="1206" y="656"/>
                  </a:lnTo>
                  <a:lnTo>
                    <a:pt x="1206" y="656"/>
                  </a:lnTo>
                  <a:lnTo>
                    <a:pt x="1204" y="654"/>
                  </a:lnTo>
                  <a:lnTo>
                    <a:pt x="1204" y="652"/>
                  </a:lnTo>
                  <a:lnTo>
                    <a:pt x="1201" y="652"/>
                  </a:lnTo>
                  <a:lnTo>
                    <a:pt x="1196" y="651"/>
                  </a:lnTo>
                  <a:lnTo>
                    <a:pt x="1196" y="649"/>
                  </a:lnTo>
                  <a:lnTo>
                    <a:pt x="1195" y="649"/>
                  </a:lnTo>
                  <a:lnTo>
                    <a:pt x="1193" y="649"/>
                  </a:lnTo>
                  <a:lnTo>
                    <a:pt x="1192" y="648"/>
                  </a:lnTo>
                  <a:lnTo>
                    <a:pt x="1192" y="648"/>
                  </a:lnTo>
                  <a:lnTo>
                    <a:pt x="1192" y="646"/>
                  </a:lnTo>
                  <a:lnTo>
                    <a:pt x="1190" y="646"/>
                  </a:lnTo>
                  <a:lnTo>
                    <a:pt x="1189" y="645"/>
                  </a:lnTo>
                  <a:lnTo>
                    <a:pt x="1187" y="645"/>
                  </a:lnTo>
                  <a:lnTo>
                    <a:pt x="1185" y="645"/>
                  </a:lnTo>
                  <a:lnTo>
                    <a:pt x="1182" y="643"/>
                  </a:lnTo>
                  <a:lnTo>
                    <a:pt x="1181" y="642"/>
                  </a:lnTo>
                  <a:lnTo>
                    <a:pt x="1181" y="642"/>
                  </a:lnTo>
                  <a:lnTo>
                    <a:pt x="1181" y="643"/>
                  </a:lnTo>
                  <a:lnTo>
                    <a:pt x="1179" y="643"/>
                  </a:lnTo>
                  <a:lnTo>
                    <a:pt x="1178" y="643"/>
                  </a:lnTo>
                  <a:lnTo>
                    <a:pt x="1178" y="643"/>
                  </a:lnTo>
                  <a:lnTo>
                    <a:pt x="1178" y="643"/>
                  </a:lnTo>
                  <a:lnTo>
                    <a:pt x="1178" y="645"/>
                  </a:lnTo>
                  <a:lnTo>
                    <a:pt x="1176" y="645"/>
                  </a:lnTo>
                  <a:lnTo>
                    <a:pt x="1176" y="646"/>
                  </a:lnTo>
                  <a:lnTo>
                    <a:pt x="1176" y="648"/>
                  </a:lnTo>
                  <a:lnTo>
                    <a:pt x="1176" y="649"/>
                  </a:lnTo>
                  <a:lnTo>
                    <a:pt x="1176" y="649"/>
                  </a:lnTo>
                  <a:lnTo>
                    <a:pt x="1178" y="651"/>
                  </a:lnTo>
                  <a:lnTo>
                    <a:pt x="1178" y="651"/>
                  </a:lnTo>
                  <a:lnTo>
                    <a:pt x="1178" y="651"/>
                  </a:lnTo>
                  <a:lnTo>
                    <a:pt x="1178" y="652"/>
                  </a:lnTo>
                  <a:lnTo>
                    <a:pt x="1176" y="652"/>
                  </a:lnTo>
                  <a:lnTo>
                    <a:pt x="1174" y="652"/>
                  </a:lnTo>
                  <a:lnTo>
                    <a:pt x="1173" y="652"/>
                  </a:lnTo>
                  <a:lnTo>
                    <a:pt x="1171" y="654"/>
                  </a:lnTo>
                  <a:lnTo>
                    <a:pt x="1170" y="654"/>
                  </a:lnTo>
                  <a:lnTo>
                    <a:pt x="1170" y="656"/>
                  </a:lnTo>
                  <a:lnTo>
                    <a:pt x="1170" y="657"/>
                  </a:lnTo>
                  <a:lnTo>
                    <a:pt x="1170" y="660"/>
                  </a:lnTo>
                  <a:lnTo>
                    <a:pt x="1170" y="660"/>
                  </a:lnTo>
                  <a:lnTo>
                    <a:pt x="1170" y="663"/>
                  </a:lnTo>
                  <a:lnTo>
                    <a:pt x="1168" y="665"/>
                  </a:lnTo>
                  <a:lnTo>
                    <a:pt x="1167" y="667"/>
                  </a:lnTo>
                  <a:lnTo>
                    <a:pt x="1167" y="667"/>
                  </a:lnTo>
                  <a:lnTo>
                    <a:pt x="1167" y="667"/>
                  </a:lnTo>
                  <a:lnTo>
                    <a:pt x="1168" y="663"/>
                  </a:lnTo>
                  <a:lnTo>
                    <a:pt x="1168" y="662"/>
                  </a:lnTo>
                  <a:lnTo>
                    <a:pt x="1168" y="662"/>
                  </a:lnTo>
                  <a:lnTo>
                    <a:pt x="1168" y="662"/>
                  </a:lnTo>
                  <a:lnTo>
                    <a:pt x="1168" y="662"/>
                  </a:lnTo>
                  <a:lnTo>
                    <a:pt x="1167" y="663"/>
                  </a:lnTo>
                  <a:lnTo>
                    <a:pt x="1167" y="663"/>
                  </a:lnTo>
                  <a:lnTo>
                    <a:pt x="1167" y="663"/>
                  </a:lnTo>
                  <a:lnTo>
                    <a:pt x="1167" y="665"/>
                  </a:lnTo>
                  <a:lnTo>
                    <a:pt x="1167" y="667"/>
                  </a:lnTo>
                  <a:lnTo>
                    <a:pt x="1167" y="667"/>
                  </a:lnTo>
                  <a:lnTo>
                    <a:pt x="1165" y="665"/>
                  </a:lnTo>
                  <a:lnTo>
                    <a:pt x="1165" y="665"/>
                  </a:lnTo>
                  <a:lnTo>
                    <a:pt x="1167" y="662"/>
                  </a:lnTo>
                  <a:lnTo>
                    <a:pt x="1167" y="662"/>
                  </a:lnTo>
                  <a:lnTo>
                    <a:pt x="1167" y="660"/>
                  </a:lnTo>
                  <a:lnTo>
                    <a:pt x="1167" y="660"/>
                  </a:lnTo>
                  <a:lnTo>
                    <a:pt x="1167" y="659"/>
                  </a:lnTo>
                  <a:lnTo>
                    <a:pt x="1167" y="657"/>
                  </a:lnTo>
                  <a:lnTo>
                    <a:pt x="1167" y="657"/>
                  </a:lnTo>
                  <a:lnTo>
                    <a:pt x="1167" y="657"/>
                  </a:lnTo>
                  <a:lnTo>
                    <a:pt x="1167" y="657"/>
                  </a:lnTo>
                  <a:lnTo>
                    <a:pt x="1165" y="659"/>
                  </a:lnTo>
                  <a:lnTo>
                    <a:pt x="1164" y="662"/>
                  </a:lnTo>
                  <a:lnTo>
                    <a:pt x="1162" y="662"/>
                  </a:lnTo>
                  <a:lnTo>
                    <a:pt x="1160" y="662"/>
                  </a:lnTo>
                  <a:lnTo>
                    <a:pt x="1160" y="662"/>
                  </a:lnTo>
                  <a:lnTo>
                    <a:pt x="1160" y="663"/>
                  </a:lnTo>
                  <a:lnTo>
                    <a:pt x="1159" y="663"/>
                  </a:lnTo>
                  <a:lnTo>
                    <a:pt x="1159" y="663"/>
                  </a:lnTo>
                  <a:lnTo>
                    <a:pt x="1157" y="665"/>
                  </a:lnTo>
                  <a:lnTo>
                    <a:pt x="1157" y="667"/>
                  </a:lnTo>
                  <a:lnTo>
                    <a:pt x="1157" y="668"/>
                  </a:lnTo>
                  <a:lnTo>
                    <a:pt x="1156" y="668"/>
                  </a:lnTo>
                  <a:lnTo>
                    <a:pt x="1154" y="670"/>
                  </a:lnTo>
                  <a:lnTo>
                    <a:pt x="1154" y="670"/>
                  </a:lnTo>
                  <a:lnTo>
                    <a:pt x="1156" y="671"/>
                  </a:lnTo>
                  <a:lnTo>
                    <a:pt x="1156" y="673"/>
                  </a:lnTo>
                  <a:lnTo>
                    <a:pt x="1154" y="676"/>
                  </a:lnTo>
                  <a:lnTo>
                    <a:pt x="1154" y="678"/>
                  </a:lnTo>
                  <a:lnTo>
                    <a:pt x="1153" y="681"/>
                  </a:lnTo>
                  <a:lnTo>
                    <a:pt x="1153" y="682"/>
                  </a:lnTo>
                  <a:lnTo>
                    <a:pt x="1151" y="684"/>
                  </a:lnTo>
                  <a:lnTo>
                    <a:pt x="1151" y="685"/>
                  </a:lnTo>
                  <a:lnTo>
                    <a:pt x="1151" y="687"/>
                  </a:lnTo>
                  <a:lnTo>
                    <a:pt x="1151" y="688"/>
                  </a:lnTo>
                  <a:lnTo>
                    <a:pt x="1151" y="690"/>
                  </a:lnTo>
                  <a:lnTo>
                    <a:pt x="1151" y="692"/>
                  </a:lnTo>
                  <a:lnTo>
                    <a:pt x="1149" y="695"/>
                  </a:lnTo>
                  <a:lnTo>
                    <a:pt x="1149" y="695"/>
                  </a:lnTo>
                  <a:lnTo>
                    <a:pt x="1153" y="701"/>
                  </a:lnTo>
                  <a:lnTo>
                    <a:pt x="1154" y="704"/>
                  </a:lnTo>
                  <a:lnTo>
                    <a:pt x="1154" y="706"/>
                  </a:lnTo>
                  <a:lnTo>
                    <a:pt x="1154" y="707"/>
                  </a:lnTo>
                  <a:lnTo>
                    <a:pt x="1156" y="710"/>
                  </a:lnTo>
                  <a:lnTo>
                    <a:pt x="1156" y="712"/>
                  </a:lnTo>
                  <a:lnTo>
                    <a:pt x="1156" y="715"/>
                  </a:lnTo>
                  <a:lnTo>
                    <a:pt x="1156" y="718"/>
                  </a:lnTo>
                  <a:lnTo>
                    <a:pt x="1154" y="721"/>
                  </a:lnTo>
                  <a:lnTo>
                    <a:pt x="1154" y="724"/>
                  </a:lnTo>
                  <a:lnTo>
                    <a:pt x="1153" y="726"/>
                  </a:lnTo>
                  <a:lnTo>
                    <a:pt x="1153" y="729"/>
                  </a:lnTo>
                  <a:lnTo>
                    <a:pt x="1151" y="732"/>
                  </a:lnTo>
                  <a:lnTo>
                    <a:pt x="1149" y="734"/>
                  </a:lnTo>
                  <a:lnTo>
                    <a:pt x="1148" y="735"/>
                  </a:lnTo>
                  <a:lnTo>
                    <a:pt x="1148" y="737"/>
                  </a:lnTo>
                  <a:lnTo>
                    <a:pt x="1145" y="739"/>
                  </a:lnTo>
                  <a:lnTo>
                    <a:pt x="1140" y="742"/>
                  </a:lnTo>
                  <a:lnTo>
                    <a:pt x="1139" y="742"/>
                  </a:lnTo>
                  <a:lnTo>
                    <a:pt x="1137" y="743"/>
                  </a:lnTo>
                  <a:lnTo>
                    <a:pt x="1135" y="742"/>
                  </a:lnTo>
                  <a:lnTo>
                    <a:pt x="1135" y="742"/>
                  </a:lnTo>
                  <a:lnTo>
                    <a:pt x="1134" y="742"/>
                  </a:lnTo>
                  <a:lnTo>
                    <a:pt x="1134" y="742"/>
                  </a:lnTo>
                  <a:lnTo>
                    <a:pt x="1134" y="742"/>
                  </a:lnTo>
                  <a:lnTo>
                    <a:pt x="1132" y="740"/>
                  </a:lnTo>
                  <a:lnTo>
                    <a:pt x="1132" y="740"/>
                  </a:lnTo>
                  <a:lnTo>
                    <a:pt x="1131" y="737"/>
                  </a:lnTo>
                  <a:lnTo>
                    <a:pt x="1131" y="734"/>
                  </a:lnTo>
                  <a:lnTo>
                    <a:pt x="1129" y="732"/>
                  </a:lnTo>
                  <a:lnTo>
                    <a:pt x="1129" y="731"/>
                  </a:lnTo>
                  <a:lnTo>
                    <a:pt x="1129" y="731"/>
                  </a:lnTo>
                  <a:lnTo>
                    <a:pt x="1128" y="729"/>
                  </a:lnTo>
                  <a:lnTo>
                    <a:pt x="1128" y="726"/>
                  </a:lnTo>
                  <a:lnTo>
                    <a:pt x="1128" y="721"/>
                  </a:lnTo>
                  <a:lnTo>
                    <a:pt x="1128" y="718"/>
                  </a:lnTo>
                  <a:lnTo>
                    <a:pt x="1128" y="717"/>
                  </a:lnTo>
                  <a:lnTo>
                    <a:pt x="1128" y="715"/>
                  </a:lnTo>
                  <a:lnTo>
                    <a:pt x="1128" y="714"/>
                  </a:lnTo>
                  <a:lnTo>
                    <a:pt x="1128" y="714"/>
                  </a:lnTo>
                  <a:lnTo>
                    <a:pt x="1128" y="712"/>
                  </a:lnTo>
                  <a:lnTo>
                    <a:pt x="1126" y="710"/>
                  </a:lnTo>
                  <a:lnTo>
                    <a:pt x="1126" y="710"/>
                  </a:lnTo>
                  <a:lnTo>
                    <a:pt x="1126" y="709"/>
                  </a:lnTo>
                  <a:lnTo>
                    <a:pt x="1126" y="709"/>
                  </a:lnTo>
                  <a:lnTo>
                    <a:pt x="1126" y="707"/>
                  </a:lnTo>
                  <a:lnTo>
                    <a:pt x="1126" y="707"/>
                  </a:lnTo>
                  <a:lnTo>
                    <a:pt x="1126" y="707"/>
                  </a:lnTo>
                  <a:lnTo>
                    <a:pt x="1126" y="706"/>
                  </a:lnTo>
                  <a:lnTo>
                    <a:pt x="1126" y="704"/>
                  </a:lnTo>
                  <a:lnTo>
                    <a:pt x="1126" y="703"/>
                  </a:lnTo>
                  <a:lnTo>
                    <a:pt x="1126" y="703"/>
                  </a:lnTo>
                  <a:lnTo>
                    <a:pt x="1128" y="699"/>
                  </a:lnTo>
                  <a:lnTo>
                    <a:pt x="1128" y="698"/>
                  </a:lnTo>
                  <a:lnTo>
                    <a:pt x="1128" y="698"/>
                  </a:lnTo>
                  <a:lnTo>
                    <a:pt x="1128" y="696"/>
                  </a:lnTo>
                  <a:lnTo>
                    <a:pt x="1129" y="693"/>
                  </a:lnTo>
                  <a:lnTo>
                    <a:pt x="1129" y="692"/>
                  </a:lnTo>
                  <a:lnTo>
                    <a:pt x="1129" y="692"/>
                  </a:lnTo>
                  <a:lnTo>
                    <a:pt x="1129" y="690"/>
                  </a:lnTo>
                  <a:lnTo>
                    <a:pt x="1129" y="688"/>
                  </a:lnTo>
                  <a:lnTo>
                    <a:pt x="1129" y="687"/>
                  </a:lnTo>
                  <a:lnTo>
                    <a:pt x="1131" y="685"/>
                  </a:lnTo>
                  <a:lnTo>
                    <a:pt x="1131" y="684"/>
                  </a:lnTo>
                  <a:lnTo>
                    <a:pt x="1132" y="682"/>
                  </a:lnTo>
                  <a:lnTo>
                    <a:pt x="1132" y="681"/>
                  </a:lnTo>
                  <a:lnTo>
                    <a:pt x="1132" y="679"/>
                  </a:lnTo>
                  <a:lnTo>
                    <a:pt x="1132" y="678"/>
                  </a:lnTo>
                  <a:lnTo>
                    <a:pt x="1134" y="674"/>
                  </a:lnTo>
                  <a:lnTo>
                    <a:pt x="1134" y="671"/>
                  </a:lnTo>
                  <a:lnTo>
                    <a:pt x="1135" y="670"/>
                  </a:lnTo>
                  <a:lnTo>
                    <a:pt x="1135" y="668"/>
                  </a:lnTo>
                  <a:lnTo>
                    <a:pt x="1135" y="667"/>
                  </a:lnTo>
                  <a:lnTo>
                    <a:pt x="1135" y="667"/>
                  </a:lnTo>
                  <a:lnTo>
                    <a:pt x="1135" y="667"/>
                  </a:lnTo>
                  <a:lnTo>
                    <a:pt x="1134" y="665"/>
                  </a:lnTo>
                  <a:lnTo>
                    <a:pt x="1134" y="665"/>
                  </a:lnTo>
                  <a:lnTo>
                    <a:pt x="1132" y="665"/>
                  </a:lnTo>
                  <a:lnTo>
                    <a:pt x="1132" y="665"/>
                  </a:lnTo>
                  <a:lnTo>
                    <a:pt x="1131" y="665"/>
                  </a:lnTo>
                  <a:lnTo>
                    <a:pt x="1131" y="667"/>
                  </a:lnTo>
                  <a:lnTo>
                    <a:pt x="1129" y="670"/>
                  </a:lnTo>
                  <a:lnTo>
                    <a:pt x="1128" y="670"/>
                  </a:lnTo>
                  <a:lnTo>
                    <a:pt x="1128" y="671"/>
                  </a:lnTo>
                  <a:lnTo>
                    <a:pt x="1126" y="671"/>
                  </a:lnTo>
                  <a:lnTo>
                    <a:pt x="1126" y="673"/>
                  </a:lnTo>
                  <a:lnTo>
                    <a:pt x="1124" y="673"/>
                  </a:lnTo>
                  <a:lnTo>
                    <a:pt x="1124" y="673"/>
                  </a:lnTo>
                  <a:lnTo>
                    <a:pt x="1124" y="671"/>
                  </a:lnTo>
                  <a:lnTo>
                    <a:pt x="1124" y="670"/>
                  </a:lnTo>
                  <a:lnTo>
                    <a:pt x="1124" y="668"/>
                  </a:lnTo>
                  <a:lnTo>
                    <a:pt x="1128" y="665"/>
                  </a:lnTo>
                  <a:lnTo>
                    <a:pt x="1128" y="663"/>
                  </a:lnTo>
                  <a:lnTo>
                    <a:pt x="1128" y="663"/>
                  </a:lnTo>
                  <a:lnTo>
                    <a:pt x="1129" y="662"/>
                  </a:lnTo>
                  <a:lnTo>
                    <a:pt x="1131" y="660"/>
                  </a:lnTo>
                  <a:lnTo>
                    <a:pt x="1131" y="660"/>
                  </a:lnTo>
                  <a:lnTo>
                    <a:pt x="1131" y="657"/>
                  </a:lnTo>
                  <a:lnTo>
                    <a:pt x="1132" y="657"/>
                  </a:lnTo>
                  <a:lnTo>
                    <a:pt x="1132" y="657"/>
                  </a:lnTo>
                  <a:lnTo>
                    <a:pt x="1132" y="656"/>
                  </a:lnTo>
                  <a:lnTo>
                    <a:pt x="1135" y="652"/>
                  </a:lnTo>
                  <a:lnTo>
                    <a:pt x="1137" y="649"/>
                  </a:lnTo>
                  <a:lnTo>
                    <a:pt x="1139" y="646"/>
                  </a:lnTo>
                  <a:lnTo>
                    <a:pt x="1139" y="645"/>
                  </a:lnTo>
                  <a:lnTo>
                    <a:pt x="1140" y="645"/>
                  </a:lnTo>
                  <a:lnTo>
                    <a:pt x="1140" y="643"/>
                  </a:lnTo>
                  <a:lnTo>
                    <a:pt x="1142" y="640"/>
                  </a:lnTo>
                  <a:lnTo>
                    <a:pt x="1142" y="640"/>
                  </a:lnTo>
                  <a:lnTo>
                    <a:pt x="1142" y="638"/>
                  </a:lnTo>
                  <a:lnTo>
                    <a:pt x="1142" y="638"/>
                  </a:lnTo>
                  <a:lnTo>
                    <a:pt x="1142" y="640"/>
                  </a:lnTo>
                  <a:lnTo>
                    <a:pt x="1142" y="642"/>
                  </a:lnTo>
                  <a:lnTo>
                    <a:pt x="1142" y="643"/>
                  </a:lnTo>
                  <a:lnTo>
                    <a:pt x="1143" y="645"/>
                  </a:lnTo>
                  <a:lnTo>
                    <a:pt x="1143" y="643"/>
                  </a:lnTo>
                  <a:lnTo>
                    <a:pt x="1145" y="643"/>
                  </a:lnTo>
                  <a:lnTo>
                    <a:pt x="1145" y="642"/>
                  </a:lnTo>
                  <a:lnTo>
                    <a:pt x="1146" y="640"/>
                  </a:lnTo>
                  <a:lnTo>
                    <a:pt x="1146" y="640"/>
                  </a:lnTo>
                  <a:lnTo>
                    <a:pt x="1148" y="640"/>
                  </a:lnTo>
                  <a:lnTo>
                    <a:pt x="1148" y="640"/>
                  </a:lnTo>
                  <a:lnTo>
                    <a:pt x="1149" y="640"/>
                  </a:lnTo>
                  <a:lnTo>
                    <a:pt x="1149" y="640"/>
                  </a:lnTo>
                  <a:lnTo>
                    <a:pt x="1149" y="642"/>
                  </a:lnTo>
                  <a:lnTo>
                    <a:pt x="1149" y="642"/>
                  </a:lnTo>
                  <a:lnTo>
                    <a:pt x="1149" y="642"/>
                  </a:lnTo>
                  <a:lnTo>
                    <a:pt x="1148" y="643"/>
                  </a:lnTo>
                  <a:lnTo>
                    <a:pt x="1148" y="645"/>
                  </a:lnTo>
                  <a:lnTo>
                    <a:pt x="1148" y="645"/>
                  </a:lnTo>
                  <a:lnTo>
                    <a:pt x="1148" y="646"/>
                  </a:lnTo>
                  <a:lnTo>
                    <a:pt x="1148" y="646"/>
                  </a:lnTo>
                  <a:lnTo>
                    <a:pt x="1148" y="645"/>
                  </a:lnTo>
                  <a:lnTo>
                    <a:pt x="1149" y="645"/>
                  </a:lnTo>
                  <a:lnTo>
                    <a:pt x="1149" y="643"/>
                  </a:lnTo>
                  <a:lnTo>
                    <a:pt x="1149" y="643"/>
                  </a:lnTo>
                  <a:lnTo>
                    <a:pt x="1153" y="642"/>
                  </a:lnTo>
                  <a:lnTo>
                    <a:pt x="1153" y="642"/>
                  </a:lnTo>
                  <a:lnTo>
                    <a:pt x="1154" y="640"/>
                  </a:lnTo>
                  <a:lnTo>
                    <a:pt x="1154" y="638"/>
                  </a:lnTo>
                  <a:lnTo>
                    <a:pt x="1156" y="638"/>
                  </a:lnTo>
                  <a:lnTo>
                    <a:pt x="1157" y="637"/>
                  </a:lnTo>
                  <a:lnTo>
                    <a:pt x="1159" y="637"/>
                  </a:lnTo>
                  <a:lnTo>
                    <a:pt x="1160" y="638"/>
                  </a:lnTo>
                  <a:lnTo>
                    <a:pt x="1160" y="638"/>
                  </a:lnTo>
                  <a:lnTo>
                    <a:pt x="1160" y="637"/>
                  </a:lnTo>
                  <a:lnTo>
                    <a:pt x="1162" y="637"/>
                  </a:lnTo>
                  <a:lnTo>
                    <a:pt x="1165" y="637"/>
                  </a:lnTo>
                  <a:lnTo>
                    <a:pt x="1167" y="637"/>
                  </a:lnTo>
                  <a:lnTo>
                    <a:pt x="1167" y="635"/>
                  </a:lnTo>
                  <a:lnTo>
                    <a:pt x="1168" y="634"/>
                  </a:lnTo>
                  <a:lnTo>
                    <a:pt x="1170" y="634"/>
                  </a:lnTo>
                  <a:lnTo>
                    <a:pt x="1173" y="634"/>
                  </a:lnTo>
                  <a:lnTo>
                    <a:pt x="1174" y="635"/>
                  </a:lnTo>
                  <a:lnTo>
                    <a:pt x="1178" y="637"/>
                  </a:lnTo>
                  <a:lnTo>
                    <a:pt x="1181" y="640"/>
                  </a:lnTo>
                  <a:lnTo>
                    <a:pt x="1181" y="640"/>
                  </a:lnTo>
                  <a:lnTo>
                    <a:pt x="1182" y="640"/>
                  </a:lnTo>
                  <a:lnTo>
                    <a:pt x="1182" y="640"/>
                  </a:lnTo>
                  <a:lnTo>
                    <a:pt x="1182" y="640"/>
                  </a:lnTo>
                  <a:lnTo>
                    <a:pt x="1182" y="640"/>
                  </a:lnTo>
                  <a:lnTo>
                    <a:pt x="1182" y="638"/>
                  </a:lnTo>
                  <a:lnTo>
                    <a:pt x="1182" y="638"/>
                  </a:lnTo>
                  <a:lnTo>
                    <a:pt x="1182" y="635"/>
                  </a:lnTo>
                  <a:lnTo>
                    <a:pt x="1184" y="635"/>
                  </a:lnTo>
                  <a:lnTo>
                    <a:pt x="1184" y="635"/>
                  </a:lnTo>
                  <a:lnTo>
                    <a:pt x="1185" y="635"/>
                  </a:lnTo>
                  <a:lnTo>
                    <a:pt x="1185" y="637"/>
                  </a:lnTo>
                  <a:lnTo>
                    <a:pt x="1185" y="637"/>
                  </a:lnTo>
                  <a:lnTo>
                    <a:pt x="1185" y="637"/>
                  </a:lnTo>
                  <a:lnTo>
                    <a:pt x="1187" y="637"/>
                  </a:lnTo>
                  <a:lnTo>
                    <a:pt x="1187" y="637"/>
                  </a:lnTo>
                  <a:lnTo>
                    <a:pt x="1187" y="637"/>
                  </a:lnTo>
                  <a:lnTo>
                    <a:pt x="1189" y="637"/>
                  </a:lnTo>
                  <a:lnTo>
                    <a:pt x="1195" y="637"/>
                  </a:lnTo>
                  <a:lnTo>
                    <a:pt x="1196" y="637"/>
                  </a:lnTo>
                  <a:lnTo>
                    <a:pt x="1196" y="637"/>
                  </a:lnTo>
                  <a:lnTo>
                    <a:pt x="1196" y="637"/>
                  </a:lnTo>
                  <a:lnTo>
                    <a:pt x="1196" y="637"/>
                  </a:lnTo>
                  <a:lnTo>
                    <a:pt x="1195" y="635"/>
                  </a:lnTo>
                  <a:lnTo>
                    <a:pt x="1193" y="634"/>
                  </a:lnTo>
                  <a:lnTo>
                    <a:pt x="1193" y="634"/>
                  </a:lnTo>
                  <a:lnTo>
                    <a:pt x="1193" y="634"/>
                  </a:lnTo>
                  <a:lnTo>
                    <a:pt x="1193" y="632"/>
                  </a:lnTo>
                  <a:lnTo>
                    <a:pt x="1193" y="632"/>
                  </a:lnTo>
                  <a:lnTo>
                    <a:pt x="1190" y="632"/>
                  </a:lnTo>
                  <a:lnTo>
                    <a:pt x="1190" y="632"/>
                  </a:lnTo>
                  <a:lnTo>
                    <a:pt x="1190" y="631"/>
                  </a:lnTo>
                  <a:lnTo>
                    <a:pt x="1192" y="631"/>
                  </a:lnTo>
                  <a:lnTo>
                    <a:pt x="1192" y="629"/>
                  </a:lnTo>
                  <a:lnTo>
                    <a:pt x="1190" y="629"/>
                  </a:lnTo>
                  <a:lnTo>
                    <a:pt x="1190" y="627"/>
                  </a:lnTo>
                  <a:lnTo>
                    <a:pt x="1190" y="626"/>
                  </a:lnTo>
                  <a:lnTo>
                    <a:pt x="1189" y="624"/>
                  </a:lnTo>
                  <a:lnTo>
                    <a:pt x="1189" y="624"/>
                  </a:lnTo>
                  <a:lnTo>
                    <a:pt x="1189" y="624"/>
                  </a:lnTo>
                  <a:lnTo>
                    <a:pt x="1187" y="624"/>
                  </a:lnTo>
                  <a:lnTo>
                    <a:pt x="1187" y="624"/>
                  </a:lnTo>
                  <a:lnTo>
                    <a:pt x="1187" y="624"/>
                  </a:lnTo>
                  <a:lnTo>
                    <a:pt x="1185" y="626"/>
                  </a:lnTo>
                  <a:lnTo>
                    <a:pt x="1184" y="626"/>
                  </a:lnTo>
                  <a:lnTo>
                    <a:pt x="1184" y="624"/>
                  </a:lnTo>
                  <a:lnTo>
                    <a:pt x="1182" y="624"/>
                  </a:lnTo>
                  <a:lnTo>
                    <a:pt x="1181" y="624"/>
                  </a:lnTo>
                  <a:lnTo>
                    <a:pt x="1179" y="624"/>
                  </a:lnTo>
                  <a:lnTo>
                    <a:pt x="1179" y="624"/>
                  </a:lnTo>
                  <a:lnTo>
                    <a:pt x="1176" y="624"/>
                  </a:lnTo>
                  <a:lnTo>
                    <a:pt x="1176" y="623"/>
                  </a:lnTo>
                  <a:lnTo>
                    <a:pt x="1176" y="623"/>
                  </a:lnTo>
                  <a:lnTo>
                    <a:pt x="1176" y="623"/>
                  </a:lnTo>
                  <a:lnTo>
                    <a:pt x="1176" y="621"/>
                  </a:lnTo>
                  <a:lnTo>
                    <a:pt x="1176" y="620"/>
                  </a:lnTo>
                  <a:lnTo>
                    <a:pt x="1178" y="618"/>
                  </a:lnTo>
                  <a:lnTo>
                    <a:pt x="1178" y="617"/>
                  </a:lnTo>
                  <a:lnTo>
                    <a:pt x="1176" y="617"/>
                  </a:lnTo>
                  <a:lnTo>
                    <a:pt x="1174" y="617"/>
                  </a:lnTo>
                  <a:lnTo>
                    <a:pt x="1171" y="618"/>
                  </a:lnTo>
                  <a:lnTo>
                    <a:pt x="1170" y="618"/>
                  </a:lnTo>
                  <a:lnTo>
                    <a:pt x="1167" y="620"/>
                  </a:lnTo>
                  <a:lnTo>
                    <a:pt x="1164" y="618"/>
                  </a:lnTo>
                  <a:lnTo>
                    <a:pt x="1160" y="618"/>
                  </a:lnTo>
                  <a:lnTo>
                    <a:pt x="1157" y="620"/>
                  </a:lnTo>
                  <a:lnTo>
                    <a:pt x="1157" y="620"/>
                  </a:lnTo>
                  <a:lnTo>
                    <a:pt x="1156" y="620"/>
                  </a:lnTo>
                  <a:lnTo>
                    <a:pt x="1153" y="621"/>
                  </a:lnTo>
                  <a:lnTo>
                    <a:pt x="1149" y="623"/>
                  </a:lnTo>
                  <a:lnTo>
                    <a:pt x="1148" y="626"/>
                  </a:lnTo>
                  <a:lnTo>
                    <a:pt x="1148" y="626"/>
                  </a:lnTo>
                  <a:lnTo>
                    <a:pt x="1148" y="624"/>
                  </a:lnTo>
                  <a:lnTo>
                    <a:pt x="1146" y="624"/>
                  </a:lnTo>
                  <a:lnTo>
                    <a:pt x="1146" y="624"/>
                  </a:lnTo>
                  <a:lnTo>
                    <a:pt x="1145" y="624"/>
                  </a:lnTo>
                  <a:lnTo>
                    <a:pt x="1143" y="624"/>
                  </a:lnTo>
                  <a:lnTo>
                    <a:pt x="1142" y="623"/>
                  </a:lnTo>
                  <a:lnTo>
                    <a:pt x="1142" y="623"/>
                  </a:lnTo>
                  <a:lnTo>
                    <a:pt x="1140" y="623"/>
                  </a:lnTo>
                  <a:lnTo>
                    <a:pt x="1139" y="624"/>
                  </a:lnTo>
                  <a:lnTo>
                    <a:pt x="1135" y="623"/>
                  </a:lnTo>
                  <a:lnTo>
                    <a:pt x="1135" y="623"/>
                  </a:lnTo>
                  <a:lnTo>
                    <a:pt x="1135" y="621"/>
                  </a:lnTo>
                  <a:lnTo>
                    <a:pt x="1134" y="621"/>
                  </a:lnTo>
                  <a:lnTo>
                    <a:pt x="1134" y="621"/>
                  </a:lnTo>
                  <a:lnTo>
                    <a:pt x="1132" y="620"/>
                  </a:lnTo>
                  <a:lnTo>
                    <a:pt x="1131" y="615"/>
                  </a:lnTo>
                  <a:lnTo>
                    <a:pt x="1131" y="615"/>
                  </a:lnTo>
                  <a:lnTo>
                    <a:pt x="1128" y="613"/>
                  </a:lnTo>
                  <a:lnTo>
                    <a:pt x="1126" y="613"/>
                  </a:lnTo>
                  <a:lnTo>
                    <a:pt x="1121" y="613"/>
                  </a:lnTo>
                  <a:lnTo>
                    <a:pt x="1121" y="612"/>
                  </a:lnTo>
                  <a:lnTo>
                    <a:pt x="1120" y="612"/>
                  </a:lnTo>
                  <a:lnTo>
                    <a:pt x="1118" y="615"/>
                  </a:lnTo>
                  <a:lnTo>
                    <a:pt x="1118" y="615"/>
                  </a:lnTo>
                  <a:lnTo>
                    <a:pt x="1117" y="615"/>
                  </a:lnTo>
                  <a:lnTo>
                    <a:pt x="1117" y="617"/>
                  </a:lnTo>
                  <a:lnTo>
                    <a:pt x="1117" y="617"/>
                  </a:lnTo>
                  <a:lnTo>
                    <a:pt x="1117" y="617"/>
                  </a:lnTo>
                  <a:lnTo>
                    <a:pt x="1117" y="615"/>
                  </a:lnTo>
                  <a:lnTo>
                    <a:pt x="1117" y="613"/>
                  </a:lnTo>
                  <a:lnTo>
                    <a:pt x="1117" y="612"/>
                  </a:lnTo>
                  <a:lnTo>
                    <a:pt x="1117" y="610"/>
                  </a:lnTo>
                  <a:lnTo>
                    <a:pt x="1115" y="610"/>
                  </a:lnTo>
                  <a:lnTo>
                    <a:pt x="1115" y="610"/>
                  </a:lnTo>
                  <a:lnTo>
                    <a:pt x="1115" y="609"/>
                  </a:lnTo>
                  <a:lnTo>
                    <a:pt x="1115" y="609"/>
                  </a:lnTo>
                  <a:lnTo>
                    <a:pt x="1113" y="607"/>
                  </a:lnTo>
                  <a:lnTo>
                    <a:pt x="1113" y="607"/>
                  </a:lnTo>
                  <a:lnTo>
                    <a:pt x="1113" y="606"/>
                  </a:lnTo>
                  <a:lnTo>
                    <a:pt x="1113" y="606"/>
                  </a:lnTo>
                  <a:lnTo>
                    <a:pt x="1113" y="606"/>
                  </a:lnTo>
                  <a:lnTo>
                    <a:pt x="1112" y="606"/>
                  </a:lnTo>
                  <a:lnTo>
                    <a:pt x="1110" y="607"/>
                  </a:lnTo>
                  <a:lnTo>
                    <a:pt x="1109" y="609"/>
                  </a:lnTo>
                  <a:lnTo>
                    <a:pt x="1107" y="610"/>
                  </a:lnTo>
                  <a:lnTo>
                    <a:pt x="1107" y="610"/>
                  </a:lnTo>
                  <a:lnTo>
                    <a:pt x="1106" y="610"/>
                  </a:lnTo>
                  <a:lnTo>
                    <a:pt x="1104" y="612"/>
                  </a:lnTo>
                  <a:lnTo>
                    <a:pt x="1103" y="613"/>
                  </a:lnTo>
                  <a:lnTo>
                    <a:pt x="1101" y="615"/>
                  </a:lnTo>
                  <a:lnTo>
                    <a:pt x="1098" y="615"/>
                  </a:lnTo>
                  <a:lnTo>
                    <a:pt x="1095" y="615"/>
                  </a:lnTo>
                  <a:lnTo>
                    <a:pt x="1092" y="617"/>
                  </a:lnTo>
                  <a:lnTo>
                    <a:pt x="1090" y="618"/>
                  </a:lnTo>
                  <a:lnTo>
                    <a:pt x="1087" y="620"/>
                  </a:lnTo>
                  <a:lnTo>
                    <a:pt x="1084" y="621"/>
                  </a:lnTo>
                  <a:lnTo>
                    <a:pt x="1081" y="621"/>
                  </a:lnTo>
                  <a:lnTo>
                    <a:pt x="1079" y="621"/>
                  </a:lnTo>
                  <a:lnTo>
                    <a:pt x="1079" y="621"/>
                  </a:lnTo>
                  <a:lnTo>
                    <a:pt x="1076" y="620"/>
                  </a:lnTo>
                  <a:lnTo>
                    <a:pt x="1076" y="620"/>
                  </a:lnTo>
                  <a:lnTo>
                    <a:pt x="1076" y="620"/>
                  </a:lnTo>
                  <a:lnTo>
                    <a:pt x="1076" y="620"/>
                  </a:lnTo>
                  <a:lnTo>
                    <a:pt x="1076" y="620"/>
                  </a:lnTo>
                  <a:lnTo>
                    <a:pt x="1073" y="621"/>
                  </a:lnTo>
                  <a:lnTo>
                    <a:pt x="1073" y="621"/>
                  </a:lnTo>
                  <a:lnTo>
                    <a:pt x="1074" y="620"/>
                  </a:lnTo>
                  <a:lnTo>
                    <a:pt x="1074" y="618"/>
                  </a:lnTo>
                  <a:lnTo>
                    <a:pt x="1074" y="618"/>
                  </a:lnTo>
                  <a:lnTo>
                    <a:pt x="1074" y="617"/>
                  </a:lnTo>
                  <a:lnTo>
                    <a:pt x="1076" y="615"/>
                  </a:lnTo>
                  <a:lnTo>
                    <a:pt x="1076" y="613"/>
                  </a:lnTo>
                  <a:lnTo>
                    <a:pt x="1076" y="613"/>
                  </a:lnTo>
                  <a:lnTo>
                    <a:pt x="1074" y="612"/>
                  </a:lnTo>
                  <a:lnTo>
                    <a:pt x="1074" y="612"/>
                  </a:lnTo>
                  <a:lnTo>
                    <a:pt x="1073" y="612"/>
                  </a:lnTo>
                  <a:lnTo>
                    <a:pt x="1070" y="615"/>
                  </a:lnTo>
                  <a:lnTo>
                    <a:pt x="1070" y="615"/>
                  </a:lnTo>
                  <a:lnTo>
                    <a:pt x="1068" y="613"/>
                  </a:lnTo>
                  <a:lnTo>
                    <a:pt x="1068" y="613"/>
                  </a:lnTo>
                  <a:lnTo>
                    <a:pt x="1065" y="617"/>
                  </a:lnTo>
                  <a:lnTo>
                    <a:pt x="1063" y="617"/>
                  </a:lnTo>
                  <a:lnTo>
                    <a:pt x="1057" y="618"/>
                  </a:lnTo>
                  <a:lnTo>
                    <a:pt x="1056" y="620"/>
                  </a:lnTo>
                  <a:lnTo>
                    <a:pt x="1054" y="620"/>
                  </a:lnTo>
                  <a:lnTo>
                    <a:pt x="1053" y="618"/>
                  </a:lnTo>
                  <a:lnTo>
                    <a:pt x="1053" y="618"/>
                  </a:lnTo>
                  <a:lnTo>
                    <a:pt x="1053" y="617"/>
                  </a:lnTo>
                  <a:lnTo>
                    <a:pt x="1053" y="617"/>
                  </a:lnTo>
                  <a:lnTo>
                    <a:pt x="1060" y="610"/>
                  </a:lnTo>
                  <a:lnTo>
                    <a:pt x="1065" y="606"/>
                  </a:lnTo>
                  <a:lnTo>
                    <a:pt x="1073" y="598"/>
                  </a:lnTo>
                  <a:lnTo>
                    <a:pt x="1074" y="596"/>
                  </a:lnTo>
                  <a:lnTo>
                    <a:pt x="1079" y="593"/>
                  </a:lnTo>
                  <a:lnTo>
                    <a:pt x="1085" y="591"/>
                  </a:lnTo>
                  <a:lnTo>
                    <a:pt x="1088" y="590"/>
                  </a:lnTo>
                  <a:lnTo>
                    <a:pt x="1092" y="588"/>
                  </a:lnTo>
                  <a:lnTo>
                    <a:pt x="1095" y="587"/>
                  </a:lnTo>
                  <a:lnTo>
                    <a:pt x="1095" y="585"/>
                  </a:lnTo>
                  <a:lnTo>
                    <a:pt x="1096" y="585"/>
                  </a:lnTo>
                  <a:lnTo>
                    <a:pt x="1096" y="585"/>
                  </a:lnTo>
                  <a:lnTo>
                    <a:pt x="1096" y="585"/>
                  </a:lnTo>
                  <a:lnTo>
                    <a:pt x="1093" y="585"/>
                  </a:lnTo>
                  <a:lnTo>
                    <a:pt x="1092" y="585"/>
                  </a:lnTo>
                  <a:lnTo>
                    <a:pt x="1090" y="585"/>
                  </a:lnTo>
                  <a:lnTo>
                    <a:pt x="1088" y="584"/>
                  </a:lnTo>
                  <a:lnTo>
                    <a:pt x="1087" y="582"/>
                  </a:lnTo>
                  <a:lnTo>
                    <a:pt x="1084" y="582"/>
                  </a:lnTo>
                  <a:lnTo>
                    <a:pt x="1079" y="582"/>
                  </a:lnTo>
                  <a:lnTo>
                    <a:pt x="1076" y="582"/>
                  </a:lnTo>
                  <a:lnTo>
                    <a:pt x="1076" y="582"/>
                  </a:lnTo>
                  <a:lnTo>
                    <a:pt x="1074" y="581"/>
                  </a:lnTo>
                  <a:lnTo>
                    <a:pt x="1073" y="581"/>
                  </a:lnTo>
                  <a:lnTo>
                    <a:pt x="1071" y="581"/>
                  </a:lnTo>
                  <a:lnTo>
                    <a:pt x="1068" y="582"/>
                  </a:lnTo>
                  <a:lnTo>
                    <a:pt x="1065" y="584"/>
                  </a:lnTo>
                  <a:lnTo>
                    <a:pt x="1062" y="584"/>
                  </a:lnTo>
                  <a:lnTo>
                    <a:pt x="1060" y="582"/>
                  </a:lnTo>
                  <a:lnTo>
                    <a:pt x="1057" y="581"/>
                  </a:lnTo>
                  <a:lnTo>
                    <a:pt x="1054" y="577"/>
                  </a:lnTo>
                  <a:lnTo>
                    <a:pt x="1051" y="576"/>
                  </a:lnTo>
                  <a:lnTo>
                    <a:pt x="1049" y="577"/>
                  </a:lnTo>
                  <a:lnTo>
                    <a:pt x="1048" y="577"/>
                  </a:lnTo>
                  <a:lnTo>
                    <a:pt x="1046" y="577"/>
                  </a:lnTo>
                  <a:lnTo>
                    <a:pt x="1046" y="576"/>
                  </a:lnTo>
                  <a:lnTo>
                    <a:pt x="1045" y="574"/>
                  </a:lnTo>
                  <a:lnTo>
                    <a:pt x="1043" y="573"/>
                  </a:lnTo>
                  <a:lnTo>
                    <a:pt x="1042" y="571"/>
                  </a:lnTo>
                  <a:lnTo>
                    <a:pt x="1040" y="570"/>
                  </a:lnTo>
                  <a:lnTo>
                    <a:pt x="1040" y="570"/>
                  </a:lnTo>
                  <a:lnTo>
                    <a:pt x="1037" y="570"/>
                  </a:lnTo>
                  <a:lnTo>
                    <a:pt x="1035" y="570"/>
                  </a:lnTo>
                  <a:lnTo>
                    <a:pt x="1034" y="570"/>
                  </a:lnTo>
                  <a:lnTo>
                    <a:pt x="1032" y="568"/>
                  </a:lnTo>
                  <a:lnTo>
                    <a:pt x="1031" y="570"/>
                  </a:lnTo>
                  <a:lnTo>
                    <a:pt x="1029" y="571"/>
                  </a:lnTo>
                  <a:lnTo>
                    <a:pt x="1026" y="571"/>
                  </a:lnTo>
                  <a:lnTo>
                    <a:pt x="1024" y="571"/>
                  </a:lnTo>
                  <a:lnTo>
                    <a:pt x="1023" y="571"/>
                  </a:lnTo>
                  <a:lnTo>
                    <a:pt x="1021" y="570"/>
                  </a:lnTo>
                  <a:lnTo>
                    <a:pt x="1021" y="570"/>
                  </a:lnTo>
                  <a:lnTo>
                    <a:pt x="1018" y="568"/>
                  </a:lnTo>
                  <a:lnTo>
                    <a:pt x="1012" y="566"/>
                  </a:lnTo>
                  <a:lnTo>
                    <a:pt x="1009" y="566"/>
                  </a:lnTo>
                  <a:lnTo>
                    <a:pt x="1007" y="565"/>
                  </a:lnTo>
                  <a:lnTo>
                    <a:pt x="1007" y="563"/>
                  </a:lnTo>
                  <a:lnTo>
                    <a:pt x="1007" y="562"/>
                  </a:lnTo>
                  <a:lnTo>
                    <a:pt x="1006" y="559"/>
                  </a:lnTo>
                  <a:lnTo>
                    <a:pt x="1004" y="555"/>
                  </a:lnTo>
                  <a:lnTo>
                    <a:pt x="1004" y="552"/>
                  </a:lnTo>
                  <a:lnTo>
                    <a:pt x="1004" y="551"/>
                  </a:lnTo>
                  <a:lnTo>
                    <a:pt x="1004" y="551"/>
                  </a:lnTo>
                  <a:lnTo>
                    <a:pt x="1002" y="549"/>
                  </a:lnTo>
                  <a:lnTo>
                    <a:pt x="999" y="549"/>
                  </a:lnTo>
                  <a:lnTo>
                    <a:pt x="999" y="549"/>
                  </a:lnTo>
                  <a:lnTo>
                    <a:pt x="999" y="554"/>
                  </a:lnTo>
                  <a:lnTo>
                    <a:pt x="999" y="559"/>
                  </a:lnTo>
                  <a:lnTo>
                    <a:pt x="995" y="559"/>
                  </a:lnTo>
                  <a:lnTo>
                    <a:pt x="513" y="559"/>
                  </a:lnTo>
                  <a:lnTo>
                    <a:pt x="513" y="559"/>
                  </a:lnTo>
                  <a:lnTo>
                    <a:pt x="515" y="563"/>
                  </a:lnTo>
                  <a:lnTo>
                    <a:pt x="516" y="565"/>
                  </a:lnTo>
                  <a:lnTo>
                    <a:pt x="516" y="565"/>
                  </a:lnTo>
                  <a:lnTo>
                    <a:pt x="516" y="565"/>
                  </a:lnTo>
                  <a:lnTo>
                    <a:pt x="518" y="565"/>
                  </a:lnTo>
                  <a:lnTo>
                    <a:pt x="518" y="565"/>
                  </a:lnTo>
                  <a:lnTo>
                    <a:pt x="518" y="565"/>
                  </a:lnTo>
                  <a:lnTo>
                    <a:pt x="518" y="568"/>
                  </a:lnTo>
                  <a:lnTo>
                    <a:pt x="518" y="571"/>
                  </a:lnTo>
                  <a:lnTo>
                    <a:pt x="519" y="571"/>
                  </a:lnTo>
                  <a:lnTo>
                    <a:pt x="519" y="573"/>
                  </a:lnTo>
                  <a:lnTo>
                    <a:pt x="518" y="573"/>
                  </a:lnTo>
                  <a:lnTo>
                    <a:pt x="516" y="573"/>
                  </a:lnTo>
                  <a:lnTo>
                    <a:pt x="516" y="573"/>
                  </a:lnTo>
                  <a:lnTo>
                    <a:pt x="516" y="573"/>
                  </a:lnTo>
                  <a:lnTo>
                    <a:pt x="516" y="574"/>
                  </a:lnTo>
                  <a:lnTo>
                    <a:pt x="516" y="574"/>
                  </a:lnTo>
                  <a:lnTo>
                    <a:pt x="518" y="574"/>
                  </a:lnTo>
                  <a:lnTo>
                    <a:pt x="518" y="574"/>
                  </a:lnTo>
                  <a:lnTo>
                    <a:pt x="519" y="576"/>
                  </a:lnTo>
                  <a:lnTo>
                    <a:pt x="521" y="577"/>
                  </a:lnTo>
                  <a:lnTo>
                    <a:pt x="521" y="579"/>
                  </a:lnTo>
                  <a:lnTo>
                    <a:pt x="519" y="579"/>
                  </a:lnTo>
                  <a:lnTo>
                    <a:pt x="518" y="579"/>
                  </a:lnTo>
                  <a:lnTo>
                    <a:pt x="518" y="581"/>
                  </a:lnTo>
                  <a:lnTo>
                    <a:pt x="518" y="581"/>
                  </a:lnTo>
                  <a:lnTo>
                    <a:pt x="519" y="582"/>
                  </a:lnTo>
                  <a:lnTo>
                    <a:pt x="521" y="584"/>
                  </a:lnTo>
                  <a:lnTo>
                    <a:pt x="521" y="584"/>
                  </a:lnTo>
                  <a:lnTo>
                    <a:pt x="519" y="581"/>
                  </a:lnTo>
                  <a:lnTo>
                    <a:pt x="521" y="581"/>
                  </a:lnTo>
                  <a:lnTo>
                    <a:pt x="521" y="581"/>
                  </a:lnTo>
                  <a:lnTo>
                    <a:pt x="521" y="582"/>
                  </a:lnTo>
                  <a:lnTo>
                    <a:pt x="522" y="584"/>
                  </a:lnTo>
                  <a:lnTo>
                    <a:pt x="522" y="584"/>
                  </a:lnTo>
                  <a:lnTo>
                    <a:pt x="524" y="585"/>
                  </a:lnTo>
                  <a:lnTo>
                    <a:pt x="522" y="587"/>
                  </a:lnTo>
                  <a:lnTo>
                    <a:pt x="522" y="588"/>
                  </a:lnTo>
                  <a:lnTo>
                    <a:pt x="521" y="590"/>
                  </a:lnTo>
                  <a:lnTo>
                    <a:pt x="521" y="591"/>
                  </a:lnTo>
                  <a:lnTo>
                    <a:pt x="521" y="591"/>
                  </a:lnTo>
                  <a:lnTo>
                    <a:pt x="521" y="593"/>
                  </a:lnTo>
                  <a:lnTo>
                    <a:pt x="521" y="593"/>
                  </a:lnTo>
                  <a:lnTo>
                    <a:pt x="521" y="595"/>
                  </a:lnTo>
                  <a:lnTo>
                    <a:pt x="521" y="595"/>
                  </a:lnTo>
                  <a:lnTo>
                    <a:pt x="521" y="596"/>
                  </a:lnTo>
                  <a:lnTo>
                    <a:pt x="521" y="598"/>
                  </a:lnTo>
                  <a:lnTo>
                    <a:pt x="521" y="601"/>
                  </a:lnTo>
                  <a:lnTo>
                    <a:pt x="521" y="601"/>
                  </a:lnTo>
                  <a:lnTo>
                    <a:pt x="521" y="602"/>
                  </a:lnTo>
                  <a:lnTo>
                    <a:pt x="519" y="604"/>
                  </a:lnTo>
                  <a:lnTo>
                    <a:pt x="518" y="604"/>
                  </a:lnTo>
                  <a:lnTo>
                    <a:pt x="518" y="604"/>
                  </a:lnTo>
                  <a:lnTo>
                    <a:pt x="516" y="607"/>
                  </a:lnTo>
                  <a:lnTo>
                    <a:pt x="516" y="607"/>
                  </a:lnTo>
                  <a:lnTo>
                    <a:pt x="515" y="609"/>
                  </a:lnTo>
                  <a:lnTo>
                    <a:pt x="515" y="609"/>
                  </a:lnTo>
                  <a:lnTo>
                    <a:pt x="513" y="607"/>
                  </a:lnTo>
                  <a:lnTo>
                    <a:pt x="512" y="607"/>
                  </a:lnTo>
                  <a:lnTo>
                    <a:pt x="510" y="607"/>
                  </a:lnTo>
                  <a:lnTo>
                    <a:pt x="510" y="607"/>
                  </a:lnTo>
                  <a:lnTo>
                    <a:pt x="510" y="606"/>
                  </a:lnTo>
                  <a:lnTo>
                    <a:pt x="512" y="604"/>
                  </a:lnTo>
                  <a:lnTo>
                    <a:pt x="513" y="602"/>
                  </a:lnTo>
                  <a:lnTo>
                    <a:pt x="513" y="602"/>
                  </a:lnTo>
                  <a:lnTo>
                    <a:pt x="513" y="606"/>
                  </a:lnTo>
                  <a:lnTo>
                    <a:pt x="515" y="606"/>
                  </a:lnTo>
                  <a:lnTo>
                    <a:pt x="515" y="604"/>
                  </a:lnTo>
                  <a:lnTo>
                    <a:pt x="515" y="602"/>
                  </a:lnTo>
                  <a:lnTo>
                    <a:pt x="516" y="604"/>
                  </a:lnTo>
                  <a:lnTo>
                    <a:pt x="516" y="604"/>
                  </a:lnTo>
                  <a:lnTo>
                    <a:pt x="518" y="604"/>
                  </a:lnTo>
                  <a:lnTo>
                    <a:pt x="518" y="601"/>
                  </a:lnTo>
                  <a:lnTo>
                    <a:pt x="518" y="599"/>
                  </a:lnTo>
                  <a:lnTo>
                    <a:pt x="518" y="598"/>
                  </a:lnTo>
                  <a:lnTo>
                    <a:pt x="516" y="595"/>
                  </a:lnTo>
                  <a:lnTo>
                    <a:pt x="516" y="595"/>
                  </a:lnTo>
                  <a:lnTo>
                    <a:pt x="516" y="596"/>
                  </a:lnTo>
                  <a:lnTo>
                    <a:pt x="516" y="595"/>
                  </a:lnTo>
                  <a:lnTo>
                    <a:pt x="516" y="593"/>
                  </a:lnTo>
                  <a:lnTo>
                    <a:pt x="516" y="593"/>
                  </a:lnTo>
                  <a:lnTo>
                    <a:pt x="518" y="591"/>
                  </a:lnTo>
                  <a:lnTo>
                    <a:pt x="518" y="590"/>
                  </a:lnTo>
                  <a:lnTo>
                    <a:pt x="518" y="587"/>
                  </a:lnTo>
                  <a:lnTo>
                    <a:pt x="518" y="587"/>
                  </a:lnTo>
                  <a:lnTo>
                    <a:pt x="518" y="587"/>
                  </a:lnTo>
                  <a:lnTo>
                    <a:pt x="518" y="588"/>
                  </a:lnTo>
                  <a:lnTo>
                    <a:pt x="516" y="590"/>
                  </a:lnTo>
                  <a:lnTo>
                    <a:pt x="515" y="591"/>
                  </a:lnTo>
                  <a:lnTo>
                    <a:pt x="515" y="593"/>
                  </a:lnTo>
                  <a:lnTo>
                    <a:pt x="513" y="595"/>
                  </a:lnTo>
                  <a:lnTo>
                    <a:pt x="512" y="596"/>
                  </a:lnTo>
                  <a:lnTo>
                    <a:pt x="510" y="596"/>
                  </a:lnTo>
                  <a:lnTo>
                    <a:pt x="508" y="599"/>
                  </a:lnTo>
                  <a:lnTo>
                    <a:pt x="508" y="599"/>
                  </a:lnTo>
                  <a:lnTo>
                    <a:pt x="508" y="601"/>
                  </a:lnTo>
                  <a:lnTo>
                    <a:pt x="510" y="601"/>
                  </a:lnTo>
                  <a:lnTo>
                    <a:pt x="512" y="601"/>
                  </a:lnTo>
                  <a:lnTo>
                    <a:pt x="512" y="601"/>
                  </a:lnTo>
                  <a:lnTo>
                    <a:pt x="510" y="602"/>
                  </a:lnTo>
                  <a:lnTo>
                    <a:pt x="508" y="602"/>
                  </a:lnTo>
                  <a:lnTo>
                    <a:pt x="507" y="602"/>
                  </a:lnTo>
                  <a:lnTo>
                    <a:pt x="507" y="601"/>
                  </a:lnTo>
                  <a:lnTo>
                    <a:pt x="508" y="599"/>
                  </a:lnTo>
                  <a:lnTo>
                    <a:pt x="508" y="598"/>
                  </a:lnTo>
                  <a:lnTo>
                    <a:pt x="513" y="590"/>
                  </a:lnTo>
                  <a:lnTo>
                    <a:pt x="513" y="591"/>
                  </a:lnTo>
                  <a:lnTo>
                    <a:pt x="513" y="591"/>
                  </a:lnTo>
                  <a:lnTo>
                    <a:pt x="513" y="591"/>
                  </a:lnTo>
                  <a:lnTo>
                    <a:pt x="516" y="588"/>
                  </a:lnTo>
                  <a:lnTo>
                    <a:pt x="516" y="587"/>
                  </a:lnTo>
                  <a:lnTo>
                    <a:pt x="515" y="585"/>
                  </a:lnTo>
                  <a:lnTo>
                    <a:pt x="515" y="584"/>
                  </a:lnTo>
                  <a:lnTo>
                    <a:pt x="515" y="582"/>
                  </a:lnTo>
                  <a:lnTo>
                    <a:pt x="513" y="582"/>
                  </a:lnTo>
                  <a:lnTo>
                    <a:pt x="513" y="584"/>
                  </a:lnTo>
                  <a:lnTo>
                    <a:pt x="512" y="584"/>
                  </a:lnTo>
                  <a:lnTo>
                    <a:pt x="510" y="584"/>
                  </a:lnTo>
                  <a:lnTo>
                    <a:pt x="510" y="584"/>
                  </a:lnTo>
                  <a:lnTo>
                    <a:pt x="508" y="582"/>
                  </a:lnTo>
                  <a:lnTo>
                    <a:pt x="507" y="581"/>
                  </a:lnTo>
                  <a:lnTo>
                    <a:pt x="505" y="582"/>
                  </a:lnTo>
                  <a:lnTo>
                    <a:pt x="505" y="582"/>
                  </a:lnTo>
                  <a:lnTo>
                    <a:pt x="493" y="581"/>
                  </a:lnTo>
                  <a:lnTo>
                    <a:pt x="491" y="581"/>
                  </a:lnTo>
                  <a:lnTo>
                    <a:pt x="490" y="579"/>
                  </a:lnTo>
                  <a:lnTo>
                    <a:pt x="485" y="577"/>
                  </a:lnTo>
                  <a:lnTo>
                    <a:pt x="482" y="576"/>
                  </a:lnTo>
                  <a:lnTo>
                    <a:pt x="480" y="576"/>
                  </a:lnTo>
                  <a:lnTo>
                    <a:pt x="480" y="577"/>
                  </a:lnTo>
                  <a:lnTo>
                    <a:pt x="480" y="581"/>
                  </a:lnTo>
                  <a:lnTo>
                    <a:pt x="480" y="585"/>
                  </a:lnTo>
                  <a:lnTo>
                    <a:pt x="482" y="588"/>
                  </a:lnTo>
                  <a:lnTo>
                    <a:pt x="485" y="591"/>
                  </a:lnTo>
                  <a:lnTo>
                    <a:pt x="487" y="595"/>
                  </a:lnTo>
                  <a:lnTo>
                    <a:pt x="487" y="601"/>
                  </a:lnTo>
                  <a:lnTo>
                    <a:pt x="490" y="606"/>
                  </a:lnTo>
                  <a:lnTo>
                    <a:pt x="490" y="609"/>
                  </a:lnTo>
                  <a:lnTo>
                    <a:pt x="490" y="610"/>
                  </a:lnTo>
                  <a:lnTo>
                    <a:pt x="490" y="612"/>
                  </a:lnTo>
                  <a:lnTo>
                    <a:pt x="490" y="612"/>
                  </a:lnTo>
                  <a:lnTo>
                    <a:pt x="491" y="610"/>
                  </a:lnTo>
                  <a:lnTo>
                    <a:pt x="491" y="610"/>
                  </a:lnTo>
                  <a:lnTo>
                    <a:pt x="493" y="612"/>
                  </a:lnTo>
                  <a:lnTo>
                    <a:pt x="496" y="612"/>
                  </a:lnTo>
                  <a:lnTo>
                    <a:pt x="491" y="615"/>
                  </a:lnTo>
                  <a:lnTo>
                    <a:pt x="491" y="618"/>
                  </a:lnTo>
                  <a:lnTo>
                    <a:pt x="493" y="618"/>
                  </a:lnTo>
                  <a:lnTo>
                    <a:pt x="494" y="620"/>
                  </a:lnTo>
                  <a:lnTo>
                    <a:pt x="494" y="623"/>
                  </a:lnTo>
                  <a:lnTo>
                    <a:pt x="493" y="626"/>
                  </a:lnTo>
                  <a:lnTo>
                    <a:pt x="493" y="623"/>
                  </a:lnTo>
                  <a:lnTo>
                    <a:pt x="491" y="621"/>
                  </a:lnTo>
                  <a:lnTo>
                    <a:pt x="491" y="624"/>
                  </a:lnTo>
                  <a:lnTo>
                    <a:pt x="491" y="627"/>
                  </a:lnTo>
                  <a:lnTo>
                    <a:pt x="491" y="629"/>
                  </a:lnTo>
                  <a:lnTo>
                    <a:pt x="493" y="629"/>
                  </a:lnTo>
                  <a:lnTo>
                    <a:pt x="494" y="631"/>
                  </a:lnTo>
                  <a:lnTo>
                    <a:pt x="497" y="629"/>
                  </a:lnTo>
                  <a:lnTo>
                    <a:pt x="499" y="631"/>
                  </a:lnTo>
                  <a:lnTo>
                    <a:pt x="502" y="629"/>
                  </a:lnTo>
                  <a:lnTo>
                    <a:pt x="502" y="631"/>
                  </a:lnTo>
                  <a:lnTo>
                    <a:pt x="505" y="632"/>
                  </a:lnTo>
                  <a:lnTo>
                    <a:pt x="505" y="632"/>
                  </a:lnTo>
                  <a:lnTo>
                    <a:pt x="507" y="632"/>
                  </a:lnTo>
                  <a:lnTo>
                    <a:pt x="504" y="634"/>
                  </a:lnTo>
                  <a:lnTo>
                    <a:pt x="502" y="632"/>
                  </a:lnTo>
                  <a:lnTo>
                    <a:pt x="502" y="631"/>
                  </a:lnTo>
                  <a:lnTo>
                    <a:pt x="501" y="631"/>
                  </a:lnTo>
                  <a:lnTo>
                    <a:pt x="497" y="632"/>
                  </a:lnTo>
                  <a:lnTo>
                    <a:pt x="494" y="632"/>
                  </a:lnTo>
                  <a:lnTo>
                    <a:pt x="493" y="631"/>
                  </a:lnTo>
                  <a:lnTo>
                    <a:pt x="493" y="631"/>
                  </a:lnTo>
                  <a:lnTo>
                    <a:pt x="493" y="632"/>
                  </a:lnTo>
                  <a:lnTo>
                    <a:pt x="493" y="634"/>
                  </a:lnTo>
                  <a:lnTo>
                    <a:pt x="493" y="640"/>
                  </a:lnTo>
                  <a:lnTo>
                    <a:pt x="494" y="648"/>
                  </a:lnTo>
                  <a:lnTo>
                    <a:pt x="493" y="649"/>
                  </a:lnTo>
                  <a:lnTo>
                    <a:pt x="493" y="651"/>
                  </a:lnTo>
                  <a:lnTo>
                    <a:pt x="491" y="667"/>
                  </a:lnTo>
                  <a:lnTo>
                    <a:pt x="491" y="670"/>
                  </a:lnTo>
                  <a:lnTo>
                    <a:pt x="491" y="673"/>
                  </a:lnTo>
                  <a:lnTo>
                    <a:pt x="491" y="676"/>
                  </a:lnTo>
                  <a:lnTo>
                    <a:pt x="491" y="678"/>
                  </a:lnTo>
                  <a:lnTo>
                    <a:pt x="490" y="685"/>
                  </a:lnTo>
                  <a:lnTo>
                    <a:pt x="490" y="693"/>
                  </a:lnTo>
                  <a:lnTo>
                    <a:pt x="490" y="695"/>
                  </a:lnTo>
                  <a:lnTo>
                    <a:pt x="488" y="698"/>
                  </a:lnTo>
                  <a:lnTo>
                    <a:pt x="488" y="701"/>
                  </a:lnTo>
                  <a:lnTo>
                    <a:pt x="488" y="699"/>
                  </a:lnTo>
                  <a:lnTo>
                    <a:pt x="490" y="699"/>
                  </a:lnTo>
                  <a:lnTo>
                    <a:pt x="488" y="701"/>
                  </a:lnTo>
                  <a:lnTo>
                    <a:pt x="487" y="701"/>
                  </a:lnTo>
                  <a:lnTo>
                    <a:pt x="487" y="703"/>
                  </a:lnTo>
                  <a:lnTo>
                    <a:pt x="485" y="710"/>
                  </a:lnTo>
                  <a:lnTo>
                    <a:pt x="483" y="712"/>
                  </a:lnTo>
                  <a:lnTo>
                    <a:pt x="483" y="715"/>
                  </a:lnTo>
                  <a:lnTo>
                    <a:pt x="485" y="718"/>
                  </a:lnTo>
                  <a:lnTo>
                    <a:pt x="485" y="720"/>
                  </a:lnTo>
                  <a:lnTo>
                    <a:pt x="485" y="724"/>
                  </a:lnTo>
                  <a:lnTo>
                    <a:pt x="485" y="728"/>
                  </a:lnTo>
                  <a:lnTo>
                    <a:pt x="487" y="731"/>
                  </a:lnTo>
                  <a:lnTo>
                    <a:pt x="488" y="734"/>
                  </a:lnTo>
                  <a:lnTo>
                    <a:pt x="488" y="737"/>
                  </a:lnTo>
                  <a:lnTo>
                    <a:pt x="488" y="739"/>
                  </a:lnTo>
                  <a:lnTo>
                    <a:pt x="490" y="740"/>
                  </a:lnTo>
                  <a:lnTo>
                    <a:pt x="490" y="743"/>
                  </a:lnTo>
                  <a:lnTo>
                    <a:pt x="491" y="746"/>
                  </a:lnTo>
                  <a:lnTo>
                    <a:pt x="491" y="748"/>
                  </a:lnTo>
                  <a:lnTo>
                    <a:pt x="490" y="754"/>
                  </a:lnTo>
                  <a:lnTo>
                    <a:pt x="490" y="757"/>
                  </a:lnTo>
                  <a:lnTo>
                    <a:pt x="490" y="762"/>
                  </a:lnTo>
                  <a:lnTo>
                    <a:pt x="488" y="762"/>
                  </a:lnTo>
                  <a:lnTo>
                    <a:pt x="488" y="762"/>
                  </a:lnTo>
                  <a:lnTo>
                    <a:pt x="490" y="762"/>
                  </a:lnTo>
                  <a:lnTo>
                    <a:pt x="488" y="764"/>
                  </a:lnTo>
                  <a:lnTo>
                    <a:pt x="488" y="765"/>
                  </a:lnTo>
                  <a:lnTo>
                    <a:pt x="488" y="764"/>
                  </a:lnTo>
                  <a:lnTo>
                    <a:pt x="488" y="764"/>
                  </a:lnTo>
                  <a:lnTo>
                    <a:pt x="488" y="764"/>
                  </a:lnTo>
                  <a:lnTo>
                    <a:pt x="488" y="764"/>
                  </a:lnTo>
                  <a:lnTo>
                    <a:pt x="487" y="767"/>
                  </a:lnTo>
                  <a:lnTo>
                    <a:pt x="487" y="770"/>
                  </a:lnTo>
                  <a:lnTo>
                    <a:pt x="487" y="771"/>
                  </a:lnTo>
                  <a:lnTo>
                    <a:pt x="487" y="775"/>
                  </a:lnTo>
                  <a:lnTo>
                    <a:pt x="491" y="778"/>
                  </a:lnTo>
                  <a:lnTo>
                    <a:pt x="494" y="784"/>
                  </a:lnTo>
                  <a:lnTo>
                    <a:pt x="496" y="786"/>
                  </a:lnTo>
                  <a:lnTo>
                    <a:pt x="496" y="789"/>
                  </a:lnTo>
                  <a:lnTo>
                    <a:pt x="496" y="792"/>
                  </a:lnTo>
                  <a:lnTo>
                    <a:pt x="496" y="795"/>
                  </a:lnTo>
                  <a:lnTo>
                    <a:pt x="497" y="801"/>
                  </a:lnTo>
                  <a:lnTo>
                    <a:pt x="497" y="806"/>
                  </a:lnTo>
                  <a:lnTo>
                    <a:pt x="502" y="811"/>
                  </a:lnTo>
                  <a:lnTo>
                    <a:pt x="505" y="814"/>
                  </a:lnTo>
                  <a:lnTo>
                    <a:pt x="508" y="815"/>
                  </a:lnTo>
                  <a:lnTo>
                    <a:pt x="508" y="818"/>
                  </a:lnTo>
                  <a:lnTo>
                    <a:pt x="510" y="820"/>
                  </a:lnTo>
                  <a:lnTo>
                    <a:pt x="512" y="821"/>
                  </a:lnTo>
                  <a:lnTo>
                    <a:pt x="512" y="823"/>
                  </a:lnTo>
                  <a:lnTo>
                    <a:pt x="510" y="820"/>
                  </a:lnTo>
                  <a:lnTo>
                    <a:pt x="510" y="823"/>
                  </a:lnTo>
                  <a:lnTo>
                    <a:pt x="510" y="825"/>
                  </a:lnTo>
                  <a:lnTo>
                    <a:pt x="510" y="826"/>
                  </a:lnTo>
                  <a:lnTo>
                    <a:pt x="512" y="825"/>
                  </a:lnTo>
                  <a:lnTo>
                    <a:pt x="512" y="825"/>
                  </a:lnTo>
                  <a:lnTo>
                    <a:pt x="515" y="826"/>
                  </a:lnTo>
                  <a:lnTo>
                    <a:pt x="516" y="828"/>
                  </a:lnTo>
                  <a:lnTo>
                    <a:pt x="518" y="828"/>
                  </a:lnTo>
                  <a:lnTo>
                    <a:pt x="518" y="829"/>
                  </a:lnTo>
                  <a:lnTo>
                    <a:pt x="519" y="829"/>
                  </a:lnTo>
                  <a:lnTo>
                    <a:pt x="519" y="826"/>
                  </a:lnTo>
                  <a:lnTo>
                    <a:pt x="519" y="823"/>
                  </a:lnTo>
                  <a:lnTo>
                    <a:pt x="521" y="821"/>
                  </a:lnTo>
                  <a:lnTo>
                    <a:pt x="521" y="823"/>
                  </a:lnTo>
                  <a:lnTo>
                    <a:pt x="524" y="823"/>
                  </a:lnTo>
                  <a:lnTo>
                    <a:pt x="526" y="825"/>
                  </a:lnTo>
                  <a:lnTo>
                    <a:pt x="527" y="823"/>
                  </a:lnTo>
                  <a:lnTo>
                    <a:pt x="527" y="823"/>
                  </a:lnTo>
                  <a:lnTo>
                    <a:pt x="529" y="823"/>
                  </a:lnTo>
                  <a:lnTo>
                    <a:pt x="530" y="823"/>
                  </a:lnTo>
                  <a:lnTo>
                    <a:pt x="532" y="823"/>
                  </a:lnTo>
                  <a:lnTo>
                    <a:pt x="533" y="823"/>
                  </a:lnTo>
                  <a:lnTo>
                    <a:pt x="533" y="823"/>
                  </a:lnTo>
                  <a:lnTo>
                    <a:pt x="537" y="825"/>
                  </a:lnTo>
                  <a:lnTo>
                    <a:pt x="535" y="825"/>
                  </a:lnTo>
                  <a:lnTo>
                    <a:pt x="533" y="825"/>
                  </a:lnTo>
                  <a:lnTo>
                    <a:pt x="532" y="825"/>
                  </a:lnTo>
                  <a:lnTo>
                    <a:pt x="526" y="825"/>
                  </a:lnTo>
                  <a:lnTo>
                    <a:pt x="524" y="825"/>
                  </a:lnTo>
                  <a:lnTo>
                    <a:pt x="522" y="825"/>
                  </a:lnTo>
                  <a:lnTo>
                    <a:pt x="521" y="826"/>
                  </a:lnTo>
                  <a:lnTo>
                    <a:pt x="521" y="828"/>
                  </a:lnTo>
                  <a:lnTo>
                    <a:pt x="521" y="828"/>
                  </a:lnTo>
                  <a:lnTo>
                    <a:pt x="522" y="829"/>
                  </a:lnTo>
                  <a:lnTo>
                    <a:pt x="524" y="831"/>
                  </a:lnTo>
                  <a:lnTo>
                    <a:pt x="524" y="834"/>
                  </a:lnTo>
                  <a:lnTo>
                    <a:pt x="526" y="836"/>
                  </a:lnTo>
                  <a:lnTo>
                    <a:pt x="526" y="836"/>
                  </a:lnTo>
                  <a:lnTo>
                    <a:pt x="526" y="837"/>
                  </a:lnTo>
                  <a:lnTo>
                    <a:pt x="526" y="837"/>
                  </a:lnTo>
                  <a:lnTo>
                    <a:pt x="524" y="837"/>
                  </a:lnTo>
                  <a:lnTo>
                    <a:pt x="524" y="836"/>
                  </a:lnTo>
                  <a:lnTo>
                    <a:pt x="522" y="834"/>
                  </a:lnTo>
                  <a:lnTo>
                    <a:pt x="521" y="832"/>
                  </a:lnTo>
                  <a:lnTo>
                    <a:pt x="521" y="831"/>
                  </a:lnTo>
                  <a:lnTo>
                    <a:pt x="521" y="831"/>
                  </a:lnTo>
                  <a:lnTo>
                    <a:pt x="519" y="829"/>
                  </a:lnTo>
                  <a:lnTo>
                    <a:pt x="518" y="831"/>
                  </a:lnTo>
                  <a:lnTo>
                    <a:pt x="519" y="832"/>
                  </a:lnTo>
                  <a:lnTo>
                    <a:pt x="519" y="836"/>
                  </a:lnTo>
                  <a:lnTo>
                    <a:pt x="521" y="839"/>
                  </a:lnTo>
                  <a:lnTo>
                    <a:pt x="521" y="843"/>
                  </a:lnTo>
                  <a:lnTo>
                    <a:pt x="524" y="848"/>
                  </a:lnTo>
                  <a:lnTo>
                    <a:pt x="530" y="848"/>
                  </a:lnTo>
                  <a:lnTo>
                    <a:pt x="530" y="851"/>
                  </a:lnTo>
                  <a:lnTo>
                    <a:pt x="532" y="851"/>
                  </a:lnTo>
                  <a:lnTo>
                    <a:pt x="532" y="853"/>
                  </a:lnTo>
                  <a:lnTo>
                    <a:pt x="530" y="854"/>
                  </a:lnTo>
                  <a:lnTo>
                    <a:pt x="529" y="857"/>
                  </a:lnTo>
                  <a:lnTo>
                    <a:pt x="529" y="861"/>
                  </a:lnTo>
                  <a:lnTo>
                    <a:pt x="530" y="862"/>
                  </a:lnTo>
                  <a:lnTo>
                    <a:pt x="533" y="865"/>
                  </a:lnTo>
                  <a:lnTo>
                    <a:pt x="537" y="872"/>
                  </a:lnTo>
                  <a:lnTo>
                    <a:pt x="538" y="872"/>
                  </a:lnTo>
                  <a:lnTo>
                    <a:pt x="540" y="873"/>
                  </a:lnTo>
                  <a:lnTo>
                    <a:pt x="540" y="876"/>
                  </a:lnTo>
                  <a:lnTo>
                    <a:pt x="543" y="878"/>
                  </a:lnTo>
                  <a:lnTo>
                    <a:pt x="544" y="881"/>
                  </a:lnTo>
                  <a:lnTo>
                    <a:pt x="547" y="881"/>
                  </a:lnTo>
                  <a:lnTo>
                    <a:pt x="547" y="883"/>
                  </a:lnTo>
                  <a:lnTo>
                    <a:pt x="547" y="884"/>
                  </a:lnTo>
                  <a:lnTo>
                    <a:pt x="547" y="886"/>
                  </a:lnTo>
                  <a:lnTo>
                    <a:pt x="551" y="887"/>
                  </a:lnTo>
                  <a:lnTo>
                    <a:pt x="551" y="889"/>
                  </a:lnTo>
                  <a:lnTo>
                    <a:pt x="552" y="889"/>
                  </a:lnTo>
                  <a:lnTo>
                    <a:pt x="551" y="892"/>
                  </a:lnTo>
                  <a:lnTo>
                    <a:pt x="552" y="895"/>
                  </a:lnTo>
                  <a:lnTo>
                    <a:pt x="552" y="897"/>
                  </a:lnTo>
                  <a:lnTo>
                    <a:pt x="552" y="898"/>
                  </a:lnTo>
                  <a:lnTo>
                    <a:pt x="551" y="900"/>
                  </a:lnTo>
                  <a:lnTo>
                    <a:pt x="552" y="900"/>
                  </a:lnTo>
                  <a:lnTo>
                    <a:pt x="554" y="901"/>
                  </a:lnTo>
                  <a:lnTo>
                    <a:pt x="555" y="903"/>
                  </a:lnTo>
                  <a:lnTo>
                    <a:pt x="560" y="901"/>
                  </a:lnTo>
                  <a:lnTo>
                    <a:pt x="562" y="901"/>
                  </a:lnTo>
                  <a:lnTo>
                    <a:pt x="565" y="903"/>
                  </a:lnTo>
                  <a:lnTo>
                    <a:pt x="568" y="903"/>
                  </a:lnTo>
                  <a:lnTo>
                    <a:pt x="569" y="903"/>
                  </a:lnTo>
                  <a:lnTo>
                    <a:pt x="573" y="904"/>
                  </a:lnTo>
                  <a:lnTo>
                    <a:pt x="576" y="906"/>
                  </a:lnTo>
                  <a:lnTo>
                    <a:pt x="576" y="909"/>
                  </a:lnTo>
                  <a:lnTo>
                    <a:pt x="577" y="909"/>
                  </a:lnTo>
                  <a:lnTo>
                    <a:pt x="583" y="911"/>
                  </a:lnTo>
                  <a:lnTo>
                    <a:pt x="587" y="911"/>
                  </a:lnTo>
                  <a:lnTo>
                    <a:pt x="588" y="912"/>
                  </a:lnTo>
                  <a:lnTo>
                    <a:pt x="591" y="915"/>
                  </a:lnTo>
                  <a:lnTo>
                    <a:pt x="591" y="917"/>
                  </a:lnTo>
                  <a:lnTo>
                    <a:pt x="593" y="919"/>
                  </a:lnTo>
                  <a:lnTo>
                    <a:pt x="593" y="917"/>
                  </a:lnTo>
                  <a:lnTo>
                    <a:pt x="594" y="917"/>
                  </a:lnTo>
                  <a:lnTo>
                    <a:pt x="596" y="919"/>
                  </a:lnTo>
                  <a:lnTo>
                    <a:pt x="599" y="920"/>
                  </a:lnTo>
                  <a:lnTo>
                    <a:pt x="602" y="922"/>
                  </a:lnTo>
                  <a:lnTo>
                    <a:pt x="607" y="926"/>
                  </a:lnTo>
                  <a:lnTo>
                    <a:pt x="610" y="931"/>
                  </a:lnTo>
                  <a:lnTo>
                    <a:pt x="610" y="934"/>
                  </a:lnTo>
                  <a:lnTo>
                    <a:pt x="610" y="936"/>
                  </a:lnTo>
                  <a:lnTo>
                    <a:pt x="610" y="937"/>
                  </a:lnTo>
                  <a:lnTo>
                    <a:pt x="612" y="940"/>
                  </a:lnTo>
                  <a:lnTo>
                    <a:pt x="612" y="939"/>
                  </a:lnTo>
                  <a:lnTo>
                    <a:pt x="613" y="940"/>
                  </a:lnTo>
                  <a:lnTo>
                    <a:pt x="613" y="942"/>
                  </a:lnTo>
                  <a:lnTo>
                    <a:pt x="613" y="942"/>
                  </a:lnTo>
                  <a:lnTo>
                    <a:pt x="618" y="942"/>
                  </a:lnTo>
                  <a:lnTo>
                    <a:pt x="623" y="942"/>
                  </a:lnTo>
                  <a:lnTo>
                    <a:pt x="633" y="940"/>
                  </a:lnTo>
                  <a:lnTo>
                    <a:pt x="638" y="940"/>
                  </a:lnTo>
                  <a:lnTo>
                    <a:pt x="643" y="940"/>
                  </a:lnTo>
                  <a:lnTo>
                    <a:pt x="648" y="939"/>
                  </a:lnTo>
                  <a:lnTo>
                    <a:pt x="654" y="939"/>
                  </a:lnTo>
                  <a:lnTo>
                    <a:pt x="655" y="939"/>
                  </a:lnTo>
                  <a:lnTo>
                    <a:pt x="655" y="939"/>
                  </a:lnTo>
                  <a:lnTo>
                    <a:pt x="654" y="942"/>
                  </a:lnTo>
                  <a:lnTo>
                    <a:pt x="654" y="944"/>
                  </a:lnTo>
                  <a:lnTo>
                    <a:pt x="669" y="950"/>
                  </a:lnTo>
                  <a:lnTo>
                    <a:pt x="679" y="953"/>
                  </a:lnTo>
                  <a:lnTo>
                    <a:pt x="694" y="959"/>
                  </a:lnTo>
                  <a:lnTo>
                    <a:pt x="704" y="961"/>
                  </a:lnTo>
                  <a:lnTo>
                    <a:pt x="712" y="964"/>
                  </a:lnTo>
                  <a:lnTo>
                    <a:pt x="719" y="967"/>
                  </a:lnTo>
                  <a:lnTo>
                    <a:pt x="732" y="967"/>
                  </a:lnTo>
                  <a:lnTo>
                    <a:pt x="738" y="967"/>
                  </a:lnTo>
                  <a:lnTo>
                    <a:pt x="763" y="967"/>
                  </a:lnTo>
                  <a:lnTo>
                    <a:pt x="770" y="967"/>
                  </a:lnTo>
                  <a:lnTo>
                    <a:pt x="770" y="962"/>
                  </a:lnTo>
                  <a:lnTo>
                    <a:pt x="770" y="961"/>
                  </a:lnTo>
                  <a:lnTo>
                    <a:pt x="770" y="958"/>
                  </a:lnTo>
                  <a:lnTo>
                    <a:pt x="774" y="958"/>
                  </a:lnTo>
                  <a:lnTo>
                    <a:pt x="777" y="958"/>
                  </a:lnTo>
                  <a:lnTo>
                    <a:pt x="785" y="958"/>
                  </a:lnTo>
                  <a:lnTo>
                    <a:pt x="788" y="958"/>
                  </a:lnTo>
                  <a:lnTo>
                    <a:pt x="796" y="958"/>
                  </a:lnTo>
                  <a:lnTo>
                    <a:pt x="801" y="958"/>
                  </a:lnTo>
                  <a:lnTo>
                    <a:pt x="801" y="958"/>
                  </a:lnTo>
                  <a:lnTo>
                    <a:pt x="801" y="959"/>
                  </a:lnTo>
                  <a:lnTo>
                    <a:pt x="801" y="959"/>
                  </a:lnTo>
                  <a:lnTo>
                    <a:pt x="802" y="961"/>
                  </a:lnTo>
                  <a:lnTo>
                    <a:pt x="804" y="962"/>
                  </a:lnTo>
                  <a:lnTo>
                    <a:pt x="805" y="965"/>
                  </a:lnTo>
                  <a:lnTo>
                    <a:pt x="809" y="965"/>
                  </a:lnTo>
                  <a:lnTo>
                    <a:pt x="809" y="965"/>
                  </a:lnTo>
                  <a:lnTo>
                    <a:pt x="812" y="969"/>
                  </a:lnTo>
                  <a:lnTo>
                    <a:pt x="816" y="975"/>
                  </a:lnTo>
                  <a:lnTo>
                    <a:pt x="821" y="978"/>
                  </a:lnTo>
                  <a:lnTo>
                    <a:pt x="824" y="980"/>
                  </a:lnTo>
                  <a:lnTo>
                    <a:pt x="826" y="981"/>
                  </a:lnTo>
                  <a:lnTo>
                    <a:pt x="826" y="981"/>
                  </a:lnTo>
                  <a:lnTo>
                    <a:pt x="827" y="983"/>
                  </a:lnTo>
                  <a:lnTo>
                    <a:pt x="829" y="986"/>
                  </a:lnTo>
                  <a:lnTo>
                    <a:pt x="832" y="992"/>
                  </a:lnTo>
                  <a:lnTo>
                    <a:pt x="832" y="995"/>
                  </a:lnTo>
                  <a:lnTo>
                    <a:pt x="832" y="997"/>
                  </a:lnTo>
                  <a:lnTo>
                    <a:pt x="835" y="1001"/>
                  </a:lnTo>
                  <a:lnTo>
                    <a:pt x="837" y="1003"/>
                  </a:lnTo>
                  <a:lnTo>
                    <a:pt x="838" y="1003"/>
                  </a:lnTo>
                  <a:lnTo>
                    <a:pt x="840" y="1005"/>
                  </a:lnTo>
                  <a:lnTo>
                    <a:pt x="840" y="1005"/>
                  </a:lnTo>
                  <a:lnTo>
                    <a:pt x="841" y="1006"/>
                  </a:lnTo>
                  <a:lnTo>
                    <a:pt x="843" y="1008"/>
                  </a:lnTo>
                  <a:lnTo>
                    <a:pt x="846" y="1009"/>
                  </a:lnTo>
                  <a:lnTo>
                    <a:pt x="849" y="1011"/>
                  </a:lnTo>
                  <a:lnTo>
                    <a:pt x="854" y="1012"/>
                  </a:lnTo>
                  <a:lnTo>
                    <a:pt x="857" y="1014"/>
                  </a:lnTo>
                  <a:lnTo>
                    <a:pt x="859" y="1014"/>
                  </a:lnTo>
                  <a:lnTo>
                    <a:pt x="860" y="1014"/>
                  </a:lnTo>
                  <a:lnTo>
                    <a:pt x="860" y="1012"/>
                  </a:lnTo>
                  <a:lnTo>
                    <a:pt x="862" y="1011"/>
                  </a:lnTo>
                  <a:lnTo>
                    <a:pt x="863" y="1011"/>
                  </a:lnTo>
                  <a:lnTo>
                    <a:pt x="863" y="1011"/>
                  </a:lnTo>
                  <a:lnTo>
                    <a:pt x="863" y="1009"/>
                  </a:lnTo>
                  <a:lnTo>
                    <a:pt x="863" y="1008"/>
                  </a:lnTo>
                  <a:lnTo>
                    <a:pt x="863" y="1006"/>
                  </a:lnTo>
                  <a:lnTo>
                    <a:pt x="866" y="1001"/>
                  </a:lnTo>
                  <a:lnTo>
                    <a:pt x="868" y="1000"/>
                  </a:lnTo>
                  <a:lnTo>
                    <a:pt x="870" y="998"/>
                  </a:lnTo>
                  <a:lnTo>
                    <a:pt x="871" y="998"/>
                  </a:lnTo>
                  <a:lnTo>
                    <a:pt x="871" y="998"/>
                  </a:lnTo>
                  <a:lnTo>
                    <a:pt x="873" y="997"/>
                  </a:lnTo>
                  <a:lnTo>
                    <a:pt x="873" y="997"/>
                  </a:lnTo>
                  <a:lnTo>
                    <a:pt x="874" y="997"/>
                  </a:lnTo>
                  <a:lnTo>
                    <a:pt x="876" y="998"/>
                  </a:lnTo>
                  <a:lnTo>
                    <a:pt x="876" y="998"/>
                  </a:lnTo>
                  <a:lnTo>
                    <a:pt x="879" y="998"/>
                  </a:lnTo>
                  <a:lnTo>
                    <a:pt x="884" y="998"/>
                  </a:lnTo>
                  <a:lnTo>
                    <a:pt x="884" y="998"/>
                  </a:lnTo>
                  <a:lnTo>
                    <a:pt x="885" y="998"/>
                  </a:lnTo>
                  <a:lnTo>
                    <a:pt x="887" y="998"/>
                  </a:lnTo>
                  <a:lnTo>
                    <a:pt x="887" y="998"/>
                  </a:lnTo>
                  <a:lnTo>
                    <a:pt x="887" y="998"/>
                  </a:lnTo>
                  <a:lnTo>
                    <a:pt x="887" y="998"/>
                  </a:lnTo>
                  <a:lnTo>
                    <a:pt x="888" y="998"/>
                  </a:lnTo>
                  <a:lnTo>
                    <a:pt x="890" y="1000"/>
                  </a:lnTo>
                  <a:lnTo>
                    <a:pt x="890" y="1000"/>
                  </a:lnTo>
                  <a:lnTo>
                    <a:pt x="891" y="1001"/>
                  </a:lnTo>
                  <a:lnTo>
                    <a:pt x="896" y="1005"/>
                  </a:lnTo>
                  <a:lnTo>
                    <a:pt x="896" y="1006"/>
                  </a:lnTo>
                  <a:lnTo>
                    <a:pt x="898" y="1008"/>
                  </a:lnTo>
                  <a:lnTo>
                    <a:pt x="901" y="1011"/>
                  </a:lnTo>
                  <a:lnTo>
                    <a:pt x="901" y="1011"/>
                  </a:lnTo>
                  <a:lnTo>
                    <a:pt x="902" y="1012"/>
                  </a:lnTo>
                  <a:lnTo>
                    <a:pt x="902" y="1016"/>
                  </a:lnTo>
                  <a:lnTo>
                    <a:pt x="904" y="1019"/>
                  </a:lnTo>
                  <a:lnTo>
                    <a:pt x="907" y="1022"/>
                  </a:lnTo>
                  <a:lnTo>
                    <a:pt x="907" y="1025"/>
                  </a:lnTo>
                  <a:lnTo>
                    <a:pt x="907" y="1025"/>
                  </a:lnTo>
                  <a:lnTo>
                    <a:pt x="907" y="1026"/>
                  </a:lnTo>
                  <a:lnTo>
                    <a:pt x="909" y="1028"/>
                  </a:lnTo>
                  <a:lnTo>
                    <a:pt x="910" y="1030"/>
                  </a:lnTo>
                  <a:lnTo>
                    <a:pt x="912" y="1031"/>
                  </a:lnTo>
                  <a:lnTo>
                    <a:pt x="912" y="1031"/>
                  </a:lnTo>
                  <a:lnTo>
                    <a:pt x="913" y="1033"/>
                  </a:lnTo>
                  <a:lnTo>
                    <a:pt x="915" y="1037"/>
                  </a:lnTo>
                  <a:lnTo>
                    <a:pt x="918" y="1039"/>
                  </a:lnTo>
                  <a:lnTo>
                    <a:pt x="921" y="1042"/>
                  </a:lnTo>
                  <a:lnTo>
                    <a:pt x="921" y="1042"/>
                  </a:lnTo>
                  <a:lnTo>
                    <a:pt x="923" y="1044"/>
                  </a:lnTo>
                  <a:lnTo>
                    <a:pt x="923" y="1045"/>
                  </a:lnTo>
                  <a:lnTo>
                    <a:pt x="923" y="1047"/>
                  </a:lnTo>
                  <a:lnTo>
                    <a:pt x="923" y="1047"/>
                  </a:lnTo>
                  <a:lnTo>
                    <a:pt x="923" y="1048"/>
                  </a:lnTo>
                  <a:lnTo>
                    <a:pt x="923" y="1050"/>
                  </a:lnTo>
                  <a:lnTo>
                    <a:pt x="923" y="1052"/>
                  </a:lnTo>
                  <a:lnTo>
                    <a:pt x="923" y="1053"/>
                  </a:lnTo>
                  <a:lnTo>
                    <a:pt x="923" y="1053"/>
                  </a:lnTo>
                  <a:lnTo>
                    <a:pt x="923" y="1053"/>
                  </a:lnTo>
                  <a:lnTo>
                    <a:pt x="926" y="1056"/>
                  </a:lnTo>
                  <a:lnTo>
                    <a:pt x="927" y="1059"/>
                  </a:lnTo>
                  <a:lnTo>
                    <a:pt x="927" y="1062"/>
                  </a:lnTo>
                  <a:lnTo>
                    <a:pt x="929" y="1062"/>
                  </a:lnTo>
                  <a:lnTo>
                    <a:pt x="929" y="1066"/>
                  </a:lnTo>
                  <a:lnTo>
                    <a:pt x="931" y="1066"/>
                  </a:lnTo>
                  <a:lnTo>
                    <a:pt x="934" y="1066"/>
                  </a:lnTo>
                  <a:lnTo>
                    <a:pt x="935" y="1067"/>
                  </a:lnTo>
                  <a:lnTo>
                    <a:pt x="935" y="1067"/>
                  </a:lnTo>
                  <a:lnTo>
                    <a:pt x="937" y="1069"/>
                  </a:lnTo>
                  <a:lnTo>
                    <a:pt x="938" y="1069"/>
                  </a:lnTo>
                  <a:lnTo>
                    <a:pt x="940" y="1069"/>
                  </a:lnTo>
                  <a:lnTo>
                    <a:pt x="941" y="1070"/>
                  </a:lnTo>
                  <a:lnTo>
                    <a:pt x="945" y="1072"/>
                  </a:lnTo>
                  <a:lnTo>
                    <a:pt x="948" y="1072"/>
                  </a:lnTo>
                  <a:lnTo>
                    <a:pt x="948" y="1072"/>
                  </a:lnTo>
                  <a:lnTo>
                    <a:pt x="952" y="1073"/>
                  </a:lnTo>
                  <a:lnTo>
                    <a:pt x="956" y="1073"/>
                  </a:lnTo>
                  <a:lnTo>
                    <a:pt x="959" y="1075"/>
                  </a:lnTo>
                  <a:lnTo>
                    <a:pt x="960" y="1077"/>
                  </a:lnTo>
                  <a:lnTo>
                    <a:pt x="960" y="1077"/>
                  </a:lnTo>
                  <a:lnTo>
                    <a:pt x="960" y="1077"/>
                  </a:lnTo>
                  <a:lnTo>
                    <a:pt x="960" y="1075"/>
                  </a:lnTo>
                  <a:lnTo>
                    <a:pt x="962" y="1075"/>
                  </a:lnTo>
                  <a:lnTo>
                    <a:pt x="963" y="1075"/>
                  </a:lnTo>
                  <a:lnTo>
                    <a:pt x="963" y="1073"/>
                  </a:lnTo>
                  <a:lnTo>
                    <a:pt x="963" y="1072"/>
                  </a:lnTo>
                  <a:lnTo>
                    <a:pt x="962" y="1072"/>
                  </a:lnTo>
                  <a:lnTo>
                    <a:pt x="959" y="1066"/>
                  </a:lnTo>
                  <a:lnTo>
                    <a:pt x="959" y="1064"/>
                  </a:lnTo>
                  <a:lnTo>
                    <a:pt x="959" y="1061"/>
                  </a:lnTo>
                  <a:lnTo>
                    <a:pt x="957" y="1059"/>
                  </a:lnTo>
                  <a:lnTo>
                    <a:pt x="957" y="1056"/>
                  </a:lnTo>
                  <a:lnTo>
                    <a:pt x="957" y="1055"/>
                  </a:lnTo>
                  <a:lnTo>
                    <a:pt x="957" y="1053"/>
                  </a:lnTo>
                  <a:lnTo>
                    <a:pt x="959" y="1052"/>
                  </a:lnTo>
                  <a:lnTo>
                    <a:pt x="959" y="1050"/>
                  </a:lnTo>
                  <a:lnTo>
                    <a:pt x="957" y="1050"/>
                  </a:lnTo>
                  <a:lnTo>
                    <a:pt x="954" y="1048"/>
                  </a:lnTo>
                  <a:lnTo>
                    <a:pt x="952" y="1045"/>
                  </a:lnTo>
                  <a:lnTo>
                    <a:pt x="954" y="1047"/>
                  </a:lnTo>
                  <a:lnTo>
                    <a:pt x="957" y="1048"/>
                  </a:lnTo>
                  <a:lnTo>
                    <a:pt x="959" y="1048"/>
                  </a:lnTo>
                  <a:lnTo>
                    <a:pt x="959" y="1048"/>
                  </a:lnTo>
                  <a:lnTo>
                    <a:pt x="960" y="1045"/>
                  </a:lnTo>
                  <a:lnTo>
                    <a:pt x="962" y="1041"/>
                  </a:lnTo>
                  <a:lnTo>
                    <a:pt x="959" y="1037"/>
                  </a:lnTo>
                  <a:lnTo>
                    <a:pt x="959" y="1037"/>
                  </a:lnTo>
                  <a:lnTo>
                    <a:pt x="960" y="1037"/>
                  </a:lnTo>
                  <a:lnTo>
                    <a:pt x="962" y="1037"/>
                  </a:lnTo>
                  <a:lnTo>
                    <a:pt x="963" y="1037"/>
                  </a:lnTo>
                  <a:lnTo>
                    <a:pt x="965" y="1034"/>
                  </a:lnTo>
                  <a:lnTo>
                    <a:pt x="967" y="1033"/>
                  </a:lnTo>
                  <a:lnTo>
                    <a:pt x="963" y="1033"/>
                  </a:lnTo>
                  <a:lnTo>
                    <a:pt x="963" y="1033"/>
                  </a:lnTo>
                  <a:lnTo>
                    <a:pt x="963" y="1031"/>
                  </a:lnTo>
                  <a:lnTo>
                    <a:pt x="965" y="1031"/>
                  </a:lnTo>
                  <a:lnTo>
                    <a:pt x="967" y="1031"/>
                  </a:lnTo>
                  <a:lnTo>
                    <a:pt x="967" y="1031"/>
                  </a:lnTo>
                  <a:lnTo>
                    <a:pt x="968" y="1030"/>
                  </a:lnTo>
                  <a:lnTo>
                    <a:pt x="968" y="1031"/>
                  </a:lnTo>
                  <a:lnTo>
                    <a:pt x="968" y="1031"/>
                  </a:lnTo>
                  <a:lnTo>
                    <a:pt x="970" y="1031"/>
                  </a:lnTo>
                  <a:lnTo>
                    <a:pt x="970" y="1030"/>
                  </a:lnTo>
                  <a:lnTo>
                    <a:pt x="970" y="1028"/>
                  </a:lnTo>
                  <a:lnTo>
                    <a:pt x="970" y="1026"/>
                  </a:lnTo>
                  <a:lnTo>
                    <a:pt x="973" y="1028"/>
                  </a:lnTo>
                  <a:lnTo>
                    <a:pt x="974" y="1026"/>
                  </a:lnTo>
                  <a:lnTo>
                    <a:pt x="976" y="1026"/>
                  </a:lnTo>
                  <a:lnTo>
                    <a:pt x="976" y="1025"/>
                  </a:lnTo>
                  <a:lnTo>
                    <a:pt x="976" y="1025"/>
                  </a:lnTo>
                  <a:lnTo>
                    <a:pt x="974" y="1025"/>
                  </a:lnTo>
                  <a:lnTo>
                    <a:pt x="973" y="1020"/>
                  </a:lnTo>
                  <a:lnTo>
                    <a:pt x="973" y="1020"/>
                  </a:lnTo>
                  <a:lnTo>
                    <a:pt x="974" y="1020"/>
                  </a:lnTo>
                  <a:lnTo>
                    <a:pt x="974" y="1020"/>
                  </a:lnTo>
                  <a:lnTo>
                    <a:pt x="974" y="1022"/>
                  </a:lnTo>
                  <a:lnTo>
                    <a:pt x="976" y="1023"/>
                  </a:lnTo>
                  <a:lnTo>
                    <a:pt x="977" y="1022"/>
                  </a:lnTo>
                  <a:lnTo>
                    <a:pt x="977" y="1022"/>
                  </a:lnTo>
                  <a:lnTo>
                    <a:pt x="979" y="1022"/>
                  </a:lnTo>
                  <a:lnTo>
                    <a:pt x="982" y="1022"/>
                  </a:lnTo>
                  <a:lnTo>
                    <a:pt x="984" y="1022"/>
                  </a:lnTo>
                  <a:lnTo>
                    <a:pt x="982" y="1023"/>
                  </a:lnTo>
                  <a:lnTo>
                    <a:pt x="979" y="1025"/>
                  </a:lnTo>
                  <a:lnTo>
                    <a:pt x="981" y="1025"/>
                  </a:lnTo>
                  <a:lnTo>
                    <a:pt x="984" y="1023"/>
                  </a:lnTo>
                  <a:lnTo>
                    <a:pt x="987" y="1022"/>
                  </a:lnTo>
                  <a:lnTo>
                    <a:pt x="988" y="1020"/>
                  </a:lnTo>
                  <a:lnTo>
                    <a:pt x="990" y="1020"/>
                  </a:lnTo>
                  <a:lnTo>
                    <a:pt x="995" y="1017"/>
                  </a:lnTo>
                  <a:lnTo>
                    <a:pt x="996" y="1016"/>
                  </a:lnTo>
                  <a:lnTo>
                    <a:pt x="999" y="1012"/>
                  </a:lnTo>
                  <a:lnTo>
                    <a:pt x="999" y="1011"/>
                  </a:lnTo>
                  <a:lnTo>
                    <a:pt x="1001" y="1009"/>
                  </a:lnTo>
                  <a:lnTo>
                    <a:pt x="1004" y="1008"/>
                  </a:lnTo>
                  <a:lnTo>
                    <a:pt x="1002" y="1005"/>
                  </a:lnTo>
                  <a:lnTo>
                    <a:pt x="1001" y="1005"/>
                  </a:lnTo>
                  <a:lnTo>
                    <a:pt x="1001" y="1000"/>
                  </a:lnTo>
                  <a:lnTo>
                    <a:pt x="1002" y="1000"/>
                  </a:lnTo>
                  <a:lnTo>
                    <a:pt x="1002" y="1001"/>
                  </a:lnTo>
                  <a:lnTo>
                    <a:pt x="1004" y="1001"/>
                  </a:lnTo>
                  <a:lnTo>
                    <a:pt x="1004" y="1000"/>
                  </a:lnTo>
                  <a:lnTo>
                    <a:pt x="1006" y="1000"/>
                  </a:lnTo>
                  <a:lnTo>
                    <a:pt x="1006" y="1001"/>
                  </a:lnTo>
                  <a:lnTo>
                    <a:pt x="1006" y="1003"/>
                  </a:lnTo>
                  <a:lnTo>
                    <a:pt x="1006" y="1003"/>
                  </a:lnTo>
                  <a:lnTo>
                    <a:pt x="1009" y="1003"/>
                  </a:lnTo>
                  <a:lnTo>
                    <a:pt x="1010" y="1003"/>
                  </a:lnTo>
                  <a:lnTo>
                    <a:pt x="1006" y="1006"/>
                  </a:lnTo>
                  <a:lnTo>
                    <a:pt x="1006" y="1006"/>
                  </a:lnTo>
                  <a:lnTo>
                    <a:pt x="1009" y="1005"/>
                  </a:lnTo>
                  <a:lnTo>
                    <a:pt x="1017" y="1001"/>
                  </a:lnTo>
                  <a:lnTo>
                    <a:pt x="1021" y="1001"/>
                  </a:lnTo>
                  <a:lnTo>
                    <a:pt x="1021" y="1000"/>
                  </a:lnTo>
                  <a:lnTo>
                    <a:pt x="1020" y="998"/>
                  </a:lnTo>
                  <a:lnTo>
                    <a:pt x="1021" y="995"/>
                  </a:lnTo>
                  <a:lnTo>
                    <a:pt x="1023" y="995"/>
                  </a:lnTo>
                  <a:lnTo>
                    <a:pt x="1023" y="995"/>
                  </a:lnTo>
                  <a:lnTo>
                    <a:pt x="1023" y="997"/>
                  </a:lnTo>
                  <a:lnTo>
                    <a:pt x="1023" y="997"/>
                  </a:lnTo>
                  <a:lnTo>
                    <a:pt x="1021" y="998"/>
                  </a:lnTo>
                  <a:lnTo>
                    <a:pt x="1021" y="998"/>
                  </a:lnTo>
                  <a:lnTo>
                    <a:pt x="1021" y="1000"/>
                  </a:lnTo>
                  <a:lnTo>
                    <a:pt x="1023" y="1000"/>
                  </a:lnTo>
                  <a:lnTo>
                    <a:pt x="1023" y="1000"/>
                  </a:lnTo>
                  <a:lnTo>
                    <a:pt x="1024" y="998"/>
                  </a:lnTo>
                  <a:lnTo>
                    <a:pt x="1029" y="998"/>
                  </a:lnTo>
                  <a:lnTo>
                    <a:pt x="1032" y="998"/>
                  </a:lnTo>
                  <a:lnTo>
                    <a:pt x="1034" y="998"/>
                  </a:lnTo>
                  <a:lnTo>
                    <a:pt x="1037" y="1000"/>
                  </a:lnTo>
                  <a:lnTo>
                    <a:pt x="1040" y="1001"/>
                  </a:lnTo>
                  <a:lnTo>
                    <a:pt x="1042" y="1003"/>
                  </a:lnTo>
                  <a:lnTo>
                    <a:pt x="1049" y="1003"/>
                  </a:lnTo>
                  <a:lnTo>
                    <a:pt x="1053" y="1003"/>
                  </a:lnTo>
                  <a:lnTo>
                    <a:pt x="1053" y="1001"/>
                  </a:lnTo>
                  <a:lnTo>
                    <a:pt x="1053" y="1001"/>
                  </a:lnTo>
                  <a:lnTo>
                    <a:pt x="1051" y="1000"/>
                  </a:lnTo>
                  <a:lnTo>
                    <a:pt x="1053" y="1000"/>
                  </a:lnTo>
                  <a:lnTo>
                    <a:pt x="1054" y="998"/>
                  </a:lnTo>
                  <a:lnTo>
                    <a:pt x="1056" y="998"/>
                  </a:lnTo>
                  <a:lnTo>
                    <a:pt x="1057" y="1000"/>
                  </a:lnTo>
                  <a:lnTo>
                    <a:pt x="1060" y="1000"/>
                  </a:lnTo>
                  <a:lnTo>
                    <a:pt x="1062" y="1003"/>
                  </a:lnTo>
                  <a:lnTo>
                    <a:pt x="1062" y="1003"/>
                  </a:lnTo>
                  <a:lnTo>
                    <a:pt x="1067" y="1005"/>
                  </a:lnTo>
                  <a:lnTo>
                    <a:pt x="1067" y="1003"/>
                  </a:lnTo>
                  <a:lnTo>
                    <a:pt x="1067" y="1003"/>
                  </a:lnTo>
                  <a:lnTo>
                    <a:pt x="1067" y="1005"/>
                  </a:lnTo>
                  <a:lnTo>
                    <a:pt x="1067" y="1005"/>
                  </a:lnTo>
                  <a:lnTo>
                    <a:pt x="1068" y="1008"/>
                  </a:lnTo>
                  <a:lnTo>
                    <a:pt x="1070" y="1008"/>
                  </a:lnTo>
                  <a:lnTo>
                    <a:pt x="1068" y="1008"/>
                  </a:lnTo>
                  <a:lnTo>
                    <a:pt x="1067" y="1008"/>
                  </a:lnTo>
                  <a:lnTo>
                    <a:pt x="1067" y="1009"/>
                  </a:lnTo>
                  <a:lnTo>
                    <a:pt x="1071" y="1011"/>
                  </a:lnTo>
                  <a:lnTo>
                    <a:pt x="1076" y="1012"/>
                  </a:lnTo>
                  <a:lnTo>
                    <a:pt x="1078" y="1011"/>
                  </a:lnTo>
                  <a:lnTo>
                    <a:pt x="1079" y="1009"/>
                  </a:lnTo>
                  <a:lnTo>
                    <a:pt x="1081" y="1009"/>
                  </a:lnTo>
                  <a:lnTo>
                    <a:pt x="1082" y="1009"/>
                  </a:lnTo>
                  <a:lnTo>
                    <a:pt x="1084" y="1009"/>
                  </a:lnTo>
                  <a:lnTo>
                    <a:pt x="1085" y="1012"/>
                  </a:lnTo>
                  <a:lnTo>
                    <a:pt x="1085" y="1012"/>
                  </a:lnTo>
                  <a:lnTo>
                    <a:pt x="1087" y="1012"/>
                  </a:lnTo>
                  <a:lnTo>
                    <a:pt x="1087" y="1011"/>
                  </a:lnTo>
                  <a:lnTo>
                    <a:pt x="1088" y="1009"/>
                  </a:lnTo>
                  <a:lnTo>
                    <a:pt x="1088" y="1009"/>
                  </a:lnTo>
                  <a:lnTo>
                    <a:pt x="1088" y="1008"/>
                  </a:lnTo>
                  <a:lnTo>
                    <a:pt x="1088" y="1006"/>
                  </a:lnTo>
                  <a:lnTo>
                    <a:pt x="1087" y="1005"/>
                  </a:lnTo>
                  <a:lnTo>
                    <a:pt x="1087" y="1005"/>
                  </a:lnTo>
                  <a:lnTo>
                    <a:pt x="1087" y="1005"/>
                  </a:lnTo>
                  <a:lnTo>
                    <a:pt x="1087" y="1003"/>
                  </a:lnTo>
                  <a:lnTo>
                    <a:pt x="1092" y="1005"/>
                  </a:lnTo>
                  <a:lnTo>
                    <a:pt x="1092" y="1006"/>
                  </a:lnTo>
                  <a:lnTo>
                    <a:pt x="1093" y="1006"/>
                  </a:lnTo>
                  <a:lnTo>
                    <a:pt x="1093" y="1008"/>
                  </a:lnTo>
                  <a:lnTo>
                    <a:pt x="1095" y="1008"/>
                  </a:lnTo>
                  <a:lnTo>
                    <a:pt x="1095" y="1008"/>
                  </a:lnTo>
                  <a:lnTo>
                    <a:pt x="1096" y="1008"/>
                  </a:lnTo>
                  <a:lnTo>
                    <a:pt x="1096" y="1009"/>
                  </a:lnTo>
                  <a:lnTo>
                    <a:pt x="1098" y="1009"/>
                  </a:lnTo>
                  <a:lnTo>
                    <a:pt x="1099" y="1011"/>
                  </a:lnTo>
                  <a:lnTo>
                    <a:pt x="1099" y="1012"/>
                  </a:lnTo>
                  <a:lnTo>
                    <a:pt x="1101" y="1012"/>
                  </a:lnTo>
                  <a:lnTo>
                    <a:pt x="1099" y="1016"/>
                  </a:lnTo>
                  <a:lnTo>
                    <a:pt x="1101" y="1014"/>
                  </a:lnTo>
                  <a:lnTo>
                    <a:pt x="1103" y="1012"/>
                  </a:lnTo>
                  <a:lnTo>
                    <a:pt x="1103" y="1014"/>
                  </a:lnTo>
                  <a:lnTo>
                    <a:pt x="1104" y="1014"/>
                  </a:lnTo>
                  <a:lnTo>
                    <a:pt x="1104" y="1014"/>
                  </a:lnTo>
                  <a:lnTo>
                    <a:pt x="1104" y="1012"/>
                  </a:lnTo>
                  <a:lnTo>
                    <a:pt x="1106" y="1012"/>
                  </a:lnTo>
                  <a:lnTo>
                    <a:pt x="1107" y="1011"/>
                  </a:lnTo>
                  <a:lnTo>
                    <a:pt x="1106" y="1011"/>
                  </a:lnTo>
                  <a:lnTo>
                    <a:pt x="1104" y="1009"/>
                  </a:lnTo>
                  <a:lnTo>
                    <a:pt x="1104" y="1008"/>
                  </a:lnTo>
                  <a:lnTo>
                    <a:pt x="1103" y="1008"/>
                  </a:lnTo>
                  <a:lnTo>
                    <a:pt x="1098" y="1006"/>
                  </a:lnTo>
                  <a:lnTo>
                    <a:pt x="1096" y="1005"/>
                  </a:lnTo>
                  <a:lnTo>
                    <a:pt x="1095" y="1003"/>
                  </a:lnTo>
                  <a:lnTo>
                    <a:pt x="1095" y="1001"/>
                  </a:lnTo>
                  <a:lnTo>
                    <a:pt x="1095" y="1001"/>
                  </a:lnTo>
                  <a:lnTo>
                    <a:pt x="1095" y="1001"/>
                  </a:lnTo>
                  <a:lnTo>
                    <a:pt x="1095" y="1001"/>
                  </a:lnTo>
                  <a:lnTo>
                    <a:pt x="1096" y="1001"/>
                  </a:lnTo>
                  <a:lnTo>
                    <a:pt x="1096" y="1000"/>
                  </a:lnTo>
                  <a:lnTo>
                    <a:pt x="1096" y="1000"/>
                  </a:lnTo>
                  <a:lnTo>
                    <a:pt x="1098" y="998"/>
                  </a:lnTo>
                  <a:lnTo>
                    <a:pt x="1099" y="998"/>
                  </a:lnTo>
                  <a:lnTo>
                    <a:pt x="1101" y="998"/>
                  </a:lnTo>
                  <a:lnTo>
                    <a:pt x="1101" y="998"/>
                  </a:lnTo>
                  <a:lnTo>
                    <a:pt x="1101" y="997"/>
                  </a:lnTo>
                  <a:lnTo>
                    <a:pt x="1099" y="995"/>
                  </a:lnTo>
                  <a:lnTo>
                    <a:pt x="1099" y="994"/>
                  </a:lnTo>
                  <a:lnTo>
                    <a:pt x="1099" y="994"/>
                  </a:lnTo>
                  <a:lnTo>
                    <a:pt x="1098" y="994"/>
                  </a:lnTo>
                  <a:lnTo>
                    <a:pt x="1096" y="994"/>
                  </a:lnTo>
                  <a:lnTo>
                    <a:pt x="1096" y="997"/>
                  </a:lnTo>
                  <a:lnTo>
                    <a:pt x="1096" y="997"/>
                  </a:lnTo>
                  <a:lnTo>
                    <a:pt x="1093" y="995"/>
                  </a:lnTo>
                  <a:lnTo>
                    <a:pt x="1093" y="994"/>
                  </a:lnTo>
                  <a:lnTo>
                    <a:pt x="1093" y="994"/>
                  </a:lnTo>
                  <a:lnTo>
                    <a:pt x="1095" y="994"/>
                  </a:lnTo>
                  <a:lnTo>
                    <a:pt x="1095" y="992"/>
                  </a:lnTo>
                  <a:lnTo>
                    <a:pt x="1095" y="992"/>
                  </a:lnTo>
                  <a:lnTo>
                    <a:pt x="1093" y="990"/>
                  </a:lnTo>
                  <a:lnTo>
                    <a:pt x="1093" y="992"/>
                  </a:lnTo>
                  <a:lnTo>
                    <a:pt x="1093" y="992"/>
                  </a:lnTo>
                  <a:lnTo>
                    <a:pt x="1092" y="992"/>
                  </a:lnTo>
                  <a:lnTo>
                    <a:pt x="1090" y="994"/>
                  </a:lnTo>
                  <a:lnTo>
                    <a:pt x="1087" y="994"/>
                  </a:lnTo>
                  <a:lnTo>
                    <a:pt x="1084" y="994"/>
                  </a:lnTo>
                  <a:lnTo>
                    <a:pt x="1082" y="992"/>
                  </a:lnTo>
                  <a:lnTo>
                    <a:pt x="1084" y="989"/>
                  </a:lnTo>
                  <a:lnTo>
                    <a:pt x="1085" y="987"/>
                  </a:lnTo>
                  <a:lnTo>
                    <a:pt x="1087" y="987"/>
                  </a:lnTo>
                  <a:lnTo>
                    <a:pt x="1088" y="987"/>
                  </a:lnTo>
                  <a:lnTo>
                    <a:pt x="1090" y="989"/>
                  </a:lnTo>
                  <a:lnTo>
                    <a:pt x="1096" y="990"/>
                  </a:lnTo>
                  <a:lnTo>
                    <a:pt x="1099" y="990"/>
                  </a:lnTo>
                  <a:lnTo>
                    <a:pt x="1101" y="987"/>
                  </a:lnTo>
                  <a:lnTo>
                    <a:pt x="1103" y="987"/>
                  </a:lnTo>
                  <a:lnTo>
                    <a:pt x="1103" y="987"/>
                  </a:lnTo>
                  <a:lnTo>
                    <a:pt x="1106" y="987"/>
                  </a:lnTo>
                  <a:lnTo>
                    <a:pt x="1109" y="986"/>
                  </a:lnTo>
                  <a:lnTo>
                    <a:pt x="1109" y="986"/>
                  </a:lnTo>
                  <a:lnTo>
                    <a:pt x="1110" y="986"/>
                  </a:lnTo>
                  <a:lnTo>
                    <a:pt x="1112" y="987"/>
                  </a:lnTo>
                  <a:lnTo>
                    <a:pt x="1118" y="987"/>
                  </a:lnTo>
                  <a:lnTo>
                    <a:pt x="1120" y="987"/>
                  </a:lnTo>
                  <a:lnTo>
                    <a:pt x="1121" y="987"/>
                  </a:lnTo>
                  <a:lnTo>
                    <a:pt x="1123" y="986"/>
                  </a:lnTo>
                  <a:lnTo>
                    <a:pt x="1123" y="983"/>
                  </a:lnTo>
                  <a:lnTo>
                    <a:pt x="1124" y="981"/>
                  </a:lnTo>
                  <a:lnTo>
                    <a:pt x="1124" y="981"/>
                  </a:lnTo>
                  <a:lnTo>
                    <a:pt x="1124" y="981"/>
                  </a:lnTo>
                  <a:lnTo>
                    <a:pt x="1126" y="983"/>
                  </a:lnTo>
                  <a:lnTo>
                    <a:pt x="1126" y="986"/>
                  </a:lnTo>
                  <a:lnTo>
                    <a:pt x="1126" y="986"/>
                  </a:lnTo>
                  <a:lnTo>
                    <a:pt x="1128" y="986"/>
                  </a:lnTo>
                  <a:lnTo>
                    <a:pt x="1128" y="987"/>
                  </a:lnTo>
                  <a:lnTo>
                    <a:pt x="1128" y="989"/>
                  </a:lnTo>
                  <a:lnTo>
                    <a:pt x="1126" y="989"/>
                  </a:lnTo>
                  <a:lnTo>
                    <a:pt x="1124" y="989"/>
                  </a:lnTo>
                  <a:lnTo>
                    <a:pt x="1124" y="990"/>
                  </a:lnTo>
                  <a:lnTo>
                    <a:pt x="1131" y="989"/>
                  </a:lnTo>
                  <a:lnTo>
                    <a:pt x="1132" y="987"/>
                  </a:lnTo>
                  <a:lnTo>
                    <a:pt x="1134" y="986"/>
                  </a:lnTo>
                  <a:lnTo>
                    <a:pt x="1134" y="987"/>
                  </a:lnTo>
                  <a:lnTo>
                    <a:pt x="1134" y="989"/>
                  </a:lnTo>
                  <a:lnTo>
                    <a:pt x="1134" y="989"/>
                  </a:lnTo>
                  <a:lnTo>
                    <a:pt x="1137" y="987"/>
                  </a:lnTo>
                  <a:lnTo>
                    <a:pt x="1137" y="986"/>
                  </a:lnTo>
                  <a:lnTo>
                    <a:pt x="1139" y="986"/>
                  </a:lnTo>
                  <a:lnTo>
                    <a:pt x="1139" y="984"/>
                  </a:lnTo>
                  <a:lnTo>
                    <a:pt x="1140" y="984"/>
                  </a:lnTo>
                  <a:lnTo>
                    <a:pt x="1140" y="984"/>
                  </a:lnTo>
                  <a:lnTo>
                    <a:pt x="1142" y="983"/>
                  </a:lnTo>
                  <a:lnTo>
                    <a:pt x="1142" y="983"/>
                  </a:lnTo>
                  <a:lnTo>
                    <a:pt x="1143" y="984"/>
                  </a:lnTo>
                  <a:lnTo>
                    <a:pt x="1142" y="986"/>
                  </a:lnTo>
                  <a:lnTo>
                    <a:pt x="1140" y="986"/>
                  </a:lnTo>
                  <a:lnTo>
                    <a:pt x="1139" y="987"/>
                  </a:lnTo>
                  <a:lnTo>
                    <a:pt x="1139" y="987"/>
                  </a:lnTo>
                  <a:lnTo>
                    <a:pt x="1143" y="987"/>
                  </a:lnTo>
                  <a:lnTo>
                    <a:pt x="1148" y="986"/>
                  </a:lnTo>
                  <a:lnTo>
                    <a:pt x="1149" y="986"/>
                  </a:lnTo>
                  <a:lnTo>
                    <a:pt x="1151" y="984"/>
                  </a:lnTo>
                  <a:lnTo>
                    <a:pt x="1151" y="984"/>
                  </a:lnTo>
                  <a:lnTo>
                    <a:pt x="1153" y="984"/>
                  </a:lnTo>
                  <a:lnTo>
                    <a:pt x="1154" y="984"/>
                  </a:lnTo>
                  <a:lnTo>
                    <a:pt x="1157" y="986"/>
                  </a:lnTo>
                  <a:lnTo>
                    <a:pt x="1157" y="986"/>
                  </a:lnTo>
                  <a:lnTo>
                    <a:pt x="1157" y="986"/>
                  </a:lnTo>
                  <a:lnTo>
                    <a:pt x="1156" y="986"/>
                  </a:lnTo>
                  <a:lnTo>
                    <a:pt x="1151" y="986"/>
                  </a:lnTo>
                  <a:lnTo>
                    <a:pt x="1156" y="987"/>
                  </a:lnTo>
                  <a:lnTo>
                    <a:pt x="1162" y="990"/>
                  </a:lnTo>
                  <a:lnTo>
                    <a:pt x="1164" y="990"/>
                  </a:lnTo>
                  <a:lnTo>
                    <a:pt x="1164" y="990"/>
                  </a:lnTo>
                  <a:lnTo>
                    <a:pt x="1164" y="990"/>
                  </a:lnTo>
                  <a:lnTo>
                    <a:pt x="1164" y="989"/>
                  </a:lnTo>
                  <a:lnTo>
                    <a:pt x="1165" y="989"/>
                  </a:lnTo>
                  <a:lnTo>
                    <a:pt x="1167" y="989"/>
                  </a:lnTo>
                  <a:lnTo>
                    <a:pt x="1165" y="989"/>
                  </a:lnTo>
                  <a:lnTo>
                    <a:pt x="1165" y="990"/>
                  </a:lnTo>
                  <a:lnTo>
                    <a:pt x="1167" y="992"/>
                  </a:lnTo>
                  <a:lnTo>
                    <a:pt x="1167" y="992"/>
                  </a:lnTo>
                  <a:lnTo>
                    <a:pt x="1165" y="992"/>
                  </a:lnTo>
                  <a:lnTo>
                    <a:pt x="1168" y="995"/>
                  </a:lnTo>
                  <a:lnTo>
                    <a:pt x="1171" y="997"/>
                  </a:lnTo>
                  <a:lnTo>
                    <a:pt x="1171" y="998"/>
                  </a:lnTo>
                  <a:lnTo>
                    <a:pt x="1171" y="1000"/>
                  </a:lnTo>
                  <a:lnTo>
                    <a:pt x="1171" y="1000"/>
                  </a:lnTo>
                  <a:lnTo>
                    <a:pt x="1170" y="998"/>
                  </a:lnTo>
                  <a:lnTo>
                    <a:pt x="1170" y="998"/>
                  </a:lnTo>
                  <a:lnTo>
                    <a:pt x="1170" y="1000"/>
                  </a:lnTo>
                  <a:lnTo>
                    <a:pt x="1170" y="1000"/>
                  </a:lnTo>
                  <a:lnTo>
                    <a:pt x="1171" y="1001"/>
                  </a:lnTo>
                  <a:lnTo>
                    <a:pt x="1174" y="1000"/>
                  </a:lnTo>
                  <a:lnTo>
                    <a:pt x="1176" y="1000"/>
                  </a:lnTo>
                  <a:lnTo>
                    <a:pt x="1178" y="1000"/>
                  </a:lnTo>
                  <a:lnTo>
                    <a:pt x="1179" y="998"/>
                  </a:lnTo>
                  <a:lnTo>
                    <a:pt x="1181" y="998"/>
                  </a:lnTo>
                  <a:lnTo>
                    <a:pt x="1185" y="997"/>
                  </a:lnTo>
                  <a:lnTo>
                    <a:pt x="1187" y="997"/>
                  </a:lnTo>
                  <a:lnTo>
                    <a:pt x="1189" y="997"/>
                  </a:lnTo>
                  <a:lnTo>
                    <a:pt x="1189" y="995"/>
                  </a:lnTo>
                  <a:lnTo>
                    <a:pt x="1189" y="995"/>
                  </a:lnTo>
                  <a:lnTo>
                    <a:pt x="1189" y="994"/>
                  </a:lnTo>
                  <a:lnTo>
                    <a:pt x="1189" y="994"/>
                  </a:lnTo>
                  <a:lnTo>
                    <a:pt x="1193" y="992"/>
                  </a:lnTo>
                  <a:lnTo>
                    <a:pt x="1199" y="995"/>
                  </a:lnTo>
                  <a:lnTo>
                    <a:pt x="1207" y="1006"/>
                  </a:lnTo>
                  <a:lnTo>
                    <a:pt x="1217" y="1014"/>
                  </a:lnTo>
                  <a:lnTo>
                    <a:pt x="1218" y="1017"/>
                  </a:lnTo>
                  <a:lnTo>
                    <a:pt x="1218" y="1019"/>
                  </a:lnTo>
                  <a:lnTo>
                    <a:pt x="1218" y="1019"/>
                  </a:lnTo>
                  <a:lnTo>
                    <a:pt x="1218" y="1025"/>
                  </a:lnTo>
                  <a:lnTo>
                    <a:pt x="1217" y="1030"/>
                  </a:lnTo>
                  <a:lnTo>
                    <a:pt x="1215" y="1037"/>
                  </a:lnTo>
                  <a:lnTo>
                    <a:pt x="1215" y="1039"/>
                  </a:lnTo>
                  <a:lnTo>
                    <a:pt x="1217" y="1039"/>
                  </a:lnTo>
                  <a:lnTo>
                    <a:pt x="1217" y="1041"/>
                  </a:lnTo>
                  <a:lnTo>
                    <a:pt x="1217" y="1039"/>
                  </a:lnTo>
                  <a:lnTo>
                    <a:pt x="1218" y="1041"/>
                  </a:lnTo>
                  <a:lnTo>
                    <a:pt x="1218" y="1039"/>
                  </a:lnTo>
                  <a:lnTo>
                    <a:pt x="1218" y="1039"/>
                  </a:lnTo>
                  <a:lnTo>
                    <a:pt x="1220" y="1037"/>
                  </a:lnTo>
                  <a:lnTo>
                    <a:pt x="1218" y="1036"/>
                  </a:lnTo>
                  <a:lnTo>
                    <a:pt x="1218" y="1036"/>
                  </a:lnTo>
                  <a:lnTo>
                    <a:pt x="1218" y="1034"/>
                  </a:lnTo>
                  <a:lnTo>
                    <a:pt x="1220" y="1036"/>
                  </a:lnTo>
                  <a:lnTo>
                    <a:pt x="1220" y="1037"/>
                  </a:lnTo>
                  <a:lnTo>
                    <a:pt x="1221" y="1037"/>
                  </a:lnTo>
                  <a:lnTo>
                    <a:pt x="1221" y="1036"/>
                  </a:lnTo>
                  <a:lnTo>
                    <a:pt x="1223" y="1037"/>
                  </a:lnTo>
                  <a:lnTo>
                    <a:pt x="1223" y="1037"/>
                  </a:lnTo>
                  <a:lnTo>
                    <a:pt x="1221" y="1039"/>
                  </a:lnTo>
                  <a:lnTo>
                    <a:pt x="1220" y="1041"/>
                  </a:lnTo>
                  <a:lnTo>
                    <a:pt x="1218" y="1044"/>
                  </a:lnTo>
                  <a:lnTo>
                    <a:pt x="1218" y="1044"/>
                  </a:lnTo>
                  <a:lnTo>
                    <a:pt x="1217" y="1044"/>
                  </a:lnTo>
                  <a:lnTo>
                    <a:pt x="1218" y="1045"/>
                  </a:lnTo>
                  <a:lnTo>
                    <a:pt x="1218" y="1047"/>
                  </a:lnTo>
                  <a:lnTo>
                    <a:pt x="1221" y="1053"/>
                  </a:lnTo>
                  <a:lnTo>
                    <a:pt x="1223" y="1055"/>
                  </a:lnTo>
                  <a:lnTo>
                    <a:pt x="1224" y="1056"/>
                  </a:lnTo>
                  <a:lnTo>
                    <a:pt x="1226" y="1058"/>
                  </a:lnTo>
                  <a:lnTo>
                    <a:pt x="1226" y="1058"/>
                  </a:lnTo>
                  <a:lnTo>
                    <a:pt x="1226" y="1056"/>
                  </a:lnTo>
                  <a:lnTo>
                    <a:pt x="1226" y="1055"/>
                  </a:lnTo>
                  <a:lnTo>
                    <a:pt x="1228" y="1055"/>
                  </a:lnTo>
                  <a:lnTo>
                    <a:pt x="1229" y="1055"/>
                  </a:lnTo>
                  <a:lnTo>
                    <a:pt x="1229" y="1056"/>
                  </a:lnTo>
                  <a:lnTo>
                    <a:pt x="1228" y="1059"/>
                  </a:lnTo>
                  <a:lnTo>
                    <a:pt x="1229" y="1062"/>
                  </a:lnTo>
                  <a:lnTo>
                    <a:pt x="1229" y="1062"/>
                  </a:lnTo>
                  <a:lnTo>
                    <a:pt x="1231" y="1062"/>
                  </a:lnTo>
                  <a:lnTo>
                    <a:pt x="1231" y="1061"/>
                  </a:lnTo>
                  <a:lnTo>
                    <a:pt x="1232" y="1061"/>
                  </a:lnTo>
                  <a:lnTo>
                    <a:pt x="1232" y="1061"/>
                  </a:lnTo>
                  <a:lnTo>
                    <a:pt x="1231" y="1062"/>
                  </a:lnTo>
                  <a:lnTo>
                    <a:pt x="1231" y="1064"/>
                  </a:lnTo>
                  <a:lnTo>
                    <a:pt x="1231" y="1064"/>
                  </a:lnTo>
                  <a:lnTo>
                    <a:pt x="1232" y="1066"/>
                  </a:lnTo>
                  <a:lnTo>
                    <a:pt x="1232" y="1070"/>
                  </a:lnTo>
                  <a:lnTo>
                    <a:pt x="1234" y="1073"/>
                  </a:lnTo>
                  <a:lnTo>
                    <a:pt x="1237" y="1075"/>
                  </a:lnTo>
                  <a:lnTo>
                    <a:pt x="1240" y="1077"/>
                  </a:lnTo>
                  <a:lnTo>
                    <a:pt x="1242" y="1078"/>
                  </a:lnTo>
                  <a:lnTo>
                    <a:pt x="1243" y="1081"/>
                  </a:lnTo>
                  <a:lnTo>
                    <a:pt x="1245" y="1086"/>
                  </a:lnTo>
                  <a:lnTo>
                    <a:pt x="1246" y="1086"/>
                  </a:lnTo>
                  <a:lnTo>
                    <a:pt x="1248" y="1088"/>
                  </a:lnTo>
                  <a:lnTo>
                    <a:pt x="1248" y="1088"/>
                  </a:lnTo>
                  <a:lnTo>
                    <a:pt x="1248" y="1089"/>
                  </a:lnTo>
                  <a:lnTo>
                    <a:pt x="1245" y="1088"/>
                  </a:lnTo>
                  <a:lnTo>
                    <a:pt x="1245" y="1088"/>
                  </a:lnTo>
                  <a:lnTo>
                    <a:pt x="1245" y="1088"/>
                  </a:lnTo>
                  <a:lnTo>
                    <a:pt x="1245" y="1089"/>
                  </a:lnTo>
                  <a:lnTo>
                    <a:pt x="1245" y="1091"/>
                  </a:lnTo>
                  <a:lnTo>
                    <a:pt x="1246" y="1091"/>
                  </a:lnTo>
                  <a:lnTo>
                    <a:pt x="1250" y="1089"/>
                  </a:lnTo>
                  <a:lnTo>
                    <a:pt x="1251" y="1091"/>
                  </a:lnTo>
                  <a:lnTo>
                    <a:pt x="1254" y="1089"/>
                  </a:lnTo>
                  <a:lnTo>
                    <a:pt x="1256" y="1089"/>
                  </a:lnTo>
                  <a:lnTo>
                    <a:pt x="1259" y="1086"/>
                  </a:lnTo>
                  <a:lnTo>
                    <a:pt x="1259" y="1084"/>
                  </a:lnTo>
                  <a:lnTo>
                    <a:pt x="1259" y="1081"/>
                  </a:lnTo>
                  <a:lnTo>
                    <a:pt x="1260" y="1078"/>
                  </a:lnTo>
                  <a:lnTo>
                    <a:pt x="1262" y="1077"/>
                  </a:lnTo>
                  <a:lnTo>
                    <a:pt x="1262" y="1077"/>
                  </a:lnTo>
                  <a:lnTo>
                    <a:pt x="1262" y="1077"/>
                  </a:lnTo>
                  <a:lnTo>
                    <a:pt x="1262" y="1077"/>
                  </a:lnTo>
                  <a:lnTo>
                    <a:pt x="1262" y="1072"/>
                  </a:lnTo>
                  <a:lnTo>
                    <a:pt x="1264" y="1062"/>
                  </a:lnTo>
                  <a:lnTo>
                    <a:pt x="1264" y="1058"/>
                  </a:lnTo>
                  <a:lnTo>
                    <a:pt x="1264" y="1055"/>
                  </a:lnTo>
                  <a:lnTo>
                    <a:pt x="1262" y="1053"/>
                  </a:lnTo>
                  <a:lnTo>
                    <a:pt x="1260" y="1050"/>
                  </a:lnTo>
                  <a:lnTo>
                    <a:pt x="1253" y="1031"/>
                  </a:lnTo>
                  <a:lnTo>
                    <a:pt x="1253" y="1030"/>
                  </a:lnTo>
                  <a:lnTo>
                    <a:pt x="1251" y="1026"/>
                  </a:lnTo>
                  <a:lnTo>
                    <a:pt x="1251" y="1023"/>
                  </a:lnTo>
                  <a:lnTo>
                    <a:pt x="1251" y="1022"/>
                  </a:lnTo>
                  <a:lnTo>
                    <a:pt x="1250" y="1019"/>
                  </a:lnTo>
                  <a:lnTo>
                    <a:pt x="1251" y="1019"/>
                  </a:lnTo>
                  <a:lnTo>
                    <a:pt x="1251" y="1020"/>
                  </a:lnTo>
                  <a:lnTo>
                    <a:pt x="1251" y="1020"/>
                  </a:lnTo>
                  <a:lnTo>
                    <a:pt x="1251" y="1022"/>
                  </a:lnTo>
                  <a:lnTo>
                    <a:pt x="1253" y="1022"/>
                  </a:lnTo>
                  <a:lnTo>
                    <a:pt x="1253" y="1023"/>
                  </a:lnTo>
                  <a:lnTo>
                    <a:pt x="1253" y="1025"/>
                  </a:lnTo>
                  <a:lnTo>
                    <a:pt x="1253" y="1025"/>
                  </a:lnTo>
                  <a:lnTo>
                    <a:pt x="1253" y="1028"/>
                  </a:lnTo>
                  <a:lnTo>
                    <a:pt x="1253" y="1026"/>
                  </a:lnTo>
                  <a:lnTo>
                    <a:pt x="1253" y="1025"/>
                  </a:lnTo>
                  <a:lnTo>
                    <a:pt x="1254" y="1025"/>
                  </a:lnTo>
                  <a:lnTo>
                    <a:pt x="1254" y="1023"/>
                  </a:lnTo>
                  <a:lnTo>
                    <a:pt x="1254" y="1028"/>
                  </a:lnTo>
                  <a:lnTo>
                    <a:pt x="1254" y="1031"/>
                  </a:lnTo>
                  <a:lnTo>
                    <a:pt x="1256" y="1036"/>
                  </a:lnTo>
                  <a:lnTo>
                    <a:pt x="1257" y="1036"/>
                  </a:lnTo>
                  <a:lnTo>
                    <a:pt x="1256" y="1033"/>
                  </a:lnTo>
                  <a:lnTo>
                    <a:pt x="1254" y="1031"/>
                  </a:lnTo>
                  <a:lnTo>
                    <a:pt x="1254" y="1030"/>
                  </a:lnTo>
                  <a:lnTo>
                    <a:pt x="1254" y="1026"/>
                  </a:lnTo>
                  <a:lnTo>
                    <a:pt x="1254" y="1026"/>
                  </a:lnTo>
                  <a:lnTo>
                    <a:pt x="1256" y="1025"/>
                  </a:lnTo>
                  <a:lnTo>
                    <a:pt x="1254" y="1023"/>
                  </a:lnTo>
                  <a:lnTo>
                    <a:pt x="1250" y="1014"/>
                  </a:lnTo>
                  <a:lnTo>
                    <a:pt x="1245" y="1006"/>
                  </a:lnTo>
                  <a:lnTo>
                    <a:pt x="1243" y="998"/>
                  </a:lnTo>
                  <a:lnTo>
                    <a:pt x="1242" y="992"/>
                  </a:lnTo>
                  <a:lnTo>
                    <a:pt x="1240" y="989"/>
                  </a:lnTo>
                  <a:lnTo>
                    <a:pt x="1239" y="981"/>
                  </a:lnTo>
                  <a:lnTo>
                    <a:pt x="1239" y="980"/>
                  </a:lnTo>
                  <a:lnTo>
                    <a:pt x="1239" y="978"/>
                  </a:lnTo>
                  <a:lnTo>
                    <a:pt x="1239" y="976"/>
                  </a:lnTo>
                  <a:lnTo>
                    <a:pt x="1239" y="976"/>
                  </a:lnTo>
                  <a:lnTo>
                    <a:pt x="1239" y="973"/>
                  </a:lnTo>
                  <a:lnTo>
                    <a:pt x="1239" y="972"/>
                  </a:lnTo>
                  <a:lnTo>
                    <a:pt x="1239" y="972"/>
                  </a:lnTo>
                  <a:lnTo>
                    <a:pt x="1240" y="970"/>
                  </a:lnTo>
                  <a:lnTo>
                    <a:pt x="1240" y="970"/>
                  </a:lnTo>
                  <a:lnTo>
                    <a:pt x="1240" y="970"/>
                  </a:lnTo>
                  <a:lnTo>
                    <a:pt x="1242" y="969"/>
                  </a:lnTo>
                  <a:lnTo>
                    <a:pt x="1242" y="967"/>
                  </a:lnTo>
                  <a:lnTo>
                    <a:pt x="1240" y="967"/>
                  </a:lnTo>
                  <a:lnTo>
                    <a:pt x="1240" y="967"/>
                  </a:lnTo>
                  <a:lnTo>
                    <a:pt x="1242" y="967"/>
                  </a:lnTo>
                  <a:lnTo>
                    <a:pt x="1243" y="965"/>
                  </a:lnTo>
                  <a:lnTo>
                    <a:pt x="1243" y="964"/>
                  </a:lnTo>
                  <a:lnTo>
                    <a:pt x="1245" y="964"/>
                  </a:lnTo>
                  <a:lnTo>
                    <a:pt x="1243" y="964"/>
                  </a:lnTo>
                  <a:lnTo>
                    <a:pt x="1243" y="964"/>
                  </a:lnTo>
                  <a:lnTo>
                    <a:pt x="1243" y="964"/>
                  </a:lnTo>
                  <a:lnTo>
                    <a:pt x="1243" y="962"/>
                  </a:lnTo>
                  <a:lnTo>
                    <a:pt x="1245" y="962"/>
                  </a:lnTo>
                  <a:lnTo>
                    <a:pt x="1245" y="961"/>
                  </a:lnTo>
                  <a:lnTo>
                    <a:pt x="1243" y="961"/>
                  </a:lnTo>
                  <a:lnTo>
                    <a:pt x="1243" y="959"/>
                  </a:lnTo>
                  <a:lnTo>
                    <a:pt x="1245" y="959"/>
                  </a:lnTo>
                  <a:lnTo>
                    <a:pt x="1245" y="959"/>
                  </a:lnTo>
                  <a:lnTo>
                    <a:pt x="1246" y="958"/>
                  </a:lnTo>
                  <a:lnTo>
                    <a:pt x="1246" y="958"/>
                  </a:lnTo>
                  <a:lnTo>
                    <a:pt x="1245" y="958"/>
                  </a:lnTo>
                  <a:lnTo>
                    <a:pt x="1245" y="956"/>
                  </a:lnTo>
                  <a:lnTo>
                    <a:pt x="1246" y="956"/>
                  </a:lnTo>
                  <a:lnTo>
                    <a:pt x="1246" y="956"/>
                  </a:lnTo>
                  <a:lnTo>
                    <a:pt x="1248" y="955"/>
                  </a:lnTo>
                  <a:lnTo>
                    <a:pt x="1250" y="953"/>
                  </a:lnTo>
                  <a:lnTo>
                    <a:pt x="1250" y="953"/>
                  </a:lnTo>
                  <a:lnTo>
                    <a:pt x="1250" y="951"/>
                  </a:lnTo>
                  <a:lnTo>
                    <a:pt x="1251" y="951"/>
                  </a:lnTo>
                  <a:lnTo>
                    <a:pt x="1251" y="951"/>
                  </a:lnTo>
                  <a:lnTo>
                    <a:pt x="1253" y="950"/>
                  </a:lnTo>
                  <a:lnTo>
                    <a:pt x="1253" y="948"/>
                  </a:lnTo>
                  <a:lnTo>
                    <a:pt x="1251" y="948"/>
                  </a:lnTo>
                  <a:lnTo>
                    <a:pt x="1251" y="948"/>
                  </a:lnTo>
                  <a:lnTo>
                    <a:pt x="1251" y="947"/>
                  </a:lnTo>
                  <a:lnTo>
                    <a:pt x="1251" y="945"/>
                  </a:lnTo>
                  <a:lnTo>
                    <a:pt x="1253" y="947"/>
                  </a:lnTo>
                  <a:lnTo>
                    <a:pt x="1253" y="947"/>
                  </a:lnTo>
                  <a:lnTo>
                    <a:pt x="1253" y="945"/>
                  </a:lnTo>
                  <a:lnTo>
                    <a:pt x="1253" y="945"/>
                  </a:lnTo>
                  <a:lnTo>
                    <a:pt x="1254" y="947"/>
                  </a:lnTo>
                  <a:lnTo>
                    <a:pt x="1254" y="948"/>
                  </a:lnTo>
                  <a:lnTo>
                    <a:pt x="1254" y="948"/>
                  </a:lnTo>
                  <a:lnTo>
                    <a:pt x="1256" y="947"/>
                  </a:lnTo>
                  <a:lnTo>
                    <a:pt x="1256" y="947"/>
                  </a:lnTo>
                  <a:lnTo>
                    <a:pt x="1256" y="945"/>
                  </a:lnTo>
                  <a:lnTo>
                    <a:pt x="1256" y="944"/>
                  </a:lnTo>
                  <a:lnTo>
                    <a:pt x="1254" y="944"/>
                  </a:lnTo>
                  <a:lnTo>
                    <a:pt x="1254" y="942"/>
                  </a:lnTo>
                  <a:lnTo>
                    <a:pt x="1257" y="944"/>
                  </a:lnTo>
                  <a:lnTo>
                    <a:pt x="1259" y="944"/>
                  </a:lnTo>
                  <a:lnTo>
                    <a:pt x="1260" y="942"/>
                  </a:lnTo>
                  <a:lnTo>
                    <a:pt x="1260" y="942"/>
                  </a:lnTo>
                  <a:lnTo>
                    <a:pt x="1262" y="942"/>
                  </a:lnTo>
                  <a:lnTo>
                    <a:pt x="1262" y="942"/>
                  </a:lnTo>
                  <a:lnTo>
                    <a:pt x="1264" y="940"/>
                  </a:lnTo>
                  <a:lnTo>
                    <a:pt x="1265" y="940"/>
                  </a:lnTo>
                  <a:lnTo>
                    <a:pt x="1267" y="939"/>
                  </a:lnTo>
                  <a:lnTo>
                    <a:pt x="1265" y="937"/>
                  </a:lnTo>
                  <a:lnTo>
                    <a:pt x="1268" y="937"/>
                  </a:lnTo>
                  <a:lnTo>
                    <a:pt x="1270" y="937"/>
                  </a:lnTo>
                  <a:lnTo>
                    <a:pt x="1271" y="934"/>
                  </a:lnTo>
                  <a:lnTo>
                    <a:pt x="1271" y="933"/>
                  </a:lnTo>
                  <a:lnTo>
                    <a:pt x="1273" y="933"/>
                  </a:lnTo>
                  <a:lnTo>
                    <a:pt x="1275" y="933"/>
                  </a:lnTo>
                  <a:lnTo>
                    <a:pt x="1278" y="929"/>
                  </a:lnTo>
                  <a:lnTo>
                    <a:pt x="1278" y="929"/>
                  </a:lnTo>
                  <a:lnTo>
                    <a:pt x="1278" y="926"/>
                  </a:lnTo>
                  <a:lnTo>
                    <a:pt x="1278" y="925"/>
                  </a:lnTo>
                  <a:lnTo>
                    <a:pt x="1278" y="925"/>
                  </a:lnTo>
                  <a:lnTo>
                    <a:pt x="1278" y="926"/>
                  </a:lnTo>
                  <a:lnTo>
                    <a:pt x="1279" y="928"/>
                  </a:lnTo>
                  <a:lnTo>
                    <a:pt x="1279" y="925"/>
                  </a:lnTo>
                  <a:lnTo>
                    <a:pt x="1284" y="919"/>
                  </a:lnTo>
                  <a:lnTo>
                    <a:pt x="1285" y="919"/>
                  </a:lnTo>
                  <a:lnTo>
                    <a:pt x="1290" y="915"/>
                  </a:lnTo>
                  <a:lnTo>
                    <a:pt x="1293" y="914"/>
                  </a:lnTo>
                  <a:lnTo>
                    <a:pt x="1300" y="914"/>
                  </a:lnTo>
                  <a:lnTo>
                    <a:pt x="1301" y="912"/>
                  </a:lnTo>
                  <a:lnTo>
                    <a:pt x="1301" y="909"/>
                  </a:lnTo>
                  <a:lnTo>
                    <a:pt x="1301" y="911"/>
                  </a:lnTo>
                  <a:lnTo>
                    <a:pt x="1301" y="912"/>
                  </a:lnTo>
                  <a:lnTo>
                    <a:pt x="1301" y="914"/>
                  </a:lnTo>
                  <a:lnTo>
                    <a:pt x="1301" y="911"/>
                  </a:lnTo>
                  <a:lnTo>
                    <a:pt x="1303" y="909"/>
                  </a:lnTo>
                  <a:lnTo>
                    <a:pt x="1304" y="906"/>
                  </a:lnTo>
                  <a:lnTo>
                    <a:pt x="1306" y="904"/>
                  </a:lnTo>
                  <a:lnTo>
                    <a:pt x="1306" y="904"/>
                  </a:lnTo>
                  <a:lnTo>
                    <a:pt x="1309" y="903"/>
                  </a:lnTo>
                  <a:lnTo>
                    <a:pt x="1310" y="901"/>
                  </a:lnTo>
                  <a:lnTo>
                    <a:pt x="1310" y="900"/>
                  </a:lnTo>
                  <a:lnTo>
                    <a:pt x="1310" y="900"/>
                  </a:lnTo>
                  <a:lnTo>
                    <a:pt x="1310" y="897"/>
                  </a:lnTo>
                  <a:lnTo>
                    <a:pt x="1310" y="897"/>
                  </a:lnTo>
                  <a:lnTo>
                    <a:pt x="1310" y="898"/>
                  </a:lnTo>
                  <a:lnTo>
                    <a:pt x="1312" y="900"/>
                  </a:lnTo>
                  <a:lnTo>
                    <a:pt x="1314" y="900"/>
                  </a:lnTo>
                  <a:lnTo>
                    <a:pt x="1315" y="897"/>
                  </a:lnTo>
                  <a:lnTo>
                    <a:pt x="1317" y="897"/>
                  </a:lnTo>
                  <a:lnTo>
                    <a:pt x="1320" y="897"/>
                  </a:lnTo>
                  <a:lnTo>
                    <a:pt x="1321" y="897"/>
                  </a:lnTo>
                  <a:lnTo>
                    <a:pt x="1321" y="897"/>
                  </a:lnTo>
                  <a:lnTo>
                    <a:pt x="1323" y="897"/>
                  </a:lnTo>
                  <a:lnTo>
                    <a:pt x="1325" y="895"/>
                  </a:lnTo>
                  <a:lnTo>
                    <a:pt x="1326" y="895"/>
                  </a:lnTo>
                  <a:lnTo>
                    <a:pt x="1328" y="893"/>
                  </a:lnTo>
                  <a:lnTo>
                    <a:pt x="1329" y="892"/>
                  </a:lnTo>
                  <a:lnTo>
                    <a:pt x="1326" y="890"/>
                  </a:lnTo>
                  <a:lnTo>
                    <a:pt x="1321" y="892"/>
                  </a:lnTo>
                  <a:lnTo>
                    <a:pt x="1320" y="892"/>
                  </a:lnTo>
                  <a:lnTo>
                    <a:pt x="1318" y="890"/>
                  </a:lnTo>
                  <a:lnTo>
                    <a:pt x="1317" y="887"/>
                  </a:lnTo>
                  <a:lnTo>
                    <a:pt x="1320" y="890"/>
                  </a:lnTo>
                  <a:lnTo>
                    <a:pt x="1321" y="890"/>
                  </a:lnTo>
                  <a:lnTo>
                    <a:pt x="1325" y="889"/>
                  </a:lnTo>
                  <a:lnTo>
                    <a:pt x="1325" y="889"/>
                  </a:lnTo>
                  <a:lnTo>
                    <a:pt x="1325" y="887"/>
                  </a:lnTo>
                  <a:lnTo>
                    <a:pt x="1325" y="886"/>
                  </a:lnTo>
                  <a:lnTo>
                    <a:pt x="1326" y="886"/>
                  </a:lnTo>
                  <a:lnTo>
                    <a:pt x="1325" y="884"/>
                  </a:lnTo>
                  <a:lnTo>
                    <a:pt x="1325" y="884"/>
                  </a:lnTo>
                  <a:lnTo>
                    <a:pt x="1318" y="881"/>
                  </a:lnTo>
                  <a:lnTo>
                    <a:pt x="1317" y="879"/>
                  </a:lnTo>
                  <a:lnTo>
                    <a:pt x="1320" y="881"/>
                  </a:lnTo>
                  <a:lnTo>
                    <a:pt x="1321" y="881"/>
                  </a:lnTo>
                  <a:lnTo>
                    <a:pt x="1323" y="881"/>
                  </a:lnTo>
                  <a:lnTo>
                    <a:pt x="1325" y="879"/>
                  </a:lnTo>
                  <a:lnTo>
                    <a:pt x="1325" y="879"/>
                  </a:lnTo>
                  <a:lnTo>
                    <a:pt x="1326" y="879"/>
                  </a:lnTo>
                  <a:lnTo>
                    <a:pt x="1326" y="881"/>
                  </a:lnTo>
                  <a:lnTo>
                    <a:pt x="1326" y="883"/>
                  </a:lnTo>
                  <a:lnTo>
                    <a:pt x="1328" y="883"/>
                  </a:lnTo>
                  <a:lnTo>
                    <a:pt x="1328" y="883"/>
                  </a:lnTo>
                  <a:lnTo>
                    <a:pt x="1331" y="883"/>
                  </a:lnTo>
                  <a:lnTo>
                    <a:pt x="1332" y="883"/>
                  </a:lnTo>
                  <a:lnTo>
                    <a:pt x="1332" y="883"/>
                  </a:lnTo>
                  <a:lnTo>
                    <a:pt x="1336" y="879"/>
                  </a:lnTo>
                  <a:lnTo>
                    <a:pt x="1339" y="876"/>
                  </a:lnTo>
                  <a:lnTo>
                    <a:pt x="1339" y="875"/>
                  </a:lnTo>
                  <a:lnTo>
                    <a:pt x="1339" y="873"/>
                  </a:lnTo>
                  <a:lnTo>
                    <a:pt x="1339" y="872"/>
                  </a:lnTo>
                  <a:lnTo>
                    <a:pt x="1339" y="870"/>
                  </a:lnTo>
                  <a:lnTo>
                    <a:pt x="1337" y="870"/>
                  </a:lnTo>
                  <a:lnTo>
                    <a:pt x="1336" y="872"/>
                  </a:lnTo>
                  <a:lnTo>
                    <a:pt x="1336" y="875"/>
                  </a:lnTo>
                  <a:lnTo>
                    <a:pt x="1334" y="876"/>
                  </a:lnTo>
                  <a:lnTo>
                    <a:pt x="1334" y="876"/>
                  </a:lnTo>
                  <a:lnTo>
                    <a:pt x="1334" y="875"/>
                  </a:lnTo>
                  <a:lnTo>
                    <a:pt x="1334" y="872"/>
                  </a:lnTo>
                  <a:lnTo>
                    <a:pt x="1334" y="870"/>
                  </a:lnTo>
                  <a:lnTo>
                    <a:pt x="1331" y="870"/>
                  </a:lnTo>
                  <a:lnTo>
                    <a:pt x="1331" y="870"/>
                  </a:lnTo>
                  <a:lnTo>
                    <a:pt x="1329" y="870"/>
                  </a:lnTo>
                  <a:lnTo>
                    <a:pt x="1326" y="870"/>
                  </a:lnTo>
                  <a:lnTo>
                    <a:pt x="1325" y="870"/>
                  </a:lnTo>
                  <a:lnTo>
                    <a:pt x="1321" y="870"/>
                  </a:lnTo>
                  <a:lnTo>
                    <a:pt x="1323" y="868"/>
                  </a:lnTo>
                  <a:lnTo>
                    <a:pt x="1321" y="867"/>
                  </a:lnTo>
                  <a:lnTo>
                    <a:pt x="1321" y="864"/>
                  </a:lnTo>
                  <a:lnTo>
                    <a:pt x="1323" y="867"/>
                  </a:lnTo>
                  <a:lnTo>
                    <a:pt x="1323" y="868"/>
                  </a:lnTo>
                  <a:lnTo>
                    <a:pt x="1325" y="868"/>
                  </a:lnTo>
                  <a:lnTo>
                    <a:pt x="1326" y="868"/>
                  </a:lnTo>
                  <a:lnTo>
                    <a:pt x="1328" y="868"/>
                  </a:lnTo>
                  <a:lnTo>
                    <a:pt x="1328" y="867"/>
                  </a:lnTo>
                  <a:lnTo>
                    <a:pt x="1329" y="867"/>
                  </a:lnTo>
                  <a:lnTo>
                    <a:pt x="1331" y="867"/>
                  </a:lnTo>
                  <a:lnTo>
                    <a:pt x="1331" y="865"/>
                  </a:lnTo>
                  <a:lnTo>
                    <a:pt x="1331" y="865"/>
                  </a:lnTo>
                  <a:lnTo>
                    <a:pt x="1332" y="867"/>
                  </a:lnTo>
                  <a:lnTo>
                    <a:pt x="1332" y="865"/>
                  </a:lnTo>
                  <a:lnTo>
                    <a:pt x="1332" y="864"/>
                  </a:lnTo>
                  <a:lnTo>
                    <a:pt x="1334" y="864"/>
                  </a:lnTo>
                  <a:lnTo>
                    <a:pt x="1336" y="865"/>
                  </a:lnTo>
                  <a:lnTo>
                    <a:pt x="1337" y="865"/>
                  </a:lnTo>
                  <a:lnTo>
                    <a:pt x="1339" y="867"/>
                  </a:lnTo>
                  <a:lnTo>
                    <a:pt x="1337" y="864"/>
                  </a:lnTo>
                  <a:lnTo>
                    <a:pt x="1336" y="861"/>
                  </a:lnTo>
                  <a:lnTo>
                    <a:pt x="1336" y="861"/>
                  </a:lnTo>
                  <a:lnTo>
                    <a:pt x="1336" y="859"/>
                  </a:lnTo>
                  <a:lnTo>
                    <a:pt x="1336" y="857"/>
                  </a:lnTo>
                  <a:lnTo>
                    <a:pt x="1336" y="856"/>
                  </a:lnTo>
                  <a:lnTo>
                    <a:pt x="1336" y="856"/>
                  </a:lnTo>
                  <a:lnTo>
                    <a:pt x="1336" y="854"/>
                  </a:lnTo>
                  <a:lnTo>
                    <a:pt x="1337" y="856"/>
                  </a:lnTo>
                  <a:lnTo>
                    <a:pt x="1337" y="857"/>
                  </a:lnTo>
                  <a:lnTo>
                    <a:pt x="1339" y="864"/>
                  </a:lnTo>
                  <a:lnTo>
                    <a:pt x="1340" y="867"/>
                  </a:lnTo>
                  <a:lnTo>
                    <a:pt x="1342" y="872"/>
                  </a:lnTo>
                  <a:lnTo>
                    <a:pt x="1343" y="873"/>
                  </a:lnTo>
                  <a:lnTo>
                    <a:pt x="1343" y="872"/>
                  </a:lnTo>
                  <a:lnTo>
                    <a:pt x="1339" y="864"/>
                  </a:lnTo>
                  <a:lnTo>
                    <a:pt x="1337" y="854"/>
                  </a:lnTo>
                  <a:lnTo>
                    <a:pt x="1336" y="853"/>
                  </a:lnTo>
                  <a:lnTo>
                    <a:pt x="1336" y="851"/>
                  </a:lnTo>
                  <a:lnTo>
                    <a:pt x="1336" y="850"/>
                  </a:lnTo>
                  <a:lnTo>
                    <a:pt x="1332" y="850"/>
                  </a:lnTo>
                  <a:lnTo>
                    <a:pt x="1331" y="848"/>
                  </a:lnTo>
                  <a:lnTo>
                    <a:pt x="1328" y="850"/>
                  </a:lnTo>
                  <a:lnTo>
                    <a:pt x="1326" y="850"/>
                  </a:lnTo>
                  <a:lnTo>
                    <a:pt x="1326" y="848"/>
                  </a:lnTo>
                  <a:lnTo>
                    <a:pt x="1323" y="847"/>
                  </a:lnTo>
                  <a:lnTo>
                    <a:pt x="1323" y="843"/>
                  </a:lnTo>
                  <a:lnTo>
                    <a:pt x="1321" y="843"/>
                  </a:lnTo>
                  <a:lnTo>
                    <a:pt x="1318" y="843"/>
                  </a:lnTo>
                  <a:lnTo>
                    <a:pt x="1317" y="842"/>
                  </a:lnTo>
                  <a:lnTo>
                    <a:pt x="1314" y="842"/>
                  </a:lnTo>
                  <a:lnTo>
                    <a:pt x="1314" y="840"/>
                  </a:lnTo>
                  <a:lnTo>
                    <a:pt x="1314" y="840"/>
                  </a:lnTo>
                  <a:lnTo>
                    <a:pt x="1317" y="840"/>
                  </a:lnTo>
                  <a:lnTo>
                    <a:pt x="1323" y="843"/>
                  </a:lnTo>
                  <a:lnTo>
                    <a:pt x="1325" y="843"/>
                  </a:lnTo>
                  <a:lnTo>
                    <a:pt x="1325" y="845"/>
                  </a:lnTo>
                  <a:lnTo>
                    <a:pt x="1326" y="847"/>
                  </a:lnTo>
                  <a:lnTo>
                    <a:pt x="1326" y="847"/>
                  </a:lnTo>
                  <a:lnTo>
                    <a:pt x="1328" y="848"/>
                  </a:lnTo>
                  <a:lnTo>
                    <a:pt x="1329" y="848"/>
                  </a:lnTo>
                  <a:lnTo>
                    <a:pt x="1329" y="847"/>
                  </a:lnTo>
                  <a:lnTo>
                    <a:pt x="1329" y="845"/>
                  </a:lnTo>
                  <a:lnTo>
                    <a:pt x="1329" y="845"/>
                  </a:lnTo>
                  <a:lnTo>
                    <a:pt x="1328" y="843"/>
                  </a:lnTo>
                  <a:lnTo>
                    <a:pt x="1326" y="842"/>
                  </a:lnTo>
                  <a:lnTo>
                    <a:pt x="1325" y="840"/>
                  </a:lnTo>
                  <a:lnTo>
                    <a:pt x="1321" y="837"/>
                  </a:lnTo>
                  <a:lnTo>
                    <a:pt x="1321" y="837"/>
                  </a:lnTo>
                  <a:lnTo>
                    <a:pt x="1321" y="837"/>
                  </a:lnTo>
                  <a:lnTo>
                    <a:pt x="1326" y="840"/>
                  </a:lnTo>
                  <a:lnTo>
                    <a:pt x="1328" y="842"/>
                  </a:lnTo>
                  <a:lnTo>
                    <a:pt x="1328" y="840"/>
                  </a:lnTo>
                  <a:lnTo>
                    <a:pt x="1328" y="840"/>
                  </a:lnTo>
                  <a:lnTo>
                    <a:pt x="1328" y="839"/>
                  </a:lnTo>
                  <a:lnTo>
                    <a:pt x="1331" y="840"/>
                  </a:lnTo>
                  <a:lnTo>
                    <a:pt x="1331" y="839"/>
                  </a:lnTo>
                  <a:lnTo>
                    <a:pt x="1331" y="837"/>
                  </a:lnTo>
                  <a:lnTo>
                    <a:pt x="1328" y="836"/>
                  </a:lnTo>
                  <a:lnTo>
                    <a:pt x="1329" y="836"/>
                  </a:lnTo>
                  <a:lnTo>
                    <a:pt x="1326" y="834"/>
                  </a:lnTo>
                  <a:lnTo>
                    <a:pt x="1325" y="832"/>
                  </a:lnTo>
                  <a:lnTo>
                    <a:pt x="1325" y="831"/>
                  </a:lnTo>
                  <a:lnTo>
                    <a:pt x="1323" y="829"/>
                  </a:lnTo>
                  <a:lnTo>
                    <a:pt x="1320" y="826"/>
                  </a:lnTo>
                  <a:lnTo>
                    <a:pt x="1318" y="825"/>
                  </a:lnTo>
                  <a:lnTo>
                    <a:pt x="1315" y="821"/>
                  </a:lnTo>
                  <a:lnTo>
                    <a:pt x="1317" y="821"/>
                  </a:lnTo>
                  <a:lnTo>
                    <a:pt x="1318" y="823"/>
                  </a:lnTo>
                  <a:lnTo>
                    <a:pt x="1320" y="826"/>
                  </a:lnTo>
                  <a:lnTo>
                    <a:pt x="1321" y="826"/>
                  </a:lnTo>
                  <a:lnTo>
                    <a:pt x="1326" y="832"/>
                  </a:lnTo>
                  <a:lnTo>
                    <a:pt x="1328" y="832"/>
                  </a:lnTo>
                  <a:lnTo>
                    <a:pt x="1329" y="832"/>
                  </a:lnTo>
                  <a:lnTo>
                    <a:pt x="1329" y="832"/>
                  </a:lnTo>
                  <a:lnTo>
                    <a:pt x="1329" y="831"/>
                  </a:lnTo>
                  <a:lnTo>
                    <a:pt x="1331" y="829"/>
                  </a:lnTo>
                  <a:lnTo>
                    <a:pt x="1331" y="828"/>
                  </a:lnTo>
                  <a:lnTo>
                    <a:pt x="1329" y="826"/>
                  </a:lnTo>
                  <a:lnTo>
                    <a:pt x="1326" y="825"/>
                  </a:lnTo>
                  <a:lnTo>
                    <a:pt x="1325" y="823"/>
                  </a:lnTo>
                  <a:lnTo>
                    <a:pt x="1323" y="823"/>
                  </a:lnTo>
                  <a:lnTo>
                    <a:pt x="1318" y="821"/>
                  </a:lnTo>
                  <a:lnTo>
                    <a:pt x="1317" y="818"/>
                  </a:lnTo>
                  <a:lnTo>
                    <a:pt x="1315" y="817"/>
                  </a:lnTo>
                  <a:lnTo>
                    <a:pt x="1314" y="818"/>
                  </a:lnTo>
                  <a:lnTo>
                    <a:pt x="1312" y="818"/>
                  </a:lnTo>
                  <a:lnTo>
                    <a:pt x="1312" y="817"/>
                  </a:lnTo>
                  <a:lnTo>
                    <a:pt x="1312" y="814"/>
                  </a:lnTo>
                  <a:lnTo>
                    <a:pt x="1312" y="812"/>
                  </a:lnTo>
                  <a:lnTo>
                    <a:pt x="1315" y="811"/>
                  </a:lnTo>
                  <a:lnTo>
                    <a:pt x="1315" y="809"/>
                  </a:lnTo>
                  <a:lnTo>
                    <a:pt x="1317" y="809"/>
                  </a:lnTo>
                  <a:lnTo>
                    <a:pt x="1317" y="806"/>
                  </a:lnTo>
                  <a:lnTo>
                    <a:pt x="1317" y="809"/>
                  </a:lnTo>
                  <a:lnTo>
                    <a:pt x="1317" y="811"/>
                  </a:lnTo>
                  <a:lnTo>
                    <a:pt x="1315" y="811"/>
                  </a:lnTo>
                  <a:lnTo>
                    <a:pt x="1314" y="814"/>
                  </a:lnTo>
                  <a:lnTo>
                    <a:pt x="1314" y="815"/>
                  </a:lnTo>
                  <a:lnTo>
                    <a:pt x="1314" y="817"/>
                  </a:lnTo>
                  <a:lnTo>
                    <a:pt x="1315" y="817"/>
                  </a:lnTo>
                  <a:lnTo>
                    <a:pt x="1317" y="815"/>
                  </a:lnTo>
                  <a:lnTo>
                    <a:pt x="1317" y="815"/>
                  </a:lnTo>
                  <a:lnTo>
                    <a:pt x="1318" y="817"/>
                  </a:lnTo>
                  <a:lnTo>
                    <a:pt x="1318" y="818"/>
                  </a:lnTo>
                  <a:lnTo>
                    <a:pt x="1320" y="818"/>
                  </a:lnTo>
                  <a:lnTo>
                    <a:pt x="1320" y="818"/>
                  </a:lnTo>
                  <a:lnTo>
                    <a:pt x="1320" y="817"/>
                  </a:lnTo>
                  <a:lnTo>
                    <a:pt x="1321" y="820"/>
                  </a:lnTo>
                  <a:lnTo>
                    <a:pt x="1325" y="820"/>
                  </a:lnTo>
                  <a:lnTo>
                    <a:pt x="1328" y="821"/>
                  </a:lnTo>
                  <a:lnTo>
                    <a:pt x="1328" y="823"/>
                  </a:lnTo>
                  <a:lnTo>
                    <a:pt x="1329" y="823"/>
                  </a:lnTo>
                  <a:lnTo>
                    <a:pt x="1329" y="823"/>
                  </a:lnTo>
                  <a:lnTo>
                    <a:pt x="1328" y="821"/>
                  </a:lnTo>
                  <a:lnTo>
                    <a:pt x="1328" y="820"/>
                  </a:lnTo>
                  <a:lnTo>
                    <a:pt x="1323" y="815"/>
                  </a:lnTo>
                  <a:lnTo>
                    <a:pt x="1323" y="814"/>
                  </a:lnTo>
                  <a:lnTo>
                    <a:pt x="1323" y="812"/>
                  </a:lnTo>
                  <a:lnTo>
                    <a:pt x="1323" y="812"/>
                  </a:lnTo>
                  <a:lnTo>
                    <a:pt x="1323" y="814"/>
                  </a:lnTo>
                  <a:lnTo>
                    <a:pt x="1325" y="815"/>
                  </a:lnTo>
                  <a:lnTo>
                    <a:pt x="1326" y="817"/>
                  </a:lnTo>
                  <a:lnTo>
                    <a:pt x="1328" y="817"/>
                  </a:lnTo>
                  <a:lnTo>
                    <a:pt x="1328" y="817"/>
                  </a:lnTo>
                  <a:lnTo>
                    <a:pt x="1328" y="817"/>
                  </a:lnTo>
                  <a:lnTo>
                    <a:pt x="1326" y="815"/>
                  </a:lnTo>
                  <a:lnTo>
                    <a:pt x="1326" y="814"/>
                  </a:lnTo>
                  <a:lnTo>
                    <a:pt x="1326" y="809"/>
                  </a:lnTo>
                  <a:lnTo>
                    <a:pt x="1326" y="807"/>
                  </a:lnTo>
                  <a:lnTo>
                    <a:pt x="1326" y="807"/>
                  </a:lnTo>
                  <a:lnTo>
                    <a:pt x="1326" y="806"/>
                  </a:lnTo>
                  <a:lnTo>
                    <a:pt x="1326" y="804"/>
                  </a:lnTo>
                  <a:lnTo>
                    <a:pt x="1326" y="803"/>
                  </a:lnTo>
                  <a:lnTo>
                    <a:pt x="1325" y="801"/>
                  </a:lnTo>
                  <a:lnTo>
                    <a:pt x="1325" y="801"/>
                  </a:lnTo>
                  <a:lnTo>
                    <a:pt x="1326" y="803"/>
                  </a:lnTo>
                  <a:lnTo>
                    <a:pt x="1328" y="801"/>
                  </a:lnTo>
                  <a:lnTo>
                    <a:pt x="1328" y="801"/>
                  </a:lnTo>
                  <a:lnTo>
                    <a:pt x="1326" y="800"/>
                  </a:lnTo>
                  <a:lnTo>
                    <a:pt x="1325" y="798"/>
                  </a:lnTo>
                  <a:lnTo>
                    <a:pt x="1325" y="796"/>
                  </a:lnTo>
                  <a:lnTo>
                    <a:pt x="1328" y="798"/>
                  </a:lnTo>
                  <a:lnTo>
                    <a:pt x="1328" y="798"/>
                  </a:lnTo>
                  <a:lnTo>
                    <a:pt x="1328" y="796"/>
                  </a:lnTo>
                  <a:lnTo>
                    <a:pt x="1329" y="796"/>
                  </a:lnTo>
                  <a:lnTo>
                    <a:pt x="1329" y="795"/>
                  </a:lnTo>
                  <a:lnTo>
                    <a:pt x="1329" y="795"/>
                  </a:lnTo>
                  <a:lnTo>
                    <a:pt x="1329" y="795"/>
                  </a:lnTo>
                  <a:lnTo>
                    <a:pt x="1331" y="796"/>
                  </a:lnTo>
                  <a:lnTo>
                    <a:pt x="1331" y="795"/>
                  </a:lnTo>
                  <a:lnTo>
                    <a:pt x="1331" y="793"/>
                  </a:lnTo>
                  <a:lnTo>
                    <a:pt x="1331" y="793"/>
                  </a:lnTo>
                  <a:lnTo>
                    <a:pt x="1331" y="795"/>
                  </a:lnTo>
                  <a:lnTo>
                    <a:pt x="1332" y="795"/>
                  </a:lnTo>
                  <a:lnTo>
                    <a:pt x="1334" y="793"/>
                  </a:lnTo>
                  <a:lnTo>
                    <a:pt x="1334" y="793"/>
                  </a:lnTo>
                  <a:lnTo>
                    <a:pt x="1334" y="792"/>
                  </a:lnTo>
                  <a:lnTo>
                    <a:pt x="1334" y="790"/>
                  </a:lnTo>
                  <a:lnTo>
                    <a:pt x="1336" y="790"/>
                  </a:lnTo>
                  <a:lnTo>
                    <a:pt x="1336" y="790"/>
                  </a:lnTo>
                  <a:lnTo>
                    <a:pt x="1336" y="792"/>
                  </a:lnTo>
                  <a:lnTo>
                    <a:pt x="1337" y="792"/>
                  </a:lnTo>
                  <a:lnTo>
                    <a:pt x="1337" y="793"/>
                  </a:lnTo>
                  <a:lnTo>
                    <a:pt x="1336" y="793"/>
                  </a:lnTo>
                  <a:lnTo>
                    <a:pt x="1336" y="793"/>
                  </a:lnTo>
                  <a:lnTo>
                    <a:pt x="1336" y="795"/>
                  </a:lnTo>
                  <a:lnTo>
                    <a:pt x="1337" y="795"/>
                  </a:lnTo>
                  <a:lnTo>
                    <a:pt x="1336" y="795"/>
                  </a:lnTo>
                  <a:lnTo>
                    <a:pt x="1334" y="795"/>
                  </a:lnTo>
                  <a:lnTo>
                    <a:pt x="1332" y="796"/>
                  </a:lnTo>
                  <a:lnTo>
                    <a:pt x="1331" y="800"/>
                  </a:lnTo>
                  <a:lnTo>
                    <a:pt x="1331" y="801"/>
                  </a:lnTo>
                  <a:lnTo>
                    <a:pt x="1332" y="801"/>
                  </a:lnTo>
                  <a:lnTo>
                    <a:pt x="1332" y="801"/>
                  </a:lnTo>
                  <a:lnTo>
                    <a:pt x="1332" y="803"/>
                  </a:lnTo>
                  <a:lnTo>
                    <a:pt x="1331" y="803"/>
                  </a:lnTo>
                  <a:lnTo>
                    <a:pt x="1329" y="803"/>
                  </a:lnTo>
                  <a:lnTo>
                    <a:pt x="1329" y="804"/>
                  </a:lnTo>
                  <a:lnTo>
                    <a:pt x="1329" y="806"/>
                  </a:lnTo>
                  <a:lnTo>
                    <a:pt x="1331" y="804"/>
                  </a:lnTo>
                  <a:lnTo>
                    <a:pt x="1331" y="806"/>
                  </a:lnTo>
                  <a:lnTo>
                    <a:pt x="1332" y="806"/>
                  </a:lnTo>
                  <a:lnTo>
                    <a:pt x="1331" y="807"/>
                  </a:lnTo>
                  <a:lnTo>
                    <a:pt x="1329" y="807"/>
                  </a:lnTo>
                  <a:lnTo>
                    <a:pt x="1329" y="809"/>
                  </a:lnTo>
                  <a:lnTo>
                    <a:pt x="1329" y="809"/>
                  </a:lnTo>
                  <a:lnTo>
                    <a:pt x="1329" y="809"/>
                  </a:lnTo>
                  <a:lnTo>
                    <a:pt x="1331" y="809"/>
                  </a:lnTo>
                  <a:lnTo>
                    <a:pt x="1332" y="811"/>
                  </a:lnTo>
                  <a:lnTo>
                    <a:pt x="1334" y="812"/>
                  </a:lnTo>
                  <a:lnTo>
                    <a:pt x="1334" y="812"/>
                  </a:lnTo>
                  <a:lnTo>
                    <a:pt x="1336" y="812"/>
                  </a:lnTo>
                  <a:lnTo>
                    <a:pt x="1332" y="812"/>
                  </a:lnTo>
                  <a:lnTo>
                    <a:pt x="1331" y="812"/>
                  </a:lnTo>
                  <a:lnTo>
                    <a:pt x="1331" y="812"/>
                  </a:lnTo>
                  <a:lnTo>
                    <a:pt x="1329" y="815"/>
                  </a:lnTo>
                  <a:lnTo>
                    <a:pt x="1331" y="815"/>
                  </a:lnTo>
                  <a:lnTo>
                    <a:pt x="1331" y="817"/>
                  </a:lnTo>
                  <a:lnTo>
                    <a:pt x="1332" y="818"/>
                  </a:lnTo>
                  <a:lnTo>
                    <a:pt x="1334" y="820"/>
                  </a:lnTo>
                  <a:lnTo>
                    <a:pt x="1334" y="818"/>
                  </a:lnTo>
                  <a:lnTo>
                    <a:pt x="1336" y="818"/>
                  </a:lnTo>
                  <a:lnTo>
                    <a:pt x="1336" y="818"/>
                  </a:lnTo>
                  <a:lnTo>
                    <a:pt x="1336" y="818"/>
                  </a:lnTo>
                  <a:lnTo>
                    <a:pt x="1336" y="818"/>
                  </a:lnTo>
                  <a:lnTo>
                    <a:pt x="1337" y="818"/>
                  </a:lnTo>
                  <a:lnTo>
                    <a:pt x="1337" y="817"/>
                  </a:lnTo>
                  <a:lnTo>
                    <a:pt x="1337" y="818"/>
                  </a:lnTo>
                  <a:lnTo>
                    <a:pt x="1337" y="820"/>
                  </a:lnTo>
                  <a:lnTo>
                    <a:pt x="1337" y="821"/>
                  </a:lnTo>
                  <a:lnTo>
                    <a:pt x="1336" y="821"/>
                  </a:lnTo>
                  <a:lnTo>
                    <a:pt x="1337" y="823"/>
                  </a:lnTo>
                  <a:lnTo>
                    <a:pt x="1337" y="823"/>
                  </a:lnTo>
                  <a:lnTo>
                    <a:pt x="1339" y="823"/>
                  </a:lnTo>
                  <a:lnTo>
                    <a:pt x="1339" y="825"/>
                  </a:lnTo>
                  <a:lnTo>
                    <a:pt x="1337" y="826"/>
                  </a:lnTo>
                  <a:lnTo>
                    <a:pt x="1340" y="826"/>
                  </a:lnTo>
                  <a:lnTo>
                    <a:pt x="1340" y="826"/>
                  </a:lnTo>
                  <a:lnTo>
                    <a:pt x="1340" y="829"/>
                  </a:lnTo>
                  <a:lnTo>
                    <a:pt x="1339" y="831"/>
                  </a:lnTo>
                  <a:lnTo>
                    <a:pt x="1337" y="834"/>
                  </a:lnTo>
                  <a:lnTo>
                    <a:pt x="1336" y="839"/>
                  </a:lnTo>
                  <a:lnTo>
                    <a:pt x="1336" y="842"/>
                  </a:lnTo>
                  <a:lnTo>
                    <a:pt x="1336" y="843"/>
                  </a:lnTo>
                  <a:lnTo>
                    <a:pt x="1336" y="845"/>
                  </a:lnTo>
                  <a:lnTo>
                    <a:pt x="1337" y="842"/>
                  </a:lnTo>
                  <a:lnTo>
                    <a:pt x="1339" y="839"/>
                  </a:lnTo>
                  <a:lnTo>
                    <a:pt x="1339" y="837"/>
                  </a:lnTo>
                  <a:lnTo>
                    <a:pt x="1340" y="836"/>
                  </a:lnTo>
                  <a:lnTo>
                    <a:pt x="1342" y="836"/>
                  </a:lnTo>
                  <a:lnTo>
                    <a:pt x="1342" y="836"/>
                  </a:lnTo>
                  <a:lnTo>
                    <a:pt x="1342" y="834"/>
                  </a:lnTo>
                  <a:lnTo>
                    <a:pt x="1346" y="825"/>
                  </a:lnTo>
                  <a:lnTo>
                    <a:pt x="1348" y="823"/>
                  </a:lnTo>
                  <a:lnTo>
                    <a:pt x="1348" y="820"/>
                  </a:lnTo>
                  <a:lnTo>
                    <a:pt x="1350" y="820"/>
                  </a:lnTo>
                  <a:lnTo>
                    <a:pt x="1350" y="818"/>
                  </a:lnTo>
                  <a:lnTo>
                    <a:pt x="1350" y="817"/>
                  </a:lnTo>
                  <a:lnTo>
                    <a:pt x="1351" y="817"/>
                  </a:lnTo>
                  <a:lnTo>
                    <a:pt x="1351" y="817"/>
                  </a:lnTo>
                  <a:lnTo>
                    <a:pt x="1351" y="817"/>
                  </a:lnTo>
                  <a:lnTo>
                    <a:pt x="1351" y="817"/>
                  </a:lnTo>
                  <a:lnTo>
                    <a:pt x="1351" y="817"/>
                  </a:lnTo>
                  <a:lnTo>
                    <a:pt x="1351" y="817"/>
                  </a:lnTo>
                  <a:lnTo>
                    <a:pt x="1351" y="814"/>
                  </a:lnTo>
                  <a:lnTo>
                    <a:pt x="1351" y="812"/>
                  </a:lnTo>
                  <a:lnTo>
                    <a:pt x="1351" y="812"/>
                  </a:lnTo>
                  <a:lnTo>
                    <a:pt x="1350" y="812"/>
                  </a:lnTo>
                  <a:lnTo>
                    <a:pt x="1350" y="812"/>
                  </a:lnTo>
                  <a:lnTo>
                    <a:pt x="1351" y="809"/>
                  </a:lnTo>
                  <a:lnTo>
                    <a:pt x="1351" y="809"/>
                  </a:lnTo>
                  <a:lnTo>
                    <a:pt x="1350" y="807"/>
                  </a:lnTo>
                  <a:lnTo>
                    <a:pt x="1346" y="804"/>
                  </a:lnTo>
                  <a:lnTo>
                    <a:pt x="1345" y="801"/>
                  </a:lnTo>
                  <a:lnTo>
                    <a:pt x="1345" y="796"/>
                  </a:lnTo>
                  <a:lnTo>
                    <a:pt x="1343" y="795"/>
                  </a:lnTo>
                  <a:lnTo>
                    <a:pt x="1342" y="792"/>
                  </a:lnTo>
                  <a:lnTo>
                    <a:pt x="1342" y="790"/>
                  </a:lnTo>
                  <a:lnTo>
                    <a:pt x="1342" y="790"/>
                  </a:lnTo>
                  <a:lnTo>
                    <a:pt x="1342" y="789"/>
                  </a:lnTo>
                  <a:lnTo>
                    <a:pt x="1343" y="787"/>
                  </a:lnTo>
                  <a:lnTo>
                    <a:pt x="1345" y="786"/>
                  </a:lnTo>
                  <a:lnTo>
                    <a:pt x="1345" y="784"/>
                  </a:lnTo>
                  <a:lnTo>
                    <a:pt x="1346" y="784"/>
                  </a:lnTo>
                  <a:lnTo>
                    <a:pt x="1350" y="782"/>
                  </a:lnTo>
                  <a:lnTo>
                    <a:pt x="1351" y="781"/>
                  </a:lnTo>
                  <a:lnTo>
                    <a:pt x="1351" y="782"/>
                  </a:lnTo>
                  <a:lnTo>
                    <a:pt x="1350" y="784"/>
                  </a:lnTo>
                  <a:lnTo>
                    <a:pt x="1346" y="784"/>
                  </a:lnTo>
                  <a:lnTo>
                    <a:pt x="1345" y="786"/>
                  </a:lnTo>
                  <a:lnTo>
                    <a:pt x="1345" y="787"/>
                  </a:lnTo>
                  <a:lnTo>
                    <a:pt x="1343" y="790"/>
                  </a:lnTo>
                  <a:lnTo>
                    <a:pt x="1343" y="792"/>
                  </a:lnTo>
                  <a:lnTo>
                    <a:pt x="1343" y="792"/>
                  </a:lnTo>
                  <a:lnTo>
                    <a:pt x="1346" y="795"/>
                  </a:lnTo>
                  <a:lnTo>
                    <a:pt x="1348" y="796"/>
                  </a:lnTo>
                  <a:lnTo>
                    <a:pt x="1350" y="798"/>
                  </a:lnTo>
                  <a:lnTo>
                    <a:pt x="1351" y="798"/>
                  </a:lnTo>
                  <a:lnTo>
                    <a:pt x="1353" y="800"/>
                  </a:lnTo>
                  <a:lnTo>
                    <a:pt x="1354" y="800"/>
                  </a:lnTo>
                  <a:lnTo>
                    <a:pt x="1354" y="803"/>
                  </a:lnTo>
                  <a:lnTo>
                    <a:pt x="1353" y="804"/>
                  </a:lnTo>
                  <a:lnTo>
                    <a:pt x="1354" y="804"/>
                  </a:lnTo>
                  <a:lnTo>
                    <a:pt x="1356" y="803"/>
                  </a:lnTo>
                  <a:lnTo>
                    <a:pt x="1359" y="798"/>
                  </a:lnTo>
                  <a:lnTo>
                    <a:pt x="1359" y="798"/>
                  </a:lnTo>
                  <a:lnTo>
                    <a:pt x="1359" y="796"/>
                  </a:lnTo>
                  <a:lnTo>
                    <a:pt x="1361" y="796"/>
                  </a:lnTo>
                  <a:lnTo>
                    <a:pt x="1361" y="795"/>
                  </a:lnTo>
                  <a:lnTo>
                    <a:pt x="1362" y="795"/>
                  </a:lnTo>
                  <a:lnTo>
                    <a:pt x="1362" y="795"/>
                  </a:lnTo>
                  <a:lnTo>
                    <a:pt x="1362" y="793"/>
                  </a:lnTo>
                  <a:lnTo>
                    <a:pt x="1364" y="792"/>
                  </a:lnTo>
                  <a:lnTo>
                    <a:pt x="1362" y="790"/>
                  </a:lnTo>
                  <a:lnTo>
                    <a:pt x="1364" y="792"/>
                  </a:lnTo>
                  <a:lnTo>
                    <a:pt x="1365" y="789"/>
                  </a:lnTo>
                  <a:lnTo>
                    <a:pt x="1367" y="787"/>
                  </a:lnTo>
                  <a:lnTo>
                    <a:pt x="1368" y="782"/>
                  </a:lnTo>
                  <a:lnTo>
                    <a:pt x="1368" y="781"/>
                  </a:lnTo>
                  <a:lnTo>
                    <a:pt x="1368" y="781"/>
                  </a:lnTo>
                  <a:lnTo>
                    <a:pt x="1368" y="784"/>
                  </a:lnTo>
                  <a:lnTo>
                    <a:pt x="1368" y="786"/>
                  </a:lnTo>
                  <a:lnTo>
                    <a:pt x="1370" y="782"/>
                  </a:lnTo>
                  <a:lnTo>
                    <a:pt x="1370" y="779"/>
                  </a:lnTo>
                  <a:lnTo>
                    <a:pt x="1370" y="776"/>
                  </a:lnTo>
                  <a:lnTo>
                    <a:pt x="1370" y="775"/>
                  </a:lnTo>
                  <a:lnTo>
                    <a:pt x="1371" y="773"/>
                  </a:lnTo>
                  <a:lnTo>
                    <a:pt x="1370" y="771"/>
                  </a:lnTo>
                  <a:lnTo>
                    <a:pt x="1370" y="770"/>
                  </a:lnTo>
                  <a:lnTo>
                    <a:pt x="1370" y="771"/>
                  </a:lnTo>
                  <a:lnTo>
                    <a:pt x="1365" y="770"/>
                  </a:lnTo>
                  <a:lnTo>
                    <a:pt x="1365" y="768"/>
                  </a:lnTo>
                  <a:lnTo>
                    <a:pt x="1367" y="767"/>
                  </a:lnTo>
                  <a:lnTo>
                    <a:pt x="1367" y="765"/>
                  </a:lnTo>
                  <a:lnTo>
                    <a:pt x="1367" y="765"/>
                  </a:lnTo>
                  <a:lnTo>
                    <a:pt x="1368" y="765"/>
                  </a:lnTo>
                  <a:lnTo>
                    <a:pt x="1368" y="764"/>
                  </a:lnTo>
                  <a:lnTo>
                    <a:pt x="1370" y="764"/>
                  </a:lnTo>
                  <a:lnTo>
                    <a:pt x="1371" y="759"/>
                  </a:lnTo>
                  <a:lnTo>
                    <a:pt x="1371" y="757"/>
                  </a:lnTo>
                  <a:lnTo>
                    <a:pt x="1371" y="754"/>
                  </a:lnTo>
                  <a:lnTo>
                    <a:pt x="1370" y="751"/>
                  </a:lnTo>
                  <a:lnTo>
                    <a:pt x="1371" y="753"/>
                  </a:lnTo>
                  <a:lnTo>
                    <a:pt x="1371" y="754"/>
                  </a:lnTo>
                  <a:lnTo>
                    <a:pt x="1373" y="756"/>
                  </a:lnTo>
                  <a:lnTo>
                    <a:pt x="1371" y="759"/>
                  </a:lnTo>
                  <a:lnTo>
                    <a:pt x="1371" y="762"/>
                  </a:lnTo>
                  <a:lnTo>
                    <a:pt x="1370" y="764"/>
                  </a:lnTo>
                  <a:lnTo>
                    <a:pt x="1371" y="762"/>
                  </a:lnTo>
                  <a:lnTo>
                    <a:pt x="1371" y="762"/>
                  </a:lnTo>
                  <a:lnTo>
                    <a:pt x="1373" y="762"/>
                  </a:lnTo>
                  <a:lnTo>
                    <a:pt x="1375" y="760"/>
                  </a:lnTo>
                  <a:lnTo>
                    <a:pt x="1376" y="759"/>
                  </a:lnTo>
                  <a:lnTo>
                    <a:pt x="1378" y="757"/>
                  </a:lnTo>
                  <a:lnTo>
                    <a:pt x="1384" y="754"/>
                  </a:lnTo>
                  <a:lnTo>
                    <a:pt x="1387" y="753"/>
                  </a:lnTo>
                  <a:lnTo>
                    <a:pt x="1389" y="751"/>
                  </a:lnTo>
                  <a:lnTo>
                    <a:pt x="1390" y="751"/>
                  </a:lnTo>
                  <a:lnTo>
                    <a:pt x="1396" y="751"/>
                  </a:lnTo>
                  <a:lnTo>
                    <a:pt x="1398" y="750"/>
                  </a:lnTo>
                  <a:lnTo>
                    <a:pt x="1401" y="751"/>
                  </a:lnTo>
                  <a:lnTo>
                    <a:pt x="1404" y="750"/>
                  </a:lnTo>
                  <a:lnTo>
                    <a:pt x="1406" y="750"/>
                  </a:lnTo>
                  <a:lnTo>
                    <a:pt x="1409" y="750"/>
                  </a:lnTo>
                  <a:lnTo>
                    <a:pt x="1414" y="748"/>
                  </a:lnTo>
                  <a:lnTo>
                    <a:pt x="1415" y="746"/>
                  </a:lnTo>
                  <a:lnTo>
                    <a:pt x="1415" y="743"/>
                  </a:lnTo>
                  <a:lnTo>
                    <a:pt x="1417" y="742"/>
                  </a:lnTo>
                  <a:lnTo>
                    <a:pt x="1415" y="739"/>
                  </a:lnTo>
                  <a:lnTo>
                    <a:pt x="1417" y="739"/>
                  </a:lnTo>
                  <a:lnTo>
                    <a:pt x="1417" y="740"/>
                  </a:lnTo>
                  <a:lnTo>
                    <a:pt x="1417" y="740"/>
                  </a:lnTo>
                  <a:lnTo>
                    <a:pt x="1418" y="742"/>
                  </a:lnTo>
                  <a:lnTo>
                    <a:pt x="1420" y="740"/>
                  </a:lnTo>
                  <a:lnTo>
                    <a:pt x="1420" y="740"/>
                  </a:lnTo>
                  <a:lnTo>
                    <a:pt x="1418" y="743"/>
                  </a:lnTo>
                  <a:lnTo>
                    <a:pt x="1420" y="745"/>
                  </a:lnTo>
                  <a:lnTo>
                    <a:pt x="1420" y="746"/>
                  </a:lnTo>
                  <a:lnTo>
                    <a:pt x="1421" y="745"/>
                  </a:lnTo>
                  <a:lnTo>
                    <a:pt x="1423" y="745"/>
                  </a:lnTo>
                  <a:lnTo>
                    <a:pt x="1428" y="740"/>
                  </a:lnTo>
                  <a:lnTo>
                    <a:pt x="1428" y="742"/>
                  </a:lnTo>
                  <a:lnTo>
                    <a:pt x="1429" y="743"/>
                  </a:lnTo>
                  <a:lnTo>
                    <a:pt x="1428" y="745"/>
                  </a:lnTo>
                  <a:lnTo>
                    <a:pt x="1429" y="745"/>
                  </a:lnTo>
                  <a:lnTo>
                    <a:pt x="1432" y="743"/>
                  </a:lnTo>
                  <a:lnTo>
                    <a:pt x="1432" y="743"/>
                  </a:lnTo>
                  <a:lnTo>
                    <a:pt x="1439" y="742"/>
                  </a:lnTo>
                  <a:lnTo>
                    <a:pt x="1440" y="742"/>
                  </a:lnTo>
                  <a:lnTo>
                    <a:pt x="1442" y="742"/>
                  </a:lnTo>
                  <a:lnTo>
                    <a:pt x="1442" y="742"/>
                  </a:lnTo>
                  <a:lnTo>
                    <a:pt x="1442" y="739"/>
                  </a:lnTo>
                  <a:lnTo>
                    <a:pt x="1440" y="735"/>
                  </a:lnTo>
                  <a:lnTo>
                    <a:pt x="1439" y="732"/>
                  </a:lnTo>
                  <a:lnTo>
                    <a:pt x="1437" y="732"/>
                  </a:lnTo>
                  <a:lnTo>
                    <a:pt x="1437" y="732"/>
                  </a:lnTo>
                  <a:lnTo>
                    <a:pt x="1436" y="732"/>
                  </a:lnTo>
                  <a:lnTo>
                    <a:pt x="1436" y="732"/>
                  </a:lnTo>
                  <a:lnTo>
                    <a:pt x="1437" y="734"/>
                  </a:lnTo>
                  <a:lnTo>
                    <a:pt x="1437" y="732"/>
                  </a:lnTo>
                  <a:lnTo>
                    <a:pt x="1439" y="734"/>
                  </a:lnTo>
                  <a:lnTo>
                    <a:pt x="1439" y="734"/>
                  </a:lnTo>
                  <a:lnTo>
                    <a:pt x="1440" y="737"/>
                  </a:lnTo>
                  <a:lnTo>
                    <a:pt x="1440" y="739"/>
                  </a:lnTo>
                  <a:lnTo>
                    <a:pt x="1437" y="740"/>
                  </a:lnTo>
                  <a:lnTo>
                    <a:pt x="1436" y="740"/>
                  </a:lnTo>
                  <a:lnTo>
                    <a:pt x="1432" y="740"/>
                  </a:lnTo>
                  <a:lnTo>
                    <a:pt x="1431" y="739"/>
                  </a:lnTo>
                  <a:lnTo>
                    <a:pt x="1431" y="735"/>
                  </a:lnTo>
                  <a:lnTo>
                    <a:pt x="1429" y="734"/>
                  </a:lnTo>
                  <a:lnTo>
                    <a:pt x="1429" y="734"/>
                  </a:lnTo>
                  <a:lnTo>
                    <a:pt x="1429" y="734"/>
                  </a:lnTo>
                  <a:lnTo>
                    <a:pt x="1428" y="729"/>
                  </a:lnTo>
                  <a:lnTo>
                    <a:pt x="1426" y="728"/>
                  </a:lnTo>
                  <a:lnTo>
                    <a:pt x="1423" y="728"/>
                  </a:lnTo>
                  <a:lnTo>
                    <a:pt x="1421" y="726"/>
                  </a:lnTo>
                  <a:lnTo>
                    <a:pt x="1425" y="724"/>
                  </a:lnTo>
                  <a:lnTo>
                    <a:pt x="1425" y="723"/>
                  </a:lnTo>
                  <a:lnTo>
                    <a:pt x="1426" y="721"/>
                  </a:lnTo>
                  <a:lnTo>
                    <a:pt x="1428" y="721"/>
                  </a:lnTo>
                  <a:lnTo>
                    <a:pt x="1429" y="720"/>
                  </a:lnTo>
                  <a:lnTo>
                    <a:pt x="1429" y="720"/>
                  </a:lnTo>
                  <a:lnTo>
                    <a:pt x="1429" y="718"/>
                  </a:lnTo>
                  <a:lnTo>
                    <a:pt x="1429" y="718"/>
                  </a:lnTo>
                  <a:lnTo>
                    <a:pt x="1429" y="718"/>
                  </a:lnTo>
                  <a:lnTo>
                    <a:pt x="1428" y="718"/>
                  </a:lnTo>
                  <a:lnTo>
                    <a:pt x="1428" y="718"/>
                  </a:lnTo>
                  <a:lnTo>
                    <a:pt x="1426" y="717"/>
                  </a:lnTo>
                  <a:lnTo>
                    <a:pt x="1426" y="715"/>
                  </a:lnTo>
                  <a:lnTo>
                    <a:pt x="1426" y="715"/>
                  </a:lnTo>
                  <a:lnTo>
                    <a:pt x="1426" y="712"/>
                  </a:lnTo>
                  <a:lnTo>
                    <a:pt x="1428" y="709"/>
                  </a:lnTo>
                  <a:lnTo>
                    <a:pt x="1428" y="707"/>
                  </a:lnTo>
                  <a:lnTo>
                    <a:pt x="1429" y="707"/>
                  </a:lnTo>
                  <a:lnTo>
                    <a:pt x="1431" y="703"/>
                  </a:lnTo>
                  <a:lnTo>
                    <a:pt x="1434" y="699"/>
                  </a:lnTo>
                  <a:lnTo>
                    <a:pt x="1437" y="695"/>
                  </a:lnTo>
                  <a:lnTo>
                    <a:pt x="1436" y="695"/>
                  </a:lnTo>
                  <a:lnTo>
                    <a:pt x="1436" y="695"/>
                  </a:lnTo>
                  <a:lnTo>
                    <a:pt x="1437" y="692"/>
                  </a:lnTo>
                  <a:lnTo>
                    <a:pt x="1439" y="690"/>
                  </a:lnTo>
                  <a:lnTo>
                    <a:pt x="1440" y="690"/>
                  </a:lnTo>
                  <a:lnTo>
                    <a:pt x="1440" y="690"/>
                  </a:lnTo>
                  <a:lnTo>
                    <a:pt x="1440" y="692"/>
                  </a:lnTo>
                  <a:lnTo>
                    <a:pt x="1442" y="692"/>
                  </a:lnTo>
                  <a:lnTo>
                    <a:pt x="1442" y="690"/>
                  </a:lnTo>
                  <a:lnTo>
                    <a:pt x="1443" y="692"/>
                  </a:lnTo>
                  <a:lnTo>
                    <a:pt x="1443" y="692"/>
                  </a:lnTo>
                  <a:lnTo>
                    <a:pt x="1443" y="692"/>
                  </a:lnTo>
                  <a:lnTo>
                    <a:pt x="1443" y="690"/>
                  </a:lnTo>
                  <a:lnTo>
                    <a:pt x="1443" y="688"/>
                  </a:lnTo>
                  <a:lnTo>
                    <a:pt x="1445" y="688"/>
                  </a:lnTo>
                  <a:lnTo>
                    <a:pt x="1445" y="690"/>
                  </a:lnTo>
                  <a:lnTo>
                    <a:pt x="1445" y="690"/>
                  </a:lnTo>
                  <a:lnTo>
                    <a:pt x="1445" y="687"/>
                  </a:lnTo>
                  <a:lnTo>
                    <a:pt x="1447" y="687"/>
                  </a:lnTo>
                  <a:lnTo>
                    <a:pt x="1447" y="687"/>
                  </a:lnTo>
                  <a:lnTo>
                    <a:pt x="1447" y="688"/>
                  </a:lnTo>
                  <a:lnTo>
                    <a:pt x="1448" y="688"/>
                  </a:lnTo>
                  <a:lnTo>
                    <a:pt x="1448" y="687"/>
                  </a:lnTo>
                  <a:lnTo>
                    <a:pt x="1448" y="687"/>
                  </a:lnTo>
                  <a:lnTo>
                    <a:pt x="1448" y="688"/>
                  </a:lnTo>
                  <a:lnTo>
                    <a:pt x="1450" y="688"/>
                  </a:lnTo>
                  <a:lnTo>
                    <a:pt x="1450" y="687"/>
                  </a:lnTo>
                  <a:lnTo>
                    <a:pt x="1451" y="687"/>
                  </a:lnTo>
                  <a:lnTo>
                    <a:pt x="1454" y="687"/>
                  </a:lnTo>
                  <a:lnTo>
                    <a:pt x="1456" y="685"/>
                  </a:lnTo>
                  <a:lnTo>
                    <a:pt x="1456" y="684"/>
                  </a:lnTo>
                  <a:lnTo>
                    <a:pt x="1456" y="682"/>
                  </a:lnTo>
                  <a:lnTo>
                    <a:pt x="1459" y="678"/>
                  </a:lnTo>
                  <a:lnTo>
                    <a:pt x="1459" y="676"/>
                  </a:lnTo>
                  <a:lnTo>
                    <a:pt x="1461" y="674"/>
                  </a:lnTo>
                  <a:lnTo>
                    <a:pt x="1461" y="673"/>
                  </a:lnTo>
                  <a:lnTo>
                    <a:pt x="1462" y="673"/>
                  </a:lnTo>
                  <a:lnTo>
                    <a:pt x="1462" y="674"/>
                  </a:lnTo>
                  <a:lnTo>
                    <a:pt x="1461" y="676"/>
                  </a:lnTo>
                  <a:lnTo>
                    <a:pt x="1462" y="676"/>
                  </a:lnTo>
                  <a:lnTo>
                    <a:pt x="1462" y="676"/>
                  </a:lnTo>
                  <a:lnTo>
                    <a:pt x="1462" y="676"/>
                  </a:lnTo>
                  <a:lnTo>
                    <a:pt x="1462" y="678"/>
                  </a:lnTo>
                  <a:lnTo>
                    <a:pt x="1461" y="678"/>
                  </a:lnTo>
                  <a:lnTo>
                    <a:pt x="1462" y="678"/>
                  </a:lnTo>
                  <a:lnTo>
                    <a:pt x="1465" y="679"/>
                  </a:lnTo>
                  <a:lnTo>
                    <a:pt x="1465" y="679"/>
                  </a:lnTo>
                  <a:lnTo>
                    <a:pt x="1465" y="681"/>
                  </a:lnTo>
                  <a:lnTo>
                    <a:pt x="1467" y="679"/>
                  </a:lnTo>
                  <a:lnTo>
                    <a:pt x="1467" y="678"/>
                  </a:lnTo>
                  <a:lnTo>
                    <a:pt x="1467" y="676"/>
                  </a:lnTo>
                  <a:lnTo>
                    <a:pt x="1467" y="674"/>
                  </a:lnTo>
                  <a:lnTo>
                    <a:pt x="1468" y="674"/>
                  </a:lnTo>
                  <a:lnTo>
                    <a:pt x="1468" y="676"/>
                  </a:lnTo>
                  <a:lnTo>
                    <a:pt x="1470" y="674"/>
                  </a:lnTo>
                  <a:lnTo>
                    <a:pt x="1470" y="674"/>
                  </a:lnTo>
                  <a:lnTo>
                    <a:pt x="1472" y="674"/>
                  </a:lnTo>
                  <a:lnTo>
                    <a:pt x="1472" y="674"/>
                  </a:lnTo>
                  <a:lnTo>
                    <a:pt x="1473" y="674"/>
                  </a:lnTo>
                  <a:lnTo>
                    <a:pt x="1473" y="674"/>
                  </a:lnTo>
                  <a:lnTo>
                    <a:pt x="1473" y="676"/>
                  </a:lnTo>
                  <a:lnTo>
                    <a:pt x="1475" y="678"/>
                  </a:lnTo>
                  <a:lnTo>
                    <a:pt x="1475" y="676"/>
                  </a:lnTo>
                  <a:lnTo>
                    <a:pt x="1476" y="676"/>
                  </a:lnTo>
                  <a:lnTo>
                    <a:pt x="1476" y="674"/>
                  </a:lnTo>
                  <a:lnTo>
                    <a:pt x="1476" y="676"/>
                  </a:lnTo>
                  <a:lnTo>
                    <a:pt x="1478" y="673"/>
                  </a:lnTo>
                  <a:lnTo>
                    <a:pt x="1479" y="671"/>
                  </a:lnTo>
                  <a:lnTo>
                    <a:pt x="1479" y="673"/>
                  </a:lnTo>
                  <a:lnTo>
                    <a:pt x="1481" y="673"/>
                  </a:lnTo>
                  <a:lnTo>
                    <a:pt x="1482" y="673"/>
                  </a:lnTo>
                  <a:lnTo>
                    <a:pt x="1482" y="671"/>
                  </a:lnTo>
                  <a:lnTo>
                    <a:pt x="1486" y="670"/>
                  </a:lnTo>
                  <a:lnTo>
                    <a:pt x="1487" y="670"/>
                  </a:lnTo>
                  <a:lnTo>
                    <a:pt x="1490" y="670"/>
                  </a:lnTo>
                  <a:lnTo>
                    <a:pt x="1493" y="667"/>
                  </a:lnTo>
                  <a:lnTo>
                    <a:pt x="1493" y="665"/>
                  </a:lnTo>
                  <a:close/>
                  <a:moveTo>
                    <a:pt x="1332" y="679"/>
                  </a:moveTo>
                  <a:lnTo>
                    <a:pt x="1334" y="679"/>
                  </a:lnTo>
                  <a:lnTo>
                    <a:pt x="1334" y="679"/>
                  </a:lnTo>
                  <a:lnTo>
                    <a:pt x="1332" y="679"/>
                  </a:lnTo>
                  <a:lnTo>
                    <a:pt x="1332" y="679"/>
                  </a:lnTo>
                  <a:lnTo>
                    <a:pt x="1332" y="679"/>
                  </a:lnTo>
                  <a:lnTo>
                    <a:pt x="1332" y="679"/>
                  </a:lnTo>
                  <a:lnTo>
                    <a:pt x="1332" y="679"/>
                  </a:lnTo>
                  <a:close/>
                  <a:moveTo>
                    <a:pt x="1331" y="685"/>
                  </a:moveTo>
                  <a:lnTo>
                    <a:pt x="1331" y="685"/>
                  </a:lnTo>
                  <a:lnTo>
                    <a:pt x="1331" y="685"/>
                  </a:lnTo>
                  <a:lnTo>
                    <a:pt x="1331" y="687"/>
                  </a:lnTo>
                  <a:lnTo>
                    <a:pt x="1331" y="687"/>
                  </a:lnTo>
                  <a:lnTo>
                    <a:pt x="1331" y="685"/>
                  </a:lnTo>
                  <a:lnTo>
                    <a:pt x="1331" y="685"/>
                  </a:lnTo>
                  <a:close/>
                  <a:moveTo>
                    <a:pt x="1282" y="710"/>
                  </a:moveTo>
                  <a:lnTo>
                    <a:pt x="1284" y="710"/>
                  </a:lnTo>
                  <a:lnTo>
                    <a:pt x="1284" y="709"/>
                  </a:lnTo>
                  <a:lnTo>
                    <a:pt x="1284" y="709"/>
                  </a:lnTo>
                  <a:lnTo>
                    <a:pt x="1282" y="709"/>
                  </a:lnTo>
                  <a:lnTo>
                    <a:pt x="1282" y="709"/>
                  </a:lnTo>
                  <a:lnTo>
                    <a:pt x="1282" y="710"/>
                  </a:lnTo>
                  <a:lnTo>
                    <a:pt x="1282" y="710"/>
                  </a:lnTo>
                  <a:lnTo>
                    <a:pt x="1282" y="710"/>
                  </a:lnTo>
                  <a:lnTo>
                    <a:pt x="1282" y="710"/>
                  </a:lnTo>
                  <a:close/>
                  <a:moveTo>
                    <a:pt x="1198" y="638"/>
                  </a:moveTo>
                  <a:lnTo>
                    <a:pt x="1199" y="638"/>
                  </a:lnTo>
                  <a:lnTo>
                    <a:pt x="1201" y="638"/>
                  </a:lnTo>
                  <a:lnTo>
                    <a:pt x="1203" y="638"/>
                  </a:lnTo>
                  <a:lnTo>
                    <a:pt x="1204" y="637"/>
                  </a:lnTo>
                  <a:lnTo>
                    <a:pt x="1203" y="637"/>
                  </a:lnTo>
                  <a:lnTo>
                    <a:pt x="1203" y="635"/>
                  </a:lnTo>
                  <a:lnTo>
                    <a:pt x="1203" y="635"/>
                  </a:lnTo>
                  <a:lnTo>
                    <a:pt x="1201" y="634"/>
                  </a:lnTo>
                  <a:lnTo>
                    <a:pt x="1199" y="634"/>
                  </a:lnTo>
                  <a:lnTo>
                    <a:pt x="1199" y="634"/>
                  </a:lnTo>
                  <a:lnTo>
                    <a:pt x="1199" y="635"/>
                  </a:lnTo>
                  <a:lnTo>
                    <a:pt x="1199" y="635"/>
                  </a:lnTo>
                  <a:lnTo>
                    <a:pt x="1199" y="635"/>
                  </a:lnTo>
                  <a:lnTo>
                    <a:pt x="1198" y="637"/>
                  </a:lnTo>
                  <a:lnTo>
                    <a:pt x="1198" y="637"/>
                  </a:lnTo>
                  <a:lnTo>
                    <a:pt x="1198" y="637"/>
                  </a:lnTo>
                  <a:lnTo>
                    <a:pt x="1196" y="637"/>
                  </a:lnTo>
                  <a:lnTo>
                    <a:pt x="1196" y="637"/>
                  </a:lnTo>
                  <a:lnTo>
                    <a:pt x="1196" y="637"/>
                  </a:lnTo>
                  <a:lnTo>
                    <a:pt x="1198" y="638"/>
                  </a:lnTo>
                  <a:close/>
                  <a:moveTo>
                    <a:pt x="1192" y="629"/>
                  </a:moveTo>
                  <a:lnTo>
                    <a:pt x="1192" y="629"/>
                  </a:lnTo>
                  <a:lnTo>
                    <a:pt x="1192" y="629"/>
                  </a:lnTo>
                  <a:lnTo>
                    <a:pt x="1192" y="629"/>
                  </a:lnTo>
                  <a:lnTo>
                    <a:pt x="1192" y="631"/>
                  </a:lnTo>
                  <a:lnTo>
                    <a:pt x="1192" y="631"/>
                  </a:lnTo>
                  <a:lnTo>
                    <a:pt x="1193" y="631"/>
                  </a:lnTo>
                  <a:lnTo>
                    <a:pt x="1192" y="629"/>
                  </a:lnTo>
                  <a:lnTo>
                    <a:pt x="1192" y="629"/>
                  </a:lnTo>
                  <a:lnTo>
                    <a:pt x="1192" y="629"/>
                  </a:lnTo>
                  <a:close/>
                  <a:moveTo>
                    <a:pt x="1190" y="627"/>
                  </a:moveTo>
                  <a:lnTo>
                    <a:pt x="1192" y="627"/>
                  </a:lnTo>
                  <a:lnTo>
                    <a:pt x="1192" y="627"/>
                  </a:lnTo>
                  <a:lnTo>
                    <a:pt x="1192" y="627"/>
                  </a:lnTo>
                  <a:lnTo>
                    <a:pt x="1192" y="627"/>
                  </a:lnTo>
                  <a:lnTo>
                    <a:pt x="1192" y="626"/>
                  </a:lnTo>
                  <a:lnTo>
                    <a:pt x="1192" y="624"/>
                  </a:lnTo>
                  <a:lnTo>
                    <a:pt x="1192" y="624"/>
                  </a:lnTo>
                  <a:lnTo>
                    <a:pt x="1192" y="623"/>
                  </a:lnTo>
                  <a:lnTo>
                    <a:pt x="1192" y="623"/>
                  </a:lnTo>
                  <a:lnTo>
                    <a:pt x="1190" y="623"/>
                  </a:lnTo>
                  <a:lnTo>
                    <a:pt x="1190" y="624"/>
                  </a:lnTo>
                  <a:lnTo>
                    <a:pt x="1190" y="626"/>
                  </a:lnTo>
                  <a:lnTo>
                    <a:pt x="1190" y="627"/>
                  </a:lnTo>
                  <a:close/>
                  <a:moveTo>
                    <a:pt x="1187" y="642"/>
                  </a:moveTo>
                  <a:lnTo>
                    <a:pt x="1185" y="642"/>
                  </a:lnTo>
                  <a:lnTo>
                    <a:pt x="1184" y="642"/>
                  </a:lnTo>
                  <a:lnTo>
                    <a:pt x="1185" y="643"/>
                  </a:lnTo>
                  <a:lnTo>
                    <a:pt x="1187" y="643"/>
                  </a:lnTo>
                  <a:lnTo>
                    <a:pt x="1187" y="643"/>
                  </a:lnTo>
                  <a:lnTo>
                    <a:pt x="1187" y="643"/>
                  </a:lnTo>
                  <a:lnTo>
                    <a:pt x="1189" y="643"/>
                  </a:lnTo>
                  <a:lnTo>
                    <a:pt x="1189" y="642"/>
                  </a:lnTo>
                  <a:lnTo>
                    <a:pt x="1187" y="642"/>
                  </a:lnTo>
                  <a:lnTo>
                    <a:pt x="1187" y="642"/>
                  </a:lnTo>
                  <a:close/>
                  <a:moveTo>
                    <a:pt x="1168" y="642"/>
                  </a:moveTo>
                  <a:lnTo>
                    <a:pt x="1167" y="643"/>
                  </a:lnTo>
                  <a:lnTo>
                    <a:pt x="1167" y="645"/>
                  </a:lnTo>
                  <a:lnTo>
                    <a:pt x="1167" y="646"/>
                  </a:lnTo>
                  <a:lnTo>
                    <a:pt x="1167" y="646"/>
                  </a:lnTo>
                  <a:lnTo>
                    <a:pt x="1167" y="646"/>
                  </a:lnTo>
                  <a:lnTo>
                    <a:pt x="1168" y="646"/>
                  </a:lnTo>
                  <a:lnTo>
                    <a:pt x="1168" y="645"/>
                  </a:lnTo>
                  <a:lnTo>
                    <a:pt x="1168" y="643"/>
                  </a:lnTo>
                  <a:lnTo>
                    <a:pt x="1168" y="643"/>
                  </a:lnTo>
                  <a:lnTo>
                    <a:pt x="1168" y="642"/>
                  </a:lnTo>
                  <a:close/>
                  <a:moveTo>
                    <a:pt x="1159" y="657"/>
                  </a:moveTo>
                  <a:lnTo>
                    <a:pt x="1159" y="659"/>
                  </a:lnTo>
                  <a:lnTo>
                    <a:pt x="1159" y="659"/>
                  </a:lnTo>
                  <a:lnTo>
                    <a:pt x="1159" y="659"/>
                  </a:lnTo>
                  <a:lnTo>
                    <a:pt x="1160" y="659"/>
                  </a:lnTo>
                  <a:lnTo>
                    <a:pt x="1160" y="659"/>
                  </a:lnTo>
                  <a:lnTo>
                    <a:pt x="1160" y="659"/>
                  </a:lnTo>
                  <a:lnTo>
                    <a:pt x="1159" y="657"/>
                  </a:lnTo>
                  <a:lnTo>
                    <a:pt x="1159" y="657"/>
                  </a:lnTo>
                  <a:close/>
                  <a:moveTo>
                    <a:pt x="1143" y="651"/>
                  </a:moveTo>
                  <a:lnTo>
                    <a:pt x="1143" y="651"/>
                  </a:lnTo>
                  <a:lnTo>
                    <a:pt x="1143" y="652"/>
                  </a:lnTo>
                  <a:lnTo>
                    <a:pt x="1143" y="652"/>
                  </a:lnTo>
                  <a:lnTo>
                    <a:pt x="1143" y="652"/>
                  </a:lnTo>
                  <a:lnTo>
                    <a:pt x="1145" y="652"/>
                  </a:lnTo>
                  <a:lnTo>
                    <a:pt x="1145" y="652"/>
                  </a:lnTo>
                  <a:lnTo>
                    <a:pt x="1145" y="651"/>
                  </a:lnTo>
                  <a:lnTo>
                    <a:pt x="1145" y="651"/>
                  </a:lnTo>
                  <a:lnTo>
                    <a:pt x="1143" y="651"/>
                  </a:lnTo>
                  <a:close/>
                  <a:moveTo>
                    <a:pt x="1142" y="656"/>
                  </a:moveTo>
                  <a:lnTo>
                    <a:pt x="1142" y="656"/>
                  </a:lnTo>
                  <a:lnTo>
                    <a:pt x="1142" y="654"/>
                  </a:lnTo>
                  <a:lnTo>
                    <a:pt x="1142" y="654"/>
                  </a:lnTo>
                  <a:lnTo>
                    <a:pt x="1142" y="654"/>
                  </a:lnTo>
                  <a:lnTo>
                    <a:pt x="1140" y="654"/>
                  </a:lnTo>
                  <a:lnTo>
                    <a:pt x="1140" y="656"/>
                  </a:lnTo>
                  <a:lnTo>
                    <a:pt x="1139" y="657"/>
                  </a:lnTo>
                  <a:lnTo>
                    <a:pt x="1139" y="657"/>
                  </a:lnTo>
                  <a:lnTo>
                    <a:pt x="1137" y="659"/>
                  </a:lnTo>
                  <a:lnTo>
                    <a:pt x="1137" y="660"/>
                  </a:lnTo>
                  <a:lnTo>
                    <a:pt x="1137" y="660"/>
                  </a:lnTo>
                  <a:lnTo>
                    <a:pt x="1135" y="663"/>
                  </a:lnTo>
                  <a:lnTo>
                    <a:pt x="1135" y="663"/>
                  </a:lnTo>
                  <a:lnTo>
                    <a:pt x="1135" y="663"/>
                  </a:lnTo>
                  <a:lnTo>
                    <a:pt x="1135" y="665"/>
                  </a:lnTo>
                  <a:lnTo>
                    <a:pt x="1135" y="665"/>
                  </a:lnTo>
                  <a:lnTo>
                    <a:pt x="1137" y="667"/>
                  </a:lnTo>
                  <a:lnTo>
                    <a:pt x="1137" y="665"/>
                  </a:lnTo>
                  <a:lnTo>
                    <a:pt x="1139" y="663"/>
                  </a:lnTo>
                  <a:lnTo>
                    <a:pt x="1139" y="663"/>
                  </a:lnTo>
                  <a:lnTo>
                    <a:pt x="1139" y="663"/>
                  </a:lnTo>
                  <a:lnTo>
                    <a:pt x="1139" y="662"/>
                  </a:lnTo>
                  <a:lnTo>
                    <a:pt x="1140" y="660"/>
                  </a:lnTo>
                  <a:lnTo>
                    <a:pt x="1140" y="660"/>
                  </a:lnTo>
                  <a:lnTo>
                    <a:pt x="1140" y="660"/>
                  </a:lnTo>
                  <a:lnTo>
                    <a:pt x="1140" y="660"/>
                  </a:lnTo>
                  <a:lnTo>
                    <a:pt x="1140" y="659"/>
                  </a:lnTo>
                  <a:lnTo>
                    <a:pt x="1140" y="659"/>
                  </a:lnTo>
                  <a:lnTo>
                    <a:pt x="1140" y="659"/>
                  </a:lnTo>
                  <a:lnTo>
                    <a:pt x="1140" y="657"/>
                  </a:lnTo>
                  <a:lnTo>
                    <a:pt x="1142" y="657"/>
                  </a:lnTo>
                  <a:lnTo>
                    <a:pt x="1142" y="657"/>
                  </a:lnTo>
                  <a:lnTo>
                    <a:pt x="1142" y="656"/>
                  </a:lnTo>
                  <a:lnTo>
                    <a:pt x="1142" y="656"/>
                  </a:lnTo>
                  <a:lnTo>
                    <a:pt x="1142" y="656"/>
                  </a:lnTo>
                  <a:close/>
                  <a:moveTo>
                    <a:pt x="1113" y="606"/>
                  </a:moveTo>
                  <a:lnTo>
                    <a:pt x="1113" y="607"/>
                  </a:lnTo>
                  <a:lnTo>
                    <a:pt x="1113" y="607"/>
                  </a:lnTo>
                  <a:lnTo>
                    <a:pt x="1117" y="609"/>
                  </a:lnTo>
                  <a:lnTo>
                    <a:pt x="1117" y="607"/>
                  </a:lnTo>
                  <a:lnTo>
                    <a:pt x="1117" y="607"/>
                  </a:lnTo>
                  <a:lnTo>
                    <a:pt x="1117" y="607"/>
                  </a:lnTo>
                  <a:lnTo>
                    <a:pt x="1117" y="606"/>
                  </a:lnTo>
                  <a:lnTo>
                    <a:pt x="1117" y="607"/>
                  </a:lnTo>
                  <a:lnTo>
                    <a:pt x="1117" y="607"/>
                  </a:lnTo>
                  <a:lnTo>
                    <a:pt x="1117" y="609"/>
                  </a:lnTo>
                  <a:lnTo>
                    <a:pt x="1117" y="609"/>
                  </a:lnTo>
                  <a:lnTo>
                    <a:pt x="1117" y="610"/>
                  </a:lnTo>
                  <a:lnTo>
                    <a:pt x="1117" y="610"/>
                  </a:lnTo>
                  <a:lnTo>
                    <a:pt x="1117" y="610"/>
                  </a:lnTo>
                  <a:lnTo>
                    <a:pt x="1118" y="609"/>
                  </a:lnTo>
                  <a:lnTo>
                    <a:pt x="1120" y="607"/>
                  </a:lnTo>
                  <a:lnTo>
                    <a:pt x="1120" y="607"/>
                  </a:lnTo>
                  <a:lnTo>
                    <a:pt x="1120" y="606"/>
                  </a:lnTo>
                  <a:lnTo>
                    <a:pt x="1124" y="602"/>
                  </a:lnTo>
                  <a:lnTo>
                    <a:pt x="1124" y="602"/>
                  </a:lnTo>
                  <a:lnTo>
                    <a:pt x="1124" y="602"/>
                  </a:lnTo>
                  <a:lnTo>
                    <a:pt x="1124" y="601"/>
                  </a:lnTo>
                  <a:lnTo>
                    <a:pt x="1124" y="601"/>
                  </a:lnTo>
                  <a:lnTo>
                    <a:pt x="1128" y="601"/>
                  </a:lnTo>
                  <a:lnTo>
                    <a:pt x="1129" y="599"/>
                  </a:lnTo>
                  <a:lnTo>
                    <a:pt x="1128" y="599"/>
                  </a:lnTo>
                  <a:lnTo>
                    <a:pt x="1126" y="599"/>
                  </a:lnTo>
                  <a:lnTo>
                    <a:pt x="1124" y="599"/>
                  </a:lnTo>
                  <a:lnTo>
                    <a:pt x="1123" y="599"/>
                  </a:lnTo>
                  <a:lnTo>
                    <a:pt x="1118" y="601"/>
                  </a:lnTo>
                  <a:lnTo>
                    <a:pt x="1117" y="601"/>
                  </a:lnTo>
                  <a:lnTo>
                    <a:pt x="1115" y="604"/>
                  </a:lnTo>
                  <a:lnTo>
                    <a:pt x="1113" y="606"/>
                  </a:lnTo>
                  <a:close/>
                  <a:moveTo>
                    <a:pt x="1103" y="588"/>
                  </a:moveTo>
                  <a:lnTo>
                    <a:pt x="1103" y="590"/>
                  </a:lnTo>
                  <a:lnTo>
                    <a:pt x="1104" y="590"/>
                  </a:lnTo>
                  <a:lnTo>
                    <a:pt x="1106" y="590"/>
                  </a:lnTo>
                  <a:lnTo>
                    <a:pt x="1107" y="588"/>
                  </a:lnTo>
                  <a:lnTo>
                    <a:pt x="1107" y="588"/>
                  </a:lnTo>
                  <a:lnTo>
                    <a:pt x="1109" y="588"/>
                  </a:lnTo>
                  <a:lnTo>
                    <a:pt x="1107" y="588"/>
                  </a:lnTo>
                  <a:lnTo>
                    <a:pt x="1107" y="587"/>
                  </a:lnTo>
                  <a:lnTo>
                    <a:pt x="1109" y="587"/>
                  </a:lnTo>
                  <a:lnTo>
                    <a:pt x="1113" y="584"/>
                  </a:lnTo>
                  <a:lnTo>
                    <a:pt x="1113" y="584"/>
                  </a:lnTo>
                  <a:lnTo>
                    <a:pt x="1113" y="584"/>
                  </a:lnTo>
                  <a:lnTo>
                    <a:pt x="1113" y="582"/>
                  </a:lnTo>
                  <a:lnTo>
                    <a:pt x="1115" y="581"/>
                  </a:lnTo>
                  <a:lnTo>
                    <a:pt x="1115" y="581"/>
                  </a:lnTo>
                  <a:lnTo>
                    <a:pt x="1113" y="581"/>
                  </a:lnTo>
                  <a:lnTo>
                    <a:pt x="1110" y="582"/>
                  </a:lnTo>
                  <a:lnTo>
                    <a:pt x="1104" y="587"/>
                  </a:lnTo>
                  <a:lnTo>
                    <a:pt x="1104" y="587"/>
                  </a:lnTo>
                  <a:lnTo>
                    <a:pt x="1103" y="587"/>
                  </a:lnTo>
                  <a:lnTo>
                    <a:pt x="1104" y="587"/>
                  </a:lnTo>
                  <a:lnTo>
                    <a:pt x="1104" y="588"/>
                  </a:lnTo>
                  <a:lnTo>
                    <a:pt x="1103" y="588"/>
                  </a:lnTo>
                  <a:close/>
                  <a:moveTo>
                    <a:pt x="1081" y="610"/>
                  </a:moveTo>
                  <a:lnTo>
                    <a:pt x="1081" y="610"/>
                  </a:lnTo>
                  <a:lnTo>
                    <a:pt x="1081" y="610"/>
                  </a:lnTo>
                  <a:lnTo>
                    <a:pt x="1082" y="610"/>
                  </a:lnTo>
                  <a:lnTo>
                    <a:pt x="1082" y="610"/>
                  </a:lnTo>
                  <a:lnTo>
                    <a:pt x="1082" y="610"/>
                  </a:lnTo>
                  <a:lnTo>
                    <a:pt x="1082" y="609"/>
                  </a:lnTo>
                  <a:lnTo>
                    <a:pt x="1081" y="610"/>
                  </a:lnTo>
                  <a:lnTo>
                    <a:pt x="1081" y="610"/>
                  </a:lnTo>
                  <a:close/>
                  <a:moveTo>
                    <a:pt x="1079" y="613"/>
                  </a:moveTo>
                  <a:lnTo>
                    <a:pt x="1079" y="612"/>
                  </a:lnTo>
                  <a:lnTo>
                    <a:pt x="1079" y="612"/>
                  </a:lnTo>
                  <a:lnTo>
                    <a:pt x="1079" y="612"/>
                  </a:lnTo>
                  <a:lnTo>
                    <a:pt x="1078" y="613"/>
                  </a:lnTo>
                  <a:lnTo>
                    <a:pt x="1078" y="613"/>
                  </a:lnTo>
                  <a:lnTo>
                    <a:pt x="1079" y="613"/>
                  </a:lnTo>
                  <a:lnTo>
                    <a:pt x="1079" y="613"/>
                  </a:lnTo>
                  <a:close/>
                  <a:moveTo>
                    <a:pt x="1076" y="617"/>
                  </a:moveTo>
                  <a:lnTo>
                    <a:pt x="1076" y="617"/>
                  </a:lnTo>
                  <a:lnTo>
                    <a:pt x="1076" y="617"/>
                  </a:lnTo>
                  <a:lnTo>
                    <a:pt x="1078" y="617"/>
                  </a:lnTo>
                  <a:lnTo>
                    <a:pt x="1078" y="617"/>
                  </a:lnTo>
                  <a:lnTo>
                    <a:pt x="1078" y="615"/>
                  </a:lnTo>
                  <a:lnTo>
                    <a:pt x="1079" y="615"/>
                  </a:lnTo>
                  <a:lnTo>
                    <a:pt x="1079" y="615"/>
                  </a:lnTo>
                  <a:lnTo>
                    <a:pt x="1079" y="615"/>
                  </a:lnTo>
                  <a:lnTo>
                    <a:pt x="1076" y="617"/>
                  </a:lnTo>
                  <a:lnTo>
                    <a:pt x="1076" y="617"/>
                  </a:lnTo>
                  <a:lnTo>
                    <a:pt x="1076" y="617"/>
                  </a:lnTo>
                  <a:close/>
                  <a:moveTo>
                    <a:pt x="1078" y="613"/>
                  </a:moveTo>
                  <a:lnTo>
                    <a:pt x="1076" y="613"/>
                  </a:lnTo>
                  <a:lnTo>
                    <a:pt x="1076" y="612"/>
                  </a:lnTo>
                  <a:lnTo>
                    <a:pt x="1076" y="612"/>
                  </a:lnTo>
                  <a:lnTo>
                    <a:pt x="1076" y="612"/>
                  </a:lnTo>
                  <a:lnTo>
                    <a:pt x="1076" y="613"/>
                  </a:lnTo>
                  <a:lnTo>
                    <a:pt x="1076" y="613"/>
                  </a:lnTo>
                  <a:lnTo>
                    <a:pt x="1078" y="613"/>
                  </a:lnTo>
                  <a:close/>
                  <a:moveTo>
                    <a:pt x="366" y="390"/>
                  </a:moveTo>
                  <a:lnTo>
                    <a:pt x="363" y="385"/>
                  </a:lnTo>
                  <a:lnTo>
                    <a:pt x="363" y="382"/>
                  </a:lnTo>
                  <a:lnTo>
                    <a:pt x="360" y="380"/>
                  </a:lnTo>
                  <a:lnTo>
                    <a:pt x="360" y="380"/>
                  </a:lnTo>
                  <a:lnTo>
                    <a:pt x="360" y="380"/>
                  </a:lnTo>
                  <a:lnTo>
                    <a:pt x="360" y="382"/>
                  </a:lnTo>
                  <a:lnTo>
                    <a:pt x="360" y="383"/>
                  </a:lnTo>
                  <a:lnTo>
                    <a:pt x="360" y="385"/>
                  </a:lnTo>
                  <a:lnTo>
                    <a:pt x="360" y="386"/>
                  </a:lnTo>
                  <a:lnTo>
                    <a:pt x="360" y="386"/>
                  </a:lnTo>
                  <a:lnTo>
                    <a:pt x="361" y="386"/>
                  </a:lnTo>
                  <a:lnTo>
                    <a:pt x="361" y="388"/>
                  </a:lnTo>
                  <a:lnTo>
                    <a:pt x="361" y="390"/>
                  </a:lnTo>
                  <a:lnTo>
                    <a:pt x="361" y="391"/>
                  </a:lnTo>
                  <a:lnTo>
                    <a:pt x="363" y="391"/>
                  </a:lnTo>
                  <a:lnTo>
                    <a:pt x="363" y="391"/>
                  </a:lnTo>
                  <a:lnTo>
                    <a:pt x="366" y="391"/>
                  </a:lnTo>
                  <a:lnTo>
                    <a:pt x="366" y="390"/>
                  </a:lnTo>
                  <a:close/>
                  <a:moveTo>
                    <a:pt x="341" y="391"/>
                  </a:moveTo>
                  <a:lnTo>
                    <a:pt x="340" y="390"/>
                  </a:lnTo>
                  <a:lnTo>
                    <a:pt x="338" y="390"/>
                  </a:lnTo>
                  <a:lnTo>
                    <a:pt x="338" y="391"/>
                  </a:lnTo>
                  <a:lnTo>
                    <a:pt x="338" y="391"/>
                  </a:lnTo>
                  <a:lnTo>
                    <a:pt x="336" y="391"/>
                  </a:lnTo>
                  <a:lnTo>
                    <a:pt x="335" y="388"/>
                  </a:lnTo>
                  <a:lnTo>
                    <a:pt x="335" y="386"/>
                  </a:lnTo>
                  <a:lnTo>
                    <a:pt x="335" y="385"/>
                  </a:lnTo>
                  <a:lnTo>
                    <a:pt x="333" y="383"/>
                  </a:lnTo>
                  <a:lnTo>
                    <a:pt x="333" y="382"/>
                  </a:lnTo>
                  <a:lnTo>
                    <a:pt x="329" y="377"/>
                  </a:lnTo>
                  <a:lnTo>
                    <a:pt x="327" y="379"/>
                  </a:lnTo>
                  <a:lnTo>
                    <a:pt x="327" y="380"/>
                  </a:lnTo>
                  <a:lnTo>
                    <a:pt x="327" y="382"/>
                  </a:lnTo>
                  <a:lnTo>
                    <a:pt x="329" y="382"/>
                  </a:lnTo>
                  <a:lnTo>
                    <a:pt x="330" y="382"/>
                  </a:lnTo>
                  <a:lnTo>
                    <a:pt x="330" y="385"/>
                  </a:lnTo>
                  <a:lnTo>
                    <a:pt x="332" y="388"/>
                  </a:lnTo>
                  <a:lnTo>
                    <a:pt x="333" y="390"/>
                  </a:lnTo>
                  <a:lnTo>
                    <a:pt x="333" y="390"/>
                  </a:lnTo>
                  <a:lnTo>
                    <a:pt x="335" y="393"/>
                  </a:lnTo>
                  <a:lnTo>
                    <a:pt x="336" y="394"/>
                  </a:lnTo>
                  <a:lnTo>
                    <a:pt x="338" y="396"/>
                  </a:lnTo>
                  <a:lnTo>
                    <a:pt x="340" y="397"/>
                  </a:lnTo>
                  <a:lnTo>
                    <a:pt x="340" y="396"/>
                  </a:lnTo>
                  <a:lnTo>
                    <a:pt x="341" y="396"/>
                  </a:lnTo>
                  <a:lnTo>
                    <a:pt x="341" y="393"/>
                  </a:lnTo>
                  <a:lnTo>
                    <a:pt x="341" y="391"/>
                  </a:lnTo>
                  <a:lnTo>
                    <a:pt x="341" y="391"/>
                  </a:lnTo>
                  <a:close/>
                  <a:moveTo>
                    <a:pt x="330" y="372"/>
                  </a:moveTo>
                  <a:lnTo>
                    <a:pt x="329" y="371"/>
                  </a:lnTo>
                  <a:lnTo>
                    <a:pt x="329" y="371"/>
                  </a:lnTo>
                  <a:lnTo>
                    <a:pt x="327" y="372"/>
                  </a:lnTo>
                  <a:lnTo>
                    <a:pt x="324" y="371"/>
                  </a:lnTo>
                  <a:lnTo>
                    <a:pt x="324" y="371"/>
                  </a:lnTo>
                  <a:lnTo>
                    <a:pt x="321" y="372"/>
                  </a:lnTo>
                  <a:lnTo>
                    <a:pt x="324" y="376"/>
                  </a:lnTo>
                  <a:lnTo>
                    <a:pt x="322" y="380"/>
                  </a:lnTo>
                  <a:lnTo>
                    <a:pt x="325" y="379"/>
                  </a:lnTo>
                  <a:lnTo>
                    <a:pt x="325" y="377"/>
                  </a:lnTo>
                  <a:lnTo>
                    <a:pt x="327" y="376"/>
                  </a:lnTo>
                  <a:lnTo>
                    <a:pt x="327" y="376"/>
                  </a:lnTo>
                  <a:lnTo>
                    <a:pt x="327" y="374"/>
                  </a:lnTo>
                  <a:lnTo>
                    <a:pt x="330" y="372"/>
                  </a:lnTo>
                  <a:lnTo>
                    <a:pt x="330" y="372"/>
                  </a:lnTo>
                  <a:close/>
                  <a:moveTo>
                    <a:pt x="371" y="368"/>
                  </a:moveTo>
                  <a:lnTo>
                    <a:pt x="369" y="365"/>
                  </a:lnTo>
                  <a:lnTo>
                    <a:pt x="368" y="361"/>
                  </a:lnTo>
                  <a:lnTo>
                    <a:pt x="366" y="358"/>
                  </a:lnTo>
                  <a:lnTo>
                    <a:pt x="365" y="358"/>
                  </a:lnTo>
                  <a:lnTo>
                    <a:pt x="358" y="361"/>
                  </a:lnTo>
                  <a:lnTo>
                    <a:pt x="358" y="369"/>
                  </a:lnTo>
                  <a:lnTo>
                    <a:pt x="357" y="372"/>
                  </a:lnTo>
                  <a:lnTo>
                    <a:pt x="355" y="376"/>
                  </a:lnTo>
                  <a:lnTo>
                    <a:pt x="355" y="377"/>
                  </a:lnTo>
                  <a:lnTo>
                    <a:pt x="355" y="380"/>
                  </a:lnTo>
                  <a:lnTo>
                    <a:pt x="357" y="383"/>
                  </a:lnTo>
                  <a:lnTo>
                    <a:pt x="357" y="382"/>
                  </a:lnTo>
                  <a:lnTo>
                    <a:pt x="358" y="379"/>
                  </a:lnTo>
                  <a:lnTo>
                    <a:pt x="360" y="377"/>
                  </a:lnTo>
                  <a:lnTo>
                    <a:pt x="361" y="376"/>
                  </a:lnTo>
                  <a:lnTo>
                    <a:pt x="361" y="376"/>
                  </a:lnTo>
                  <a:lnTo>
                    <a:pt x="361" y="377"/>
                  </a:lnTo>
                  <a:lnTo>
                    <a:pt x="361" y="379"/>
                  </a:lnTo>
                  <a:lnTo>
                    <a:pt x="361" y="379"/>
                  </a:lnTo>
                  <a:lnTo>
                    <a:pt x="363" y="380"/>
                  </a:lnTo>
                  <a:lnTo>
                    <a:pt x="365" y="380"/>
                  </a:lnTo>
                  <a:lnTo>
                    <a:pt x="365" y="382"/>
                  </a:lnTo>
                  <a:lnTo>
                    <a:pt x="366" y="382"/>
                  </a:lnTo>
                  <a:lnTo>
                    <a:pt x="368" y="380"/>
                  </a:lnTo>
                  <a:lnTo>
                    <a:pt x="369" y="376"/>
                  </a:lnTo>
                  <a:lnTo>
                    <a:pt x="369" y="372"/>
                  </a:lnTo>
                  <a:lnTo>
                    <a:pt x="371" y="371"/>
                  </a:lnTo>
                  <a:lnTo>
                    <a:pt x="371" y="368"/>
                  </a:lnTo>
                  <a:close/>
                  <a:moveTo>
                    <a:pt x="352" y="382"/>
                  </a:moveTo>
                  <a:lnTo>
                    <a:pt x="352" y="380"/>
                  </a:lnTo>
                  <a:lnTo>
                    <a:pt x="349" y="382"/>
                  </a:lnTo>
                  <a:lnTo>
                    <a:pt x="349" y="380"/>
                  </a:lnTo>
                  <a:lnTo>
                    <a:pt x="349" y="380"/>
                  </a:lnTo>
                  <a:lnTo>
                    <a:pt x="349" y="380"/>
                  </a:lnTo>
                  <a:lnTo>
                    <a:pt x="349" y="379"/>
                  </a:lnTo>
                  <a:lnTo>
                    <a:pt x="349" y="377"/>
                  </a:lnTo>
                  <a:lnTo>
                    <a:pt x="349" y="376"/>
                  </a:lnTo>
                  <a:lnTo>
                    <a:pt x="347" y="376"/>
                  </a:lnTo>
                  <a:lnTo>
                    <a:pt x="344" y="372"/>
                  </a:lnTo>
                  <a:lnTo>
                    <a:pt x="341" y="374"/>
                  </a:lnTo>
                  <a:lnTo>
                    <a:pt x="341" y="374"/>
                  </a:lnTo>
                  <a:lnTo>
                    <a:pt x="341" y="372"/>
                  </a:lnTo>
                  <a:lnTo>
                    <a:pt x="343" y="371"/>
                  </a:lnTo>
                  <a:lnTo>
                    <a:pt x="343" y="369"/>
                  </a:lnTo>
                  <a:lnTo>
                    <a:pt x="343" y="369"/>
                  </a:lnTo>
                  <a:lnTo>
                    <a:pt x="347" y="372"/>
                  </a:lnTo>
                  <a:lnTo>
                    <a:pt x="349" y="372"/>
                  </a:lnTo>
                  <a:lnTo>
                    <a:pt x="349" y="372"/>
                  </a:lnTo>
                  <a:lnTo>
                    <a:pt x="349" y="372"/>
                  </a:lnTo>
                  <a:lnTo>
                    <a:pt x="347" y="371"/>
                  </a:lnTo>
                  <a:lnTo>
                    <a:pt x="344" y="366"/>
                  </a:lnTo>
                  <a:lnTo>
                    <a:pt x="343" y="363"/>
                  </a:lnTo>
                  <a:lnTo>
                    <a:pt x="343" y="361"/>
                  </a:lnTo>
                  <a:lnTo>
                    <a:pt x="341" y="360"/>
                  </a:lnTo>
                  <a:lnTo>
                    <a:pt x="338" y="357"/>
                  </a:lnTo>
                  <a:lnTo>
                    <a:pt x="333" y="354"/>
                  </a:lnTo>
                  <a:lnTo>
                    <a:pt x="333" y="354"/>
                  </a:lnTo>
                  <a:lnTo>
                    <a:pt x="333" y="352"/>
                  </a:lnTo>
                  <a:lnTo>
                    <a:pt x="333" y="352"/>
                  </a:lnTo>
                  <a:lnTo>
                    <a:pt x="333" y="350"/>
                  </a:lnTo>
                  <a:lnTo>
                    <a:pt x="333" y="349"/>
                  </a:lnTo>
                  <a:lnTo>
                    <a:pt x="332" y="347"/>
                  </a:lnTo>
                  <a:lnTo>
                    <a:pt x="330" y="347"/>
                  </a:lnTo>
                  <a:lnTo>
                    <a:pt x="329" y="347"/>
                  </a:lnTo>
                  <a:lnTo>
                    <a:pt x="324" y="346"/>
                  </a:lnTo>
                  <a:lnTo>
                    <a:pt x="324" y="347"/>
                  </a:lnTo>
                  <a:lnTo>
                    <a:pt x="324" y="350"/>
                  </a:lnTo>
                  <a:lnTo>
                    <a:pt x="325" y="352"/>
                  </a:lnTo>
                  <a:lnTo>
                    <a:pt x="325" y="352"/>
                  </a:lnTo>
                  <a:lnTo>
                    <a:pt x="324" y="354"/>
                  </a:lnTo>
                  <a:lnTo>
                    <a:pt x="321" y="357"/>
                  </a:lnTo>
                  <a:lnTo>
                    <a:pt x="321" y="358"/>
                  </a:lnTo>
                  <a:lnTo>
                    <a:pt x="322" y="358"/>
                  </a:lnTo>
                  <a:lnTo>
                    <a:pt x="325" y="357"/>
                  </a:lnTo>
                  <a:lnTo>
                    <a:pt x="329" y="355"/>
                  </a:lnTo>
                  <a:lnTo>
                    <a:pt x="330" y="357"/>
                  </a:lnTo>
                  <a:lnTo>
                    <a:pt x="330" y="358"/>
                  </a:lnTo>
                  <a:lnTo>
                    <a:pt x="330" y="360"/>
                  </a:lnTo>
                  <a:lnTo>
                    <a:pt x="329" y="360"/>
                  </a:lnTo>
                  <a:lnTo>
                    <a:pt x="329" y="361"/>
                  </a:lnTo>
                  <a:lnTo>
                    <a:pt x="327" y="363"/>
                  </a:lnTo>
                  <a:lnTo>
                    <a:pt x="327" y="363"/>
                  </a:lnTo>
                  <a:lnTo>
                    <a:pt x="325" y="361"/>
                  </a:lnTo>
                  <a:lnTo>
                    <a:pt x="324" y="361"/>
                  </a:lnTo>
                  <a:lnTo>
                    <a:pt x="322" y="363"/>
                  </a:lnTo>
                  <a:lnTo>
                    <a:pt x="322" y="363"/>
                  </a:lnTo>
                  <a:lnTo>
                    <a:pt x="324" y="365"/>
                  </a:lnTo>
                  <a:lnTo>
                    <a:pt x="325" y="366"/>
                  </a:lnTo>
                  <a:lnTo>
                    <a:pt x="325" y="366"/>
                  </a:lnTo>
                  <a:lnTo>
                    <a:pt x="329" y="366"/>
                  </a:lnTo>
                  <a:lnTo>
                    <a:pt x="329" y="368"/>
                  </a:lnTo>
                  <a:lnTo>
                    <a:pt x="329" y="369"/>
                  </a:lnTo>
                  <a:lnTo>
                    <a:pt x="330" y="369"/>
                  </a:lnTo>
                  <a:lnTo>
                    <a:pt x="333" y="369"/>
                  </a:lnTo>
                  <a:lnTo>
                    <a:pt x="333" y="369"/>
                  </a:lnTo>
                  <a:lnTo>
                    <a:pt x="333" y="371"/>
                  </a:lnTo>
                  <a:lnTo>
                    <a:pt x="333" y="372"/>
                  </a:lnTo>
                  <a:lnTo>
                    <a:pt x="335" y="376"/>
                  </a:lnTo>
                  <a:lnTo>
                    <a:pt x="335" y="376"/>
                  </a:lnTo>
                  <a:lnTo>
                    <a:pt x="333" y="376"/>
                  </a:lnTo>
                  <a:lnTo>
                    <a:pt x="333" y="377"/>
                  </a:lnTo>
                  <a:lnTo>
                    <a:pt x="332" y="377"/>
                  </a:lnTo>
                  <a:lnTo>
                    <a:pt x="333" y="379"/>
                  </a:lnTo>
                  <a:lnTo>
                    <a:pt x="336" y="382"/>
                  </a:lnTo>
                  <a:lnTo>
                    <a:pt x="338" y="386"/>
                  </a:lnTo>
                  <a:lnTo>
                    <a:pt x="340" y="386"/>
                  </a:lnTo>
                  <a:lnTo>
                    <a:pt x="340" y="385"/>
                  </a:lnTo>
                  <a:lnTo>
                    <a:pt x="340" y="383"/>
                  </a:lnTo>
                  <a:lnTo>
                    <a:pt x="341" y="383"/>
                  </a:lnTo>
                  <a:lnTo>
                    <a:pt x="341" y="383"/>
                  </a:lnTo>
                  <a:lnTo>
                    <a:pt x="341" y="385"/>
                  </a:lnTo>
                  <a:lnTo>
                    <a:pt x="341" y="386"/>
                  </a:lnTo>
                  <a:lnTo>
                    <a:pt x="341" y="388"/>
                  </a:lnTo>
                  <a:lnTo>
                    <a:pt x="343" y="390"/>
                  </a:lnTo>
                  <a:lnTo>
                    <a:pt x="344" y="390"/>
                  </a:lnTo>
                  <a:lnTo>
                    <a:pt x="344" y="390"/>
                  </a:lnTo>
                  <a:lnTo>
                    <a:pt x="346" y="390"/>
                  </a:lnTo>
                  <a:lnTo>
                    <a:pt x="346" y="391"/>
                  </a:lnTo>
                  <a:lnTo>
                    <a:pt x="347" y="394"/>
                  </a:lnTo>
                  <a:lnTo>
                    <a:pt x="349" y="396"/>
                  </a:lnTo>
                  <a:lnTo>
                    <a:pt x="349" y="396"/>
                  </a:lnTo>
                  <a:lnTo>
                    <a:pt x="350" y="396"/>
                  </a:lnTo>
                  <a:lnTo>
                    <a:pt x="352" y="396"/>
                  </a:lnTo>
                  <a:lnTo>
                    <a:pt x="352" y="394"/>
                  </a:lnTo>
                  <a:lnTo>
                    <a:pt x="352" y="393"/>
                  </a:lnTo>
                  <a:lnTo>
                    <a:pt x="352" y="391"/>
                  </a:lnTo>
                  <a:lnTo>
                    <a:pt x="352" y="391"/>
                  </a:lnTo>
                  <a:lnTo>
                    <a:pt x="352" y="390"/>
                  </a:lnTo>
                  <a:lnTo>
                    <a:pt x="352" y="388"/>
                  </a:lnTo>
                  <a:lnTo>
                    <a:pt x="352" y="386"/>
                  </a:lnTo>
                  <a:lnTo>
                    <a:pt x="352" y="382"/>
                  </a:lnTo>
                  <a:close/>
                  <a:moveTo>
                    <a:pt x="341" y="344"/>
                  </a:moveTo>
                  <a:lnTo>
                    <a:pt x="341" y="344"/>
                  </a:lnTo>
                  <a:lnTo>
                    <a:pt x="341" y="343"/>
                  </a:lnTo>
                  <a:lnTo>
                    <a:pt x="340" y="343"/>
                  </a:lnTo>
                  <a:lnTo>
                    <a:pt x="336" y="343"/>
                  </a:lnTo>
                  <a:lnTo>
                    <a:pt x="335" y="343"/>
                  </a:lnTo>
                  <a:lnTo>
                    <a:pt x="335" y="344"/>
                  </a:lnTo>
                  <a:lnTo>
                    <a:pt x="333" y="346"/>
                  </a:lnTo>
                  <a:lnTo>
                    <a:pt x="333" y="346"/>
                  </a:lnTo>
                  <a:lnTo>
                    <a:pt x="336" y="349"/>
                  </a:lnTo>
                  <a:lnTo>
                    <a:pt x="338" y="349"/>
                  </a:lnTo>
                  <a:lnTo>
                    <a:pt x="338" y="349"/>
                  </a:lnTo>
                  <a:lnTo>
                    <a:pt x="340" y="347"/>
                  </a:lnTo>
                  <a:lnTo>
                    <a:pt x="341" y="347"/>
                  </a:lnTo>
                  <a:lnTo>
                    <a:pt x="341" y="346"/>
                  </a:lnTo>
                  <a:lnTo>
                    <a:pt x="341" y="346"/>
                  </a:lnTo>
                  <a:lnTo>
                    <a:pt x="341" y="344"/>
                  </a:lnTo>
                  <a:close/>
                  <a:moveTo>
                    <a:pt x="349" y="344"/>
                  </a:moveTo>
                  <a:lnTo>
                    <a:pt x="346" y="341"/>
                  </a:lnTo>
                  <a:lnTo>
                    <a:pt x="346" y="341"/>
                  </a:lnTo>
                  <a:lnTo>
                    <a:pt x="343" y="346"/>
                  </a:lnTo>
                  <a:lnTo>
                    <a:pt x="343" y="347"/>
                  </a:lnTo>
                  <a:lnTo>
                    <a:pt x="341" y="349"/>
                  </a:lnTo>
                  <a:lnTo>
                    <a:pt x="340" y="350"/>
                  </a:lnTo>
                  <a:lnTo>
                    <a:pt x="340" y="350"/>
                  </a:lnTo>
                  <a:lnTo>
                    <a:pt x="340" y="352"/>
                  </a:lnTo>
                  <a:lnTo>
                    <a:pt x="341" y="354"/>
                  </a:lnTo>
                  <a:lnTo>
                    <a:pt x="341" y="355"/>
                  </a:lnTo>
                  <a:lnTo>
                    <a:pt x="344" y="355"/>
                  </a:lnTo>
                  <a:lnTo>
                    <a:pt x="344" y="355"/>
                  </a:lnTo>
                  <a:lnTo>
                    <a:pt x="344" y="357"/>
                  </a:lnTo>
                  <a:lnTo>
                    <a:pt x="344" y="358"/>
                  </a:lnTo>
                  <a:lnTo>
                    <a:pt x="346" y="358"/>
                  </a:lnTo>
                  <a:lnTo>
                    <a:pt x="347" y="358"/>
                  </a:lnTo>
                  <a:lnTo>
                    <a:pt x="349" y="358"/>
                  </a:lnTo>
                  <a:lnTo>
                    <a:pt x="349" y="358"/>
                  </a:lnTo>
                  <a:lnTo>
                    <a:pt x="349" y="358"/>
                  </a:lnTo>
                  <a:lnTo>
                    <a:pt x="350" y="354"/>
                  </a:lnTo>
                  <a:lnTo>
                    <a:pt x="350" y="349"/>
                  </a:lnTo>
                  <a:lnTo>
                    <a:pt x="349" y="344"/>
                  </a:lnTo>
                  <a:close/>
                  <a:moveTo>
                    <a:pt x="341" y="336"/>
                  </a:moveTo>
                  <a:lnTo>
                    <a:pt x="341" y="335"/>
                  </a:lnTo>
                  <a:lnTo>
                    <a:pt x="338" y="332"/>
                  </a:lnTo>
                  <a:lnTo>
                    <a:pt x="336" y="335"/>
                  </a:lnTo>
                  <a:lnTo>
                    <a:pt x="336" y="336"/>
                  </a:lnTo>
                  <a:lnTo>
                    <a:pt x="335" y="338"/>
                  </a:lnTo>
                  <a:lnTo>
                    <a:pt x="335" y="340"/>
                  </a:lnTo>
                  <a:lnTo>
                    <a:pt x="336" y="340"/>
                  </a:lnTo>
                  <a:lnTo>
                    <a:pt x="336" y="341"/>
                  </a:lnTo>
                  <a:lnTo>
                    <a:pt x="338" y="341"/>
                  </a:lnTo>
                  <a:lnTo>
                    <a:pt x="340" y="340"/>
                  </a:lnTo>
                  <a:lnTo>
                    <a:pt x="340" y="340"/>
                  </a:lnTo>
                  <a:lnTo>
                    <a:pt x="341" y="340"/>
                  </a:lnTo>
                  <a:lnTo>
                    <a:pt x="343" y="338"/>
                  </a:lnTo>
                  <a:lnTo>
                    <a:pt x="341" y="336"/>
                  </a:lnTo>
                  <a:close/>
                  <a:moveTo>
                    <a:pt x="321" y="333"/>
                  </a:moveTo>
                  <a:lnTo>
                    <a:pt x="319" y="332"/>
                  </a:lnTo>
                  <a:lnTo>
                    <a:pt x="318" y="332"/>
                  </a:lnTo>
                  <a:lnTo>
                    <a:pt x="318" y="330"/>
                  </a:lnTo>
                  <a:lnTo>
                    <a:pt x="318" y="329"/>
                  </a:lnTo>
                  <a:lnTo>
                    <a:pt x="316" y="329"/>
                  </a:lnTo>
                  <a:lnTo>
                    <a:pt x="315" y="327"/>
                  </a:lnTo>
                  <a:lnTo>
                    <a:pt x="311" y="327"/>
                  </a:lnTo>
                  <a:lnTo>
                    <a:pt x="310" y="330"/>
                  </a:lnTo>
                  <a:lnTo>
                    <a:pt x="310" y="333"/>
                  </a:lnTo>
                  <a:lnTo>
                    <a:pt x="310" y="333"/>
                  </a:lnTo>
                  <a:lnTo>
                    <a:pt x="311" y="338"/>
                  </a:lnTo>
                  <a:lnTo>
                    <a:pt x="311" y="338"/>
                  </a:lnTo>
                  <a:lnTo>
                    <a:pt x="315" y="341"/>
                  </a:lnTo>
                  <a:lnTo>
                    <a:pt x="316" y="343"/>
                  </a:lnTo>
                  <a:lnTo>
                    <a:pt x="313" y="344"/>
                  </a:lnTo>
                  <a:lnTo>
                    <a:pt x="313" y="350"/>
                  </a:lnTo>
                  <a:lnTo>
                    <a:pt x="313" y="354"/>
                  </a:lnTo>
                  <a:lnTo>
                    <a:pt x="315" y="354"/>
                  </a:lnTo>
                  <a:lnTo>
                    <a:pt x="316" y="352"/>
                  </a:lnTo>
                  <a:lnTo>
                    <a:pt x="316" y="354"/>
                  </a:lnTo>
                  <a:lnTo>
                    <a:pt x="318" y="354"/>
                  </a:lnTo>
                  <a:lnTo>
                    <a:pt x="318" y="354"/>
                  </a:lnTo>
                  <a:lnTo>
                    <a:pt x="318" y="352"/>
                  </a:lnTo>
                  <a:lnTo>
                    <a:pt x="318" y="350"/>
                  </a:lnTo>
                  <a:lnTo>
                    <a:pt x="319" y="347"/>
                  </a:lnTo>
                  <a:lnTo>
                    <a:pt x="319" y="344"/>
                  </a:lnTo>
                  <a:lnTo>
                    <a:pt x="319" y="341"/>
                  </a:lnTo>
                  <a:lnTo>
                    <a:pt x="319" y="338"/>
                  </a:lnTo>
                  <a:lnTo>
                    <a:pt x="321" y="338"/>
                  </a:lnTo>
                  <a:lnTo>
                    <a:pt x="321" y="338"/>
                  </a:lnTo>
                  <a:lnTo>
                    <a:pt x="321" y="336"/>
                  </a:lnTo>
                  <a:lnTo>
                    <a:pt x="321" y="333"/>
                  </a:lnTo>
                  <a:close/>
                  <a:moveTo>
                    <a:pt x="335" y="330"/>
                  </a:moveTo>
                  <a:lnTo>
                    <a:pt x="335" y="329"/>
                  </a:lnTo>
                  <a:lnTo>
                    <a:pt x="335" y="327"/>
                  </a:lnTo>
                  <a:lnTo>
                    <a:pt x="333" y="325"/>
                  </a:lnTo>
                  <a:lnTo>
                    <a:pt x="332" y="325"/>
                  </a:lnTo>
                  <a:lnTo>
                    <a:pt x="330" y="325"/>
                  </a:lnTo>
                  <a:lnTo>
                    <a:pt x="329" y="325"/>
                  </a:lnTo>
                  <a:lnTo>
                    <a:pt x="329" y="325"/>
                  </a:lnTo>
                  <a:lnTo>
                    <a:pt x="322" y="322"/>
                  </a:lnTo>
                  <a:lnTo>
                    <a:pt x="319" y="322"/>
                  </a:lnTo>
                  <a:lnTo>
                    <a:pt x="318" y="324"/>
                  </a:lnTo>
                  <a:lnTo>
                    <a:pt x="318" y="325"/>
                  </a:lnTo>
                  <a:lnTo>
                    <a:pt x="318" y="325"/>
                  </a:lnTo>
                  <a:lnTo>
                    <a:pt x="321" y="327"/>
                  </a:lnTo>
                  <a:lnTo>
                    <a:pt x="321" y="329"/>
                  </a:lnTo>
                  <a:lnTo>
                    <a:pt x="322" y="332"/>
                  </a:lnTo>
                  <a:lnTo>
                    <a:pt x="322" y="335"/>
                  </a:lnTo>
                  <a:lnTo>
                    <a:pt x="322" y="338"/>
                  </a:lnTo>
                  <a:lnTo>
                    <a:pt x="322" y="341"/>
                  </a:lnTo>
                  <a:lnTo>
                    <a:pt x="324" y="341"/>
                  </a:lnTo>
                  <a:lnTo>
                    <a:pt x="324" y="343"/>
                  </a:lnTo>
                  <a:lnTo>
                    <a:pt x="325" y="343"/>
                  </a:lnTo>
                  <a:lnTo>
                    <a:pt x="327" y="341"/>
                  </a:lnTo>
                  <a:lnTo>
                    <a:pt x="330" y="343"/>
                  </a:lnTo>
                  <a:lnTo>
                    <a:pt x="332" y="341"/>
                  </a:lnTo>
                  <a:lnTo>
                    <a:pt x="332" y="341"/>
                  </a:lnTo>
                  <a:lnTo>
                    <a:pt x="332" y="340"/>
                  </a:lnTo>
                  <a:lnTo>
                    <a:pt x="332" y="340"/>
                  </a:lnTo>
                  <a:lnTo>
                    <a:pt x="332" y="338"/>
                  </a:lnTo>
                  <a:lnTo>
                    <a:pt x="332" y="336"/>
                  </a:lnTo>
                  <a:lnTo>
                    <a:pt x="330" y="335"/>
                  </a:lnTo>
                  <a:lnTo>
                    <a:pt x="330" y="333"/>
                  </a:lnTo>
                  <a:lnTo>
                    <a:pt x="329" y="332"/>
                  </a:lnTo>
                  <a:lnTo>
                    <a:pt x="329" y="330"/>
                  </a:lnTo>
                  <a:lnTo>
                    <a:pt x="329" y="330"/>
                  </a:lnTo>
                  <a:lnTo>
                    <a:pt x="330" y="332"/>
                  </a:lnTo>
                  <a:lnTo>
                    <a:pt x="332" y="335"/>
                  </a:lnTo>
                  <a:lnTo>
                    <a:pt x="333" y="336"/>
                  </a:lnTo>
                  <a:lnTo>
                    <a:pt x="335" y="336"/>
                  </a:lnTo>
                  <a:lnTo>
                    <a:pt x="335" y="336"/>
                  </a:lnTo>
                  <a:lnTo>
                    <a:pt x="335" y="335"/>
                  </a:lnTo>
                  <a:lnTo>
                    <a:pt x="335" y="335"/>
                  </a:lnTo>
                  <a:lnTo>
                    <a:pt x="335" y="332"/>
                  </a:lnTo>
                  <a:lnTo>
                    <a:pt x="335" y="330"/>
                  </a:lnTo>
                  <a:close/>
                  <a:moveTo>
                    <a:pt x="307" y="338"/>
                  </a:moveTo>
                  <a:lnTo>
                    <a:pt x="307" y="338"/>
                  </a:lnTo>
                  <a:lnTo>
                    <a:pt x="307" y="335"/>
                  </a:lnTo>
                  <a:lnTo>
                    <a:pt x="305" y="333"/>
                  </a:lnTo>
                  <a:lnTo>
                    <a:pt x="305" y="330"/>
                  </a:lnTo>
                  <a:lnTo>
                    <a:pt x="304" y="324"/>
                  </a:lnTo>
                  <a:lnTo>
                    <a:pt x="302" y="321"/>
                  </a:lnTo>
                  <a:lnTo>
                    <a:pt x="302" y="318"/>
                  </a:lnTo>
                  <a:lnTo>
                    <a:pt x="300" y="313"/>
                  </a:lnTo>
                  <a:lnTo>
                    <a:pt x="299" y="311"/>
                  </a:lnTo>
                  <a:lnTo>
                    <a:pt x="297" y="311"/>
                  </a:lnTo>
                  <a:lnTo>
                    <a:pt x="293" y="308"/>
                  </a:lnTo>
                  <a:lnTo>
                    <a:pt x="291" y="308"/>
                  </a:lnTo>
                  <a:lnTo>
                    <a:pt x="291" y="308"/>
                  </a:lnTo>
                  <a:lnTo>
                    <a:pt x="290" y="311"/>
                  </a:lnTo>
                  <a:lnTo>
                    <a:pt x="290" y="313"/>
                  </a:lnTo>
                  <a:lnTo>
                    <a:pt x="288" y="313"/>
                  </a:lnTo>
                  <a:lnTo>
                    <a:pt x="288" y="314"/>
                  </a:lnTo>
                  <a:lnTo>
                    <a:pt x="285" y="314"/>
                  </a:lnTo>
                  <a:lnTo>
                    <a:pt x="285" y="316"/>
                  </a:lnTo>
                  <a:lnTo>
                    <a:pt x="285" y="318"/>
                  </a:lnTo>
                  <a:lnTo>
                    <a:pt x="286" y="322"/>
                  </a:lnTo>
                  <a:lnTo>
                    <a:pt x="286" y="324"/>
                  </a:lnTo>
                  <a:lnTo>
                    <a:pt x="285" y="325"/>
                  </a:lnTo>
                  <a:lnTo>
                    <a:pt x="288" y="324"/>
                  </a:lnTo>
                  <a:lnTo>
                    <a:pt x="288" y="322"/>
                  </a:lnTo>
                  <a:lnTo>
                    <a:pt x="291" y="318"/>
                  </a:lnTo>
                  <a:lnTo>
                    <a:pt x="291" y="318"/>
                  </a:lnTo>
                  <a:lnTo>
                    <a:pt x="293" y="319"/>
                  </a:lnTo>
                  <a:lnTo>
                    <a:pt x="293" y="322"/>
                  </a:lnTo>
                  <a:lnTo>
                    <a:pt x="294" y="324"/>
                  </a:lnTo>
                  <a:lnTo>
                    <a:pt x="296" y="324"/>
                  </a:lnTo>
                  <a:lnTo>
                    <a:pt x="296" y="324"/>
                  </a:lnTo>
                  <a:lnTo>
                    <a:pt x="294" y="327"/>
                  </a:lnTo>
                  <a:lnTo>
                    <a:pt x="293" y="329"/>
                  </a:lnTo>
                  <a:lnTo>
                    <a:pt x="293" y="330"/>
                  </a:lnTo>
                  <a:lnTo>
                    <a:pt x="294" y="330"/>
                  </a:lnTo>
                  <a:lnTo>
                    <a:pt x="294" y="332"/>
                  </a:lnTo>
                  <a:lnTo>
                    <a:pt x="296" y="330"/>
                  </a:lnTo>
                  <a:lnTo>
                    <a:pt x="297" y="332"/>
                  </a:lnTo>
                  <a:lnTo>
                    <a:pt x="297" y="333"/>
                  </a:lnTo>
                  <a:lnTo>
                    <a:pt x="297" y="335"/>
                  </a:lnTo>
                  <a:lnTo>
                    <a:pt x="299" y="336"/>
                  </a:lnTo>
                  <a:lnTo>
                    <a:pt x="300" y="336"/>
                  </a:lnTo>
                  <a:lnTo>
                    <a:pt x="302" y="335"/>
                  </a:lnTo>
                  <a:lnTo>
                    <a:pt x="302" y="335"/>
                  </a:lnTo>
                  <a:lnTo>
                    <a:pt x="300" y="338"/>
                  </a:lnTo>
                  <a:lnTo>
                    <a:pt x="300" y="338"/>
                  </a:lnTo>
                  <a:lnTo>
                    <a:pt x="299" y="340"/>
                  </a:lnTo>
                  <a:lnTo>
                    <a:pt x="300" y="341"/>
                  </a:lnTo>
                  <a:lnTo>
                    <a:pt x="300" y="343"/>
                  </a:lnTo>
                  <a:lnTo>
                    <a:pt x="302" y="347"/>
                  </a:lnTo>
                  <a:lnTo>
                    <a:pt x="302" y="347"/>
                  </a:lnTo>
                  <a:lnTo>
                    <a:pt x="304" y="349"/>
                  </a:lnTo>
                  <a:lnTo>
                    <a:pt x="305" y="350"/>
                  </a:lnTo>
                  <a:lnTo>
                    <a:pt x="305" y="349"/>
                  </a:lnTo>
                  <a:lnTo>
                    <a:pt x="305" y="347"/>
                  </a:lnTo>
                  <a:lnTo>
                    <a:pt x="305" y="343"/>
                  </a:lnTo>
                  <a:lnTo>
                    <a:pt x="305" y="340"/>
                  </a:lnTo>
                  <a:lnTo>
                    <a:pt x="305" y="340"/>
                  </a:lnTo>
                  <a:lnTo>
                    <a:pt x="307" y="338"/>
                  </a:lnTo>
                  <a:close/>
                  <a:moveTo>
                    <a:pt x="300" y="304"/>
                  </a:moveTo>
                  <a:lnTo>
                    <a:pt x="300" y="302"/>
                  </a:lnTo>
                  <a:lnTo>
                    <a:pt x="294" y="302"/>
                  </a:lnTo>
                  <a:lnTo>
                    <a:pt x="293" y="300"/>
                  </a:lnTo>
                  <a:lnTo>
                    <a:pt x="296" y="299"/>
                  </a:lnTo>
                  <a:lnTo>
                    <a:pt x="296" y="299"/>
                  </a:lnTo>
                  <a:lnTo>
                    <a:pt x="297" y="299"/>
                  </a:lnTo>
                  <a:lnTo>
                    <a:pt x="300" y="299"/>
                  </a:lnTo>
                  <a:lnTo>
                    <a:pt x="300" y="294"/>
                  </a:lnTo>
                  <a:lnTo>
                    <a:pt x="300" y="293"/>
                  </a:lnTo>
                  <a:lnTo>
                    <a:pt x="299" y="291"/>
                  </a:lnTo>
                  <a:lnTo>
                    <a:pt x="296" y="289"/>
                  </a:lnTo>
                  <a:lnTo>
                    <a:pt x="293" y="288"/>
                  </a:lnTo>
                  <a:lnTo>
                    <a:pt x="293" y="288"/>
                  </a:lnTo>
                  <a:lnTo>
                    <a:pt x="293" y="289"/>
                  </a:lnTo>
                  <a:lnTo>
                    <a:pt x="290" y="293"/>
                  </a:lnTo>
                  <a:lnTo>
                    <a:pt x="288" y="293"/>
                  </a:lnTo>
                  <a:lnTo>
                    <a:pt x="288" y="293"/>
                  </a:lnTo>
                  <a:lnTo>
                    <a:pt x="288" y="291"/>
                  </a:lnTo>
                  <a:lnTo>
                    <a:pt x="288" y="291"/>
                  </a:lnTo>
                  <a:lnTo>
                    <a:pt x="290" y="288"/>
                  </a:lnTo>
                  <a:lnTo>
                    <a:pt x="290" y="288"/>
                  </a:lnTo>
                  <a:lnTo>
                    <a:pt x="286" y="285"/>
                  </a:lnTo>
                  <a:lnTo>
                    <a:pt x="285" y="283"/>
                  </a:lnTo>
                  <a:lnTo>
                    <a:pt x="283" y="285"/>
                  </a:lnTo>
                  <a:lnTo>
                    <a:pt x="283" y="286"/>
                  </a:lnTo>
                  <a:lnTo>
                    <a:pt x="282" y="286"/>
                  </a:lnTo>
                  <a:lnTo>
                    <a:pt x="280" y="286"/>
                  </a:lnTo>
                  <a:lnTo>
                    <a:pt x="279" y="288"/>
                  </a:lnTo>
                  <a:lnTo>
                    <a:pt x="279" y="289"/>
                  </a:lnTo>
                  <a:lnTo>
                    <a:pt x="277" y="288"/>
                  </a:lnTo>
                  <a:lnTo>
                    <a:pt x="275" y="285"/>
                  </a:lnTo>
                  <a:lnTo>
                    <a:pt x="275" y="288"/>
                  </a:lnTo>
                  <a:lnTo>
                    <a:pt x="274" y="289"/>
                  </a:lnTo>
                  <a:lnTo>
                    <a:pt x="272" y="289"/>
                  </a:lnTo>
                  <a:lnTo>
                    <a:pt x="272" y="291"/>
                  </a:lnTo>
                  <a:lnTo>
                    <a:pt x="272" y="293"/>
                  </a:lnTo>
                  <a:lnTo>
                    <a:pt x="274" y="297"/>
                  </a:lnTo>
                  <a:lnTo>
                    <a:pt x="275" y="297"/>
                  </a:lnTo>
                  <a:lnTo>
                    <a:pt x="280" y="304"/>
                  </a:lnTo>
                  <a:lnTo>
                    <a:pt x="282" y="308"/>
                  </a:lnTo>
                  <a:lnTo>
                    <a:pt x="283" y="310"/>
                  </a:lnTo>
                  <a:lnTo>
                    <a:pt x="288" y="311"/>
                  </a:lnTo>
                  <a:lnTo>
                    <a:pt x="288" y="310"/>
                  </a:lnTo>
                  <a:lnTo>
                    <a:pt x="288" y="305"/>
                  </a:lnTo>
                  <a:lnTo>
                    <a:pt x="288" y="304"/>
                  </a:lnTo>
                  <a:lnTo>
                    <a:pt x="290" y="304"/>
                  </a:lnTo>
                  <a:lnTo>
                    <a:pt x="291" y="304"/>
                  </a:lnTo>
                  <a:lnTo>
                    <a:pt x="296" y="307"/>
                  </a:lnTo>
                  <a:lnTo>
                    <a:pt x="297" y="308"/>
                  </a:lnTo>
                  <a:lnTo>
                    <a:pt x="300" y="310"/>
                  </a:lnTo>
                  <a:lnTo>
                    <a:pt x="302" y="307"/>
                  </a:lnTo>
                  <a:lnTo>
                    <a:pt x="300" y="304"/>
                  </a:lnTo>
                  <a:close/>
                  <a:moveTo>
                    <a:pt x="310" y="283"/>
                  </a:moveTo>
                  <a:lnTo>
                    <a:pt x="308" y="282"/>
                  </a:lnTo>
                  <a:lnTo>
                    <a:pt x="305" y="282"/>
                  </a:lnTo>
                  <a:lnTo>
                    <a:pt x="305" y="283"/>
                  </a:lnTo>
                  <a:lnTo>
                    <a:pt x="307" y="285"/>
                  </a:lnTo>
                  <a:lnTo>
                    <a:pt x="308" y="285"/>
                  </a:lnTo>
                  <a:lnTo>
                    <a:pt x="311" y="286"/>
                  </a:lnTo>
                  <a:lnTo>
                    <a:pt x="311" y="285"/>
                  </a:lnTo>
                  <a:lnTo>
                    <a:pt x="310" y="283"/>
                  </a:lnTo>
                  <a:close/>
                  <a:moveTo>
                    <a:pt x="313" y="291"/>
                  </a:moveTo>
                  <a:lnTo>
                    <a:pt x="313" y="291"/>
                  </a:lnTo>
                  <a:lnTo>
                    <a:pt x="313" y="293"/>
                  </a:lnTo>
                  <a:lnTo>
                    <a:pt x="315" y="293"/>
                  </a:lnTo>
                  <a:lnTo>
                    <a:pt x="315" y="296"/>
                  </a:lnTo>
                  <a:lnTo>
                    <a:pt x="316" y="297"/>
                  </a:lnTo>
                  <a:lnTo>
                    <a:pt x="316" y="299"/>
                  </a:lnTo>
                  <a:lnTo>
                    <a:pt x="318" y="300"/>
                  </a:lnTo>
                  <a:lnTo>
                    <a:pt x="318" y="304"/>
                  </a:lnTo>
                  <a:lnTo>
                    <a:pt x="319" y="305"/>
                  </a:lnTo>
                  <a:lnTo>
                    <a:pt x="321" y="305"/>
                  </a:lnTo>
                  <a:lnTo>
                    <a:pt x="319" y="302"/>
                  </a:lnTo>
                  <a:lnTo>
                    <a:pt x="319" y="299"/>
                  </a:lnTo>
                  <a:lnTo>
                    <a:pt x="318" y="297"/>
                  </a:lnTo>
                  <a:lnTo>
                    <a:pt x="316" y="293"/>
                  </a:lnTo>
                  <a:lnTo>
                    <a:pt x="313" y="288"/>
                  </a:lnTo>
                  <a:lnTo>
                    <a:pt x="310" y="288"/>
                  </a:lnTo>
                  <a:lnTo>
                    <a:pt x="305" y="286"/>
                  </a:lnTo>
                  <a:lnTo>
                    <a:pt x="304" y="285"/>
                  </a:lnTo>
                  <a:lnTo>
                    <a:pt x="302" y="282"/>
                  </a:lnTo>
                  <a:lnTo>
                    <a:pt x="300" y="280"/>
                  </a:lnTo>
                  <a:lnTo>
                    <a:pt x="300" y="282"/>
                  </a:lnTo>
                  <a:lnTo>
                    <a:pt x="300" y="283"/>
                  </a:lnTo>
                  <a:lnTo>
                    <a:pt x="302" y="286"/>
                  </a:lnTo>
                  <a:lnTo>
                    <a:pt x="302" y="288"/>
                  </a:lnTo>
                  <a:lnTo>
                    <a:pt x="304" y="289"/>
                  </a:lnTo>
                  <a:lnTo>
                    <a:pt x="304" y="293"/>
                  </a:lnTo>
                  <a:lnTo>
                    <a:pt x="305" y="300"/>
                  </a:lnTo>
                  <a:lnTo>
                    <a:pt x="305" y="304"/>
                  </a:lnTo>
                  <a:lnTo>
                    <a:pt x="307" y="307"/>
                  </a:lnTo>
                  <a:lnTo>
                    <a:pt x="308" y="310"/>
                  </a:lnTo>
                  <a:lnTo>
                    <a:pt x="308" y="311"/>
                  </a:lnTo>
                  <a:lnTo>
                    <a:pt x="307" y="318"/>
                  </a:lnTo>
                  <a:lnTo>
                    <a:pt x="307" y="319"/>
                  </a:lnTo>
                  <a:lnTo>
                    <a:pt x="307" y="321"/>
                  </a:lnTo>
                  <a:lnTo>
                    <a:pt x="307" y="322"/>
                  </a:lnTo>
                  <a:lnTo>
                    <a:pt x="307" y="324"/>
                  </a:lnTo>
                  <a:lnTo>
                    <a:pt x="308" y="324"/>
                  </a:lnTo>
                  <a:lnTo>
                    <a:pt x="310" y="324"/>
                  </a:lnTo>
                  <a:lnTo>
                    <a:pt x="313" y="321"/>
                  </a:lnTo>
                  <a:lnTo>
                    <a:pt x="315" y="316"/>
                  </a:lnTo>
                  <a:lnTo>
                    <a:pt x="318" y="314"/>
                  </a:lnTo>
                  <a:lnTo>
                    <a:pt x="319" y="313"/>
                  </a:lnTo>
                  <a:lnTo>
                    <a:pt x="319" y="313"/>
                  </a:lnTo>
                  <a:lnTo>
                    <a:pt x="318" y="310"/>
                  </a:lnTo>
                  <a:lnTo>
                    <a:pt x="318" y="310"/>
                  </a:lnTo>
                  <a:lnTo>
                    <a:pt x="318" y="307"/>
                  </a:lnTo>
                  <a:lnTo>
                    <a:pt x="318" y="305"/>
                  </a:lnTo>
                  <a:lnTo>
                    <a:pt x="316" y="302"/>
                  </a:lnTo>
                  <a:lnTo>
                    <a:pt x="313" y="296"/>
                  </a:lnTo>
                  <a:lnTo>
                    <a:pt x="311" y="294"/>
                  </a:lnTo>
                  <a:lnTo>
                    <a:pt x="311" y="291"/>
                  </a:lnTo>
                  <a:lnTo>
                    <a:pt x="311" y="291"/>
                  </a:lnTo>
                  <a:lnTo>
                    <a:pt x="313" y="291"/>
                  </a:lnTo>
                  <a:close/>
                  <a:moveTo>
                    <a:pt x="135" y="224"/>
                  </a:moveTo>
                  <a:lnTo>
                    <a:pt x="133" y="225"/>
                  </a:lnTo>
                  <a:lnTo>
                    <a:pt x="132" y="228"/>
                  </a:lnTo>
                  <a:lnTo>
                    <a:pt x="130" y="232"/>
                  </a:lnTo>
                  <a:lnTo>
                    <a:pt x="132" y="230"/>
                  </a:lnTo>
                  <a:lnTo>
                    <a:pt x="135" y="227"/>
                  </a:lnTo>
                  <a:lnTo>
                    <a:pt x="136" y="225"/>
                  </a:lnTo>
                  <a:lnTo>
                    <a:pt x="138" y="224"/>
                  </a:lnTo>
                  <a:lnTo>
                    <a:pt x="135" y="224"/>
                  </a:lnTo>
                  <a:close/>
                  <a:moveTo>
                    <a:pt x="69" y="219"/>
                  </a:moveTo>
                  <a:lnTo>
                    <a:pt x="67" y="221"/>
                  </a:lnTo>
                  <a:lnTo>
                    <a:pt x="66" y="222"/>
                  </a:lnTo>
                  <a:lnTo>
                    <a:pt x="71" y="224"/>
                  </a:lnTo>
                  <a:lnTo>
                    <a:pt x="71" y="222"/>
                  </a:lnTo>
                  <a:lnTo>
                    <a:pt x="72" y="221"/>
                  </a:lnTo>
                  <a:lnTo>
                    <a:pt x="69" y="219"/>
                  </a:lnTo>
                  <a:close/>
                  <a:moveTo>
                    <a:pt x="88" y="213"/>
                  </a:moveTo>
                  <a:lnTo>
                    <a:pt x="86" y="211"/>
                  </a:lnTo>
                  <a:lnTo>
                    <a:pt x="86" y="211"/>
                  </a:lnTo>
                  <a:lnTo>
                    <a:pt x="85" y="213"/>
                  </a:lnTo>
                  <a:lnTo>
                    <a:pt x="83" y="217"/>
                  </a:lnTo>
                  <a:lnTo>
                    <a:pt x="80" y="221"/>
                  </a:lnTo>
                  <a:lnTo>
                    <a:pt x="78" y="224"/>
                  </a:lnTo>
                  <a:lnTo>
                    <a:pt x="75" y="225"/>
                  </a:lnTo>
                  <a:lnTo>
                    <a:pt x="75" y="227"/>
                  </a:lnTo>
                  <a:lnTo>
                    <a:pt x="74" y="228"/>
                  </a:lnTo>
                  <a:lnTo>
                    <a:pt x="74" y="230"/>
                  </a:lnTo>
                  <a:lnTo>
                    <a:pt x="74" y="232"/>
                  </a:lnTo>
                  <a:lnTo>
                    <a:pt x="75" y="232"/>
                  </a:lnTo>
                  <a:lnTo>
                    <a:pt x="77" y="230"/>
                  </a:lnTo>
                  <a:lnTo>
                    <a:pt x="77" y="230"/>
                  </a:lnTo>
                  <a:lnTo>
                    <a:pt x="78" y="228"/>
                  </a:lnTo>
                  <a:lnTo>
                    <a:pt x="80" y="228"/>
                  </a:lnTo>
                  <a:lnTo>
                    <a:pt x="80" y="228"/>
                  </a:lnTo>
                  <a:lnTo>
                    <a:pt x="80" y="227"/>
                  </a:lnTo>
                  <a:lnTo>
                    <a:pt x="82" y="225"/>
                  </a:lnTo>
                  <a:lnTo>
                    <a:pt x="82" y="225"/>
                  </a:lnTo>
                  <a:lnTo>
                    <a:pt x="82" y="225"/>
                  </a:lnTo>
                  <a:lnTo>
                    <a:pt x="83" y="222"/>
                  </a:lnTo>
                  <a:lnTo>
                    <a:pt x="83" y="222"/>
                  </a:lnTo>
                  <a:lnTo>
                    <a:pt x="89" y="216"/>
                  </a:lnTo>
                  <a:lnTo>
                    <a:pt x="89" y="214"/>
                  </a:lnTo>
                  <a:lnTo>
                    <a:pt x="88" y="213"/>
                  </a:lnTo>
                  <a:close/>
                  <a:moveTo>
                    <a:pt x="122" y="210"/>
                  </a:moveTo>
                  <a:lnTo>
                    <a:pt x="119" y="213"/>
                  </a:lnTo>
                  <a:lnTo>
                    <a:pt x="119" y="213"/>
                  </a:lnTo>
                  <a:lnTo>
                    <a:pt x="121" y="213"/>
                  </a:lnTo>
                  <a:lnTo>
                    <a:pt x="122" y="213"/>
                  </a:lnTo>
                  <a:lnTo>
                    <a:pt x="122" y="211"/>
                  </a:lnTo>
                  <a:lnTo>
                    <a:pt x="122" y="210"/>
                  </a:lnTo>
                  <a:close/>
                  <a:moveTo>
                    <a:pt x="103" y="210"/>
                  </a:moveTo>
                  <a:lnTo>
                    <a:pt x="103" y="210"/>
                  </a:lnTo>
                  <a:lnTo>
                    <a:pt x="100" y="210"/>
                  </a:lnTo>
                  <a:lnTo>
                    <a:pt x="99" y="208"/>
                  </a:lnTo>
                  <a:lnTo>
                    <a:pt x="97" y="207"/>
                  </a:lnTo>
                  <a:lnTo>
                    <a:pt x="96" y="208"/>
                  </a:lnTo>
                  <a:lnTo>
                    <a:pt x="94" y="210"/>
                  </a:lnTo>
                  <a:lnTo>
                    <a:pt x="94" y="210"/>
                  </a:lnTo>
                  <a:lnTo>
                    <a:pt x="94" y="210"/>
                  </a:lnTo>
                  <a:lnTo>
                    <a:pt x="94" y="211"/>
                  </a:lnTo>
                  <a:lnTo>
                    <a:pt x="96" y="213"/>
                  </a:lnTo>
                  <a:lnTo>
                    <a:pt x="96" y="214"/>
                  </a:lnTo>
                  <a:lnTo>
                    <a:pt x="96" y="214"/>
                  </a:lnTo>
                  <a:lnTo>
                    <a:pt x="99" y="213"/>
                  </a:lnTo>
                  <a:lnTo>
                    <a:pt x="103" y="211"/>
                  </a:lnTo>
                  <a:lnTo>
                    <a:pt x="103" y="210"/>
                  </a:lnTo>
                  <a:lnTo>
                    <a:pt x="105" y="210"/>
                  </a:lnTo>
                  <a:lnTo>
                    <a:pt x="103" y="210"/>
                  </a:lnTo>
                  <a:close/>
                  <a:moveTo>
                    <a:pt x="77" y="208"/>
                  </a:moveTo>
                  <a:lnTo>
                    <a:pt x="77" y="207"/>
                  </a:lnTo>
                  <a:lnTo>
                    <a:pt x="77" y="207"/>
                  </a:lnTo>
                  <a:lnTo>
                    <a:pt x="75" y="208"/>
                  </a:lnTo>
                  <a:lnTo>
                    <a:pt x="75" y="208"/>
                  </a:lnTo>
                  <a:lnTo>
                    <a:pt x="75" y="208"/>
                  </a:lnTo>
                  <a:lnTo>
                    <a:pt x="75" y="208"/>
                  </a:lnTo>
                  <a:lnTo>
                    <a:pt x="75" y="208"/>
                  </a:lnTo>
                  <a:lnTo>
                    <a:pt x="74" y="211"/>
                  </a:lnTo>
                  <a:lnTo>
                    <a:pt x="74" y="211"/>
                  </a:lnTo>
                  <a:lnTo>
                    <a:pt x="74" y="213"/>
                  </a:lnTo>
                  <a:lnTo>
                    <a:pt x="74" y="214"/>
                  </a:lnTo>
                  <a:lnTo>
                    <a:pt x="74" y="216"/>
                  </a:lnTo>
                  <a:lnTo>
                    <a:pt x="75" y="216"/>
                  </a:lnTo>
                  <a:lnTo>
                    <a:pt x="74" y="217"/>
                  </a:lnTo>
                  <a:lnTo>
                    <a:pt x="74" y="217"/>
                  </a:lnTo>
                  <a:lnTo>
                    <a:pt x="75" y="217"/>
                  </a:lnTo>
                  <a:lnTo>
                    <a:pt x="75" y="217"/>
                  </a:lnTo>
                  <a:lnTo>
                    <a:pt x="75" y="216"/>
                  </a:lnTo>
                  <a:lnTo>
                    <a:pt x="77" y="214"/>
                  </a:lnTo>
                  <a:lnTo>
                    <a:pt x="77" y="211"/>
                  </a:lnTo>
                  <a:lnTo>
                    <a:pt x="77" y="210"/>
                  </a:lnTo>
                  <a:lnTo>
                    <a:pt x="77" y="210"/>
                  </a:lnTo>
                  <a:lnTo>
                    <a:pt x="77" y="208"/>
                  </a:lnTo>
                  <a:close/>
                  <a:moveTo>
                    <a:pt x="3" y="207"/>
                  </a:moveTo>
                  <a:lnTo>
                    <a:pt x="2" y="207"/>
                  </a:lnTo>
                  <a:lnTo>
                    <a:pt x="0" y="210"/>
                  </a:lnTo>
                  <a:lnTo>
                    <a:pt x="0" y="211"/>
                  </a:lnTo>
                  <a:lnTo>
                    <a:pt x="0" y="211"/>
                  </a:lnTo>
                  <a:lnTo>
                    <a:pt x="2" y="211"/>
                  </a:lnTo>
                  <a:lnTo>
                    <a:pt x="3" y="208"/>
                  </a:lnTo>
                  <a:lnTo>
                    <a:pt x="3" y="207"/>
                  </a:lnTo>
                  <a:close/>
                  <a:moveTo>
                    <a:pt x="72" y="192"/>
                  </a:moveTo>
                  <a:lnTo>
                    <a:pt x="72" y="192"/>
                  </a:lnTo>
                  <a:lnTo>
                    <a:pt x="71" y="191"/>
                  </a:lnTo>
                  <a:lnTo>
                    <a:pt x="69" y="192"/>
                  </a:lnTo>
                  <a:lnTo>
                    <a:pt x="69" y="192"/>
                  </a:lnTo>
                  <a:lnTo>
                    <a:pt x="69" y="194"/>
                  </a:lnTo>
                  <a:lnTo>
                    <a:pt x="69" y="194"/>
                  </a:lnTo>
                  <a:lnTo>
                    <a:pt x="71" y="196"/>
                  </a:lnTo>
                  <a:lnTo>
                    <a:pt x="72" y="196"/>
                  </a:lnTo>
                  <a:lnTo>
                    <a:pt x="72" y="192"/>
                  </a:lnTo>
                  <a:close/>
                  <a:moveTo>
                    <a:pt x="386" y="357"/>
                  </a:moveTo>
                  <a:lnTo>
                    <a:pt x="386" y="355"/>
                  </a:lnTo>
                  <a:lnTo>
                    <a:pt x="385" y="354"/>
                  </a:lnTo>
                  <a:lnTo>
                    <a:pt x="383" y="354"/>
                  </a:lnTo>
                  <a:lnTo>
                    <a:pt x="380" y="354"/>
                  </a:lnTo>
                  <a:lnTo>
                    <a:pt x="380" y="354"/>
                  </a:lnTo>
                  <a:lnTo>
                    <a:pt x="379" y="349"/>
                  </a:lnTo>
                  <a:lnTo>
                    <a:pt x="379" y="349"/>
                  </a:lnTo>
                  <a:lnTo>
                    <a:pt x="376" y="349"/>
                  </a:lnTo>
                  <a:lnTo>
                    <a:pt x="374" y="346"/>
                  </a:lnTo>
                  <a:lnTo>
                    <a:pt x="371" y="344"/>
                  </a:lnTo>
                  <a:lnTo>
                    <a:pt x="369" y="344"/>
                  </a:lnTo>
                  <a:lnTo>
                    <a:pt x="368" y="344"/>
                  </a:lnTo>
                  <a:lnTo>
                    <a:pt x="366" y="343"/>
                  </a:lnTo>
                  <a:lnTo>
                    <a:pt x="363" y="341"/>
                  </a:lnTo>
                  <a:lnTo>
                    <a:pt x="361" y="340"/>
                  </a:lnTo>
                  <a:lnTo>
                    <a:pt x="360" y="338"/>
                  </a:lnTo>
                  <a:lnTo>
                    <a:pt x="358" y="338"/>
                  </a:lnTo>
                  <a:lnTo>
                    <a:pt x="355" y="338"/>
                  </a:lnTo>
                  <a:lnTo>
                    <a:pt x="355" y="338"/>
                  </a:lnTo>
                  <a:lnTo>
                    <a:pt x="355" y="335"/>
                  </a:lnTo>
                  <a:lnTo>
                    <a:pt x="354" y="333"/>
                  </a:lnTo>
                  <a:lnTo>
                    <a:pt x="354" y="332"/>
                  </a:lnTo>
                  <a:lnTo>
                    <a:pt x="352" y="330"/>
                  </a:lnTo>
                  <a:lnTo>
                    <a:pt x="350" y="330"/>
                  </a:lnTo>
                  <a:lnTo>
                    <a:pt x="350" y="327"/>
                  </a:lnTo>
                  <a:lnTo>
                    <a:pt x="352" y="324"/>
                  </a:lnTo>
                  <a:lnTo>
                    <a:pt x="349" y="324"/>
                  </a:lnTo>
                  <a:lnTo>
                    <a:pt x="346" y="322"/>
                  </a:lnTo>
                  <a:lnTo>
                    <a:pt x="346" y="322"/>
                  </a:lnTo>
                  <a:lnTo>
                    <a:pt x="347" y="321"/>
                  </a:lnTo>
                  <a:lnTo>
                    <a:pt x="347" y="319"/>
                  </a:lnTo>
                  <a:lnTo>
                    <a:pt x="347" y="316"/>
                  </a:lnTo>
                  <a:lnTo>
                    <a:pt x="344" y="311"/>
                  </a:lnTo>
                  <a:lnTo>
                    <a:pt x="343" y="308"/>
                  </a:lnTo>
                  <a:lnTo>
                    <a:pt x="340" y="304"/>
                  </a:lnTo>
                  <a:lnTo>
                    <a:pt x="338" y="300"/>
                  </a:lnTo>
                  <a:lnTo>
                    <a:pt x="336" y="296"/>
                  </a:lnTo>
                  <a:lnTo>
                    <a:pt x="335" y="294"/>
                  </a:lnTo>
                  <a:lnTo>
                    <a:pt x="332" y="289"/>
                  </a:lnTo>
                  <a:lnTo>
                    <a:pt x="330" y="285"/>
                  </a:lnTo>
                  <a:lnTo>
                    <a:pt x="327" y="282"/>
                  </a:lnTo>
                  <a:lnTo>
                    <a:pt x="327" y="279"/>
                  </a:lnTo>
                  <a:lnTo>
                    <a:pt x="325" y="275"/>
                  </a:lnTo>
                  <a:lnTo>
                    <a:pt x="322" y="272"/>
                  </a:lnTo>
                  <a:lnTo>
                    <a:pt x="321" y="269"/>
                  </a:lnTo>
                  <a:lnTo>
                    <a:pt x="318" y="268"/>
                  </a:lnTo>
                  <a:lnTo>
                    <a:pt x="318" y="268"/>
                  </a:lnTo>
                  <a:lnTo>
                    <a:pt x="316" y="266"/>
                  </a:lnTo>
                  <a:lnTo>
                    <a:pt x="313" y="264"/>
                  </a:lnTo>
                  <a:lnTo>
                    <a:pt x="313" y="264"/>
                  </a:lnTo>
                  <a:lnTo>
                    <a:pt x="311" y="263"/>
                  </a:lnTo>
                  <a:lnTo>
                    <a:pt x="311" y="261"/>
                  </a:lnTo>
                  <a:lnTo>
                    <a:pt x="310" y="260"/>
                  </a:lnTo>
                  <a:lnTo>
                    <a:pt x="310" y="258"/>
                  </a:lnTo>
                  <a:lnTo>
                    <a:pt x="310" y="257"/>
                  </a:lnTo>
                  <a:lnTo>
                    <a:pt x="310" y="257"/>
                  </a:lnTo>
                  <a:lnTo>
                    <a:pt x="307" y="253"/>
                  </a:lnTo>
                  <a:lnTo>
                    <a:pt x="305" y="252"/>
                  </a:lnTo>
                  <a:lnTo>
                    <a:pt x="304" y="250"/>
                  </a:lnTo>
                  <a:lnTo>
                    <a:pt x="300" y="250"/>
                  </a:lnTo>
                  <a:lnTo>
                    <a:pt x="300" y="249"/>
                  </a:lnTo>
                  <a:lnTo>
                    <a:pt x="297" y="244"/>
                  </a:lnTo>
                  <a:lnTo>
                    <a:pt x="299" y="243"/>
                  </a:lnTo>
                  <a:lnTo>
                    <a:pt x="299" y="239"/>
                  </a:lnTo>
                  <a:lnTo>
                    <a:pt x="299" y="239"/>
                  </a:lnTo>
                  <a:lnTo>
                    <a:pt x="294" y="235"/>
                  </a:lnTo>
                  <a:lnTo>
                    <a:pt x="293" y="233"/>
                  </a:lnTo>
                  <a:lnTo>
                    <a:pt x="291" y="232"/>
                  </a:lnTo>
                  <a:lnTo>
                    <a:pt x="286" y="233"/>
                  </a:lnTo>
                  <a:lnTo>
                    <a:pt x="283" y="236"/>
                  </a:lnTo>
                  <a:lnTo>
                    <a:pt x="280" y="236"/>
                  </a:lnTo>
                  <a:lnTo>
                    <a:pt x="275" y="238"/>
                  </a:lnTo>
                  <a:lnTo>
                    <a:pt x="275" y="238"/>
                  </a:lnTo>
                  <a:lnTo>
                    <a:pt x="277" y="241"/>
                  </a:lnTo>
                  <a:lnTo>
                    <a:pt x="277" y="243"/>
                  </a:lnTo>
                  <a:lnTo>
                    <a:pt x="275" y="243"/>
                  </a:lnTo>
                  <a:lnTo>
                    <a:pt x="274" y="243"/>
                  </a:lnTo>
                  <a:lnTo>
                    <a:pt x="274" y="249"/>
                  </a:lnTo>
                  <a:lnTo>
                    <a:pt x="272" y="253"/>
                  </a:lnTo>
                  <a:lnTo>
                    <a:pt x="268" y="253"/>
                  </a:lnTo>
                  <a:lnTo>
                    <a:pt x="266" y="255"/>
                  </a:lnTo>
                  <a:lnTo>
                    <a:pt x="261" y="258"/>
                  </a:lnTo>
                  <a:lnTo>
                    <a:pt x="260" y="260"/>
                  </a:lnTo>
                  <a:lnTo>
                    <a:pt x="257" y="263"/>
                  </a:lnTo>
                  <a:lnTo>
                    <a:pt x="257" y="263"/>
                  </a:lnTo>
                  <a:lnTo>
                    <a:pt x="255" y="261"/>
                  </a:lnTo>
                  <a:lnTo>
                    <a:pt x="255" y="260"/>
                  </a:lnTo>
                  <a:lnTo>
                    <a:pt x="255" y="255"/>
                  </a:lnTo>
                  <a:lnTo>
                    <a:pt x="254" y="252"/>
                  </a:lnTo>
                  <a:lnTo>
                    <a:pt x="252" y="249"/>
                  </a:lnTo>
                  <a:lnTo>
                    <a:pt x="249" y="246"/>
                  </a:lnTo>
                  <a:lnTo>
                    <a:pt x="247" y="244"/>
                  </a:lnTo>
                  <a:lnTo>
                    <a:pt x="244" y="241"/>
                  </a:lnTo>
                  <a:lnTo>
                    <a:pt x="241" y="238"/>
                  </a:lnTo>
                  <a:lnTo>
                    <a:pt x="239" y="235"/>
                  </a:lnTo>
                  <a:lnTo>
                    <a:pt x="236" y="232"/>
                  </a:lnTo>
                  <a:lnTo>
                    <a:pt x="235" y="228"/>
                  </a:lnTo>
                  <a:lnTo>
                    <a:pt x="232" y="227"/>
                  </a:lnTo>
                  <a:lnTo>
                    <a:pt x="229" y="225"/>
                  </a:lnTo>
                  <a:lnTo>
                    <a:pt x="229" y="224"/>
                  </a:lnTo>
                  <a:lnTo>
                    <a:pt x="225" y="221"/>
                  </a:lnTo>
                  <a:lnTo>
                    <a:pt x="227" y="217"/>
                  </a:lnTo>
                  <a:lnTo>
                    <a:pt x="227" y="214"/>
                  </a:lnTo>
                  <a:lnTo>
                    <a:pt x="227" y="213"/>
                  </a:lnTo>
                  <a:lnTo>
                    <a:pt x="227" y="213"/>
                  </a:lnTo>
                  <a:lnTo>
                    <a:pt x="225" y="213"/>
                  </a:lnTo>
                  <a:lnTo>
                    <a:pt x="221" y="213"/>
                  </a:lnTo>
                  <a:lnTo>
                    <a:pt x="218" y="213"/>
                  </a:lnTo>
                  <a:lnTo>
                    <a:pt x="214" y="216"/>
                  </a:lnTo>
                  <a:lnTo>
                    <a:pt x="211" y="217"/>
                  </a:lnTo>
                  <a:lnTo>
                    <a:pt x="208" y="216"/>
                  </a:lnTo>
                  <a:lnTo>
                    <a:pt x="204" y="214"/>
                  </a:lnTo>
                  <a:lnTo>
                    <a:pt x="202" y="216"/>
                  </a:lnTo>
                  <a:lnTo>
                    <a:pt x="199" y="216"/>
                  </a:lnTo>
                  <a:lnTo>
                    <a:pt x="194" y="214"/>
                  </a:lnTo>
                  <a:lnTo>
                    <a:pt x="194" y="0"/>
                  </a:lnTo>
                  <a:lnTo>
                    <a:pt x="3" y="0"/>
                  </a:lnTo>
                  <a:lnTo>
                    <a:pt x="3" y="199"/>
                  </a:lnTo>
                  <a:lnTo>
                    <a:pt x="3" y="199"/>
                  </a:lnTo>
                  <a:lnTo>
                    <a:pt x="5" y="199"/>
                  </a:lnTo>
                  <a:lnTo>
                    <a:pt x="5" y="197"/>
                  </a:lnTo>
                  <a:lnTo>
                    <a:pt x="5" y="194"/>
                  </a:lnTo>
                  <a:lnTo>
                    <a:pt x="5" y="194"/>
                  </a:lnTo>
                  <a:lnTo>
                    <a:pt x="5" y="192"/>
                  </a:lnTo>
                  <a:lnTo>
                    <a:pt x="8" y="189"/>
                  </a:lnTo>
                  <a:lnTo>
                    <a:pt x="11" y="188"/>
                  </a:lnTo>
                  <a:lnTo>
                    <a:pt x="14" y="188"/>
                  </a:lnTo>
                  <a:lnTo>
                    <a:pt x="16" y="186"/>
                  </a:lnTo>
                  <a:lnTo>
                    <a:pt x="17" y="183"/>
                  </a:lnTo>
                  <a:lnTo>
                    <a:pt x="19" y="181"/>
                  </a:lnTo>
                  <a:lnTo>
                    <a:pt x="25" y="178"/>
                  </a:lnTo>
                  <a:lnTo>
                    <a:pt x="27" y="177"/>
                  </a:lnTo>
                  <a:lnTo>
                    <a:pt x="27" y="178"/>
                  </a:lnTo>
                  <a:lnTo>
                    <a:pt x="28" y="180"/>
                  </a:lnTo>
                  <a:lnTo>
                    <a:pt x="35" y="178"/>
                  </a:lnTo>
                  <a:lnTo>
                    <a:pt x="36" y="178"/>
                  </a:lnTo>
                  <a:lnTo>
                    <a:pt x="38" y="178"/>
                  </a:lnTo>
                  <a:lnTo>
                    <a:pt x="38" y="175"/>
                  </a:lnTo>
                  <a:lnTo>
                    <a:pt x="39" y="174"/>
                  </a:lnTo>
                  <a:lnTo>
                    <a:pt x="41" y="172"/>
                  </a:lnTo>
                  <a:lnTo>
                    <a:pt x="42" y="171"/>
                  </a:lnTo>
                  <a:lnTo>
                    <a:pt x="46" y="171"/>
                  </a:lnTo>
                  <a:lnTo>
                    <a:pt x="47" y="171"/>
                  </a:lnTo>
                  <a:lnTo>
                    <a:pt x="42" y="174"/>
                  </a:lnTo>
                  <a:lnTo>
                    <a:pt x="41" y="175"/>
                  </a:lnTo>
                  <a:lnTo>
                    <a:pt x="39" y="177"/>
                  </a:lnTo>
                  <a:lnTo>
                    <a:pt x="38" y="178"/>
                  </a:lnTo>
                  <a:lnTo>
                    <a:pt x="38" y="180"/>
                  </a:lnTo>
                  <a:lnTo>
                    <a:pt x="38" y="181"/>
                  </a:lnTo>
                  <a:lnTo>
                    <a:pt x="36" y="181"/>
                  </a:lnTo>
                  <a:lnTo>
                    <a:pt x="35" y="183"/>
                  </a:lnTo>
                  <a:lnTo>
                    <a:pt x="36" y="185"/>
                  </a:lnTo>
                  <a:lnTo>
                    <a:pt x="42" y="189"/>
                  </a:lnTo>
                  <a:lnTo>
                    <a:pt x="46" y="189"/>
                  </a:lnTo>
                  <a:lnTo>
                    <a:pt x="52" y="191"/>
                  </a:lnTo>
                  <a:lnTo>
                    <a:pt x="52" y="192"/>
                  </a:lnTo>
                  <a:lnTo>
                    <a:pt x="52" y="192"/>
                  </a:lnTo>
                  <a:lnTo>
                    <a:pt x="50" y="192"/>
                  </a:lnTo>
                  <a:lnTo>
                    <a:pt x="42" y="191"/>
                  </a:lnTo>
                  <a:lnTo>
                    <a:pt x="39" y="189"/>
                  </a:lnTo>
                  <a:lnTo>
                    <a:pt x="36" y="191"/>
                  </a:lnTo>
                  <a:lnTo>
                    <a:pt x="35" y="191"/>
                  </a:lnTo>
                  <a:lnTo>
                    <a:pt x="33" y="191"/>
                  </a:lnTo>
                  <a:lnTo>
                    <a:pt x="32" y="189"/>
                  </a:lnTo>
                  <a:lnTo>
                    <a:pt x="30" y="188"/>
                  </a:lnTo>
                  <a:lnTo>
                    <a:pt x="28" y="188"/>
                  </a:lnTo>
                  <a:lnTo>
                    <a:pt x="22" y="192"/>
                  </a:lnTo>
                  <a:lnTo>
                    <a:pt x="19" y="194"/>
                  </a:lnTo>
                  <a:lnTo>
                    <a:pt x="13" y="199"/>
                  </a:lnTo>
                  <a:lnTo>
                    <a:pt x="13" y="199"/>
                  </a:lnTo>
                  <a:lnTo>
                    <a:pt x="13" y="200"/>
                  </a:lnTo>
                  <a:lnTo>
                    <a:pt x="13" y="205"/>
                  </a:lnTo>
                  <a:lnTo>
                    <a:pt x="13" y="208"/>
                  </a:lnTo>
                  <a:lnTo>
                    <a:pt x="11" y="214"/>
                  </a:lnTo>
                  <a:lnTo>
                    <a:pt x="11" y="217"/>
                  </a:lnTo>
                  <a:lnTo>
                    <a:pt x="8" y="221"/>
                  </a:lnTo>
                  <a:lnTo>
                    <a:pt x="5" y="225"/>
                  </a:lnTo>
                  <a:lnTo>
                    <a:pt x="5" y="227"/>
                  </a:lnTo>
                  <a:lnTo>
                    <a:pt x="3" y="232"/>
                  </a:lnTo>
                  <a:lnTo>
                    <a:pt x="5" y="235"/>
                  </a:lnTo>
                  <a:lnTo>
                    <a:pt x="5" y="235"/>
                  </a:lnTo>
                  <a:lnTo>
                    <a:pt x="10" y="236"/>
                  </a:lnTo>
                  <a:lnTo>
                    <a:pt x="11" y="236"/>
                  </a:lnTo>
                  <a:lnTo>
                    <a:pt x="11" y="236"/>
                  </a:lnTo>
                  <a:lnTo>
                    <a:pt x="17" y="232"/>
                  </a:lnTo>
                  <a:lnTo>
                    <a:pt x="17" y="232"/>
                  </a:lnTo>
                  <a:lnTo>
                    <a:pt x="17" y="232"/>
                  </a:lnTo>
                  <a:lnTo>
                    <a:pt x="16" y="236"/>
                  </a:lnTo>
                  <a:lnTo>
                    <a:pt x="14" y="239"/>
                  </a:lnTo>
                  <a:lnTo>
                    <a:pt x="11" y="241"/>
                  </a:lnTo>
                  <a:lnTo>
                    <a:pt x="10" y="243"/>
                  </a:lnTo>
                  <a:lnTo>
                    <a:pt x="7" y="243"/>
                  </a:lnTo>
                  <a:lnTo>
                    <a:pt x="3" y="246"/>
                  </a:lnTo>
                  <a:lnTo>
                    <a:pt x="3" y="246"/>
                  </a:lnTo>
                  <a:lnTo>
                    <a:pt x="3" y="246"/>
                  </a:lnTo>
                  <a:lnTo>
                    <a:pt x="2" y="247"/>
                  </a:lnTo>
                  <a:lnTo>
                    <a:pt x="2" y="249"/>
                  </a:lnTo>
                  <a:lnTo>
                    <a:pt x="2" y="250"/>
                  </a:lnTo>
                  <a:lnTo>
                    <a:pt x="3" y="250"/>
                  </a:lnTo>
                  <a:lnTo>
                    <a:pt x="3" y="250"/>
                  </a:lnTo>
                  <a:lnTo>
                    <a:pt x="5" y="252"/>
                  </a:lnTo>
                  <a:lnTo>
                    <a:pt x="8" y="252"/>
                  </a:lnTo>
                  <a:lnTo>
                    <a:pt x="10" y="250"/>
                  </a:lnTo>
                  <a:lnTo>
                    <a:pt x="13" y="250"/>
                  </a:lnTo>
                  <a:lnTo>
                    <a:pt x="13" y="250"/>
                  </a:lnTo>
                  <a:lnTo>
                    <a:pt x="14" y="250"/>
                  </a:lnTo>
                  <a:lnTo>
                    <a:pt x="16" y="250"/>
                  </a:lnTo>
                  <a:lnTo>
                    <a:pt x="16" y="250"/>
                  </a:lnTo>
                  <a:lnTo>
                    <a:pt x="14" y="249"/>
                  </a:lnTo>
                  <a:lnTo>
                    <a:pt x="16" y="249"/>
                  </a:lnTo>
                  <a:lnTo>
                    <a:pt x="17" y="249"/>
                  </a:lnTo>
                  <a:lnTo>
                    <a:pt x="19" y="250"/>
                  </a:lnTo>
                  <a:lnTo>
                    <a:pt x="19" y="250"/>
                  </a:lnTo>
                  <a:lnTo>
                    <a:pt x="21" y="249"/>
                  </a:lnTo>
                  <a:lnTo>
                    <a:pt x="21" y="247"/>
                  </a:lnTo>
                  <a:lnTo>
                    <a:pt x="24" y="244"/>
                  </a:lnTo>
                  <a:lnTo>
                    <a:pt x="25" y="243"/>
                  </a:lnTo>
                  <a:lnTo>
                    <a:pt x="25" y="241"/>
                  </a:lnTo>
                  <a:lnTo>
                    <a:pt x="25" y="239"/>
                  </a:lnTo>
                  <a:lnTo>
                    <a:pt x="25" y="239"/>
                  </a:lnTo>
                  <a:lnTo>
                    <a:pt x="27" y="241"/>
                  </a:lnTo>
                  <a:lnTo>
                    <a:pt x="27" y="241"/>
                  </a:lnTo>
                  <a:lnTo>
                    <a:pt x="30" y="239"/>
                  </a:lnTo>
                  <a:lnTo>
                    <a:pt x="32" y="239"/>
                  </a:lnTo>
                  <a:lnTo>
                    <a:pt x="32" y="239"/>
                  </a:lnTo>
                  <a:lnTo>
                    <a:pt x="33" y="239"/>
                  </a:lnTo>
                  <a:lnTo>
                    <a:pt x="36" y="235"/>
                  </a:lnTo>
                  <a:lnTo>
                    <a:pt x="36" y="235"/>
                  </a:lnTo>
                  <a:lnTo>
                    <a:pt x="36" y="232"/>
                  </a:lnTo>
                  <a:lnTo>
                    <a:pt x="36" y="232"/>
                  </a:lnTo>
                  <a:lnTo>
                    <a:pt x="36" y="232"/>
                  </a:lnTo>
                  <a:lnTo>
                    <a:pt x="39" y="233"/>
                  </a:lnTo>
                  <a:lnTo>
                    <a:pt x="39" y="233"/>
                  </a:lnTo>
                  <a:lnTo>
                    <a:pt x="39" y="230"/>
                  </a:lnTo>
                  <a:lnTo>
                    <a:pt x="39" y="230"/>
                  </a:lnTo>
                  <a:lnTo>
                    <a:pt x="41" y="227"/>
                  </a:lnTo>
                  <a:lnTo>
                    <a:pt x="41" y="228"/>
                  </a:lnTo>
                  <a:lnTo>
                    <a:pt x="42" y="232"/>
                  </a:lnTo>
                  <a:lnTo>
                    <a:pt x="42" y="233"/>
                  </a:lnTo>
                  <a:lnTo>
                    <a:pt x="42" y="232"/>
                  </a:lnTo>
                  <a:lnTo>
                    <a:pt x="44" y="228"/>
                  </a:lnTo>
                  <a:lnTo>
                    <a:pt x="46" y="225"/>
                  </a:lnTo>
                  <a:lnTo>
                    <a:pt x="46" y="224"/>
                  </a:lnTo>
                  <a:lnTo>
                    <a:pt x="46" y="221"/>
                  </a:lnTo>
                  <a:lnTo>
                    <a:pt x="47" y="221"/>
                  </a:lnTo>
                  <a:lnTo>
                    <a:pt x="49" y="224"/>
                  </a:lnTo>
                  <a:lnTo>
                    <a:pt x="49" y="224"/>
                  </a:lnTo>
                  <a:lnTo>
                    <a:pt x="52" y="224"/>
                  </a:lnTo>
                  <a:lnTo>
                    <a:pt x="52" y="224"/>
                  </a:lnTo>
                  <a:lnTo>
                    <a:pt x="53" y="225"/>
                  </a:lnTo>
                  <a:lnTo>
                    <a:pt x="57" y="225"/>
                  </a:lnTo>
                  <a:lnTo>
                    <a:pt x="58" y="227"/>
                  </a:lnTo>
                  <a:lnTo>
                    <a:pt x="60" y="225"/>
                  </a:lnTo>
                  <a:lnTo>
                    <a:pt x="61" y="225"/>
                  </a:lnTo>
                  <a:lnTo>
                    <a:pt x="61" y="225"/>
                  </a:lnTo>
                  <a:lnTo>
                    <a:pt x="63" y="225"/>
                  </a:lnTo>
                  <a:lnTo>
                    <a:pt x="63" y="225"/>
                  </a:lnTo>
                  <a:lnTo>
                    <a:pt x="64" y="225"/>
                  </a:lnTo>
                  <a:lnTo>
                    <a:pt x="66" y="221"/>
                  </a:lnTo>
                  <a:lnTo>
                    <a:pt x="66" y="219"/>
                  </a:lnTo>
                  <a:lnTo>
                    <a:pt x="67" y="219"/>
                  </a:lnTo>
                  <a:lnTo>
                    <a:pt x="67" y="219"/>
                  </a:lnTo>
                  <a:lnTo>
                    <a:pt x="67" y="219"/>
                  </a:lnTo>
                  <a:lnTo>
                    <a:pt x="67" y="214"/>
                  </a:lnTo>
                  <a:lnTo>
                    <a:pt x="67" y="213"/>
                  </a:lnTo>
                  <a:lnTo>
                    <a:pt x="67" y="211"/>
                  </a:lnTo>
                  <a:lnTo>
                    <a:pt x="67" y="211"/>
                  </a:lnTo>
                  <a:lnTo>
                    <a:pt x="69" y="210"/>
                  </a:lnTo>
                  <a:lnTo>
                    <a:pt x="71" y="210"/>
                  </a:lnTo>
                  <a:lnTo>
                    <a:pt x="71" y="208"/>
                  </a:lnTo>
                  <a:lnTo>
                    <a:pt x="72" y="207"/>
                  </a:lnTo>
                  <a:lnTo>
                    <a:pt x="72" y="207"/>
                  </a:lnTo>
                  <a:lnTo>
                    <a:pt x="71" y="205"/>
                  </a:lnTo>
                  <a:lnTo>
                    <a:pt x="69" y="203"/>
                  </a:lnTo>
                  <a:lnTo>
                    <a:pt x="67" y="205"/>
                  </a:lnTo>
                  <a:lnTo>
                    <a:pt x="66" y="205"/>
                  </a:lnTo>
                  <a:lnTo>
                    <a:pt x="63" y="205"/>
                  </a:lnTo>
                  <a:lnTo>
                    <a:pt x="61" y="207"/>
                  </a:lnTo>
                  <a:lnTo>
                    <a:pt x="60" y="207"/>
                  </a:lnTo>
                  <a:lnTo>
                    <a:pt x="60" y="207"/>
                  </a:lnTo>
                  <a:lnTo>
                    <a:pt x="61" y="207"/>
                  </a:lnTo>
                  <a:lnTo>
                    <a:pt x="63" y="205"/>
                  </a:lnTo>
                  <a:lnTo>
                    <a:pt x="63" y="203"/>
                  </a:lnTo>
                  <a:lnTo>
                    <a:pt x="66" y="203"/>
                  </a:lnTo>
                  <a:lnTo>
                    <a:pt x="66" y="203"/>
                  </a:lnTo>
                  <a:lnTo>
                    <a:pt x="66" y="203"/>
                  </a:lnTo>
                  <a:lnTo>
                    <a:pt x="66" y="200"/>
                  </a:lnTo>
                  <a:lnTo>
                    <a:pt x="66" y="200"/>
                  </a:lnTo>
                  <a:lnTo>
                    <a:pt x="66" y="199"/>
                  </a:lnTo>
                  <a:lnTo>
                    <a:pt x="64" y="199"/>
                  </a:lnTo>
                  <a:lnTo>
                    <a:pt x="61" y="196"/>
                  </a:lnTo>
                  <a:lnTo>
                    <a:pt x="61" y="196"/>
                  </a:lnTo>
                  <a:lnTo>
                    <a:pt x="63" y="194"/>
                  </a:lnTo>
                  <a:lnTo>
                    <a:pt x="64" y="194"/>
                  </a:lnTo>
                  <a:lnTo>
                    <a:pt x="64" y="194"/>
                  </a:lnTo>
                  <a:lnTo>
                    <a:pt x="66" y="191"/>
                  </a:lnTo>
                  <a:lnTo>
                    <a:pt x="67" y="188"/>
                  </a:lnTo>
                  <a:lnTo>
                    <a:pt x="67" y="188"/>
                  </a:lnTo>
                  <a:lnTo>
                    <a:pt x="66" y="188"/>
                  </a:lnTo>
                  <a:lnTo>
                    <a:pt x="64" y="188"/>
                  </a:lnTo>
                  <a:lnTo>
                    <a:pt x="64" y="188"/>
                  </a:lnTo>
                  <a:lnTo>
                    <a:pt x="64" y="188"/>
                  </a:lnTo>
                  <a:lnTo>
                    <a:pt x="66" y="186"/>
                  </a:lnTo>
                  <a:lnTo>
                    <a:pt x="66" y="186"/>
                  </a:lnTo>
                  <a:lnTo>
                    <a:pt x="67" y="186"/>
                  </a:lnTo>
                  <a:lnTo>
                    <a:pt x="69" y="186"/>
                  </a:lnTo>
                  <a:lnTo>
                    <a:pt x="71" y="186"/>
                  </a:lnTo>
                  <a:lnTo>
                    <a:pt x="72" y="185"/>
                  </a:lnTo>
                  <a:lnTo>
                    <a:pt x="74" y="181"/>
                  </a:lnTo>
                  <a:lnTo>
                    <a:pt x="75" y="181"/>
                  </a:lnTo>
                  <a:lnTo>
                    <a:pt x="75" y="181"/>
                  </a:lnTo>
                  <a:lnTo>
                    <a:pt x="72" y="188"/>
                  </a:lnTo>
                  <a:lnTo>
                    <a:pt x="71" y="189"/>
                  </a:lnTo>
                  <a:lnTo>
                    <a:pt x="71" y="191"/>
                  </a:lnTo>
                  <a:lnTo>
                    <a:pt x="74" y="192"/>
                  </a:lnTo>
                  <a:lnTo>
                    <a:pt x="75" y="192"/>
                  </a:lnTo>
                  <a:lnTo>
                    <a:pt x="77" y="192"/>
                  </a:lnTo>
                  <a:lnTo>
                    <a:pt x="78" y="191"/>
                  </a:lnTo>
                  <a:lnTo>
                    <a:pt x="78" y="189"/>
                  </a:lnTo>
                  <a:lnTo>
                    <a:pt x="78" y="189"/>
                  </a:lnTo>
                  <a:lnTo>
                    <a:pt x="80" y="189"/>
                  </a:lnTo>
                  <a:lnTo>
                    <a:pt x="82" y="191"/>
                  </a:lnTo>
                  <a:lnTo>
                    <a:pt x="82" y="191"/>
                  </a:lnTo>
                  <a:lnTo>
                    <a:pt x="83" y="192"/>
                  </a:lnTo>
                  <a:lnTo>
                    <a:pt x="83" y="191"/>
                  </a:lnTo>
                  <a:lnTo>
                    <a:pt x="83" y="191"/>
                  </a:lnTo>
                  <a:lnTo>
                    <a:pt x="85" y="189"/>
                  </a:lnTo>
                  <a:lnTo>
                    <a:pt x="85" y="189"/>
                  </a:lnTo>
                  <a:lnTo>
                    <a:pt x="86" y="189"/>
                  </a:lnTo>
                  <a:lnTo>
                    <a:pt x="88" y="189"/>
                  </a:lnTo>
                  <a:lnTo>
                    <a:pt x="89" y="189"/>
                  </a:lnTo>
                  <a:lnTo>
                    <a:pt x="91" y="188"/>
                  </a:lnTo>
                  <a:lnTo>
                    <a:pt x="94" y="186"/>
                  </a:lnTo>
                  <a:lnTo>
                    <a:pt x="96" y="185"/>
                  </a:lnTo>
                  <a:lnTo>
                    <a:pt x="99" y="183"/>
                  </a:lnTo>
                  <a:lnTo>
                    <a:pt x="102" y="185"/>
                  </a:lnTo>
                  <a:lnTo>
                    <a:pt x="96" y="186"/>
                  </a:lnTo>
                  <a:lnTo>
                    <a:pt x="96" y="189"/>
                  </a:lnTo>
                  <a:lnTo>
                    <a:pt x="96" y="192"/>
                  </a:lnTo>
                  <a:lnTo>
                    <a:pt x="96" y="194"/>
                  </a:lnTo>
                  <a:lnTo>
                    <a:pt x="97" y="194"/>
                  </a:lnTo>
                  <a:lnTo>
                    <a:pt x="99" y="196"/>
                  </a:lnTo>
                  <a:lnTo>
                    <a:pt x="97" y="197"/>
                  </a:lnTo>
                  <a:lnTo>
                    <a:pt x="97" y="197"/>
                  </a:lnTo>
                  <a:lnTo>
                    <a:pt x="96" y="199"/>
                  </a:lnTo>
                  <a:lnTo>
                    <a:pt x="97" y="199"/>
                  </a:lnTo>
                  <a:lnTo>
                    <a:pt x="100" y="199"/>
                  </a:lnTo>
                  <a:lnTo>
                    <a:pt x="102" y="197"/>
                  </a:lnTo>
                  <a:lnTo>
                    <a:pt x="103" y="199"/>
                  </a:lnTo>
                  <a:lnTo>
                    <a:pt x="103" y="199"/>
                  </a:lnTo>
                  <a:lnTo>
                    <a:pt x="103" y="200"/>
                  </a:lnTo>
                  <a:lnTo>
                    <a:pt x="103" y="200"/>
                  </a:lnTo>
                  <a:lnTo>
                    <a:pt x="111" y="202"/>
                  </a:lnTo>
                  <a:lnTo>
                    <a:pt x="111" y="202"/>
                  </a:lnTo>
                  <a:lnTo>
                    <a:pt x="111" y="205"/>
                  </a:lnTo>
                  <a:lnTo>
                    <a:pt x="110" y="207"/>
                  </a:lnTo>
                  <a:lnTo>
                    <a:pt x="108" y="208"/>
                  </a:lnTo>
                  <a:lnTo>
                    <a:pt x="110" y="208"/>
                  </a:lnTo>
                  <a:lnTo>
                    <a:pt x="111" y="208"/>
                  </a:lnTo>
                  <a:lnTo>
                    <a:pt x="114" y="208"/>
                  </a:lnTo>
                  <a:lnTo>
                    <a:pt x="118" y="211"/>
                  </a:lnTo>
                  <a:lnTo>
                    <a:pt x="119" y="211"/>
                  </a:lnTo>
                  <a:lnTo>
                    <a:pt x="121" y="210"/>
                  </a:lnTo>
                  <a:lnTo>
                    <a:pt x="122" y="208"/>
                  </a:lnTo>
                  <a:lnTo>
                    <a:pt x="124" y="205"/>
                  </a:lnTo>
                  <a:lnTo>
                    <a:pt x="127" y="203"/>
                  </a:lnTo>
                  <a:lnTo>
                    <a:pt x="128" y="200"/>
                  </a:lnTo>
                  <a:lnTo>
                    <a:pt x="128" y="200"/>
                  </a:lnTo>
                  <a:lnTo>
                    <a:pt x="127" y="203"/>
                  </a:lnTo>
                  <a:lnTo>
                    <a:pt x="127" y="205"/>
                  </a:lnTo>
                  <a:lnTo>
                    <a:pt x="127" y="208"/>
                  </a:lnTo>
                  <a:lnTo>
                    <a:pt x="125" y="213"/>
                  </a:lnTo>
                  <a:lnTo>
                    <a:pt x="127" y="214"/>
                  </a:lnTo>
                  <a:lnTo>
                    <a:pt x="128" y="214"/>
                  </a:lnTo>
                  <a:lnTo>
                    <a:pt x="130" y="216"/>
                  </a:lnTo>
                  <a:lnTo>
                    <a:pt x="130" y="216"/>
                  </a:lnTo>
                  <a:lnTo>
                    <a:pt x="132" y="217"/>
                  </a:lnTo>
                  <a:lnTo>
                    <a:pt x="136" y="217"/>
                  </a:lnTo>
                  <a:lnTo>
                    <a:pt x="138" y="219"/>
                  </a:lnTo>
                  <a:lnTo>
                    <a:pt x="139" y="221"/>
                  </a:lnTo>
                  <a:lnTo>
                    <a:pt x="139" y="222"/>
                  </a:lnTo>
                  <a:lnTo>
                    <a:pt x="138" y="222"/>
                  </a:lnTo>
                  <a:lnTo>
                    <a:pt x="139" y="224"/>
                  </a:lnTo>
                  <a:lnTo>
                    <a:pt x="141" y="224"/>
                  </a:lnTo>
                  <a:lnTo>
                    <a:pt x="144" y="224"/>
                  </a:lnTo>
                  <a:lnTo>
                    <a:pt x="150" y="222"/>
                  </a:lnTo>
                  <a:lnTo>
                    <a:pt x="160" y="221"/>
                  </a:lnTo>
                  <a:lnTo>
                    <a:pt x="168" y="221"/>
                  </a:lnTo>
                  <a:lnTo>
                    <a:pt x="175" y="224"/>
                  </a:lnTo>
                  <a:lnTo>
                    <a:pt x="182" y="225"/>
                  </a:lnTo>
                  <a:lnTo>
                    <a:pt x="185" y="224"/>
                  </a:lnTo>
                  <a:lnTo>
                    <a:pt x="186" y="224"/>
                  </a:lnTo>
                  <a:lnTo>
                    <a:pt x="186" y="222"/>
                  </a:lnTo>
                  <a:lnTo>
                    <a:pt x="186" y="221"/>
                  </a:lnTo>
                  <a:lnTo>
                    <a:pt x="186" y="221"/>
                  </a:lnTo>
                  <a:lnTo>
                    <a:pt x="186" y="221"/>
                  </a:lnTo>
                  <a:lnTo>
                    <a:pt x="188" y="221"/>
                  </a:lnTo>
                  <a:lnTo>
                    <a:pt x="188" y="221"/>
                  </a:lnTo>
                  <a:lnTo>
                    <a:pt x="189" y="224"/>
                  </a:lnTo>
                  <a:lnTo>
                    <a:pt x="189" y="225"/>
                  </a:lnTo>
                  <a:lnTo>
                    <a:pt x="186" y="228"/>
                  </a:lnTo>
                  <a:lnTo>
                    <a:pt x="188" y="228"/>
                  </a:lnTo>
                  <a:lnTo>
                    <a:pt x="197" y="233"/>
                  </a:lnTo>
                  <a:lnTo>
                    <a:pt x="200" y="235"/>
                  </a:lnTo>
                  <a:lnTo>
                    <a:pt x="204" y="235"/>
                  </a:lnTo>
                  <a:lnTo>
                    <a:pt x="208" y="233"/>
                  </a:lnTo>
                  <a:lnTo>
                    <a:pt x="213" y="232"/>
                  </a:lnTo>
                  <a:lnTo>
                    <a:pt x="214" y="230"/>
                  </a:lnTo>
                  <a:lnTo>
                    <a:pt x="219" y="225"/>
                  </a:lnTo>
                  <a:lnTo>
                    <a:pt x="221" y="224"/>
                  </a:lnTo>
                  <a:lnTo>
                    <a:pt x="222" y="224"/>
                  </a:lnTo>
                  <a:lnTo>
                    <a:pt x="222" y="224"/>
                  </a:lnTo>
                  <a:lnTo>
                    <a:pt x="225" y="228"/>
                  </a:lnTo>
                  <a:lnTo>
                    <a:pt x="230" y="230"/>
                  </a:lnTo>
                  <a:lnTo>
                    <a:pt x="229" y="230"/>
                  </a:lnTo>
                  <a:lnTo>
                    <a:pt x="225" y="230"/>
                  </a:lnTo>
                  <a:lnTo>
                    <a:pt x="225" y="230"/>
                  </a:lnTo>
                  <a:lnTo>
                    <a:pt x="225" y="232"/>
                  </a:lnTo>
                  <a:lnTo>
                    <a:pt x="224" y="233"/>
                  </a:lnTo>
                  <a:lnTo>
                    <a:pt x="224" y="236"/>
                  </a:lnTo>
                  <a:lnTo>
                    <a:pt x="224" y="238"/>
                  </a:lnTo>
                  <a:lnTo>
                    <a:pt x="224" y="238"/>
                  </a:lnTo>
                  <a:lnTo>
                    <a:pt x="224" y="233"/>
                  </a:lnTo>
                  <a:lnTo>
                    <a:pt x="224" y="230"/>
                  </a:lnTo>
                  <a:lnTo>
                    <a:pt x="224" y="228"/>
                  </a:lnTo>
                  <a:lnTo>
                    <a:pt x="221" y="225"/>
                  </a:lnTo>
                  <a:lnTo>
                    <a:pt x="221" y="225"/>
                  </a:lnTo>
                  <a:lnTo>
                    <a:pt x="221" y="225"/>
                  </a:lnTo>
                  <a:lnTo>
                    <a:pt x="219" y="227"/>
                  </a:lnTo>
                  <a:lnTo>
                    <a:pt x="219" y="227"/>
                  </a:lnTo>
                  <a:lnTo>
                    <a:pt x="219" y="228"/>
                  </a:lnTo>
                  <a:lnTo>
                    <a:pt x="219" y="230"/>
                  </a:lnTo>
                  <a:lnTo>
                    <a:pt x="219" y="232"/>
                  </a:lnTo>
                  <a:lnTo>
                    <a:pt x="221" y="233"/>
                  </a:lnTo>
                  <a:lnTo>
                    <a:pt x="221" y="235"/>
                  </a:lnTo>
                  <a:lnTo>
                    <a:pt x="219" y="238"/>
                  </a:lnTo>
                  <a:lnTo>
                    <a:pt x="218" y="239"/>
                  </a:lnTo>
                  <a:lnTo>
                    <a:pt x="216" y="239"/>
                  </a:lnTo>
                  <a:lnTo>
                    <a:pt x="214" y="239"/>
                  </a:lnTo>
                  <a:lnTo>
                    <a:pt x="216" y="241"/>
                  </a:lnTo>
                  <a:lnTo>
                    <a:pt x="216" y="241"/>
                  </a:lnTo>
                  <a:lnTo>
                    <a:pt x="219" y="243"/>
                  </a:lnTo>
                  <a:lnTo>
                    <a:pt x="224" y="246"/>
                  </a:lnTo>
                  <a:lnTo>
                    <a:pt x="232" y="250"/>
                  </a:lnTo>
                  <a:lnTo>
                    <a:pt x="235" y="252"/>
                  </a:lnTo>
                  <a:lnTo>
                    <a:pt x="238" y="253"/>
                  </a:lnTo>
                  <a:lnTo>
                    <a:pt x="238" y="253"/>
                  </a:lnTo>
                  <a:lnTo>
                    <a:pt x="236" y="255"/>
                  </a:lnTo>
                  <a:lnTo>
                    <a:pt x="238" y="255"/>
                  </a:lnTo>
                  <a:lnTo>
                    <a:pt x="239" y="255"/>
                  </a:lnTo>
                  <a:lnTo>
                    <a:pt x="241" y="257"/>
                  </a:lnTo>
                  <a:lnTo>
                    <a:pt x="243" y="257"/>
                  </a:lnTo>
                  <a:lnTo>
                    <a:pt x="246" y="261"/>
                  </a:lnTo>
                  <a:lnTo>
                    <a:pt x="247" y="263"/>
                  </a:lnTo>
                  <a:lnTo>
                    <a:pt x="247" y="264"/>
                  </a:lnTo>
                  <a:lnTo>
                    <a:pt x="249" y="266"/>
                  </a:lnTo>
                  <a:lnTo>
                    <a:pt x="250" y="269"/>
                  </a:lnTo>
                  <a:lnTo>
                    <a:pt x="252" y="271"/>
                  </a:lnTo>
                  <a:lnTo>
                    <a:pt x="254" y="271"/>
                  </a:lnTo>
                  <a:lnTo>
                    <a:pt x="254" y="272"/>
                  </a:lnTo>
                  <a:lnTo>
                    <a:pt x="255" y="272"/>
                  </a:lnTo>
                  <a:lnTo>
                    <a:pt x="255" y="272"/>
                  </a:lnTo>
                  <a:lnTo>
                    <a:pt x="263" y="279"/>
                  </a:lnTo>
                  <a:lnTo>
                    <a:pt x="266" y="282"/>
                  </a:lnTo>
                  <a:lnTo>
                    <a:pt x="269" y="283"/>
                  </a:lnTo>
                  <a:lnTo>
                    <a:pt x="271" y="285"/>
                  </a:lnTo>
                  <a:lnTo>
                    <a:pt x="272" y="285"/>
                  </a:lnTo>
                  <a:lnTo>
                    <a:pt x="274" y="282"/>
                  </a:lnTo>
                  <a:lnTo>
                    <a:pt x="280" y="280"/>
                  </a:lnTo>
                  <a:lnTo>
                    <a:pt x="280" y="280"/>
                  </a:lnTo>
                  <a:lnTo>
                    <a:pt x="280" y="280"/>
                  </a:lnTo>
                  <a:lnTo>
                    <a:pt x="280" y="277"/>
                  </a:lnTo>
                  <a:lnTo>
                    <a:pt x="280" y="275"/>
                  </a:lnTo>
                  <a:lnTo>
                    <a:pt x="279" y="272"/>
                  </a:lnTo>
                  <a:lnTo>
                    <a:pt x="275" y="272"/>
                  </a:lnTo>
                  <a:lnTo>
                    <a:pt x="274" y="272"/>
                  </a:lnTo>
                  <a:lnTo>
                    <a:pt x="275" y="269"/>
                  </a:lnTo>
                  <a:lnTo>
                    <a:pt x="274" y="269"/>
                  </a:lnTo>
                  <a:lnTo>
                    <a:pt x="272" y="268"/>
                  </a:lnTo>
                  <a:lnTo>
                    <a:pt x="272" y="268"/>
                  </a:lnTo>
                  <a:lnTo>
                    <a:pt x="272" y="266"/>
                  </a:lnTo>
                  <a:lnTo>
                    <a:pt x="271" y="266"/>
                  </a:lnTo>
                  <a:lnTo>
                    <a:pt x="269" y="264"/>
                  </a:lnTo>
                  <a:lnTo>
                    <a:pt x="266" y="263"/>
                  </a:lnTo>
                  <a:lnTo>
                    <a:pt x="264" y="263"/>
                  </a:lnTo>
                  <a:lnTo>
                    <a:pt x="263" y="263"/>
                  </a:lnTo>
                  <a:lnTo>
                    <a:pt x="263" y="263"/>
                  </a:lnTo>
                  <a:lnTo>
                    <a:pt x="264" y="261"/>
                  </a:lnTo>
                  <a:lnTo>
                    <a:pt x="264" y="261"/>
                  </a:lnTo>
                  <a:lnTo>
                    <a:pt x="264" y="260"/>
                  </a:lnTo>
                  <a:lnTo>
                    <a:pt x="264" y="258"/>
                  </a:lnTo>
                  <a:lnTo>
                    <a:pt x="264" y="258"/>
                  </a:lnTo>
                  <a:lnTo>
                    <a:pt x="268" y="260"/>
                  </a:lnTo>
                  <a:lnTo>
                    <a:pt x="272" y="261"/>
                  </a:lnTo>
                  <a:lnTo>
                    <a:pt x="272" y="261"/>
                  </a:lnTo>
                  <a:lnTo>
                    <a:pt x="274" y="263"/>
                  </a:lnTo>
                  <a:lnTo>
                    <a:pt x="274" y="264"/>
                  </a:lnTo>
                  <a:lnTo>
                    <a:pt x="275" y="264"/>
                  </a:lnTo>
                  <a:lnTo>
                    <a:pt x="277" y="266"/>
                  </a:lnTo>
                  <a:lnTo>
                    <a:pt x="279" y="268"/>
                  </a:lnTo>
                  <a:lnTo>
                    <a:pt x="279" y="266"/>
                  </a:lnTo>
                  <a:lnTo>
                    <a:pt x="279" y="266"/>
                  </a:lnTo>
                  <a:lnTo>
                    <a:pt x="280" y="264"/>
                  </a:lnTo>
                  <a:lnTo>
                    <a:pt x="280" y="263"/>
                  </a:lnTo>
                  <a:lnTo>
                    <a:pt x="280" y="263"/>
                  </a:lnTo>
                  <a:lnTo>
                    <a:pt x="279" y="261"/>
                  </a:lnTo>
                  <a:lnTo>
                    <a:pt x="279" y="257"/>
                  </a:lnTo>
                  <a:lnTo>
                    <a:pt x="280" y="258"/>
                  </a:lnTo>
                  <a:lnTo>
                    <a:pt x="280" y="258"/>
                  </a:lnTo>
                  <a:lnTo>
                    <a:pt x="280" y="263"/>
                  </a:lnTo>
                  <a:lnTo>
                    <a:pt x="282" y="263"/>
                  </a:lnTo>
                  <a:lnTo>
                    <a:pt x="283" y="263"/>
                  </a:lnTo>
                  <a:lnTo>
                    <a:pt x="285" y="263"/>
                  </a:lnTo>
                  <a:lnTo>
                    <a:pt x="282" y="264"/>
                  </a:lnTo>
                  <a:lnTo>
                    <a:pt x="282" y="266"/>
                  </a:lnTo>
                  <a:lnTo>
                    <a:pt x="283" y="272"/>
                  </a:lnTo>
                  <a:lnTo>
                    <a:pt x="285" y="274"/>
                  </a:lnTo>
                  <a:lnTo>
                    <a:pt x="283" y="277"/>
                  </a:lnTo>
                  <a:lnTo>
                    <a:pt x="283" y="279"/>
                  </a:lnTo>
                  <a:lnTo>
                    <a:pt x="283" y="280"/>
                  </a:lnTo>
                  <a:lnTo>
                    <a:pt x="290" y="279"/>
                  </a:lnTo>
                  <a:lnTo>
                    <a:pt x="291" y="280"/>
                  </a:lnTo>
                  <a:lnTo>
                    <a:pt x="293" y="283"/>
                  </a:lnTo>
                  <a:lnTo>
                    <a:pt x="294" y="283"/>
                  </a:lnTo>
                  <a:lnTo>
                    <a:pt x="297" y="285"/>
                  </a:lnTo>
                  <a:lnTo>
                    <a:pt x="297" y="285"/>
                  </a:lnTo>
                  <a:lnTo>
                    <a:pt x="299" y="283"/>
                  </a:lnTo>
                  <a:lnTo>
                    <a:pt x="299" y="282"/>
                  </a:lnTo>
                  <a:lnTo>
                    <a:pt x="299" y="282"/>
                  </a:lnTo>
                  <a:lnTo>
                    <a:pt x="297" y="275"/>
                  </a:lnTo>
                  <a:lnTo>
                    <a:pt x="296" y="272"/>
                  </a:lnTo>
                  <a:lnTo>
                    <a:pt x="296" y="271"/>
                  </a:lnTo>
                  <a:lnTo>
                    <a:pt x="294" y="266"/>
                  </a:lnTo>
                  <a:lnTo>
                    <a:pt x="294" y="261"/>
                  </a:lnTo>
                  <a:lnTo>
                    <a:pt x="293" y="257"/>
                  </a:lnTo>
                  <a:lnTo>
                    <a:pt x="291" y="252"/>
                  </a:lnTo>
                  <a:lnTo>
                    <a:pt x="291" y="252"/>
                  </a:lnTo>
                  <a:lnTo>
                    <a:pt x="293" y="252"/>
                  </a:lnTo>
                  <a:lnTo>
                    <a:pt x="293" y="250"/>
                  </a:lnTo>
                  <a:lnTo>
                    <a:pt x="291" y="249"/>
                  </a:lnTo>
                  <a:lnTo>
                    <a:pt x="293" y="247"/>
                  </a:lnTo>
                  <a:lnTo>
                    <a:pt x="293" y="247"/>
                  </a:lnTo>
                  <a:lnTo>
                    <a:pt x="293" y="244"/>
                  </a:lnTo>
                  <a:lnTo>
                    <a:pt x="293" y="244"/>
                  </a:lnTo>
                  <a:lnTo>
                    <a:pt x="293" y="247"/>
                  </a:lnTo>
                  <a:lnTo>
                    <a:pt x="294" y="250"/>
                  </a:lnTo>
                  <a:lnTo>
                    <a:pt x="296" y="257"/>
                  </a:lnTo>
                  <a:lnTo>
                    <a:pt x="297" y="264"/>
                  </a:lnTo>
                  <a:lnTo>
                    <a:pt x="297" y="266"/>
                  </a:lnTo>
                  <a:lnTo>
                    <a:pt x="299" y="268"/>
                  </a:lnTo>
                  <a:lnTo>
                    <a:pt x="300" y="268"/>
                  </a:lnTo>
                  <a:lnTo>
                    <a:pt x="300" y="271"/>
                  </a:lnTo>
                  <a:lnTo>
                    <a:pt x="304" y="277"/>
                  </a:lnTo>
                  <a:lnTo>
                    <a:pt x="305" y="280"/>
                  </a:lnTo>
                  <a:lnTo>
                    <a:pt x="308" y="280"/>
                  </a:lnTo>
                  <a:lnTo>
                    <a:pt x="311" y="283"/>
                  </a:lnTo>
                  <a:lnTo>
                    <a:pt x="313" y="285"/>
                  </a:lnTo>
                  <a:lnTo>
                    <a:pt x="313" y="285"/>
                  </a:lnTo>
                  <a:lnTo>
                    <a:pt x="315" y="283"/>
                  </a:lnTo>
                  <a:lnTo>
                    <a:pt x="316" y="279"/>
                  </a:lnTo>
                  <a:lnTo>
                    <a:pt x="318" y="275"/>
                  </a:lnTo>
                  <a:lnTo>
                    <a:pt x="319" y="275"/>
                  </a:lnTo>
                  <a:lnTo>
                    <a:pt x="319" y="275"/>
                  </a:lnTo>
                  <a:lnTo>
                    <a:pt x="319" y="275"/>
                  </a:lnTo>
                  <a:lnTo>
                    <a:pt x="318" y="277"/>
                  </a:lnTo>
                  <a:lnTo>
                    <a:pt x="316" y="283"/>
                  </a:lnTo>
                  <a:lnTo>
                    <a:pt x="316" y="285"/>
                  </a:lnTo>
                  <a:lnTo>
                    <a:pt x="316" y="288"/>
                  </a:lnTo>
                  <a:lnTo>
                    <a:pt x="316" y="289"/>
                  </a:lnTo>
                  <a:lnTo>
                    <a:pt x="319" y="293"/>
                  </a:lnTo>
                  <a:lnTo>
                    <a:pt x="321" y="294"/>
                  </a:lnTo>
                  <a:lnTo>
                    <a:pt x="321" y="297"/>
                  </a:lnTo>
                  <a:lnTo>
                    <a:pt x="322" y="297"/>
                  </a:lnTo>
                  <a:lnTo>
                    <a:pt x="322" y="297"/>
                  </a:lnTo>
                  <a:lnTo>
                    <a:pt x="324" y="297"/>
                  </a:lnTo>
                  <a:lnTo>
                    <a:pt x="324" y="294"/>
                  </a:lnTo>
                  <a:lnTo>
                    <a:pt x="325" y="294"/>
                  </a:lnTo>
                  <a:lnTo>
                    <a:pt x="332" y="296"/>
                  </a:lnTo>
                  <a:lnTo>
                    <a:pt x="330" y="297"/>
                  </a:lnTo>
                  <a:lnTo>
                    <a:pt x="325" y="296"/>
                  </a:lnTo>
                  <a:lnTo>
                    <a:pt x="325" y="297"/>
                  </a:lnTo>
                  <a:lnTo>
                    <a:pt x="325" y="297"/>
                  </a:lnTo>
                  <a:lnTo>
                    <a:pt x="325" y="300"/>
                  </a:lnTo>
                  <a:lnTo>
                    <a:pt x="327" y="302"/>
                  </a:lnTo>
                  <a:lnTo>
                    <a:pt x="332" y="307"/>
                  </a:lnTo>
                  <a:lnTo>
                    <a:pt x="332" y="307"/>
                  </a:lnTo>
                  <a:lnTo>
                    <a:pt x="329" y="305"/>
                  </a:lnTo>
                  <a:lnTo>
                    <a:pt x="325" y="302"/>
                  </a:lnTo>
                  <a:lnTo>
                    <a:pt x="324" y="302"/>
                  </a:lnTo>
                  <a:lnTo>
                    <a:pt x="324" y="304"/>
                  </a:lnTo>
                  <a:lnTo>
                    <a:pt x="322" y="304"/>
                  </a:lnTo>
                  <a:lnTo>
                    <a:pt x="325" y="307"/>
                  </a:lnTo>
                  <a:lnTo>
                    <a:pt x="327" y="314"/>
                  </a:lnTo>
                  <a:lnTo>
                    <a:pt x="327" y="319"/>
                  </a:lnTo>
                  <a:lnTo>
                    <a:pt x="336" y="324"/>
                  </a:lnTo>
                  <a:lnTo>
                    <a:pt x="338" y="324"/>
                  </a:lnTo>
                  <a:lnTo>
                    <a:pt x="338" y="324"/>
                  </a:lnTo>
                  <a:lnTo>
                    <a:pt x="338" y="327"/>
                  </a:lnTo>
                  <a:lnTo>
                    <a:pt x="338" y="327"/>
                  </a:lnTo>
                  <a:lnTo>
                    <a:pt x="338" y="329"/>
                  </a:lnTo>
                  <a:lnTo>
                    <a:pt x="340" y="330"/>
                  </a:lnTo>
                  <a:lnTo>
                    <a:pt x="341" y="332"/>
                  </a:lnTo>
                  <a:lnTo>
                    <a:pt x="344" y="333"/>
                  </a:lnTo>
                  <a:lnTo>
                    <a:pt x="344" y="336"/>
                  </a:lnTo>
                  <a:lnTo>
                    <a:pt x="344" y="336"/>
                  </a:lnTo>
                  <a:lnTo>
                    <a:pt x="346" y="336"/>
                  </a:lnTo>
                  <a:lnTo>
                    <a:pt x="346" y="338"/>
                  </a:lnTo>
                  <a:lnTo>
                    <a:pt x="346" y="340"/>
                  </a:lnTo>
                  <a:lnTo>
                    <a:pt x="347" y="341"/>
                  </a:lnTo>
                  <a:lnTo>
                    <a:pt x="347" y="341"/>
                  </a:lnTo>
                  <a:lnTo>
                    <a:pt x="349" y="344"/>
                  </a:lnTo>
                  <a:lnTo>
                    <a:pt x="349" y="344"/>
                  </a:lnTo>
                  <a:lnTo>
                    <a:pt x="352" y="344"/>
                  </a:lnTo>
                  <a:lnTo>
                    <a:pt x="352" y="347"/>
                  </a:lnTo>
                  <a:lnTo>
                    <a:pt x="354" y="349"/>
                  </a:lnTo>
                  <a:lnTo>
                    <a:pt x="354" y="349"/>
                  </a:lnTo>
                  <a:lnTo>
                    <a:pt x="355" y="349"/>
                  </a:lnTo>
                  <a:lnTo>
                    <a:pt x="360" y="350"/>
                  </a:lnTo>
                  <a:lnTo>
                    <a:pt x="357" y="352"/>
                  </a:lnTo>
                  <a:lnTo>
                    <a:pt x="355" y="352"/>
                  </a:lnTo>
                  <a:lnTo>
                    <a:pt x="352" y="358"/>
                  </a:lnTo>
                  <a:lnTo>
                    <a:pt x="350" y="361"/>
                  </a:lnTo>
                  <a:lnTo>
                    <a:pt x="349" y="363"/>
                  </a:lnTo>
                  <a:lnTo>
                    <a:pt x="349" y="365"/>
                  </a:lnTo>
                  <a:lnTo>
                    <a:pt x="347" y="366"/>
                  </a:lnTo>
                  <a:lnTo>
                    <a:pt x="349" y="369"/>
                  </a:lnTo>
                  <a:lnTo>
                    <a:pt x="350" y="371"/>
                  </a:lnTo>
                  <a:lnTo>
                    <a:pt x="352" y="371"/>
                  </a:lnTo>
                  <a:lnTo>
                    <a:pt x="354" y="371"/>
                  </a:lnTo>
                  <a:lnTo>
                    <a:pt x="354" y="368"/>
                  </a:lnTo>
                  <a:lnTo>
                    <a:pt x="355" y="365"/>
                  </a:lnTo>
                  <a:lnTo>
                    <a:pt x="355" y="365"/>
                  </a:lnTo>
                  <a:lnTo>
                    <a:pt x="355" y="363"/>
                  </a:lnTo>
                  <a:lnTo>
                    <a:pt x="355" y="361"/>
                  </a:lnTo>
                  <a:lnTo>
                    <a:pt x="355" y="361"/>
                  </a:lnTo>
                  <a:lnTo>
                    <a:pt x="355" y="361"/>
                  </a:lnTo>
                  <a:lnTo>
                    <a:pt x="358" y="358"/>
                  </a:lnTo>
                  <a:lnTo>
                    <a:pt x="365" y="357"/>
                  </a:lnTo>
                  <a:lnTo>
                    <a:pt x="369" y="354"/>
                  </a:lnTo>
                  <a:lnTo>
                    <a:pt x="368" y="355"/>
                  </a:lnTo>
                  <a:lnTo>
                    <a:pt x="368" y="357"/>
                  </a:lnTo>
                  <a:lnTo>
                    <a:pt x="368" y="358"/>
                  </a:lnTo>
                  <a:lnTo>
                    <a:pt x="369" y="363"/>
                  </a:lnTo>
                  <a:lnTo>
                    <a:pt x="371" y="365"/>
                  </a:lnTo>
                  <a:lnTo>
                    <a:pt x="372" y="369"/>
                  </a:lnTo>
                  <a:lnTo>
                    <a:pt x="372" y="371"/>
                  </a:lnTo>
                  <a:lnTo>
                    <a:pt x="372" y="374"/>
                  </a:lnTo>
                  <a:lnTo>
                    <a:pt x="372" y="377"/>
                  </a:lnTo>
                  <a:lnTo>
                    <a:pt x="372" y="377"/>
                  </a:lnTo>
                  <a:lnTo>
                    <a:pt x="374" y="379"/>
                  </a:lnTo>
                  <a:lnTo>
                    <a:pt x="374" y="379"/>
                  </a:lnTo>
                  <a:lnTo>
                    <a:pt x="369" y="380"/>
                  </a:lnTo>
                  <a:lnTo>
                    <a:pt x="369" y="382"/>
                  </a:lnTo>
                  <a:lnTo>
                    <a:pt x="369" y="383"/>
                  </a:lnTo>
                  <a:lnTo>
                    <a:pt x="369" y="386"/>
                  </a:lnTo>
                  <a:lnTo>
                    <a:pt x="371" y="390"/>
                  </a:lnTo>
                  <a:lnTo>
                    <a:pt x="372" y="394"/>
                  </a:lnTo>
                  <a:lnTo>
                    <a:pt x="377" y="394"/>
                  </a:lnTo>
                  <a:lnTo>
                    <a:pt x="377" y="394"/>
                  </a:lnTo>
                  <a:lnTo>
                    <a:pt x="379" y="393"/>
                  </a:lnTo>
                  <a:lnTo>
                    <a:pt x="382" y="390"/>
                  </a:lnTo>
                  <a:lnTo>
                    <a:pt x="383" y="386"/>
                  </a:lnTo>
                  <a:lnTo>
                    <a:pt x="383" y="386"/>
                  </a:lnTo>
                  <a:lnTo>
                    <a:pt x="383" y="383"/>
                  </a:lnTo>
                  <a:lnTo>
                    <a:pt x="386" y="379"/>
                  </a:lnTo>
                  <a:lnTo>
                    <a:pt x="386" y="377"/>
                  </a:lnTo>
                  <a:lnTo>
                    <a:pt x="386" y="376"/>
                  </a:lnTo>
                  <a:lnTo>
                    <a:pt x="385" y="372"/>
                  </a:lnTo>
                  <a:lnTo>
                    <a:pt x="385" y="369"/>
                  </a:lnTo>
                  <a:lnTo>
                    <a:pt x="385" y="368"/>
                  </a:lnTo>
                  <a:lnTo>
                    <a:pt x="385" y="366"/>
                  </a:lnTo>
                  <a:lnTo>
                    <a:pt x="385" y="363"/>
                  </a:lnTo>
                  <a:lnTo>
                    <a:pt x="386" y="361"/>
                  </a:lnTo>
                  <a:lnTo>
                    <a:pt x="386" y="360"/>
                  </a:lnTo>
                  <a:lnTo>
                    <a:pt x="386" y="360"/>
                  </a:lnTo>
                  <a:lnTo>
                    <a:pt x="386" y="358"/>
                  </a:lnTo>
                  <a:lnTo>
                    <a:pt x="386" y="357"/>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2" name="Freeform 210">
              <a:extLst>
                <a:ext uri="{FF2B5EF4-FFF2-40B4-BE49-F238E27FC236}">
                  <a16:creationId xmlns:a16="http://schemas.microsoft.com/office/drawing/2014/main" id="{4810B2F0-B796-81D4-C801-26FC6872726B}"/>
                </a:ext>
              </a:extLst>
            </p:cNvPr>
            <p:cNvSpPr>
              <a:spLocks/>
            </p:cNvSpPr>
            <p:nvPr/>
          </p:nvSpPr>
          <p:spPr bwMode="gray">
            <a:xfrm>
              <a:off x="1650" y="2128"/>
              <a:ext cx="92" cy="100"/>
            </a:xfrm>
            <a:custGeom>
              <a:avLst/>
              <a:gdLst>
                <a:gd name="T0" fmla="*/ 87 w 92"/>
                <a:gd name="T1" fmla="*/ 79 h 100"/>
                <a:gd name="T2" fmla="*/ 81 w 92"/>
                <a:gd name="T3" fmla="*/ 89 h 100"/>
                <a:gd name="T4" fmla="*/ 73 w 92"/>
                <a:gd name="T5" fmla="*/ 96 h 100"/>
                <a:gd name="T6" fmla="*/ 57 w 92"/>
                <a:gd name="T7" fmla="*/ 100 h 100"/>
                <a:gd name="T8" fmla="*/ 48 w 92"/>
                <a:gd name="T9" fmla="*/ 97 h 100"/>
                <a:gd name="T10" fmla="*/ 39 w 92"/>
                <a:gd name="T11" fmla="*/ 100 h 100"/>
                <a:gd name="T12" fmla="*/ 34 w 92"/>
                <a:gd name="T13" fmla="*/ 97 h 100"/>
                <a:gd name="T14" fmla="*/ 15 w 92"/>
                <a:gd name="T15" fmla="*/ 91 h 100"/>
                <a:gd name="T16" fmla="*/ 9 w 92"/>
                <a:gd name="T17" fmla="*/ 89 h 100"/>
                <a:gd name="T18" fmla="*/ 0 w 92"/>
                <a:gd name="T19" fmla="*/ 79 h 100"/>
                <a:gd name="T20" fmla="*/ 1 w 92"/>
                <a:gd name="T21" fmla="*/ 66 h 100"/>
                <a:gd name="T22" fmla="*/ 3 w 92"/>
                <a:gd name="T23" fmla="*/ 63 h 100"/>
                <a:gd name="T24" fmla="*/ 6 w 92"/>
                <a:gd name="T25" fmla="*/ 58 h 100"/>
                <a:gd name="T26" fmla="*/ 3 w 92"/>
                <a:gd name="T27" fmla="*/ 49 h 100"/>
                <a:gd name="T28" fmla="*/ 4 w 92"/>
                <a:gd name="T29" fmla="*/ 43 h 100"/>
                <a:gd name="T30" fmla="*/ 4 w 92"/>
                <a:gd name="T31" fmla="*/ 39 h 100"/>
                <a:gd name="T32" fmla="*/ 6 w 92"/>
                <a:gd name="T33" fmla="*/ 36 h 100"/>
                <a:gd name="T34" fmla="*/ 7 w 92"/>
                <a:gd name="T35" fmla="*/ 32 h 100"/>
                <a:gd name="T36" fmla="*/ 6 w 92"/>
                <a:gd name="T37" fmla="*/ 28 h 100"/>
                <a:gd name="T38" fmla="*/ 9 w 92"/>
                <a:gd name="T39" fmla="*/ 22 h 100"/>
                <a:gd name="T40" fmla="*/ 9 w 92"/>
                <a:gd name="T41" fmla="*/ 17 h 100"/>
                <a:gd name="T42" fmla="*/ 10 w 92"/>
                <a:gd name="T43" fmla="*/ 16 h 100"/>
                <a:gd name="T44" fmla="*/ 10 w 92"/>
                <a:gd name="T45" fmla="*/ 8 h 100"/>
                <a:gd name="T46" fmla="*/ 14 w 92"/>
                <a:gd name="T47" fmla="*/ 3 h 100"/>
                <a:gd name="T48" fmla="*/ 18 w 92"/>
                <a:gd name="T49" fmla="*/ 3 h 100"/>
                <a:gd name="T50" fmla="*/ 23 w 92"/>
                <a:gd name="T51" fmla="*/ 2 h 100"/>
                <a:gd name="T52" fmla="*/ 28 w 92"/>
                <a:gd name="T53" fmla="*/ 0 h 100"/>
                <a:gd name="T54" fmla="*/ 39 w 92"/>
                <a:gd name="T55" fmla="*/ 11 h 100"/>
                <a:gd name="T56" fmla="*/ 42 w 92"/>
                <a:gd name="T57" fmla="*/ 16 h 100"/>
                <a:gd name="T58" fmla="*/ 42 w 92"/>
                <a:gd name="T59" fmla="*/ 21 h 100"/>
                <a:gd name="T60" fmla="*/ 45 w 92"/>
                <a:gd name="T61" fmla="*/ 19 h 100"/>
                <a:gd name="T62" fmla="*/ 48 w 92"/>
                <a:gd name="T63" fmla="*/ 17 h 100"/>
                <a:gd name="T64" fmla="*/ 50 w 92"/>
                <a:gd name="T65" fmla="*/ 16 h 100"/>
                <a:gd name="T66" fmla="*/ 53 w 92"/>
                <a:gd name="T67" fmla="*/ 19 h 100"/>
                <a:gd name="T68" fmla="*/ 54 w 92"/>
                <a:gd name="T69" fmla="*/ 22 h 100"/>
                <a:gd name="T70" fmla="*/ 57 w 92"/>
                <a:gd name="T71" fmla="*/ 25 h 100"/>
                <a:gd name="T72" fmla="*/ 67 w 92"/>
                <a:gd name="T73" fmla="*/ 28 h 100"/>
                <a:gd name="T74" fmla="*/ 70 w 92"/>
                <a:gd name="T75" fmla="*/ 35 h 100"/>
                <a:gd name="T76" fmla="*/ 78 w 92"/>
                <a:gd name="T77" fmla="*/ 38 h 100"/>
                <a:gd name="T78" fmla="*/ 81 w 92"/>
                <a:gd name="T79" fmla="*/ 39 h 100"/>
                <a:gd name="T80" fmla="*/ 82 w 92"/>
                <a:gd name="T81" fmla="*/ 43 h 100"/>
                <a:gd name="T82" fmla="*/ 86 w 92"/>
                <a:gd name="T83" fmla="*/ 50 h 100"/>
                <a:gd name="T84" fmla="*/ 92 w 92"/>
                <a:gd name="T85" fmla="*/ 53 h 100"/>
                <a:gd name="T86" fmla="*/ 89 w 92"/>
                <a:gd name="T87" fmla="*/ 58 h 100"/>
                <a:gd name="T88" fmla="*/ 86 w 92"/>
                <a:gd name="T89" fmla="*/ 63 h 100"/>
                <a:gd name="T90" fmla="*/ 86 w 92"/>
                <a:gd name="T91" fmla="*/ 72 h 100"/>
                <a:gd name="T92" fmla="*/ 87 w 92"/>
                <a:gd name="T93"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0">
                  <a:moveTo>
                    <a:pt x="89" y="75"/>
                  </a:moveTo>
                  <a:lnTo>
                    <a:pt x="87" y="77"/>
                  </a:lnTo>
                  <a:lnTo>
                    <a:pt x="87" y="79"/>
                  </a:lnTo>
                  <a:lnTo>
                    <a:pt x="86" y="82"/>
                  </a:lnTo>
                  <a:lnTo>
                    <a:pt x="81" y="86"/>
                  </a:lnTo>
                  <a:lnTo>
                    <a:pt x="81" y="89"/>
                  </a:lnTo>
                  <a:lnTo>
                    <a:pt x="76" y="93"/>
                  </a:lnTo>
                  <a:lnTo>
                    <a:pt x="75" y="96"/>
                  </a:lnTo>
                  <a:lnTo>
                    <a:pt x="73" y="96"/>
                  </a:lnTo>
                  <a:lnTo>
                    <a:pt x="70" y="96"/>
                  </a:lnTo>
                  <a:lnTo>
                    <a:pt x="60" y="100"/>
                  </a:lnTo>
                  <a:lnTo>
                    <a:pt x="57" y="100"/>
                  </a:lnTo>
                  <a:lnTo>
                    <a:pt x="56" y="100"/>
                  </a:lnTo>
                  <a:lnTo>
                    <a:pt x="53" y="97"/>
                  </a:lnTo>
                  <a:lnTo>
                    <a:pt x="48" y="97"/>
                  </a:lnTo>
                  <a:lnTo>
                    <a:pt x="45" y="99"/>
                  </a:lnTo>
                  <a:lnTo>
                    <a:pt x="40" y="100"/>
                  </a:lnTo>
                  <a:lnTo>
                    <a:pt x="39" y="100"/>
                  </a:lnTo>
                  <a:lnTo>
                    <a:pt x="37" y="100"/>
                  </a:lnTo>
                  <a:lnTo>
                    <a:pt x="35" y="99"/>
                  </a:lnTo>
                  <a:lnTo>
                    <a:pt x="34" y="97"/>
                  </a:lnTo>
                  <a:lnTo>
                    <a:pt x="28" y="96"/>
                  </a:lnTo>
                  <a:lnTo>
                    <a:pt x="21" y="91"/>
                  </a:lnTo>
                  <a:lnTo>
                    <a:pt x="15" y="91"/>
                  </a:lnTo>
                  <a:lnTo>
                    <a:pt x="10" y="91"/>
                  </a:lnTo>
                  <a:lnTo>
                    <a:pt x="9" y="91"/>
                  </a:lnTo>
                  <a:lnTo>
                    <a:pt x="9" y="89"/>
                  </a:lnTo>
                  <a:lnTo>
                    <a:pt x="7" y="88"/>
                  </a:lnTo>
                  <a:lnTo>
                    <a:pt x="3" y="83"/>
                  </a:lnTo>
                  <a:lnTo>
                    <a:pt x="0" y="79"/>
                  </a:lnTo>
                  <a:lnTo>
                    <a:pt x="0" y="75"/>
                  </a:lnTo>
                  <a:lnTo>
                    <a:pt x="0" y="71"/>
                  </a:lnTo>
                  <a:lnTo>
                    <a:pt x="1" y="66"/>
                  </a:lnTo>
                  <a:lnTo>
                    <a:pt x="1" y="64"/>
                  </a:lnTo>
                  <a:lnTo>
                    <a:pt x="1" y="63"/>
                  </a:lnTo>
                  <a:lnTo>
                    <a:pt x="3" y="63"/>
                  </a:lnTo>
                  <a:lnTo>
                    <a:pt x="4" y="61"/>
                  </a:lnTo>
                  <a:lnTo>
                    <a:pt x="6" y="60"/>
                  </a:lnTo>
                  <a:lnTo>
                    <a:pt x="6" y="58"/>
                  </a:lnTo>
                  <a:lnTo>
                    <a:pt x="4" y="55"/>
                  </a:lnTo>
                  <a:lnTo>
                    <a:pt x="4" y="50"/>
                  </a:lnTo>
                  <a:lnTo>
                    <a:pt x="3" y="49"/>
                  </a:lnTo>
                  <a:lnTo>
                    <a:pt x="4" y="46"/>
                  </a:lnTo>
                  <a:lnTo>
                    <a:pt x="4" y="44"/>
                  </a:lnTo>
                  <a:lnTo>
                    <a:pt x="4" y="43"/>
                  </a:lnTo>
                  <a:lnTo>
                    <a:pt x="4" y="41"/>
                  </a:lnTo>
                  <a:lnTo>
                    <a:pt x="4" y="41"/>
                  </a:lnTo>
                  <a:lnTo>
                    <a:pt x="4" y="39"/>
                  </a:lnTo>
                  <a:lnTo>
                    <a:pt x="4" y="38"/>
                  </a:lnTo>
                  <a:lnTo>
                    <a:pt x="4" y="36"/>
                  </a:lnTo>
                  <a:lnTo>
                    <a:pt x="6" y="36"/>
                  </a:lnTo>
                  <a:lnTo>
                    <a:pt x="6" y="35"/>
                  </a:lnTo>
                  <a:lnTo>
                    <a:pt x="7" y="33"/>
                  </a:lnTo>
                  <a:lnTo>
                    <a:pt x="7" y="32"/>
                  </a:lnTo>
                  <a:lnTo>
                    <a:pt x="7" y="30"/>
                  </a:lnTo>
                  <a:lnTo>
                    <a:pt x="7" y="30"/>
                  </a:lnTo>
                  <a:lnTo>
                    <a:pt x="6" y="28"/>
                  </a:lnTo>
                  <a:lnTo>
                    <a:pt x="6" y="27"/>
                  </a:lnTo>
                  <a:lnTo>
                    <a:pt x="7" y="25"/>
                  </a:lnTo>
                  <a:lnTo>
                    <a:pt x="9" y="22"/>
                  </a:lnTo>
                  <a:lnTo>
                    <a:pt x="9" y="21"/>
                  </a:lnTo>
                  <a:lnTo>
                    <a:pt x="9" y="19"/>
                  </a:lnTo>
                  <a:lnTo>
                    <a:pt x="9" y="17"/>
                  </a:lnTo>
                  <a:lnTo>
                    <a:pt x="9" y="17"/>
                  </a:lnTo>
                  <a:lnTo>
                    <a:pt x="10" y="17"/>
                  </a:lnTo>
                  <a:lnTo>
                    <a:pt x="10" y="16"/>
                  </a:lnTo>
                  <a:lnTo>
                    <a:pt x="10" y="13"/>
                  </a:lnTo>
                  <a:lnTo>
                    <a:pt x="9" y="10"/>
                  </a:lnTo>
                  <a:lnTo>
                    <a:pt x="10" y="8"/>
                  </a:lnTo>
                  <a:lnTo>
                    <a:pt x="12" y="7"/>
                  </a:lnTo>
                  <a:lnTo>
                    <a:pt x="14" y="5"/>
                  </a:lnTo>
                  <a:lnTo>
                    <a:pt x="14" y="3"/>
                  </a:lnTo>
                  <a:lnTo>
                    <a:pt x="14" y="2"/>
                  </a:lnTo>
                  <a:lnTo>
                    <a:pt x="15" y="3"/>
                  </a:lnTo>
                  <a:lnTo>
                    <a:pt x="18" y="3"/>
                  </a:lnTo>
                  <a:lnTo>
                    <a:pt x="21" y="3"/>
                  </a:lnTo>
                  <a:lnTo>
                    <a:pt x="21" y="3"/>
                  </a:lnTo>
                  <a:lnTo>
                    <a:pt x="23" y="2"/>
                  </a:lnTo>
                  <a:lnTo>
                    <a:pt x="25" y="0"/>
                  </a:lnTo>
                  <a:lnTo>
                    <a:pt x="26" y="0"/>
                  </a:lnTo>
                  <a:lnTo>
                    <a:pt x="28" y="0"/>
                  </a:lnTo>
                  <a:lnTo>
                    <a:pt x="29" y="2"/>
                  </a:lnTo>
                  <a:lnTo>
                    <a:pt x="35" y="8"/>
                  </a:lnTo>
                  <a:lnTo>
                    <a:pt x="39" y="11"/>
                  </a:lnTo>
                  <a:lnTo>
                    <a:pt x="40" y="13"/>
                  </a:lnTo>
                  <a:lnTo>
                    <a:pt x="42" y="14"/>
                  </a:lnTo>
                  <a:lnTo>
                    <a:pt x="42" y="16"/>
                  </a:lnTo>
                  <a:lnTo>
                    <a:pt x="42" y="19"/>
                  </a:lnTo>
                  <a:lnTo>
                    <a:pt x="42" y="21"/>
                  </a:lnTo>
                  <a:lnTo>
                    <a:pt x="42" y="21"/>
                  </a:lnTo>
                  <a:lnTo>
                    <a:pt x="43" y="21"/>
                  </a:lnTo>
                  <a:lnTo>
                    <a:pt x="45" y="21"/>
                  </a:lnTo>
                  <a:lnTo>
                    <a:pt x="45" y="19"/>
                  </a:lnTo>
                  <a:lnTo>
                    <a:pt x="46" y="19"/>
                  </a:lnTo>
                  <a:lnTo>
                    <a:pt x="46" y="17"/>
                  </a:lnTo>
                  <a:lnTo>
                    <a:pt x="48" y="17"/>
                  </a:lnTo>
                  <a:lnTo>
                    <a:pt x="48" y="16"/>
                  </a:lnTo>
                  <a:lnTo>
                    <a:pt x="48" y="16"/>
                  </a:lnTo>
                  <a:lnTo>
                    <a:pt x="50" y="16"/>
                  </a:lnTo>
                  <a:lnTo>
                    <a:pt x="50" y="16"/>
                  </a:lnTo>
                  <a:lnTo>
                    <a:pt x="51" y="17"/>
                  </a:lnTo>
                  <a:lnTo>
                    <a:pt x="53" y="19"/>
                  </a:lnTo>
                  <a:lnTo>
                    <a:pt x="53" y="21"/>
                  </a:lnTo>
                  <a:lnTo>
                    <a:pt x="54" y="22"/>
                  </a:lnTo>
                  <a:lnTo>
                    <a:pt x="54" y="22"/>
                  </a:lnTo>
                  <a:lnTo>
                    <a:pt x="56" y="24"/>
                  </a:lnTo>
                  <a:lnTo>
                    <a:pt x="56" y="24"/>
                  </a:lnTo>
                  <a:lnTo>
                    <a:pt x="57" y="25"/>
                  </a:lnTo>
                  <a:lnTo>
                    <a:pt x="59" y="24"/>
                  </a:lnTo>
                  <a:lnTo>
                    <a:pt x="62" y="27"/>
                  </a:lnTo>
                  <a:lnTo>
                    <a:pt x="67" y="28"/>
                  </a:lnTo>
                  <a:lnTo>
                    <a:pt x="68" y="30"/>
                  </a:lnTo>
                  <a:lnTo>
                    <a:pt x="68" y="32"/>
                  </a:lnTo>
                  <a:lnTo>
                    <a:pt x="70" y="35"/>
                  </a:lnTo>
                  <a:lnTo>
                    <a:pt x="73" y="36"/>
                  </a:lnTo>
                  <a:lnTo>
                    <a:pt x="75" y="38"/>
                  </a:lnTo>
                  <a:lnTo>
                    <a:pt x="78" y="38"/>
                  </a:lnTo>
                  <a:lnTo>
                    <a:pt x="78" y="38"/>
                  </a:lnTo>
                  <a:lnTo>
                    <a:pt x="79" y="39"/>
                  </a:lnTo>
                  <a:lnTo>
                    <a:pt x="81" y="39"/>
                  </a:lnTo>
                  <a:lnTo>
                    <a:pt x="81" y="41"/>
                  </a:lnTo>
                  <a:lnTo>
                    <a:pt x="81" y="41"/>
                  </a:lnTo>
                  <a:lnTo>
                    <a:pt x="82" y="43"/>
                  </a:lnTo>
                  <a:lnTo>
                    <a:pt x="82" y="46"/>
                  </a:lnTo>
                  <a:lnTo>
                    <a:pt x="84" y="47"/>
                  </a:lnTo>
                  <a:lnTo>
                    <a:pt x="86" y="50"/>
                  </a:lnTo>
                  <a:lnTo>
                    <a:pt x="89" y="52"/>
                  </a:lnTo>
                  <a:lnTo>
                    <a:pt x="90" y="52"/>
                  </a:lnTo>
                  <a:lnTo>
                    <a:pt x="92" y="53"/>
                  </a:lnTo>
                  <a:lnTo>
                    <a:pt x="92" y="55"/>
                  </a:lnTo>
                  <a:lnTo>
                    <a:pt x="90" y="57"/>
                  </a:lnTo>
                  <a:lnTo>
                    <a:pt x="89" y="58"/>
                  </a:lnTo>
                  <a:lnTo>
                    <a:pt x="87" y="60"/>
                  </a:lnTo>
                  <a:lnTo>
                    <a:pt x="86" y="61"/>
                  </a:lnTo>
                  <a:lnTo>
                    <a:pt x="86" y="63"/>
                  </a:lnTo>
                  <a:lnTo>
                    <a:pt x="86" y="63"/>
                  </a:lnTo>
                  <a:lnTo>
                    <a:pt x="86" y="71"/>
                  </a:lnTo>
                  <a:lnTo>
                    <a:pt x="86" y="72"/>
                  </a:lnTo>
                  <a:lnTo>
                    <a:pt x="86" y="74"/>
                  </a:lnTo>
                  <a:lnTo>
                    <a:pt x="86" y="74"/>
                  </a:lnTo>
                  <a:lnTo>
                    <a:pt x="87" y="75"/>
                  </a:lnTo>
                  <a:lnTo>
                    <a:pt x="87" y="75"/>
                  </a:lnTo>
                  <a:lnTo>
                    <a:pt x="89" y="7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3" name="Freeform 211">
              <a:extLst>
                <a:ext uri="{FF2B5EF4-FFF2-40B4-BE49-F238E27FC236}">
                  <a16:creationId xmlns:a16="http://schemas.microsoft.com/office/drawing/2014/main" id="{07934563-D7B0-A72D-86B7-8684ECC66D26}"/>
                </a:ext>
              </a:extLst>
            </p:cNvPr>
            <p:cNvSpPr>
              <a:spLocks noEditPoints="1"/>
            </p:cNvSpPr>
            <p:nvPr/>
          </p:nvSpPr>
          <p:spPr bwMode="gray">
            <a:xfrm>
              <a:off x="3657" y="681"/>
              <a:ext cx="302" cy="195"/>
            </a:xfrm>
            <a:custGeom>
              <a:avLst/>
              <a:gdLst>
                <a:gd name="T0" fmla="*/ 266 w 302"/>
                <a:gd name="T1" fmla="*/ 131 h 195"/>
                <a:gd name="T2" fmla="*/ 264 w 302"/>
                <a:gd name="T3" fmla="*/ 133 h 195"/>
                <a:gd name="T4" fmla="*/ 297 w 302"/>
                <a:gd name="T5" fmla="*/ 112 h 195"/>
                <a:gd name="T6" fmla="*/ 285 w 302"/>
                <a:gd name="T7" fmla="*/ 108 h 195"/>
                <a:gd name="T8" fmla="*/ 277 w 302"/>
                <a:gd name="T9" fmla="*/ 100 h 195"/>
                <a:gd name="T10" fmla="*/ 274 w 302"/>
                <a:gd name="T11" fmla="*/ 102 h 195"/>
                <a:gd name="T12" fmla="*/ 260 w 302"/>
                <a:gd name="T13" fmla="*/ 103 h 195"/>
                <a:gd name="T14" fmla="*/ 256 w 302"/>
                <a:gd name="T15" fmla="*/ 91 h 195"/>
                <a:gd name="T16" fmla="*/ 267 w 302"/>
                <a:gd name="T17" fmla="*/ 81 h 195"/>
                <a:gd name="T18" fmla="*/ 256 w 302"/>
                <a:gd name="T19" fmla="*/ 84 h 195"/>
                <a:gd name="T20" fmla="*/ 239 w 302"/>
                <a:gd name="T21" fmla="*/ 95 h 195"/>
                <a:gd name="T22" fmla="*/ 224 w 302"/>
                <a:gd name="T23" fmla="*/ 111 h 195"/>
                <a:gd name="T24" fmla="*/ 214 w 302"/>
                <a:gd name="T25" fmla="*/ 116 h 195"/>
                <a:gd name="T26" fmla="*/ 208 w 302"/>
                <a:gd name="T27" fmla="*/ 106 h 195"/>
                <a:gd name="T28" fmla="*/ 186 w 302"/>
                <a:gd name="T29" fmla="*/ 98 h 195"/>
                <a:gd name="T30" fmla="*/ 177 w 302"/>
                <a:gd name="T31" fmla="*/ 78 h 195"/>
                <a:gd name="T32" fmla="*/ 171 w 302"/>
                <a:gd name="T33" fmla="*/ 61 h 195"/>
                <a:gd name="T34" fmla="*/ 153 w 302"/>
                <a:gd name="T35" fmla="*/ 47 h 195"/>
                <a:gd name="T36" fmla="*/ 125 w 302"/>
                <a:gd name="T37" fmla="*/ 48 h 195"/>
                <a:gd name="T38" fmla="*/ 95 w 302"/>
                <a:gd name="T39" fmla="*/ 39 h 195"/>
                <a:gd name="T40" fmla="*/ 77 w 302"/>
                <a:gd name="T41" fmla="*/ 20 h 195"/>
                <a:gd name="T42" fmla="*/ 47 w 302"/>
                <a:gd name="T43" fmla="*/ 1 h 195"/>
                <a:gd name="T44" fmla="*/ 17 w 302"/>
                <a:gd name="T45" fmla="*/ 8 h 195"/>
                <a:gd name="T46" fmla="*/ 9 w 302"/>
                <a:gd name="T47" fmla="*/ 103 h 195"/>
                <a:gd name="T48" fmla="*/ 20 w 302"/>
                <a:gd name="T49" fmla="*/ 102 h 195"/>
                <a:gd name="T50" fmla="*/ 20 w 302"/>
                <a:gd name="T51" fmla="*/ 87 h 195"/>
                <a:gd name="T52" fmla="*/ 36 w 302"/>
                <a:gd name="T53" fmla="*/ 75 h 195"/>
                <a:gd name="T54" fmla="*/ 42 w 302"/>
                <a:gd name="T55" fmla="*/ 78 h 195"/>
                <a:gd name="T56" fmla="*/ 39 w 302"/>
                <a:gd name="T57" fmla="*/ 72 h 195"/>
                <a:gd name="T58" fmla="*/ 55 w 302"/>
                <a:gd name="T59" fmla="*/ 73 h 195"/>
                <a:gd name="T60" fmla="*/ 70 w 302"/>
                <a:gd name="T61" fmla="*/ 81 h 195"/>
                <a:gd name="T62" fmla="*/ 74 w 302"/>
                <a:gd name="T63" fmla="*/ 87 h 195"/>
                <a:gd name="T64" fmla="*/ 74 w 302"/>
                <a:gd name="T65" fmla="*/ 94 h 195"/>
                <a:gd name="T66" fmla="*/ 86 w 302"/>
                <a:gd name="T67" fmla="*/ 103 h 195"/>
                <a:gd name="T68" fmla="*/ 100 w 302"/>
                <a:gd name="T69" fmla="*/ 103 h 195"/>
                <a:gd name="T70" fmla="*/ 114 w 302"/>
                <a:gd name="T71" fmla="*/ 131 h 195"/>
                <a:gd name="T72" fmla="*/ 138 w 302"/>
                <a:gd name="T73" fmla="*/ 152 h 195"/>
                <a:gd name="T74" fmla="*/ 169 w 302"/>
                <a:gd name="T75" fmla="*/ 172 h 195"/>
                <a:gd name="T76" fmla="*/ 183 w 302"/>
                <a:gd name="T77" fmla="*/ 177 h 195"/>
                <a:gd name="T78" fmla="*/ 191 w 302"/>
                <a:gd name="T79" fmla="*/ 191 h 195"/>
                <a:gd name="T80" fmla="*/ 206 w 302"/>
                <a:gd name="T81" fmla="*/ 195 h 195"/>
                <a:gd name="T82" fmla="*/ 217 w 302"/>
                <a:gd name="T83" fmla="*/ 173 h 195"/>
                <a:gd name="T84" fmla="*/ 213 w 302"/>
                <a:gd name="T85" fmla="*/ 156 h 195"/>
                <a:gd name="T86" fmla="*/ 205 w 302"/>
                <a:gd name="T87" fmla="*/ 152 h 195"/>
                <a:gd name="T88" fmla="*/ 210 w 302"/>
                <a:gd name="T89" fmla="*/ 142 h 195"/>
                <a:gd name="T90" fmla="*/ 224 w 302"/>
                <a:gd name="T91" fmla="*/ 136 h 195"/>
                <a:gd name="T92" fmla="*/ 227 w 302"/>
                <a:gd name="T93" fmla="*/ 134 h 195"/>
                <a:gd name="T94" fmla="*/ 228 w 302"/>
                <a:gd name="T95" fmla="*/ 131 h 195"/>
                <a:gd name="T96" fmla="*/ 231 w 302"/>
                <a:gd name="T97" fmla="*/ 128 h 195"/>
                <a:gd name="T98" fmla="*/ 235 w 302"/>
                <a:gd name="T99" fmla="*/ 114 h 195"/>
                <a:gd name="T100" fmla="*/ 252 w 302"/>
                <a:gd name="T101" fmla="*/ 112 h 195"/>
                <a:gd name="T102" fmla="*/ 260 w 302"/>
                <a:gd name="T103" fmla="*/ 116 h 195"/>
                <a:gd name="T104" fmla="*/ 253 w 302"/>
                <a:gd name="T105" fmla="*/ 123 h 195"/>
                <a:gd name="T106" fmla="*/ 266 w 302"/>
                <a:gd name="T107" fmla="*/ 127 h 195"/>
                <a:gd name="T108" fmla="*/ 277 w 302"/>
                <a:gd name="T109" fmla="*/ 130 h 195"/>
                <a:gd name="T110" fmla="*/ 286 w 302"/>
                <a:gd name="T111" fmla="*/ 122 h 195"/>
                <a:gd name="T112" fmla="*/ 294 w 302"/>
                <a:gd name="T113" fmla="*/ 120 h 195"/>
                <a:gd name="T114" fmla="*/ 258 w 302"/>
                <a:gd name="T115" fmla="*/ 11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 h="195">
                  <a:moveTo>
                    <a:pt x="277" y="133"/>
                  </a:moveTo>
                  <a:lnTo>
                    <a:pt x="277" y="133"/>
                  </a:lnTo>
                  <a:lnTo>
                    <a:pt x="275" y="133"/>
                  </a:lnTo>
                  <a:lnTo>
                    <a:pt x="275" y="134"/>
                  </a:lnTo>
                  <a:lnTo>
                    <a:pt x="277" y="134"/>
                  </a:lnTo>
                  <a:lnTo>
                    <a:pt x="277" y="134"/>
                  </a:lnTo>
                  <a:lnTo>
                    <a:pt x="278" y="133"/>
                  </a:lnTo>
                  <a:lnTo>
                    <a:pt x="278" y="133"/>
                  </a:lnTo>
                  <a:lnTo>
                    <a:pt x="277" y="133"/>
                  </a:lnTo>
                  <a:close/>
                  <a:moveTo>
                    <a:pt x="267" y="131"/>
                  </a:moveTo>
                  <a:lnTo>
                    <a:pt x="266" y="131"/>
                  </a:lnTo>
                  <a:lnTo>
                    <a:pt x="266" y="131"/>
                  </a:lnTo>
                  <a:lnTo>
                    <a:pt x="264" y="130"/>
                  </a:lnTo>
                  <a:lnTo>
                    <a:pt x="264" y="130"/>
                  </a:lnTo>
                  <a:lnTo>
                    <a:pt x="264" y="130"/>
                  </a:lnTo>
                  <a:lnTo>
                    <a:pt x="263" y="130"/>
                  </a:lnTo>
                  <a:lnTo>
                    <a:pt x="264" y="131"/>
                  </a:lnTo>
                  <a:lnTo>
                    <a:pt x="264" y="133"/>
                  </a:lnTo>
                  <a:lnTo>
                    <a:pt x="264" y="133"/>
                  </a:lnTo>
                  <a:lnTo>
                    <a:pt x="264" y="133"/>
                  </a:lnTo>
                  <a:lnTo>
                    <a:pt x="264" y="133"/>
                  </a:lnTo>
                  <a:lnTo>
                    <a:pt x="264" y="133"/>
                  </a:lnTo>
                  <a:lnTo>
                    <a:pt x="264" y="133"/>
                  </a:lnTo>
                  <a:lnTo>
                    <a:pt x="264" y="134"/>
                  </a:lnTo>
                  <a:lnTo>
                    <a:pt x="266" y="134"/>
                  </a:lnTo>
                  <a:lnTo>
                    <a:pt x="267" y="134"/>
                  </a:lnTo>
                  <a:lnTo>
                    <a:pt x="267" y="134"/>
                  </a:lnTo>
                  <a:lnTo>
                    <a:pt x="267" y="134"/>
                  </a:lnTo>
                  <a:lnTo>
                    <a:pt x="267" y="133"/>
                  </a:lnTo>
                  <a:lnTo>
                    <a:pt x="267" y="131"/>
                  </a:lnTo>
                  <a:close/>
                  <a:moveTo>
                    <a:pt x="302" y="114"/>
                  </a:moveTo>
                  <a:lnTo>
                    <a:pt x="299" y="112"/>
                  </a:lnTo>
                  <a:lnTo>
                    <a:pt x="297" y="112"/>
                  </a:lnTo>
                  <a:lnTo>
                    <a:pt x="297" y="112"/>
                  </a:lnTo>
                  <a:lnTo>
                    <a:pt x="296" y="112"/>
                  </a:lnTo>
                  <a:lnTo>
                    <a:pt x="292" y="112"/>
                  </a:lnTo>
                  <a:lnTo>
                    <a:pt x="292" y="112"/>
                  </a:lnTo>
                  <a:lnTo>
                    <a:pt x="291" y="109"/>
                  </a:lnTo>
                  <a:lnTo>
                    <a:pt x="289" y="109"/>
                  </a:lnTo>
                  <a:lnTo>
                    <a:pt x="288" y="108"/>
                  </a:lnTo>
                  <a:lnTo>
                    <a:pt x="286" y="108"/>
                  </a:lnTo>
                  <a:lnTo>
                    <a:pt x="285" y="109"/>
                  </a:lnTo>
                  <a:lnTo>
                    <a:pt x="285" y="109"/>
                  </a:lnTo>
                  <a:lnTo>
                    <a:pt x="285" y="108"/>
                  </a:lnTo>
                  <a:lnTo>
                    <a:pt x="285" y="106"/>
                  </a:lnTo>
                  <a:lnTo>
                    <a:pt x="285" y="105"/>
                  </a:lnTo>
                  <a:lnTo>
                    <a:pt x="283" y="105"/>
                  </a:lnTo>
                  <a:lnTo>
                    <a:pt x="283" y="106"/>
                  </a:lnTo>
                  <a:lnTo>
                    <a:pt x="282" y="105"/>
                  </a:lnTo>
                  <a:lnTo>
                    <a:pt x="280" y="105"/>
                  </a:lnTo>
                  <a:lnTo>
                    <a:pt x="278" y="102"/>
                  </a:lnTo>
                  <a:lnTo>
                    <a:pt x="278" y="102"/>
                  </a:lnTo>
                  <a:lnTo>
                    <a:pt x="278" y="100"/>
                  </a:lnTo>
                  <a:lnTo>
                    <a:pt x="278" y="100"/>
                  </a:lnTo>
                  <a:lnTo>
                    <a:pt x="277" y="100"/>
                  </a:lnTo>
                  <a:lnTo>
                    <a:pt x="277" y="98"/>
                  </a:lnTo>
                  <a:lnTo>
                    <a:pt x="277" y="97"/>
                  </a:lnTo>
                  <a:lnTo>
                    <a:pt x="277" y="97"/>
                  </a:lnTo>
                  <a:lnTo>
                    <a:pt x="275" y="97"/>
                  </a:lnTo>
                  <a:lnTo>
                    <a:pt x="275" y="97"/>
                  </a:lnTo>
                  <a:lnTo>
                    <a:pt x="275" y="97"/>
                  </a:lnTo>
                  <a:lnTo>
                    <a:pt x="275" y="98"/>
                  </a:lnTo>
                  <a:lnTo>
                    <a:pt x="275" y="100"/>
                  </a:lnTo>
                  <a:lnTo>
                    <a:pt x="275" y="102"/>
                  </a:lnTo>
                  <a:lnTo>
                    <a:pt x="274" y="102"/>
                  </a:lnTo>
                  <a:lnTo>
                    <a:pt x="274" y="102"/>
                  </a:lnTo>
                  <a:lnTo>
                    <a:pt x="272" y="102"/>
                  </a:lnTo>
                  <a:lnTo>
                    <a:pt x="272" y="102"/>
                  </a:lnTo>
                  <a:lnTo>
                    <a:pt x="271" y="106"/>
                  </a:lnTo>
                  <a:lnTo>
                    <a:pt x="271" y="106"/>
                  </a:lnTo>
                  <a:lnTo>
                    <a:pt x="269" y="106"/>
                  </a:lnTo>
                  <a:lnTo>
                    <a:pt x="267" y="106"/>
                  </a:lnTo>
                  <a:lnTo>
                    <a:pt x="266" y="106"/>
                  </a:lnTo>
                  <a:lnTo>
                    <a:pt x="264" y="105"/>
                  </a:lnTo>
                  <a:lnTo>
                    <a:pt x="263" y="105"/>
                  </a:lnTo>
                  <a:lnTo>
                    <a:pt x="261" y="105"/>
                  </a:lnTo>
                  <a:lnTo>
                    <a:pt x="260" y="103"/>
                  </a:lnTo>
                  <a:lnTo>
                    <a:pt x="260" y="100"/>
                  </a:lnTo>
                  <a:lnTo>
                    <a:pt x="258" y="98"/>
                  </a:lnTo>
                  <a:lnTo>
                    <a:pt x="258" y="98"/>
                  </a:lnTo>
                  <a:lnTo>
                    <a:pt x="255" y="100"/>
                  </a:lnTo>
                  <a:lnTo>
                    <a:pt x="253" y="98"/>
                  </a:lnTo>
                  <a:lnTo>
                    <a:pt x="252" y="98"/>
                  </a:lnTo>
                  <a:lnTo>
                    <a:pt x="250" y="97"/>
                  </a:lnTo>
                  <a:lnTo>
                    <a:pt x="250" y="97"/>
                  </a:lnTo>
                  <a:lnTo>
                    <a:pt x="250" y="97"/>
                  </a:lnTo>
                  <a:lnTo>
                    <a:pt x="255" y="92"/>
                  </a:lnTo>
                  <a:lnTo>
                    <a:pt x="256" y="91"/>
                  </a:lnTo>
                  <a:lnTo>
                    <a:pt x="258" y="89"/>
                  </a:lnTo>
                  <a:lnTo>
                    <a:pt x="260" y="89"/>
                  </a:lnTo>
                  <a:lnTo>
                    <a:pt x="261" y="87"/>
                  </a:lnTo>
                  <a:lnTo>
                    <a:pt x="261" y="86"/>
                  </a:lnTo>
                  <a:lnTo>
                    <a:pt x="261" y="86"/>
                  </a:lnTo>
                  <a:lnTo>
                    <a:pt x="261" y="86"/>
                  </a:lnTo>
                  <a:lnTo>
                    <a:pt x="263" y="86"/>
                  </a:lnTo>
                  <a:lnTo>
                    <a:pt x="264" y="84"/>
                  </a:lnTo>
                  <a:lnTo>
                    <a:pt x="267" y="83"/>
                  </a:lnTo>
                  <a:lnTo>
                    <a:pt x="267" y="81"/>
                  </a:lnTo>
                  <a:lnTo>
                    <a:pt x="267" y="81"/>
                  </a:lnTo>
                  <a:lnTo>
                    <a:pt x="266" y="80"/>
                  </a:lnTo>
                  <a:lnTo>
                    <a:pt x="264" y="80"/>
                  </a:lnTo>
                  <a:lnTo>
                    <a:pt x="264" y="80"/>
                  </a:lnTo>
                  <a:lnTo>
                    <a:pt x="263" y="80"/>
                  </a:lnTo>
                  <a:lnTo>
                    <a:pt x="263" y="80"/>
                  </a:lnTo>
                  <a:lnTo>
                    <a:pt x="263" y="81"/>
                  </a:lnTo>
                  <a:lnTo>
                    <a:pt x="261" y="81"/>
                  </a:lnTo>
                  <a:lnTo>
                    <a:pt x="260" y="81"/>
                  </a:lnTo>
                  <a:lnTo>
                    <a:pt x="260" y="83"/>
                  </a:lnTo>
                  <a:lnTo>
                    <a:pt x="258" y="83"/>
                  </a:lnTo>
                  <a:lnTo>
                    <a:pt x="256" y="84"/>
                  </a:lnTo>
                  <a:lnTo>
                    <a:pt x="256" y="86"/>
                  </a:lnTo>
                  <a:lnTo>
                    <a:pt x="256" y="84"/>
                  </a:lnTo>
                  <a:lnTo>
                    <a:pt x="255" y="84"/>
                  </a:lnTo>
                  <a:lnTo>
                    <a:pt x="253" y="84"/>
                  </a:lnTo>
                  <a:lnTo>
                    <a:pt x="252" y="86"/>
                  </a:lnTo>
                  <a:lnTo>
                    <a:pt x="250" y="87"/>
                  </a:lnTo>
                  <a:lnTo>
                    <a:pt x="249" y="91"/>
                  </a:lnTo>
                  <a:lnTo>
                    <a:pt x="246" y="92"/>
                  </a:lnTo>
                  <a:lnTo>
                    <a:pt x="242" y="94"/>
                  </a:lnTo>
                  <a:lnTo>
                    <a:pt x="241" y="94"/>
                  </a:lnTo>
                  <a:lnTo>
                    <a:pt x="239" y="95"/>
                  </a:lnTo>
                  <a:lnTo>
                    <a:pt x="236" y="97"/>
                  </a:lnTo>
                  <a:lnTo>
                    <a:pt x="235" y="98"/>
                  </a:lnTo>
                  <a:lnTo>
                    <a:pt x="233" y="98"/>
                  </a:lnTo>
                  <a:lnTo>
                    <a:pt x="231" y="100"/>
                  </a:lnTo>
                  <a:lnTo>
                    <a:pt x="230" y="102"/>
                  </a:lnTo>
                  <a:lnTo>
                    <a:pt x="230" y="102"/>
                  </a:lnTo>
                  <a:lnTo>
                    <a:pt x="230" y="103"/>
                  </a:lnTo>
                  <a:lnTo>
                    <a:pt x="228" y="105"/>
                  </a:lnTo>
                  <a:lnTo>
                    <a:pt x="227" y="106"/>
                  </a:lnTo>
                  <a:lnTo>
                    <a:pt x="224" y="108"/>
                  </a:lnTo>
                  <a:lnTo>
                    <a:pt x="224" y="111"/>
                  </a:lnTo>
                  <a:lnTo>
                    <a:pt x="222" y="112"/>
                  </a:lnTo>
                  <a:lnTo>
                    <a:pt x="221" y="114"/>
                  </a:lnTo>
                  <a:lnTo>
                    <a:pt x="221" y="114"/>
                  </a:lnTo>
                  <a:lnTo>
                    <a:pt x="221" y="116"/>
                  </a:lnTo>
                  <a:lnTo>
                    <a:pt x="222" y="116"/>
                  </a:lnTo>
                  <a:lnTo>
                    <a:pt x="222" y="117"/>
                  </a:lnTo>
                  <a:lnTo>
                    <a:pt x="222" y="119"/>
                  </a:lnTo>
                  <a:lnTo>
                    <a:pt x="221" y="119"/>
                  </a:lnTo>
                  <a:lnTo>
                    <a:pt x="219" y="119"/>
                  </a:lnTo>
                  <a:lnTo>
                    <a:pt x="216" y="117"/>
                  </a:lnTo>
                  <a:lnTo>
                    <a:pt x="214" y="116"/>
                  </a:lnTo>
                  <a:lnTo>
                    <a:pt x="213" y="116"/>
                  </a:lnTo>
                  <a:lnTo>
                    <a:pt x="213" y="114"/>
                  </a:lnTo>
                  <a:lnTo>
                    <a:pt x="213" y="112"/>
                  </a:lnTo>
                  <a:lnTo>
                    <a:pt x="213" y="111"/>
                  </a:lnTo>
                  <a:lnTo>
                    <a:pt x="213" y="109"/>
                  </a:lnTo>
                  <a:lnTo>
                    <a:pt x="213" y="108"/>
                  </a:lnTo>
                  <a:lnTo>
                    <a:pt x="211" y="108"/>
                  </a:lnTo>
                  <a:lnTo>
                    <a:pt x="211" y="106"/>
                  </a:lnTo>
                  <a:lnTo>
                    <a:pt x="210" y="105"/>
                  </a:lnTo>
                  <a:lnTo>
                    <a:pt x="210" y="105"/>
                  </a:lnTo>
                  <a:lnTo>
                    <a:pt x="208" y="106"/>
                  </a:lnTo>
                  <a:lnTo>
                    <a:pt x="206" y="105"/>
                  </a:lnTo>
                  <a:lnTo>
                    <a:pt x="203" y="105"/>
                  </a:lnTo>
                  <a:lnTo>
                    <a:pt x="200" y="106"/>
                  </a:lnTo>
                  <a:lnTo>
                    <a:pt x="197" y="106"/>
                  </a:lnTo>
                  <a:lnTo>
                    <a:pt x="194" y="106"/>
                  </a:lnTo>
                  <a:lnTo>
                    <a:pt x="191" y="106"/>
                  </a:lnTo>
                  <a:lnTo>
                    <a:pt x="189" y="106"/>
                  </a:lnTo>
                  <a:lnTo>
                    <a:pt x="189" y="105"/>
                  </a:lnTo>
                  <a:lnTo>
                    <a:pt x="188" y="103"/>
                  </a:lnTo>
                  <a:lnTo>
                    <a:pt x="188" y="102"/>
                  </a:lnTo>
                  <a:lnTo>
                    <a:pt x="186" y="98"/>
                  </a:lnTo>
                  <a:lnTo>
                    <a:pt x="186" y="95"/>
                  </a:lnTo>
                  <a:lnTo>
                    <a:pt x="186" y="92"/>
                  </a:lnTo>
                  <a:lnTo>
                    <a:pt x="185" y="89"/>
                  </a:lnTo>
                  <a:lnTo>
                    <a:pt x="185" y="86"/>
                  </a:lnTo>
                  <a:lnTo>
                    <a:pt x="185" y="86"/>
                  </a:lnTo>
                  <a:lnTo>
                    <a:pt x="181" y="86"/>
                  </a:lnTo>
                  <a:lnTo>
                    <a:pt x="180" y="86"/>
                  </a:lnTo>
                  <a:lnTo>
                    <a:pt x="177" y="86"/>
                  </a:lnTo>
                  <a:lnTo>
                    <a:pt x="177" y="84"/>
                  </a:lnTo>
                  <a:lnTo>
                    <a:pt x="177" y="81"/>
                  </a:lnTo>
                  <a:lnTo>
                    <a:pt x="177" y="78"/>
                  </a:lnTo>
                  <a:lnTo>
                    <a:pt x="177" y="75"/>
                  </a:lnTo>
                  <a:lnTo>
                    <a:pt x="177" y="72"/>
                  </a:lnTo>
                  <a:lnTo>
                    <a:pt x="178" y="67"/>
                  </a:lnTo>
                  <a:lnTo>
                    <a:pt x="178" y="66"/>
                  </a:lnTo>
                  <a:lnTo>
                    <a:pt x="178" y="62"/>
                  </a:lnTo>
                  <a:lnTo>
                    <a:pt x="178" y="62"/>
                  </a:lnTo>
                  <a:lnTo>
                    <a:pt x="177" y="64"/>
                  </a:lnTo>
                  <a:lnTo>
                    <a:pt x="175" y="64"/>
                  </a:lnTo>
                  <a:lnTo>
                    <a:pt x="172" y="66"/>
                  </a:lnTo>
                  <a:lnTo>
                    <a:pt x="172" y="62"/>
                  </a:lnTo>
                  <a:lnTo>
                    <a:pt x="171" y="61"/>
                  </a:lnTo>
                  <a:lnTo>
                    <a:pt x="169" y="58"/>
                  </a:lnTo>
                  <a:lnTo>
                    <a:pt x="167" y="55"/>
                  </a:lnTo>
                  <a:lnTo>
                    <a:pt x="166" y="53"/>
                  </a:lnTo>
                  <a:lnTo>
                    <a:pt x="163" y="53"/>
                  </a:lnTo>
                  <a:lnTo>
                    <a:pt x="161" y="50"/>
                  </a:lnTo>
                  <a:lnTo>
                    <a:pt x="160" y="48"/>
                  </a:lnTo>
                  <a:lnTo>
                    <a:pt x="158" y="47"/>
                  </a:lnTo>
                  <a:lnTo>
                    <a:pt x="158" y="47"/>
                  </a:lnTo>
                  <a:lnTo>
                    <a:pt x="156" y="45"/>
                  </a:lnTo>
                  <a:lnTo>
                    <a:pt x="155" y="45"/>
                  </a:lnTo>
                  <a:lnTo>
                    <a:pt x="153" y="47"/>
                  </a:lnTo>
                  <a:lnTo>
                    <a:pt x="152" y="47"/>
                  </a:lnTo>
                  <a:lnTo>
                    <a:pt x="150" y="48"/>
                  </a:lnTo>
                  <a:lnTo>
                    <a:pt x="149" y="48"/>
                  </a:lnTo>
                  <a:lnTo>
                    <a:pt x="147" y="48"/>
                  </a:lnTo>
                  <a:lnTo>
                    <a:pt x="145" y="48"/>
                  </a:lnTo>
                  <a:lnTo>
                    <a:pt x="141" y="48"/>
                  </a:lnTo>
                  <a:lnTo>
                    <a:pt x="139" y="48"/>
                  </a:lnTo>
                  <a:lnTo>
                    <a:pt x="136" y="48"/>
                  </a:lnTo>
                  <a:lnTo>
                    <a:pt x="131" y="47"/>
                  </a:lnTo>
                  <a:lnTo>
                    <a:pt x="127" y="47"/>
                  </a:lnTo>
                  <a:lnTo>
                    <a:pt x="125" y="48"/>
                  </a:lnTo>
                  <a:lnTo>
                    <a:pt x="120" y="48"/>
                  </a:lnTo>
                  <a:lnTo>
                    <a:pt x="117" y="48"/>
                  </a:lnTo>
                  <a:lnTo>
                    <a:pt x="114" y="50"/>
                  </a:lnTo>
                  <a:lnTo>
                    <a:pt x="110" y="50"/>
                  </a:lnTo>
                  <a:lnTo>
                    <a:pt x="108" y="50"/>
                  </a:lnTo>
                  <a:lnTo>
                    <a:pt x="106" y="50"/>
                  </a:lnTo>
                  <a:lnTo>
                    <a:pt x="105" y="48"/>
                  </a:lnTo>
                  <a:lnTo>
                    <a:pt x="102" y="45"/>
                  </a:lnTo>
                  <a:lnTo>
                    <a:pt x="100" y="44"/>
                  </a:lnTo>
                  <a:lnTo>
                    <a:pt x="97" y="40"/>
                  </a:lnTo>
                  <a:lnTo>
                    <a:pt x="95" y="39"/>
                  </a:lnTo>
                  <a:lnTo>
                    <a:pt x="94" y="36"/>
                  </a:lnTo>
                  <a:lnTo>
                    <a:pt x="91" y="34"/>
                  </a:lnTo>
                  <a:lnTo>
                    <a:pt x="91" y="33"/>
                  </a:lnTo>
                  <a:lnTo>
                    <a:pt x="89" y="30"/>
                  </a:lnTo>
                  <a:lnTo>
                    <a:pt x="89" y="28"/>
                  </a:lnTo>
                  <a:lnTo>
                    <a:pt x="86" y="26"/>
                  </a:lnTo>
                  <a:lnTo>
                    <a:pt x="85" y="25"/>
                  </a:lnTo>
                  <a:lnTo>
                    <a:pt x="81" y="23"/>
                  </a:lnTo>
                  <a:lnTo>
                    <a:pt x="80" y="23"/>
                  </a:lnTo>
                  <a:lnTo>
                    <a:pt x="80" y="22"/>
                  </a:lnTo>
                  <a:lnTo>
                    <a:pt x="77" y="20"/>
                  </a:lnTo>
                  <a:lnTo>
                    <a:pt x="74" y="19"/>
                  </a:lnTo>
                  <a:lnTo>
                    <a:pt x="72" y="17"/>
                  </a:lnTo>
                  <a:lnTo>
                    <a:pt x="69" y="15"/>
                  </a:lnTo>
                  <a:lnTo>
                    <a:pt x="67" y="14"/>
                  </a:lnTo>
                  <a:lnTo>
                    <a:pt x="63" y="11"/>
                  </a:lnTo>
                  <a:lnTo>
                    <a:pt x="59" y="9"/>
                  </a:lnTo>
                  <a:lnTo>
                    <a:pt x="58" y="8"/>
                  </a:lnTo>
                  <a:lnTo>
                    <a:pt x="55" y="6"/>
                  </a:lnTo>
                  <a:lnTo>
                    <a:pt x="52" y="4"/>
                  </a:lnTo>
                  <a:lnTo>
                    <a:pt x="50" y="3"/>
                  </a:lnTo>
                  <a:lnTo>
                    <a:pt x="47" y="1"/>
                  </a:lnTo>
                  <a:lnTo>
                    <a:pt x="45" y="0"/>
                  </a:lnTo>
                  <a:lnTo>
                    <a:pt x="45" y="0"/>
                  </a:lnTo>
                  <a:lnTo>
                    <a:pt x="44" y="0"/>
                  </a:lnTo>
                  <a:lnTo>
                    <a:pt x="41" y="1"/>
                  </a:lnTo>
                  <a:lnTo>
                    <a:pt x="41" y="1"/>
                  </a:lnTo>
                  <a:lnTo>
                    <a:pt x="34" y="3"/>
                  </a:lnTo>
                  <a:lnTo>
                    <a:pt x="30" y="4"/>
                  </a:lnTo>
                  <a:lnTo>
                    <a:pt x="27" y="4"/>
                  </a:lnTo>
                  <a:lnTo>
                    <a:pt x="24" y="6"/>
                  </a:lnTo>
                  <a:lnTo>
                    <a:pt x="22" y="8"/>
                  </a:lnTo>
                  <a:lnTo>
                    <a:pt x="17" y="8"/>
                  </a:lnTo>
                  <a:lnTo>
                    <a:pt x="14" y="9"/>
                  </a:lnTo>
                  <a:lnTo>
                    <a:pt x="14" y="9"/>
                  </a:lnTo>
                  <a:lnTo>
                    <a:pt x="11" y="11"/>
                  </a:lnTo>
                  <a:lnTo>
                    <a:pt x="8" y="11"/>
                  </a:lnTo>
                  <a:lnTo>
                    <a:pt x="5" y="12"/>
                  </a:lnTo>
                  <a:lnTo>
                    <a:pt x="3" y="12"/>
                  </a:lnTo>
                  <a:lnTo>
                    <a:pt x="0" y="14"/>
                  </a:lnTo>
                  <a:lnTo>
                    <a:pt x="0" y="102"/>
                  </a:lnTo>
                  <a:lnTo>
                    <a:pt x="0" y="102"/>
                  </a:lnTo>
                  <a:lnTo>
                    <a:pt x="5" y="102"/>
                  </a:lnTo>
                  <a:lnTo>
                    <a:pt x="9" y="103"/>
                  </a:lnTo>
                  <a:lnTo>
                    <a:pt x="14" y="103"/>
                  </a:lnTo>
                  <a:lnTo>
                    <a:pt x="14" y="103"/>
                  </a:lnTo>
                  <a:lnTo>
                    <a:pt x="14" y="103"/>
                  </a:lnTo>
                  <a:lnTo>
                    <a:pt x="16" y="103"/>
                  </a:lnTo>
                  <a:lnTo>
                    <a:pt x="17" y="103"/>
                  </a:lnTo>
                  <a:lnTo>
                    <a:pt x="19" y="103"/>
                  </a:lnTo>
                  <a:lnTo>
                    <a:pt x="19" y="102"/>
                  </a:lnTo>
                  <a:lnTo>
                    <a:pt x="19" y="102"/>
                  </a:lnTo>
                  <a:lnTo>
                    <a:pt x="20" y="102"/>
                  </a:lnTo>
                  <a:lnTo>
                    <a:pt x="20" y="102"/>
                  </a:lnTo>
                  <a:lnTo>
                    <a:pt x="20" y="102"/>
                  </a:lnTo>
                  <a:lnTo>
                    <a:pt x="20" y="100"/>
                  </a:lnTo>
                  <a:lnTo>
                    <a:pt x="20" y="100"/>
                  </a:lnTo>
                  <a:lnTo>
                    <a:pt x="20" y="100"/>
                  </a:lnTo>
                  <a:lnTo>
                    <a:pt x="19" y="100"/>
                  </a:lnTo>
                  <a:lnTo>
                    <a:pt x="19" y="100"/>
                  </a:lnTo>
                  <a:lnTo>
                    <a:pt x="19" y="98"/>
                  </a:lnTo>
                  <a:lnTo>
                    <a:pt x="17" y="94"/>
                  </a:lnTo>
                  <a:lnTo>
                    <a:pt x="17" y="89"/>
                  </a:lnTo>
                  <a:lnTo>
                    <a:pt x="19" y="87"/>
                  </a:lnTo>
                  <a:lnTo>
                    <a:pt x="19" y="87"/>
                  </a:lnTo>
                  <a:lnTo>
                    <a:pt x="20" y="87"/>
                  </a:lnTo>
                  <a:lnTo>
                    <a:pt x="22" y="84"/>
                  </a:lnTo>
                  <a:lnTo>
                    <a:pt x="22" y="84"/>
                  </a:lnTo>
                  <a:lnTo>
                    <a:pt x="24" y="83"/>
                  </a:lnTo>
                  <a:lnTo>
                    <a:pt x="24" y="83"/>
                  </a:lnTo>
                  <a:lnTo>
                    <a:pt x="25" y="83"/>
                  </a:lnTo>
                  <a:lnTo>
                    <a:pt x="30" y="83"/>
                  </a:lnTo>
                  <a:lnTo>
                    <a:pt x="33" y="81"/>
                  </a:lnTo>
                  <a:lnTo>
                    <a:pt x="33" y="81"/>
                  </a:lnTo>
                  <a:lnTo>
                    <a:pt x="34" y="78"/>
                  </a:lnTo>
                  <a:lnTo>
                    <a:pt x="34" y="76"/>
                  </a:lnTo>
                  <a:lnTo>
                    <a:pt x="36" y="75"/>
                  </a:lnTo>
                  <a:lnTo>
                    <a:pt x="36" y="75"/>
                  </a:lnTo>
                  <a:lnTo>
                    <a:pt x="36" y="75"/>
                  </a:lnTo>
                  <a:lnTo>
                    <a:pt x="38" y="75"/>
                  </a:lnTo>
                  <a:lnTo>
                    <a:pt x="39" y="75"/>
                  </a:lnTo>
                  <a:lnTo>
                    <a:pt x="39" y="75"/>
                  </a:lnTo>
                  <a:lnTo>
                    <a:pt x="41" y="76"/>
                  </a:lnTo>
                  <a:lnTo>
                    <a:pt x="41" y="76"/>
                  </a:lnTo>
                  <a:lnTo>
                    <a:pt x="42" y="76"/>
                  </a:lnTo>
                  <a:lnTo>
                    <a:pt x="42" y="76"/>
                  </a:lnTo>
                  <a:lnTo>
                    <a:pt x="42" y="78"/>
                  </a:lnTo>
                  <a:lnTo>
                    <a:pt x="42" y="78"/>
                  </a:lnTo>
                  <a:lnTo>
                    <a:pt x="42" y="80"/>
                  </a:lnTo>
                  <a:lnTo>
                    <a:pt x="44" y="80"/>
                  </a:lnTo>
                  <a:lnTo>
                    <a:pt x="44" y="80"/>
                  </a:lnTo>
                  <a:lnTo>
                    <a:pt x="44" y="78"/>
                  </a:lnTo>
                  <a:lnTo>
                    <a:pt x="44" y="78"/>
                  </a:lnTo>
                  <a:lnTo>
                    <a:pt x="44" y="76"/>
                  </a:lnTo>
                  <a:lnTo>
                    <a:pt x="41" y="73"/>
                  </a:lnTo>
                  <a:lnTo>
                    <a:pt x="41" y="73"/>
                  </a:lnTo>
                  <a:lnTo>
                    <a:pt x="39" y="72"/>
                  </a:lnTo>
                  <a:lnTo>
                    <a:pt x="39" y="72"/>
                  </a:lnTo>
                  <a:lnTo>
                    <a:pt x="39" y="72"/>
                  </a:lnTo>
                  <a:lnTo>
                    <a:pt x="39" y="70"/>
                  </a:lnTo>
                  <a:lnTo>
                    <a:pt x="41" y="70"/>
                  </a:lnTo>
                  <a:lnTo>
                    <a:pt x="42" y="70"/>
                  </a:lnTo>
                  <a:lnTo>
                    <a:pt x="44" y="70"/>
                  </a:lnTo>
                  <a:lnTo>
                    <a:pt x="45" y="70"/>
                  </a:lnTo>
                  <a:lnTo>
                    <a:pt x="45" y="67"/>
                  </a:lnTo>
                  <a:lnTo>
                    <a:pt x="49" y="70"/>
                  </a:lnTo>
                  <a:lnTo>
                    <a:pt x="52" y="73"/>
                  </a:lnTo>
                  <a:lnTo>
                    <a:pt x="52" y="73"/>
                  </a:lnTo>
                  <a:lnTo>
                    <a:pt x="53" y="73"/>
                  </a:lnTo>
                  <a:lnTo>
                    <a:pt x="55" y="73"/>
                  </a:lnTo>
                  <a:lnTo>
                    <a:pt x="56" y="73"/>
                  </a:lnTo>
                  <a:lnTo>
                    <a:pt x="56" y="73"/>
                  </a:lnTo>
                  <a:lnTo>
                    <a:pt x="56" y="75"/>
                  </a:lnTo>
                  <a:lnTo>
                    <a:pt x="56" y="75"/>
                  </a:lnTo>
                  <a:lnTo>
                    <a:pt x="58" y="78"/>
                  </a:lnTo>
                  <a:lnTo>
                    <a:pt x="59" y="78"/>
                  </a:lnTo>
                  <a:lnTo>
                    <a:pt x="61" y="80"/>
                  </a:lnTo>
                  <a:lnTo>
                    <a:pt x="67" y="80"/>
                  </a:lnTo>
                  <a:lnTo>
                    <a:pt x="69" y="80"/>
                  </a:lnTo>
                  <a:lnTo>
                    <a:pt x="69" y="80"/>
                  </a:lnTo>
                  <a:lnTo>
                    <a:pt x="70" y="81"/>
                  </a:lnTo>
                  <a:lnTo>
                    <a:pt x="70" y="81"/>
                  </a:lnTo>
                  <a:lnTo>
                    <a:pt x="70" y="81"/>
                  </a:lnTo>
                  <a:lnTo>
                    <a:pt x="70" y="81"/>
                  </a:lnTo>
                  <a:lnTo>
                    <a:pt x="70" y="83"/>
                  </a:lnTo>
                  <a:lnTo>
                    <a:pt x="70" y="83"/>
                  </a:lnTo>
                  <a:lnTo>
                    <a:pt x="70" y="84"/>
                  </a:lnTo>
                  <a:lnTo>
                    <a:pt x="70" y="86"/>
                  </a:lnTo>
                  <a:lnTo>
                    <a:pt x="70" y="86"/>
                  </a:lnTo>
                  <a:lnTo>
                    <a:pt x="70" y="86"/>
                  </a:lnTo>
                  <a:lnTo>
                    <a:pt x="70" y="87"/>
                  </a:lnTo>
                  <a:lnTo>
                    <a:pt x="74" y="87"/>
                  </a:lnTo>
                  <a:lnTo>
                    <a:pt x="74" y="89"/>
                  </a:lnTo>
                  <a:lnTo>
                    <a:pt x="74" y="89"/>
                  </a:lnTo>
                  <a:lnTo>
                    <a:pt x="74" y="91"/>
                  </a:lnTo>
                  <a:lnTo>
                    <a:pt x="74" y="91"/>
                  </a:lnTo>
                  <a:lnTo>
                    <a:pt x="75" y="91"/>
                  </a:lnTo>
                  <a:lnTo>
                    <a:pt x="75" y="91"/>
                  </a:lnTo>
                  <a:lnTo>
                    <a:pt x="74" y="91"/>
                  </a:lnTo>
                  <a:lnTo>
                    <a:pt x="74" y="91"/>
                  </a:lnTo>
                  <a:lnTo>
                    <a:pt x="72" y="92"/>
                  </a:lnTo>
                  <a:lnTo>
                    <a:pt x="72" y="94"/>
                  </a:lnTo>
                  <a:lnTo>
                    <a:pt x="74" y="94"/>
                  </a:lnTo>
                  <a:lnTo>
                    <a:pt x="74" y="95"/>
                  </a:lnTo>
                  <a:lnTo>
                    <a:pt x="74" y="97"/>
                  </a:lnTo>
                  <a:lnTo>
                    <a:pt x="72" y="98"/>
                  </a:lnTo>
                  <a:lnTo>
                    <a:pt x="72" y="100"/>
                  </a:lnTo>
                  <a:lnTo>
                    <a:pt x="72" y="100"/>
                  </a:lnTo>
                  <a:lnTo>
                    <a:pt x="75" y="102"/>
                  </a:lnTo>
                  <a:lnTo>
                    <a:pt x="78" y="105"/>
                  </a:lnTo>
                  <a:lnTo>
                    <a:pt x="80" y="105"/>
                  </a:lnTo>
                  <a:lnTo>
                    <a:pt x="85" y="103"/>
                  </a:lnTo>
                  <a:lnTo>
                    <a:pt x="86" y="103"/>
                  </a:lnTo>
                  <a:lnTo>
                    <a:pt x="86" y="103"/>
                  </a:lnTo>
                  <a:lnTo>
                    <a:pt x="88" y="105"/>
                  </a:lnTo>
                  <a:lnTo>
                    <a:pt x="91" y="105"/>
                  </a:lnTo>
                  <a:lnTo>
                    <a:pt x="91" y="105"/>
                  </a:lnTo>
                  <a:lnTo>
                    <a:pt x="92" y="105"/>
                  </a:lnTo>
                  <a:lnTo>
                    <a:pt x="92" y="105"/>
                  </a:lnTo>
                  <a:lnTo>
                    <a:pt x="94" y="105"/>
                  </a:lnTo>
                  <a:lnTo>
                    <a:pt x="95" y="103"/>
                  </a:lnTo>
                  <a:lnTo>
                    <a:pt x="95" y="103"/>
                  </a:lnTo>
                  <a:lnTo>
                    <a:pt x="97" y="103"/>
                  </a:lnTo>
                  <a:lnTo>
                    <a:pt x="97" y="103"/>
                  </a:lnTo>
                  <a:lnTo>
                    <a:pt x="100" y="103"/>
                  </a:lnTo>
                  <a:lnTo>
                    <a:pt x="103" y="106"/>
                  </a:lnTo>
                  <a:lnTo>
                    <a:pt x="105" y="108"/>
                  </a:lnTo>
                  <a:lnTo>
                    <a:pt x="105" y="108"/>
                  </a:lnTo>
                  <a:lnTo>
                    <a:pt x="105" y="109"/>
                  </a:lnTo>
                  <a:lnTo>
                    <a:pt x="106" y="112"/>
                  </a:lnTo>
                  <a:lnTo>
                    <a:pt x="108" y="117"/>
                  </a:lnTo>
                  <a:lnTo>
                    <a:pt x="110" y="120"/>
                  </a:lnTo>
                  <a:lnTo>
                    <a:pt x="111" y="122"/>
                  </a:lnTo>
                  <a:lnTo>
                    <a:pt x="111" y="122"/>
                  </a:lnTo>
                  <a:lnTo>
                    <a:pt x="113" y="125"/>
                  </a:lnTo>
                  <a:lnTo>
                    <a:pt x="114" y="131"/>
                  </a:lnTo>
                  <a:lnTo>
                    <a:pt x="114" y="133"/>
                  </a:lnTo>
                  <a:lnTo>
                    <a:pt x="114" y="133"/>
                  </a:lnTo>
                  <a:lnTo>
                    <a:pt x="116" y="134"/>
                  </a:lnTo>
                  <a:lnTo>
                    <a:pt x="117" y="136"/>
                  </a:lnTo>
                  <a:lnTo>
                    <a:pt x="122" y="139"/>
                  </a:lnTo>
                  <a:lnTo>
                    <a:pt x="125" y="141"/>
                  </a:lnTo>
                  <a:lnTo>
                    <a:pt x="128" y="144"/>
                  </a:lnTo>
                  <a:lnTo>
                    <a:pt x="133" y="147"/>
                  </a:lnTo>
                  <a:lnTo>
                    <a:pt x="133" y="147"/>
                  </a:lnTo>
                  <a:lnTo>
                    <a:pt x="136" y="152"/>
                  </a:lnTo>
                  <a:lnTo>
                    <a:pt x="138" y="152"/>
                  </a:lnTo>
                  <a:lnTo>
                    <a:pt x="141" y="153"/>
                  </a:lnTo>
                  <a:lnTo>
                    <a:pt x="144" y="156"/>
                  </a:lnTo>
                  <a:lnTo>
                    <a:pt x="147" y="156"/>
                  </a:lnTo>
                  <a:lnTo>
                    <a:pt x="150" y="159"/>
                  </a:lnTo>
                  <a:lnTo>
                    <a:pt x="152" y="161"/>
                  </a:lnTo>
                  <a:lnTo>
                    <a:pt x="152" y="161"/>
                  </a:lnTo>
                  <a:lnTo>
                    <a:pt x="153" y="161"/>
                  </a:lnTo>
                  <a:lnTo>
                    <a:pt x="155" y="163"/>
                  </a:lnTo>
                  <a:lnTo>
                    <a:pt x="160" y="166"/>
                  </a:lnTo>
                  <a:lnTo>
                    <a:pt x="166" y="170"/>
                  </a:lnTo>
                  <a:lnTo>
                    <a:pt x="169" y="172"/>
                  </a:lnTo>
                  <a:lnTo>
                    <a:pt x="171" y="172"/>
                  </a:lnTo>
                  <a:lnTo>
                    <a:pt x="172" y="172"/>
                  </a:lnTo>
                  <a:lnTo>
                    <a:pt x="172" y="172"/>
                  </a:lnTo>
                  <a:lnTo>
                    <a:pt x="174" y="172"/>
                  </a:lnTo>
                  <a:lnTo>
                    <a:pt x="175" y="172"/>
                  </a:lnTo>
                  <a:lnTo>
                    <a:pt x="178" y="173"/>
                  </a:lnTo>
                  <a:lnTo>
                    <a:pt x="180" y="173"/>
                  </a:lnTo>
                  <a:lnTo>
                    <a:pt x="181" y="175"/>
                  </a:lnTo>
                  <a:lnTo>
                    <a:pt x="181" y="175"/>
                  </a:lnTo>
                  <a:lnTo>
                    <a:pt x="181" y="177"/>
                  </a:lnTo>
                  <a:lnTo>
                    <a:pt x="183" y="177"/>
                  </a:lnTo>
                  <a:lnTo>
                    <a:pt x="186" y="177"/>
                  </a:lnTo>
                  <a:lnTo>
                    <a:pt x="186" y="177"/>
                  </a:lnTo>
                  <a:lnTo>
                    <a:pt x="186" y="178"/>
                  </a:lnTo>
                  <a:lnTo>
                    <a:pt x="188" y="178"/>
                  </a:lnTo>
                  <a:lnTo>
                    <a:pt x="188" y="178"/>
                  </a:lnTo>
                  <a:lnTo>
                    <a:pt x="188" y="178"/>
                  </a:lnTo>
                  <a:lnTo>
                    <a:pt x="186" y="183"/>
                  </a:lnTo>
                  <a:lnTo>
                    <a:pt x="185" y="186"/>
                  </a:lnTo>
                  <a:lnTo>
                    <a:pt x="185" y="189"/>
                  </a:lnTo>
                  <a:lnTo>
                    <a:pt x="186" y="192"/>
                  </a:lnTo>
                  <a:lnTo>
                    <a:pt x="191" y="191"/>
                  </a:lnTo>
                  <a:lnTo>
                    <a:pt x="196" y="192"/>
                  </a:lnTo>
                  <a:lnTo>
                    <a:pt x="197" y="194"/>
                  </a:lnTo>
                  <a:lnTo>
                    <a:pt x="200" y="195"/>
                  </a:lnTo>
                  <a:lnTo>
                    <a:pt x="202" y="194"/>
                  </a:lnTo>
                  <a:lnTo>
                    <a:pt x="203" y="194"/>
                  </a:lnTo>
                  <a:lnTo>
                    <a:pt x="203" y="194"/>
                  </a:lnTo>
                  <a:lnTo>
                    <a:pt x="203" y="194"/>
                  </a:lnTo>
                  <a:lnTo>
                    <a:pt x="205" y="194"/>
                  </a:lnTo>
                  <a:lnTo>
                    <a:pt x="206" y="194"/>
                  </a:lnTo>
                  <a:lnTo>
                    <a:pt x="206" y="195"/>
                  </a:lnTo>
                  <a:lnTo>
                    <a:pt x="206" y="195"/>
                  </a:lnTo>
                  <a:lnTo>
                    <a:pt x="208" y="194"/>
                  </a:lnTo>
                  <a:lnTo>
                    <a:pt x="208" y="189"/>
                  </a:lnTo>
                  <a:lnTo>
                    <a:pt x="210" y="188"/>
                  </a:lnTo>
                  <a:lnTo>
                    <a:pt x="211" y="183"/>
                  </a:lnTo>
                  <a:lnTo>
                    <a:pt x="213" y="181"/>
                  </a:lnTo>
                  <a:lnTo>
                    <a:pt x="214" y="180"/>
                  </a:lnTo>
                  <a:lnTo>
                    <a:pt x="216" y="178"/>
                  </a:lnTo>
                  <a:lnTo>
                    <a:pt x="216" y="177"/>
                  </a:lnTo>
                  <a:lnTo>
                    <a:pt x="217" y="175"/>
                  </a:lnTo>
                  <a:lnTo>
                    <a:pt x="217" y="173"/>
                  </a:lnTo>
                  <a:lnTo>
                    <a:pt x="217" y="173"/>
                  </a:lnTo>
                  <a:lnTo>
                    <a:pt x="217" y="172"/>
                  </a:lnTo>
                  <a:lnTo>
                    <a:pt x="216" y="170"/>
                  </a:lnTo>
                  <a:lnTo>
                    <a:pt x="216" y="170"/>
                  </a:lnTo>
                  <a:lnTo>
                    <a:pt x="214" y="169"/>
                  </a:lnTo>
                  <a:lnTo>
                    <a:pt x="213" y="167"/>
                  </a:lnTo>
                  <a:lnTo>
                    <a:pt x="213" y="164"/>
                  </a:lnTo>
                  <a:lnTo>
                    <a:pt x="213" y="163"/>
                  </a:lnTo>
                  <a:lnTo>
                    <a:pt x="213" y="163"/>
                  </a:lnTo>
                  <a:lnTo>
                    <a:pt x="214" y="158"/>
                  </a:lnTo>
                  <a:lnTo>
                    <a:pt x="214" y="156"/>
                  </a:lnTo>
                  <a:lnTo>
                    <a:pt x="213" y="156"/>
                  </a:lnTo>
                  <a:lnTo>
                    <a:pt x="213" y="155"/>
                  </a:lnTo>
                  <a:lnTo>
                    <a:pt x="211" y="155"/>
                  </a:lnTo>
                  <a:lnTo>
                    <a:pt x="210" y="155"/>
                  </a:lnTo>
                  <a:lnTo>
                    <a:pt x="210" y="155"/>
                  </a:lnTo>
                  <a:lnTo>
                    <a:pt x="208" y="156"/>
                  </a:lnTo>
                  <a:lnTo>
                    <a:pt x="206" y="155"/>
                  </a:lnTo>
                  <a:lnTo>
                    <a:pt x="206" y="155"/>
                  </a:lnTo>
                  <a:lnTo>
                    <a:pt x="206" y="155"/>
                  </a:lnTo>
                  <a:lnTo>
                    <a:pt x="205" y="153"/>
                  </a:lnTo>
                  <a:lnTo>
                    <a:pt x="205" y="152"/>
                  </a:lnTo>
                  <a:lnTo>
                    <a:pt x="205" y="152"/>
                  </a:lnTo>
                  <a:lnTo>
                    <a:pt x="200" y="150"/>
                  </a:lnTo>
                  <a:lnTo>
                    <a:pt x="200" y="150"/>
                  </a:lnTo>
                  <a:lnTo>
                    <a:pt x="200" y="150"/>
                  </a:lnTo>
                  <a:lnTo>
                    <a:pt x="202" y="145"/>
                  </a:lnTo>
                  <a:lnTo>
                    <a:pt x="202" y="145"/>
                  </a:lnTo>
                  <a:lnTo>
                    <a:pt x="202" y="144"/>
                  </a:lnTo>
                  <a:lnTo>
                    <a:pt x="202" y="144"/>
                  </a:lnTo>
                  <a:lnTo>
                    <a:pt x="202" y="144"/>
                  </a:lnTo>
                  <a:lnTo>
                    <a:pt x="203" y="142"/>
                  </a:lnTo>
                  <a:lnTo>
                    <a:pt x="206" y="141"/>
                  </a:lnTo>
                  <a:lnTo>
                    <a:pt x="210" y="142"/>
                  </a:lnTo>
                  <a:lnTo>
                    <a:pt x="213" y="142"/>
                  </a:lnTo>
                  <a:lnTo>
                    <a:pt x="216" y="142"/>
                  </a:lnTo>
                  <a:lnTo>
                    <a:pt x="217" y="142"/>
                  </a:lnTo>
                  <a:lnTo>
                    <a:pt x="219" y="144"/>
                  </a:lnTo>
                  <a:lnTo>
                    <a:pt x="219" y="142"/>
                  </a:lnTo>
                  <a:lnTo>
                    <a:pt x="221" y="142"/>
                  </a:lnTo>
                  <a:lnTo>
                    <a:pt x="222" y="141"/>
                  </a:lnTo>
                  <a:lnTo>
                    <a:pt x="222" y="138"/>
                  </a:lnTo>
                  <a:lnTo>
                    <a:pt x="222" y="136"/>
                  </a:lnTo>
                  <a:lnTo>
                    <a:pt x="222" y="136"/>
                  </a:lnTo>
                  <a:lnTo>
                    <a:pt x="224" y="136"/>
                  </a:lnTo>
                  <a:lnTo>
                    <a:pt x="224" y="136"/>
                  </a:lnTo>
                  <a:lnTo>
                    <a:pt x="224" y="136"/>
                  </a:lnTo>
                  <a:lnTo>
                    <a:pt x="224" y="136"/>
                  </a:lnTo>
                  <a:lnTo>
                    <a:pt x="225" y="136"/>
                  </a:lnTo>
                  <a:lnTo>
                    <a:pt x="225" y="134"/>
                  </a:lnTo>
                  <a:lnTo>
                    <a:pt x="225" y="134"/>
                  </a:lnTo>
                  <a:lnTo>
                    <a:pt x="225" y="134"/>
                  </a:lnTo>
                  <a:lnTo>
                    <a:pt x="225" y="134"/>
                  </a:lnTo>
                  <a:lnTo>
                    <a:pt x="227" y="134"/>
                  </a:lnTo>
                  <a:lnTo>
                    <a:pt x="227" y="134"/>
                  </a:lnTo>
                  <a:lnTo>
                    <a:pt x="227" y="134"/>
                  </a:lnTo>
                  <a:lnTo>
                    <a:pt x="227" y="134"/>
                  </a:lnTo>
                  <a:lnTo>
                    <a:pt x="227" y="134"/>
                  </a:lnTo>
                  <a:lnTo>
                    <a:pt x="225" y="133"/>
                  </a:lnTo>
                  <a:lnTo>
                    <a:pt x="225" y="133"/>
                  </a:lnTo>
                  <a:lnTo>
                    <a:pt x="225" y="131"/>
                  </a:lnTo>
                  <a:lnTo>
                    <a:pt x="225" y="131"/>
                  </a:lnTo>
                  <a:lnTo>
                    <a:pt x="225" y="131"/>
                  </a:lnTo>
                  <a:lnTo>
                    <a:pt x="227" y="131"/>
                  </a:lnTo>
                  <a:lnTo>
                    <a:pt x="227" y="131"/>
                  </a:lnTo>
                  <a:lnTo>
                    <a:pt x="228" y="131"/>
                  </a:lnTo>
                  <a:lnTo>
                    <a:pt x="228" y="131"/>
                  </a:lnTo>
                  <a:lnTo>
                    <a:pt x="228" y="130"/>
                  </a:lnTo>
                  <a:lnTo>
                    <a:pt x="228" y="130"/>
                  </a:lnTo>
                  <a:lnTo>
                    <a:pt x="228" y="130"/>
                  </a:lnTo>
                  <a:lnTo>
                    <a:pt x="225" y="130"/>
                  </a:lnTo>
                  <a:lnTo>
                    <a:pt x="222" y="130"/>
                  </a:lnTo>
                  <a:lnTo>
                    <a:pt x="222" y="130"/>
                  </a:lnTo>
                  <a:lnTo>
                    <a:pt x="222" y="130"/>
                  </a:lnTo>
                  <a:lnTo>
                    <a:pt x="222" y="128"/>
                  </a:lnTo>
                  <a:lnTo>
                    <a:pt x="222" y="128"/>
                  </a:lnTo>
                  <a:lnTo>
                    <a:pt x="228" y="127"/>
                  </a:lnTo>
                  <a:lnTo>
                    <a:pt x="231" y="128"/>
                  </a:lnTo>
                  <a:lnTo>
                    <a:pt x="233" y="128"/>
                  </a:lnTo>
                  <a:lnTo>
                    <a:pt x="233" y="128"/>
                  </a:lnTo>
                  <a:lnTo>
                    <a:pt x="233" y="127"/>
                  </a:lnTo>
                  <a:lnTo>
                    <a:pt x="233" y="127"/>
                  </a:lnTo>
                  <a:lnTo>
                    <a:pt x="235" y="125"/>
                  </a:lnTo>
                  <a:lnTo>
                    <a:pt x="235" y="125"/>
                  </a:lnTo>
                  <a:lnTo>
                    <a:pt x="233" y="119"/>
                  </a:lnTo>
                  <a:lnTo>
                    <a:pt x="233" y="119"/>
                  </a:lnTo>
                  <a:lnTo>
                    <a:pt x="235" y="117"/>
                  </a:lnTo>
                  <a:lnTo>
                    <a:pt x="235" y="116"/>
                  </a:lnTo>
                  <a:lnTo>
                    <a:pt x="235" y="114"/>
                  </a:lnTo>
                  <a:lnTo>
                    <a:pt x="235" y="114"/>
                  </a:lnTo>
                  <a:lnTo>
                    <a:pt x="236" y="114"/>
                  </a:lnTo>
                  <a:lnTo>
                    <a:pt x="238" y="114"/>
                  </a:lnTo>
                  <a:lnTo>
                    <a:pt x="238" y="114"/>
                  </a:lnTo>
                  <a:lnTo>
                    <a:pt x="239" y="117"/>
                  </a:lnTo>
                  <a:lnTo>
                    <a:pt x="241" y="117"/>
                  </a:lnTo>
                  <a:lnTo>
                    <a:pt x="241" y="117"/>
                  </a:lnTo>
                  <a:lnTo>
                    <a:pt x="242" y="117"/>
                  </a:lnTo>
                  <a:lnTo>
                    <a:pt x="247" y="114"/>
                  </a:lnTo>
                  <a:lnTo>
                    <a:pt x="249" y="114"/>
                  </a:lnTo>
                  <a:lnTo>
                    <a:pt x="252" y="112"/>
                  </a:lnTo>
                  <a:lnTo>
                    <a:pt x="252" y="111"/>
                  </a:lnTo>
                  <a:lnTo>
                    <a:pt x="253" y="109"/>
                  </a:lnTo>
                  <a:lnTo>
                    <a:pt x="253" y="109"/>
                  </a:lnTo>
                  <a:lnTo>
                    <a:pt x="255" y="109"/>
                  </a:lnTo>
                  <a:lnTo>
                    <a:pt x="256" y="111"/>
                  </a:lnTo>
                  <a:lnTo>
                    <a:pt x="258" y="112"/>
                  </a:lnTo>
                  <a:lnTo>
                    <a:pt x="258" y="114"/>
                  </a:lnTo>
                  <a:lnTo>
                    <a:pt x="258" y="114"/>
                  </a:lnTo>
                  <a:lnTo>
                    <a:pt x="258" y="114"/>
                  </a:lnTo>
                  <a:lnTo>
                    <a:pt x="258" y="114"/>
                  </a:lnTo>
                  <a:lnTo>
                    <a:pt x="260" y="116"/>
                  </a:lnTo>
                  <a:lnTo>
                    <a:pt x="260" y="116"/>
                  </a:lnTo>
                  <a:lnTo>
                    <a:pt x="260" y="117"/>
                  </a:lnTo>
                  <a:lnTo>
                    <a:pt x="260" y="117"/>
                  </a:lnTo>
                  <a:lnTo>
                    <a:pt x="258" y="117"/>
                  </a:lnTo>
                  <a:lnTo>
                    <a:pt x="256" y="119"/>
                  </a:lnTo>
                  <a:lnTo>
                    <a:pt x="255" y="120"/>
                  </a:lnTo>
                  <a:lnTo>
                    <a:pt x="253" y="122"/>
                  </a:lnTo>
                  <a:lnTo>
                    <a:pt x="253" y="122"/>
                  </a:lnTo>
                  <a:lnTo>
                    <a:pt x="253" y="122"/>
                  </a:lnTo>
                  <a:lnTo>
                    <a:pt x="253" y="123"/>
                  </a:lnTo>
                  <a:lnTo>
                    <a:pt x="253" y="123"/>
                  </a:lnTo>
                  <a:lnTo>
                    <a:pt x="253" y="123"/>
                  </a:lnTo>
                  <a:lnTo>
                    <a:pt x="255" y="125"/>
                  </a:lnTo>
                  <a:lnTo>
                    <a:pt x="256" y="125"/>
                  </a:lnTo>
                  <a:lnTo>
                    <a:pt x="256" y="127"/>
                  </a:lnTo>
                  <a:lnTo>
                    <a:pt x="256" y="128"/>
                  </a:lnTo>
                  <a:lnTo>
                    <a:pt x="256" y="128"/>
                  </a:lnTo>
                  <a:lnTo>
                    <a:pt x="258" y="128"/>
                  </a:lnTo>
                  <a:lnTo>
                    <a:pt x="263" y="127"/>
                  </a:lnTo>
                  <a:lnTo>
                    <a:pt x="263" y="127"/>
                  </a:lnTo>
                  <a:lnTo>
                    <a:pt x="264" y="127"/>
                  </a:lnTo>
                  <a:lnTo>
                    <a:pt x="266" y="127"/>
                  </a:lnTo>
                  <a:lnTo>
                    <a:pt x="269" y="127"/>
                  </a:lnTo>
                  <a:lnTo>
                    <a:pt x="271" y="127"/>
                  </a:lnTo>
                  <a:lnTo>
                    <a:pt x="272" y="127"/>
                  </a:lnTo>
                  <a:lnTo>
                    <a:pt x="272" y="127"/>
                  </a:lnTo>
                  <a:lnTo>
                    <a:pt x="274" y="128"/>
                  </a:lnTo>
                  <a:lnTo>
                    <a:pt x="274" y="128"/>
                  </a:lnTo>
                  <a:lnTo>
                    <a:pt x="275" y="128"/>
                  </a:lnTo>
                  <a:lnTo>
                    <a:pt x="275" y="128"/>
                  </a:lnTo>
                  <a:lnTo>
                    <a:pt x="275" y="128"/>
                  </a:lnTo>
                  <a:lnTo>
                    <a:pt x="277" y="130"/>
                  </a:lnTo>
                  <a:lnTo>
                    <a:pt x="277" y="130"/>
                  </a:lnTo>
                  <a:lnTo>
                    <a:pt x="278" y="128"/>
                  </a:lnTo>
                  <a:lnTo>
                    <a:pt x="278" y="127"/>
                  </a:lnTo>
                  <a:lnTo>
                    <a:pt x="280" y="127"/>
                  </a:lnTo>
                  <a:lnTo>
                    <a:pt x="282" y="127"/>
                  </a:lnTo>
                  <a:lnTo>
                    <a:pt x="282" y="127"/>
                  </a:lnTo>
                  <a:lnTo>
                    <a:pt x="282" y="125"/>
                  </a:lnTo>
                  <a:lnTo>
                    <a:pt x="285" y="122"/>
                  </a:lnTo>
                  <a:lnTo>
                    <a:pt x="285" y="122"/>
                  </a:lnTo>
                  <a:lnTo>
                    <a:pt x="285" y="122"/>
                  </a:lnTo>
                  <a:lnTo>
                    <a:pt x="286" y="122"/>
                  </a:lnTo>
                  <a:lnTo>
                    <a:pt x="286" y="122"/>
                  </a:lnTo>
                  <a:lnTo>
                    <a:pt x="286" y="123"/>
                  </a:lnTo>
                  <a:lnTo>
                    <a:pt x="288" y="123"/>
                  </a:lnTo>
                  <a:lnTo>
                    <a:pt x="288" y="122"/>
                  </a:lnTo>
                  <a:lnTo>
                    <a:pt x="289" y="122"/>
                  </a:lnTo>
                  <a:lnTo>
                    <a:pt x="288" y="120"/>
                  </a:lnTo>
                  <a:lnTo>
                    <a:pt x="288" y="120"/>
                  </a:lnTo>
                  <a:lnTo>
                    <a:pt x="288" y="119"/>
                  </a:lnTo>
                  <a:lnTo>
                    <a:pt x="289" y="119"/>
                  </a:lnTo>
                  <a:lnTo>
                    <a:pt x="291" y="120"/>
                  </a:lnTo>
                  <a:lnTo>
                    <a:pt x="292" y="120"/>
                  </a:lnTo>
                  <a:lnTo>
                    <a:pt x="294" y="120"/>
                  </a:lnTo>
                  <a:lnTo>
                    <a:pt x="294" y="119"/>
                  </a:lnTo>
                  <a:lnTo>
                    <a:pt x="296" y="117"/>
                  </a:lnTo>
                  <a:lnTo>
                    <a:pt x="296" y="117"/>
                  </a:lnTo>
                  <a:lnTo>
                    <a:pt x="302" y="114"/>
                  </a:lnTo>
                  <a:lnTo>
                    <a:pt x="302" y="114"/>
                  </a:lnTo>
                  <a:lnTo>
                    <a:pt x="302" y="114"/>
                  </a:lnTo>
                  <a:close/>
                  <a:moveTo>
                    <a:pt x="256" y="109"/>
                  </a:moveTo>
                  <a:lnTo>
                    <a:pt x="258" y="109"/>
                  </a:lnTo>
                  <a:lnTo>
                    <a:pt x="258" y="111"/>
                  </a:lnTo>
                  <a:lnTo>
                    <a:pt x="258" y="111"/>
                  </a:lnTo>
                  <a:lnTo>
                    <a:pt x="258" y="111"/>
                  </a:lnTo>
                  <a:lnTo>
                    <a:pt x="256" y="109"/>
                  </a:lnTo>
                  <a:lnTo>
                    <a:pt x="256" y="109"/>
                  </a:lnTo>
                  <a:lnTo>
                    <a:pt x="256" y="10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4" name="Freeform 212">
              <a:extLst>
                <a:ext uri="{FF2B5EF4-FFF2-40B4-BE49-F238E27FC236}">
                  <a16:creationId xmlns:a16="http://schemas.microsoft.com/office/drawing/2014/main" id="{899F1F8F-1778-6357-FF8A-8ABEAB8273C8}"/>
                </a:ext>
              </a:extLst>
            </p:cNvPr>
            <p:cNvSpPr>
              <a:spLocks/>
            </p:cNvSpPr>
            <p:nvPr/>
          </p:nvSpPr>
          <p:spPr bwMode="gray">
            <a:xfrm>
              <a:off x="2893" y="77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5" name="Freeform 213">
              <a:extLst>
                <a:ext uri="{FF2B5EF4-FFF2-40B4-BE49-F238E27FC236}">
                  <a16:creationId xmlns:a16="http://schemas.microsoft.com/office/drawing/2014/main" id="{1ED1FDF7-E6A1-750C-6564-74ACE6DF50FB}"/>
                </a:ext>
              </a:extLst>
            </p:cNvPr>
            <p:cNvSpPr>
              <a:spLocks noEditPoints="1"/>
            </p:cNvSpPr>
            <p:nvPr/>
          </p:nvSpPr>
          <p:spPr bwMode="gray">
            <a:xfrm>
              <a:off x="1598" y="1341"/>
              <a:ext cx="5" cy="13"/>
            </a:xfrm>
            <a:custGeom>
              <a:avLst/>
              <a:gdLst>
                <a:gd name="T0" fmla="*/ 0 w 5"/>
                <a:gd name="T1" fmla="*/ 11 h 13"/>
                <a:gd name="T2" fmla="*/ 0 w 5"/>
                <a:gd name="T3" fmla="*/ 11 h 13"/>
                <a:gd name="T4" fmla="*/ 0 w 5"/>
                <a:gd name="T5" fmla="*/ 13 h 13"/>
                <a:gd name="T6" fmla="*/ 0 w 5"/>
                <a:gd name="T7" fmla="*/ 13 h 13"/>
                <a:gd name="T8" fmla="*/ 0 w 5"/>
                <a:gd name="T9" fmla="*/ 13 h 13"/>
                <a:gd name="T10" fmla="*/ 0 w 5"/>
                <a:gd name="T11" fmla="*/ 13 h 13"/>
                <a:gd name="T12" fmla="*/ 0 w 5"/>
                <a:gd name="T13" fmla="*/ 13 h 13"/>
                <a:gd name="T14" fmla="*/ 0 w 5"/>
                <a:gd name="T15" fmla="*/ 13 h 13"/>
                <a:gd name="T16" fmla="*/ 0 w 5"/>
                <a:gd name="T17" fmla="*/ 13 h 13"/>
                <a:gd name="T18" fmla="*/ 0 w 5"/>
                <a:gd name="T19" fmla="*/ 13 h 13"/>
                <a:gd name="T20" fmla="*/ 0 w 5"/>
                <a:gd name="T21" fmla="*/ 13 h 13"/>
                <a:gd name="T22" fmla="*/ 0 w 5"/>
                <a:gd name="T23" fmla="*/ 13 h 13"/>
                <a:gd name="T24" fmla="*/ 0 w 5"/>
                <a:gd name="T25" fmla="*/ 13 h 13"/>
                <a:gd name="T26" fmla="*/ 0 w 5"/>
                <a:gd name="T27" fmla="*/ 13 h 13"/>
                <a:gd name="T28" fmla="*/ 0 w 5"/>
                <a:gd name="T29" fmla="*/ 13 h 13"/>
                <a:gd name="T30" fmla="*/ 0 w 5"/>
                <a:gd name="T31" fmla="*/ 11 h 13"/>
                <a:gd name="T32" fmla="*/ 3 w 5"/>
                <a:gd name="T33" fmla="*/ 6 h 13"/>
                <a:gd name="T34" fmla="*/ 3 w 5"/>
                <a:gd name="T35" fmla="*/ 6 h 13"/>
                <a:gd name="T36" fmla="*/ 3 w 5"/>
                <a:gd name="T37" fmla="*/ 6 h 13"/>
                <a:gd name="T38" fmla="*/ 1 w 5"/>
                <a:gd name="T39" fmla="*/ 6 h 13"/>
                <a:gd name="T40" fmla="*/ 1 w 5"/>
                <a:gd name="T41" fmla="*/ 6 h 13"/>
                <a:gd name="T42" fmla="*/ 1 w 5"/>
                <a:gd name="T43" fmla="*/ 6 h 13"/>
                <a:gd name="T44" fmla="*/ 1 w 5"/>
                <a:gd name="T45" fmla="*/ 6 h 13"/>
                <a:gd name="T46" fmla="*/ 1 w 5"/>
                <a:gd name="T47" fmla="*/ 6 h 13"/>
                <a:gd name="T48" fmla="*/ 1 w 5"/>
                <a:gd name="T49" fmla="*/ 8 h 13"/>
                <a:gd name="T50" fmla="*/ 1 w 5"/>
                <a:gd name="T51" fmla="*/ 6 h 13"/>
                <a:gd name="T52" fmla="*/ 1 w 5"/>
                <a:gd name="T53" fmla="*/ 8 h 13"/>
                <a:gd name="T54" fmla="*/ 1 w 5"/>
                <a:gd name="T55" fmla="*/ 8 h 13"/>
                <a:gd name="T56" fmla="*/ 1 w 5"/>
                <a:gd name="T57" fmla="*/ 8 h 13"/>
                <a:gd name="T58" fmla="*/ 1 w 5"/>
                <a:gd name="T59" fmla="*/ 8 h 13"/>
                <a:gd name="T60" fmla="*/ 1 w 5"/>
                <a:gd name="T61" fmla="*/ 8 h 13"/>
                <a:gd name="T62" fmla="*/ 1 w 5"/>
                <a:gd name="T63" fmla="*/ 8 h 13"/>
                <a:gd name="T64" fmla="*/ 1 w 5"/>
                <a:gd name="T65" fmla="*/ 8 h 13"/>
                <a:gd name="T66" fmla="*/ 3 w 5"/>
                <a:gd name="T67" fmla="*/ 6 h 13"/>
                <a:gd name="T68" fmla="*/ 3 w 5"/>
                <a:gd name="T69" fmla="*/ 6 h 13"/>
                <a:gd name="T70" fmla="*/ 3 w 5"/>
                <a:gd name="T71" fmla="*/ 6 h 13"/>
                <a:gd name="T72" fmla="*/ 3 w 5"/>
                <a:gd name="T73" fmla="*/ 0 h 13"/>
                <a:gd name="T74" fmla="*/ 3 w 5"/>
                <a:gd name="T75" fmla="*/ 0 h 13"/>
                <a:gd name="T76" fmla="*/ 3 w 5"/>
                <a:gd name="T77" fmla="*/ 2 h 13"/>
                <a:gd name="T78" fmla="*/ 1 w 5"/>
                <a:gd name="T79" fmla="*/ 2 h 13"/>
                <a:gd name="T80" fmla="*/ 1 w 5"/>
                <a:gd name="T81" fmla="*/ 3 h 13"/>
                <a:gd name="T82" fmla="*/ 3 w 5"/>
                <a:gd name="T83" fmla="*/ 5 h 13"/>
                <a:gd name="T84" fmla="*/ 3 w 5"/>
                <a:gd name="T85" fmla="*/ 5 h 13"/>
                <a:gd name="T86" fmla="*/ 5 w 5"/>
                <a:gd name="T87" fmla="*/ 3 h 13"/>
                <a:gd name="T88" fmla="*/ 5 w 5"/>
                <a:gd name="T89" fmla="*/ 2 h 13"/>
                <a:gd name="T90" fmla="*/ 3 w 5"/>
                <a:gd name="T9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 h="13">
                  <a:moveTo>
                    <a:pt x="0" y="11"/>
                  </a:moveTo>
                  <a:lnTo>
                    <a:pt x="0" y="11"/>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1"/>
                  </a:lnTo>
                  <a:close/>
                  <a:moveTo>
                    <a:pt x="3" y="6"/>
                  </a:moveTo>
                  <a:lnTo>
                    <a:pt x="3" y="6"/>
                  </a:lnTo>
                  <a:lnTo>
                    <a:pt x="3" y="6"/>
                  </a:lnTo>
                  <a:lnTo>
                    <a:pt x="1" y="6"/>
                  </a:lnTo>
                  <a:lnTo>
                    <a:pt x="1" y="6"/>
                  </a:lnTo>
                  <a:lnTo>
                    <a:pt x="1" y="6"/>
                  </a:lnTo>
                  <a:lnTo>
                    <a:pt x="1" y="6"/>
                  </a:lnTo>
                  <a:lnTo>
                    <a:pt x="1" y="6"/>
                  </a:lnTo>
                  <a:lnTo>
                    <a:pt x="1" y="8"/>
                  </a:lnTo>
                  <a:lnTo>
                    <a:pt x="1" y="6"/>
                  </a:lnTo>
                  <a:lnTo>
                    <a:pt x="1" y="8"/>
                  </a:lnTo>
                  <a:lnTo>
                    <a:pt x="1" y="8"/>
                  </a:lnTo>
                  <a:lnTo>
                    <a:pt x="1" y="8"/>
                  </a:lnTo>
                  <a:lnTo>
                    <a:pt x="1" y="8"/>
                  </a:lnTo>
                  <a:lnTo>
                    <a:pt x="1" y="8"/>
                  </a:lnTo>
                  <a:lnTo>
                    <a:pt x="1" y="8"/>
                  </a:lnTo>
                  <a:lnTo>
                    <a:pt x="1" y="8"/>
                  </a:lnTo>
                  <a:lnTo>
                    <a:pt x="3" y="6"/>
                  </a:lnTo>
                  <a:lnTo>
                    <a:pt x="3" y="6"/>
                  </a:lnTo>
                  <a:lnTo>
                    <a:pt x="3" y="6"/>
                  </a:lnTo>
                  <a:close/>
                  <a:moveTo>
                    <a:pt x="3" y="0"/>
                  </a:moveTo>
                  <a:lnTo>
                    <a:pt x="3" y="0"/>
                  </a:lnTo>
                  <a:lnTo>
                    <a:pt x="3" y="2"/>
                  </a:lnTo>
                  <a:lnTo>
                    <a:pt x="1" y="2"/>
                  </a:lnTo>
                  <a:lnTo>
                    <a:pt x="1" y="3"/>
                  </a:lnTo>
                  <a:lnTo>
                    <a:pt x="3" y="5"/>
                  </a:lnTo>
                  <a:lnTo>
                    <a:pt x="3" y="5"/>
                  </a:lnTo>
                  <a:lnTo>
                    <a:pt x="5" y="3"/>
                  </a:lnTo>
                  <a:lnTo>
                    <a:pt x="5" y="2"/>
                  </a:lnTo>
                  <a:lnTo>
                    <a:pt x="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6" name="Freeform 214">
              <a:extLst>
                <a:ext uri="{FF2B5EF4-FFF2-40B4-BE49-F238E27FC236}">
                  <a16:creationId xmlns:a16="http://schemas.microsoft.com/office/drawing/2014/main" id="{8F8FAA1A-EF0D-154F-ABFD-8D66238F5598}"/>
                </a:ext>
              </a:extLst>
            </p:cNvPr>
            <p:cNvSpPr>
              <a:spLocks noEditPoints="1"/>
            </p:cNvSpPr>
            <p:nvPr/>
          </p:nvSpPr>
          <p:spPr bwMode="gray">
            <a:xfrm>
              <a:off x="1387" y="1363"/>
              <a:ext cx="238" cy="202"/>
            </a:xfrm>
            <a:custGeom>
              <a:avLst/>
              <a:gdLst>
                <a:gd name="T0" fmla="*/ 220 w 238"/>
                <a:gd name="T1" fmla="*/ 56 h 202"/>
                <a:gd name="T2" fmla="*/ 220 w 238"/>
                <a:gd name="T3" fmla="*/ 53 h 202"/>
                <a:gd name="T4" fmla="*/ 144 w 238"/>
                <a:gd name="T5" fmla="*/ 22 h 202"/>
                <a:gd name="T6" fmla="*/ 158 w 238"/>
                <a:gd name="T7" fmla="*/ 20 h 202"/>
                <a:gd name="T8" fmla="*/ 167 w 238"/>
                <a:gd name="T9" fmla="*/ 20 h 202"/>
                <a:gd name="T10" fmla="*/ 217 w 238"/>
                <a:gd name="T11" fmla="*/ 66 h 202"/>
                <a:gd name="T12" fmla="*/ 216 w 238"/>
                <a:gd name="T13" fmla="*/ 56 h 202"/>
                <a:gd name="T14" fmla="*/ 211 w 238"/>
                <a:gd name="T15" fmla="*/ 45 h 202"/>
                <a:gd name="T16" fmla="*/ 203 w 238"/>
                <a:gd name="T17" fmla="*/ 44 h 202"/>
                <a:gd name="T18" fmla="*/ 197 w 238"/>
                <a:gd name="T19" fmla="*/ 42 h 202"/>
                <a:gd name="T20" fmla="*/ 189 w 238"/>
                <a:gd name="T21" fmla="*/ 34 h 202"/>
                <a:gd name="T22" fmla="*/ 186 w 238"/>
                <a:gd name="T23" fmla="*/ 31 h 202"/>
                <a:gd name="T24" fmla="*/ 195 w 238"/>
                <a:gd name="T25" fmla="*/ 27 h 202"/>
                <a:gd name="T26" fmla="*/ 162 w 238"/>
                <a:gd name="T27" fmla="*/ 28 h 202"/>
                <a:gd name="T28" fmla="*/ 142 w 238"/>
                <a:gd name="T29" fmla="*/ 36 h 202"/>
                <a:gd name="T30" fmla="*/ 101 w 238"/>
                <a:gd name="T31" fmla="*/ 30 h 202"/>
                <a:gd name="T32" fmla="*/ 83 w 238"/>
                <a:gd name="T33" fmla="*/ 16 h 202"/>
                <a:gd name="T34" fmla="*/ 62 w 238"/>
                <a:gd name="T35" fmla="*/ 3 h 202"/>
                <a:gd name="T36" fmla="*/ 56 w 238"/>
                <a:gd name="T37" fmla="*/ 9 h 202"/>
                <a:gd name="T38" fmla="*/ 50 w 238"/>
                <a:gd name="T39" fmla="*/ 16 h 202"/>
                <a:gd name="T40" fmla="*/ 37 w 238"/>
                <a:gd name="T41" fmla="*/ 36 h 202"/>
                <a:gd name="T42" fmla="*/ 31 w 238"/>
                <a:gd name="T43" fmla="*/ 55 h 202"/>
                <a:gd name="T44" fmla="*/ 25 w 238"/>
                <a:gd name="T45" fmla="*/ 36 h 202"/>
                <a:gd name="T46" fmla="*/ 28 w 238"/>
                <a:gd name="T47" fmla="*/ 19 h 202"/>
                <a:gd name="T48" fmla="*/ 36 w 238"/>
                <a:gd name="T49" fmla="*/ 5 h 202"/>
                <a:gd name="T50" fmla="*/ 15 w 238"/>
                <a:gd name="T51" fmla="*/ 19 h 202"/>
                <a:gd name="T52" fmla="*/ 6 w 238"/>
                <a:gd name="T53" fmla="*/ 44 h 202"/>
                <a:gd name="T54" fmla="*/ 5 w 238"/>
                <a:gd name="T55" fmla="*/ 52 h 202"/>
                <a:gd name="T56" fmla="*/ 12 w 238"/>
                <a:gd name="T57" fmla="*/ 63 h 202"/>
                <a:gd name="T58" fmla="*/ 15 w 238"/>
                <a:gd name="T59" fmla="*/ 78 h 202"/>
                <a:gd name="T60" fmla="*/ 20 w 238"/>
                <a:gd name="T61" fmla="*/ 85 h 202"/>
                <a:gd name="T62" fmla="*/ 34 w 238"/>
                <a:gd name="T63" fmla="*/ 91 h 202"/>
                <a:gd name="T64" fmla="*/ 50 w 238"/>
                <a:gd name="T65" fmla="*/ 91 h 202"/>
                <a:gd name="T66" fmla="*/ 61 w 238"/>
                <a:gd name="T67" fmla="*/ 97 h 202"/>
                <a:gd name="T68" fmla="*/ 72 w 238"/>
                <a:gd name="T69" fmla="*/ 108 h 202"/>
                <a:gd name="T70" fmla="*/ 95 w 238"/>
                <a:gd name="T71" fmla="*/ 105 h 202"/>
                <a:gd name="T72" fmla="*/ 101 w 238"/>
                <a:gd name="T73" fmla="*/ 114 h 202"/>
                <a:gd name="T74" fmla="*/ 97 w 238"/>
                <a:gd name="T75" fmla="*/ 136 h 202"/>
                <a:gd name="T76" fmla="*/ 101 w 238"/>
                <a:gd name="T77" fmla="*/ 149 h 202"/>
                <a:gd name="T78" fmla="*/ 97 w 238"/>
                <a:gd name="T79" fmla="*/ 163 h 202"/>
                <a:gd name="T80" fmla="*/ 101 w 238"/>
                <a:gd name="T81" fmla="*/ 166 h 202"/>
                <a:gd name="T82" fmla="*/ 108 w 238"/>
                <a:gd name="T83" fmla="*/ 174 h 202"/>
                <a:gd name="T84" fmla="*/ 112 w 238"/>
                <a:gd name="T85" fmla="*/ 186 h 202"/>
                <a:gd name="T86" fmla="*/ 123 w 238"/>
                <a:gd name="T87" fmla="*/ 200 h 202"/>
                <a:gd name="T88" fmla="*/ 134 w 238"/>
                <a:gd name="T89" fmla="*/ 197 h 202"/>
                <a:gd name="T90" fmla="*/ 141 w 238"/>
                <a:gd name="T91" fmla="*/ 200 h 202"/>
                <a:gd name="T92" fmla="*/ 152 w 238"/>
                <a:gd name="T93" fmla="*/ 193 h 202"/>
                <a:gd name="T94" fmla="*/ 164 w 238"/>
                <a:gd name="T95" fmla="*/ 183 h 202"/>
                <a:gd name="T96" fmla="*/ 173 w 238"/>
                <a:gd name="T97" fmla="*/ 177 h 202"/>
                <a:gd name="T98" fmla="*/ 164 w 238"/>
                <a:gd name="T99" fmla="*/ 171 h 202"/>
                <a:gd name="T100" fmla="*/ 159 w 238"/>
                <a:gd name="T101" fmla="*/ 150 h 202"/>
                <a:gd name="T102" fmla="*/ 155 w 238"/>
                <a:gd name="T103" fmla="*/ 141 h 202"/>
                <a:gd name="T104" fmla="*/ 170 w 238"/>
                <a:gd name="T105" fmla="*/ 146 h 202"/>
                <a:gd name="T106" fmla="*/ 181 w 238"/>
                <a:gd name="T107" fmla="*/ 150 h 202"/>
                <a:gd name="T108" fmla="*/ 192 w 238"/>
                <a:gd name="T109" fmla="*/ 141 h 202"/>
                <a:gd name="T110" fmla="*/ 212 w 238"/>
                <a:gd name="T111" fmla="*/ 135 h 202"/>
                <a:gd name="T112" fmla="*/ 220 w 238"/>
                <a:gd name="T113" fmla="*/ 132 h 202"/>
                <a:gd name="T114" fmla="*/ 219 w 238"/>
                <a:gd name="T115" fmla="*/ 119 h 202"/>
                <a:gd name="T116" fmla="*/ 214 w 238"/>
                <a:gd name="T117" fmla="*/ 100 h 202"/>
                <a:gd name="T118" fmla="*/ 222 w 238"/>
                <a:gd name="T119" fmla="*/ 96 h 202"/>
                <a:gd name="T120" fmla="*/ 227 w 238"/>
                <a:gd name="T121" fmla="*/ 89 h 202"/>
                <a:gd name="T122" fmla="*/ 223 w 238"/>
                <a:gd name="T123" fmla="*/ 80 h 202"/>
                <a:gd name="T124" fmla="*/ 236 w 238"/>
                <a:gd name="T125" fmla="*/ 7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202">
                  <a:moveTo>
                    <a:pt x="219" y="56"/>
                  </a:moveTo>
                  <a:lnTo>
                    <a:pt x="219" y="55"/>
                  </a:lnTo>
                  <a:lnTo>
                    <a:pt x="219" y="55"/>
                  </a:lnTo>
                  <a:lnTo>
                    <a:pt x="219" y="55"/>
                  </a:lnTo>
                  <a:lnTo>
                    <a:pt x="216" y="56"/>
                  </a:lnTo>
                  <a:lnTo>
                    <a:pt x="216" y="58"/>
                  </a:lnTo>
                  <a:lnTo>
                    <a:pt x="216" y="60"/>
                  </a:lnTo>
                  <a:lnTo>
                    <a:pt x="217" y="58"/>
                  </a:lnTo>
                  <a:lnTo>
                    <a:pt x="219" y="58"/>
                  </a:lnTo>
                  <a:lnTo>
                    <a:pt x="220" y="56"/>
                  </a:lnTo>
                  <a:lnTo>
                    <a:pt x="220" y="56"/>
                  </a:lnTo>
                  <a:lnTo>
                    <a:pt x="219" y="56"/>
                  </a:lnTo>
                  <a:close/>
                  <a:moveTo>
                    <a:pt x="222" y="52"/>
                  </a:moveTo>
                  <a:lnTo>
                    <a:pt x="220" y="52"/>
                  </a:lnTo>
                  <a:lnTo>
                    <a:pt x="220" y="53"/>
                  </a:lnTo>
                  <a:lnTo>
                    <a:pt x="220" y="53"/>
                  </a:lnTo>
                  <a:lnTo>
                    <a:pt x="219" y="53"/>
                  </a:lnTo>
                  <a:lnTo>
                    <a:pt x="219" y="53"/>
                  </a:lnTo>
                  <a:lnTo>
                    <a:pt x="219" y="55"/>
                  </a:lnTo>
                  <a:lnTo>
                    <a:pt x="220" y="53"/>
                  </a:lnTo>
                  <a:lnTo>
                    <a:pt x="220" y="53"/>
                  </a:lnTo>
                  <a:lnTo>
                    <a:pt x="222" y="53"/>
                  </a:lnTo>
                  <a:lnTo>
                    <a:pt x="222" y="52"/>
                  </a:lnTo>
                  <a:close/>
                  <a:moveTo>
                    <a:pt x="144" y="22"/>
                  </a:moveTo>
                  <a:lnTo>
                    <a:pt x="142" y="22"/>
                  </a:lnTo>
                  <a:lnTo>
                    <a:pt x="141" y="22"/>
                  </a:lnTo>
                  <a:lnTo>
                    <a:pt x="139" y="22"/>
                  </a:lnTo>
                  <a:lnTo>
                    <a:pt x="141" y="22"/>
                  </a:lnTo>
                  <a:lnTo>
                    <a:pt x="142" y="24"/>
                  </a:lnTo>
                  <a:lnTo>
                    <a:pt x="144" y="22"/>
                  </a:lnTo>
                  <a:lnTo>
                    <a:pt x="144" y="22"/>
                  </a:lnTo>
                  <a:close/>
                  <a:moveTo>
                    <a:pt x="167" y="19"/>
                  </a:moveTo>
                  <a:lnTo>
                    <a:pt x="167" y="17"/>
                  </a:lnTo>
                  <a:lnTo>
                    <a:pt x="164" y="19"/>
                  </a:lnTo>
                  <a:lnTo>
                    <a:pt x="164" y="20"/>
                  </a:lnTo>
                  <a:lnTo>
                    <a:pt x="162" y="20"/>
                  </a:lnTo>
                  <a:lnTo>
                    <a:pt x="161" y="20"/>
                  </a:lnTo>
                  <a:lnTo>
                    <a:pt x="161" y="19"/>
                  </a:lnTo>
                  <a:lnTo>
                    <a:pt x="161" y="19"/>
                  </a:lnTo>
                  <a:lnTo>
                    <a:pt x="158" y="20"/>
                  </a:lnTo>
                  <a:lnTo>
                    <a:pt x="158" y="20"/>
                  </a:lnTo>
                  <a:lnTo>
                    <a:pt x="158" y="22"/>
                  </a:lnTo>
                  <a:lnTo>
                    <a:pt x="161" y="22"/>
                  </a:lnTo>
                  <a:lnTo>
                    <a:pt x="162" y="22"/>
                  </a:lnTo>
                  <a:lnTo>
                    <a:pt x="162" y="22"/>
                  </a:lnTo>
                  <a:lnTo>
                    <a:pt x="164" y="24"/>
                  </a:lnTo>
                  <a:lnTo>
                    <a:pt x="164" y="24"/>
                  </a:lnTo>
                  <a:lnTo>
                    <a:pt x="166" y="24"/>
                  </a:lnTo>
                  <a:lnTo>
                    <a:pt x="167" y="22"/>
                  </a:lnTo>
                  <a:lnTo>
                    <a:pt x="167" y="20"/>
                  </a:lnTo>
                  <a:lnTo>
                    <a:pt x="167" y="19"/>
                  </a:lnTo>
                  <a:close/>
                  <a:moveTo>
                    <a:pt x="238" y="69"/>
                  </a:moveTo>
                  <a:lnTo>
                    <a:pt x="234" y="64"/>
                  </a:lnTo>
                  <a:lnTo>
                    <a:pt x="231" y="63"/>
                  </a:lnTo>
                  <a:lnTo>
                    <a:pt x="228" y="63"/>
                  </a:lnTo>
                  <a:lnTo>
                    <a:pt x="228" y="63"/>
                  </a:lnTo>
                  <a:lnTo>
                    <a:pt x="227" y="64"/>
                  </a:lnTo>
                  <a:lnTo>
                    <a:pt x="220" y="63"/>
                  </a:lnTo>
                  <a:lnTo>
                    <a:pt x="219" y="64"/>
                  </a:lnTo>
                  <a:lnTo>
                    <a:pt x="217" y="66"/>
                  </a:lnTo>
                  <a:lnTo>
                    <a:pt x="214" y="66"/>
                  </a:lnTo>
                  <a:lnTo>
                    <a:pt x="212" y="67"/>
                  </a:lnTo>
                  <a:lnTo>
                    <a:pt x="209" y="64"/>
                  </a:lnTo>
                  <a:lnTo>
                    <a:pt x="208" y="64"/>
                  </a:lnTo>
                  <a:lnTo>
                    <a:pt x="206" y="63"/>
                  </a:lnTo>
                  <a:lnTo>
                    <a:pt x="212" y="63"/>
                  </a:lnTo>
                  <a:lnTo>
                    <a:pt x="214" y="61"/>
                  </a:lnTo>
                  <a:lnTo>
                    <a:pt x="216" y="60"/>
                  </a:lnTo>
                  <a:lnTo>
                    <a:pt x="216" y="58"/>
                  </a:lnTo>
                  <a:lnTo>
                    <a:pt x="216" y="56"/>
                  </a:lnTo>
                  <a:lnTo>
                    <a:pt x="216" y="55"/>
                  </a:lnTo>
                  <a:lnTo>
                    <a:pt x="216" y="55"/>
                  </a:lnTo>
                  <a:lnTo>
                    <a:pt x="217" y="53"/>
                  </a:lnTo>
                  <a:lnTo>
                    <a:pt x="217" y="52"/>
                  </a:lnTo>
                  <a:lnTo>
                    <a:pt x="220" y="52"/>
                  </a:lnTo>
                  <a:lnTo>
                    <a:pt x="220" y="50"/>
                  </a:lnTo>
                  <a:lnTo>
                    <a:pt x="219" y="49"/>
                  </a:lnTo>
                  <a:lnTo>
                    <a:pt x="217" y="47"/>
                  </a:lnTo>
                  <a:lnTo>
                    <a:pt x="212" y="45"/>
                  </a:lnTo>
                  <a:lnTo>
                    <a:pt x="211" y="45"/>
                  </a:lnTo>
                  <a:lnTo>
                    <a:pt x="208" y="41"/>
                  </a:lnTo>
                  <a:lnTo>
                    <a:pt x="206" y="41"/>
                  </a:lnTo>
                  <a:lnTo>
                    <a:pt x="206" y="42"/>
                  </a:lnTo>
                  <a:lnTo>
                    <a:pt x="203" y="42"/>
                  </a:lnTo>
                  <a:lnTo>
                    <a:pt x="203" y="42"/>
                  </a:lnTo>
                  <a:lnTo>
                    <a:pt x="205" y="44"/>
                  </a:lnTo>
                  <a:lnTo>
                    <a:pt x="205" y="45"/>
                  </a:lnTo>
                  <a:lnTo>
                    <a:pt x="203" y="44"/>
                  </a:lnTo>
                  <a:lnTo>
                    <a:pt x="203" y="44"/>
                  </a:lnTo>
                  <a:lnTo>
                    <a:pt x="203" y="44"/>
                  </a:lnTo>
                  <a:lnTo>
                    <a:pt x="203" y="42"/>
                  </a:lnTo>
                  <a:lnTo>
                    <a:pt x="202" y="41"/>
                  </a:lnTo>
                  <a:lnTo>
                    <a:pt x="200" y="39"/>
                  </a:lnTo>
                  <a:lnTo>
                    <a:pt x="198" y="39"/>
                  </a:lnTo>
                  <a:lnTo>
                    <a:pt x="197" y="39"/>
                  </a:lnTo>
                  <a:lnTo>
                    <a:pt x="197" y="39"/>
                  </a:lnTo>
                  <a:lnTo>
                    <a:pt x="197" y="39"/>
                  </a:lnTo>
                  <a:lnTo>
                    <a:pt x="197" y="41"/>
                  </a:lnTo>
                  <a:lnTo>
                    <a:pt x="197" y="42"/>
                  </a:lnTo>
                  <a:lnTo>
                    <a:pt x="197" y="42"/>
                  </a:lnTo>
                  <a:lnTo>
                    <a:pt x="197" y="41"/>
                  </a:lnTo>
                  <a:lnTo>
                    <a:pt x="195" y="41"/>
                  </a:lnTo>
                  <a:lnTo>
                    <a:pt x="195" y="42"/>
                  </a:lnTo>
                  <a:lnTo>
                    <a:pt x="195" y="42"/>
                  </a:lnTo>
                  <a:lnTo>
                    <a:pt x="194" y="42"/>
                  </a:lnTo>
                  <a:lnTo>
                    <a:pt x="194" y="42"/>
                  </a:lnTo>
                  <a:lnTo>
                    <a:pt x="192" y="41"/>
                  </a:lnTo>
                  <a:lnTo>
                    <a:pt x="191" y="36"/>
                  </a:lnTo>
                  <a:lnTo>
                    <a:pt x="191" y="34"/>
                  </a:lnTo>
                  <a:lnTo>
                    <a:pt x="189" y="34"/>
                  </a:lnTo>
                  <a:lnTo>
                    <a:pt x="189" y="36"/>
                  </a:lnTo>
                  <a:lnTo>
                    <a:pt x="189" y="36"/>
                  </a:lnTo>
                  <a:lnTo>
                    <a:pt x="187" y="38"/>
                  </a:lnTo>
                  <a:lnTo>
                    <a:pt x="186" y="38"/>
                  </a:lnTo>
                  <a:lnTo>
                    <a:pt x="187" y="36"/>
                  </a:lnTo>
                  <a:lnTo>
                    <a:pt x="187" y="34"/>
                  </a:lnTo>
                  <a:lnTo>
                    <a:pt x="187" y="33"/>
                  </a:lnTo>
                  <a:lnTo>
                    <a:pt x="187" y="33"/>
                  </a:lnTo>
                  <a:lnTo>
                    <a:pt x="186" y="31"/>
                  </a:lnTo>
                  <a:lnTo>
                    <a:pt x="186" y="31"/>
                  </a:lnTo>
                  <a:lnTo>
                    <a:pt x="184" y="31"/>
                  </a:lnTo>
                  <a:lnTo>
                    <a:pt x="184" y="30"/>
                  </a:lnTo>
                  <a:lnTo>
                    <a:pt x="183" y="30"/>
                  </a:lnTo>
                  <a:lnTo>
                    <a:pt x="187" y="28"/>
                  </a:lnTo>
                  <a:lnTo>
                    <a:pt x="192" y="28"/>
                  </a:lnTo>
                  <a:lnTo>
                    <a:pt x="195" y="27"/>
                  </a:lnTo>
                  <a:lnTo>
                    <a:pt x="198" y="27"/>
                  </a:lnTo>
                  <a:lnTo>
                    <a:pt x="202" y="27"/>
                  </a:lnTo>
                  <a:lnTo>
                    <a:pt x="202" y="25"/>
                  </a:lnTo>
                  <a:lnTo>
                    <a:pt x="195" y="27"/>
                  </a:lnTo>
                  <a:lnTo>
                    <a:pt x="187" y="25"/>
                  </a:lnTo>
                  <a:lnTo>
                    <a:pt x="183" y="27"/>
                  </a:lnTo>
                  <a:lnTo>
                    <a:pt x="181" y="25"/>
                  </a:lnTo>
                  <a:lnTo>
                    <a:pt x="178" y="27"/>
                  </a:lnTo>
                  <a:lnTo>
                    <a:pt x="173" y="27"/>
                  </a:lnTo>
                  <a:lnTo>
                    <a:pt x="167" y="27"/>
                  </a:lnTo>
                  <a:lnTo>
                    <a:pt x="161" y="27"/>
                  </a:lnTo>
                  <a:lnTo>
                    <a:pt x="159" y="27"/>
                  </a:lnTo>
                  <a:lnTo>
                    <a:pt x="161" y="28"/>
                  </a:lnTo>
                  <a:lnTo>
                    <a:pt x="162" y="28"/>
                  </a:lnTo>
                  <a:lnTo>
                    <a:pt x="167" y="28"/>
                  </a:lnTo>
                  <a:lnTo>
                    <a:pt x="169" y="30"/>
                  </a:lnTo>
                  <a:lnTo>
                    <a:pt x="169" y="30"/>
                  </a:lnTo>
                  <a:lnTo>
                    <a:pt x="167" y="30"/>
                  </a:lnTo>
                  <a:lnTo>
                    <a:pt x="161" y="30"/>
                  </a:lnTo>
                  <a:lnTo>
                    <a:pt x="150" y="36"/>
                  </a:lnTo>
                  <a:lnTo>
                    <a:pt x="148" y="38"/>
                  </a:lnTo>
                  <a:lnTo>
                    <a:pt x="147" y="38"/>
                  </a:lnTo>
                  <a:lnTo>
                    <a:pt x="145" y="38"/>
                  </a:lnTo>
                  <a:lnTo>
                    <a:pt x="142" y="36"/>
                  </a:lnTo>
                  <a:lnTo>
                    <a:pt x="139" y="36"/>
                  </a:lnTo>
                  <a:lnTo>
                    <a:pt x="136" y="34"/>
                  </a:lnTo>
                  <a:lnTo>
                    <a:pt x="133" y="34"/>
                  </a:lnTo>
                  <a:lnTo>
                    <a:pt x="128" y="30"/>
                  </a:lnTo>
                  <a:lnTo>
                    <a:pt x="128" y="30"/>
                  </a:lnTo>
                  <a:lnTo>
                    <a:pt x="128" y="28"/>
                  </a:lnTo>
                  <a:lnTo>
                    <a:pt x="125" y="27"/>
                  </a:lnTo>
                  <a:lnTo>
                    <a:pt x="112" y="28"/>
                  </a:lnTo>
                  <a:lnTo>
                    <a:pt x="109" y="28"/>
                  </a:lnTo>
                  <a:lnTo>
                    <a:pt x="101" y="30"/>
                  </a:lnTo>
                  <a:lnTo>
                    <a:pt x="97" y="30"/>
                  </a:lnTo>
                  <a:lnTo>
                    <a:pt x="92" y="30"/>
                  </a:lnTo>
                  <a:lnTo>
                    <a:pt x="91" y="28"/>
                  </a:lnTo>
                  <a:lnTo>
                    <a:pt x="89" y="27"/>
                  </a:lnTo>
                  <a:lnTo>
                    <a:pt x="89" y="24"/>
                  </a:lnTo>
                  <a:lnTo>
                    <a:pt x="89" y="24"/>
                  </a:lnTo>
                  <a:lnTo>
                    <a:pt x="89" y="22"/>
                  </a:lnTo>
                  <a:lnTo>
                    <a:pt x="89" y="20"/>
                  </a:lnTo>
                  <a:lnTo>
                    <a:pt x="87" y="17"/>
                  </a:lnTo>
                  <a:lnTo>
                    <a:pt x="83" y="16"/>
                  </a:lnTo>
                  <a:lnTo>
                    <a:pt x="80" y="13"/>
                  </a:lnTo>
                  <a:lnTo>
                    <a:pt x="76" y="13"/>
                  </a:lnTo>
                  <a:lnTo>
                    <a:pt x="73" y="11"/>
                  </a:lnTo>
                  <a:lnTo>
                    <a:pt x="67" y="13"/>
                  </a:lnTo>
                  <a:lnTo>
                    <a:pt x="67" y="13"/>
                  </a:lnTo>
                  <a:lnTo>
                    <a:pt x="66" y="13"/>
                  </a:lnTo>
                  <a:lnTo>
                    <a:pt x="64" y="11"/>
                  </a:lnTo>
                  <a:lnTo>
                    <a:pt x="64" y="9"/>
                  </a:lnTo>
                  <a:lnTo>
                    <a:pt x="62" y="6"/>
                  </a:lnTo>
                  <a:lnTo>
                    <a:pt x="62" y="3"/>
                  </a:lnTo>
                  <a:lnTo>
                    <a:pt x="61" y="2"/>
                  </a:lnTo>
                  <a:lnTo>
                    <a:pt x="61" y="2"/>
                  </a:lnTo>
                  <a:lnTo>
                    <a:pt x="59" y="0"/>
                  </a:lnTo>
                  <a:lnTo>
                    <a:pt x="58" y="0"/>
                  </a:lnTo>
                  <a:lnTo>
                    <a:pt x="56" y="2"/>
                  </a:lnTo>
                  <a:lnTo>
                    <a:pt x="55" y="3"/>
                  </a:lnTo>
                  <a:lnTo>
                    <a:pt x="55" y="5"/>
                  </a:lnTo>
                  <a:lnTo>
                    <a:pt x="55" y="8"/>
                  </a:lnTo>
                  <a:lnTo>
                    <a:pt x="55" y="8"/>
                  </a:lnTo>
                  <a:lnTo>
                    <a:pt x="56" y="9"/>
                  </a:lnTo>
                  <a:lnTo>
                    <a:pt x="61" y="9"/>
                  </a:lnTo>
                  <a:lnTo>
                    <a:pt x="62" y="9"/>
                  </a:lnTo>
                  <a:lnTo>
                    <a:pt x="62" y="11"/>
                  </a:lnTo>
                  <a:lnTo>
                    <a:pt x="62" y="13"/>
                  </a:lnTo>
                  <a:lnTo>
                    <a:pt x="61" y="13"/>
                  </a:lnTo>
                  <a:lnTo>
                    <a:pt x="58" y="11"/>
                  </a:lnTo>
                  <a:lnTo>
                    <a:pt x="58" y="11"/>
                  </a:lnTo>
                  <a:lnTo>
                    <a:pt x="56" y="13"/>
                  </a:lnTo>
                  <a:lnTo>
                    <a:pt x="55" y="14"/>
                  </a:lnTo>
                  <a:lnTo>
                    <a:pt x="50" y="16"/>
                  </a:lnTo>
                  <a:lnTo>
                    <a:pt x="45" y="17"/>
                  </a:lnTo>
                  <a:lnTo>
                    <a:pt x="37" y="20"/>
                  </a:lnTo>
                  <a:lnTo>
                    <a:pt x="33" y="22"/>
                  </a:lnTo>
                  <a:lnTo>
                    <a:pt x="34" y="24"/>
                  </a:lnTo>
                  <a:lnTo>
                    <a:pt x="33" y="25"/>
                  </a:lnTo>
                  <a:lnTo>
                    <a:pt x="33" y="28"/>
                  </a:lnTo>
                  <a:lnTo>
                    <a:pt x="33" y="30"/>
                  </a:lnTo>
                  <a:lnTo>
                    <a:pt x="34" y="30"/>
                  </a:lnTo>
                  <a:lnTo>
                    <a:pt x="34" y="34"/>
                  </a:lnTo>
                  <a:lnTo>
                    <a:pt x="37" y="36"/>
                  </a:lnTo>
                  <a:lnTo>
                    <a:pt x="37" y="38"/>
                  </a:lnTo>
                  <a:lnTo>
                    <a:pt x="40" y="41"/>
                  </a:lnTo>
                  <a:lnTo>
                    <a:pt x="40" y="44"/>
                  </a:lnTo>
                  <a:lnTo>
                    <a:pt x="40" y="47"/>
                  </a:lnTo>
                  <a:lnTo>
                    <a:pt x="40" y="50"/>
                  </a:lnTo>
                  <a:lnTo>
                    <a:pt x="37" y="52"/>
                  </a:lnTo>
                  <a:lnTo>
                    <a:pt x="37" y="53"/>
                  </a:lnTo>
                  <a:lnTo>
                    <a:pt x="36" y="53"/>
                  </a:lnTo>
                  <a:lnTo>
                    <a:pt x="33" y="55"/>
                  </a:lnTo>
                  <a:lnTo>
                    <a:pt x="31" y="55"/>
                  </a:lnTo>
                  <a:lnTo>
                    <a:pt x="30" y="55"/>
                  </a:lnTo>
                  <a:lnTo>
                    <a:pt x="28" y="53"/>
                  </a:lnTo>
                  <a:lnTo>
                    <a:pt x="28" y="52"/>
                  </a:lnTo>
                  <a:lnTo>
                    <a:pt x="28" y="50"/>
                  </a:lnTo>
                  <a:lnTo>
                    <a:pt x="28" y="50"/>
                  </a:lnTo>
                  <a:lnTo>
                    <a:pt x="26" y="49"/>
                  </a:lnTo>
                  <a:lnTo>
                    <a:pt x="25" y="47"/>
                  </a:lnTo>
                  <a:lnTo>
                    <a:pt x="25" y="45"/>
                  </a:lnTo>
                  <a:lnTo>
                    <a:pt x="22" y="42"/>
                  </a:lnTo>
                  <a:lnTo>
                    <a:pt x="25" y="36"/>
                  </a:lnTo>
                  <a:lnTo>
                    <a:pt x="26" y="36"/>
                  </a:lnTo>
                  <a:lnTo>
                    <a:pt x="28" y="33"/>
                  </a:lnTo>
                  <a:lnTo>
                    <a:pt x="30" y="31"/>
                  </a:lnTo>
                  <a:lnTo>
                    <a:pt x="31" y="27"/>
                  </a:lnTo>
                  <a:lnTo>
                    <a:pt x="31" y="25"/>
                  </a:lnTo>
                  <a:lnTo>
                    <a:pt x="30" y="24"/>
                  </a:lnTo>
                  <a:lnTo>
                    <a:pt x="30" y="20"/>
                  </a:lnTo>
                  <a:lnTo>
                    <a:pt x="30" y="20"/>
                  </a:lnTo>
                  <a:lnTo>
                    <a:pt x="31" y="20"/>
                  </a:lnTo>
                  <a:lnTo>
                    <a:pt x="28" y="19"/>
                  </a:lnTo>
                  <a:lnTo>
                    <a:pt x="26" y="17"/>
                  </a:lnTo>
                  <a:lnTo>
                    <a:pt x="25" y="14"/>
                  </a:lnTo>
                  <a:lnTo>
                    <a:pt x="25" y="13"/>
                  </a:lnTo>
                  <a:lnTo>
                    <a:pt x="25" y="11"/>
                  </a:lnTo>
                  <a:lnTo>
                    <a:pt x="26" y="9"/>
                  </a:lnTo>
                  <a:lnTo>
                    <a:pt x="26" y="9"/>
                  </a:lnTo>
                  <a:lnTo>
                    <a:pt x="33" y="8"/>
                  </a:lnTo>
                  <a:lnTo>
                    <a:pt x="34" y="8"/>
                  </a:lnTo>
                  <a:lnTo>
                    <a:pt x="36" y="6"/>
                  </a:lnTo>
                  <a:lnTo>
                    <a:pt x="36" y="5"/>
                  </a:lnTo>
                  <a:lnTo>
                    <a:pt x="36" y="5"/>
                  </a:lnTo>
                  <a:lnTo>
                    <a:pt x="36" y="6"/>
                  </a:lnTo>
                  <a:lnTo>
                    <a:pt x="34" y="6"/>
                  </a:lnTo>
                  <a:lnTo>
                    <a:pt x="33" y="6"/>
                  </a:lnTo>
                  <a:lnTo>
                    <a:pt x="33" y="6"/>
                  </a:lnTo>
                  <a:lnTo>
                    <a:pt x="30" y="8"/>
                  </a:lnTo>
                  <a:lnTo>
                    <a:pt x="25" y="9"/>
                  </a:lnTo>
                  <a:lnTo>
                    <a:pt x="23" y="9"/>
                  </a:lnTo>
                  <a:lnTo>
                    <a:pt x="20" y="17"/>
                  </a:lnTo>
                  <a:lnTo>
                    <a:pt x="15" y="19"/>
                  </a:lnTo>
                  <a:lnTo>
                    <a:pt x="15" y="20"/>
                  </a:lnTo>
                  <a:lnTo>
                    <a:pt x="15" y="20"/>
                  </a:lnTo>
                  <a:lnTo>
                    <a:pt x="14" y="20"/>
                  </a:lnTo>
                  <a:lnTo>
                    <a:pt x="12" y="24"/>
                  </a:lnTo>
                  <a:lnTo>
                    <a:pt x="11" y="25"/>
                  </a:lnTo>
                  <a:lnTo>
                    <a:pt x="9" y="30"/>
                  </a:lnTo>
                  <a:lnTo>
                    <a:pt x="8" y="34"/>
                  </a:lnTo>
                  <a:lnTo>
                    <a:pt x="8" y="38"/>
                  </a:lnTo>
                  <a:lnTo>
                    <a:pt x="6" y="42"/>
                  </a:lnTo>
                  <a:lnTo>
                    <a:pt x="6" y="44"/>
                  </a:lnTo>
                  <a:lnTo>
                    <a:pt x="5" y="47"/>
                  </a:lnTo>
                  <a:lnTo>
                    <a:pt x="3" y="49"/>
                  </a:lnTo>
                  <a:lnTo>
                    <a:pt x="1" y="50"/>
                  </a:lnTo>
                  <a:lnTo>
                    <a:pt x="0" y="52"/>
                  </a:lnTo>
                  <a:lnTo>
                    <a:pt x="0" y="53"/>
                  </a:lnTo>
                  <a:lnTo>
                    <a:pt x="0" y="53"/>
                  </a:lnTo>
                  <a:lnTo>
                    <a:pt x="0" y="53"/>
                  </a:lnTo>
                  <a:lnTo>
                    <a:pt x="1" y="53"/>
                  </a:lnTo>
                  <a:lnTo>
                    <a:pt x="3" y="53"/>
                  </a:lnTo>
                  <a:lnTo>
                    <a:pt x="5" y="52"/>
                  </a:lnTo>
                  <a:lnTo>
                    <a:pt x="6" y="52"/>
                  </a:lnTo>
                  <a:lnTo>
                    <a:pt x="6" y="52"/>
                  </a:lnTo>
                  <a:lnTo>
                    <a:pt x="6" y="52"/>
                  </a:lnTo>
                  <a:lnTo>
                    <a:pt x="8" y="53"/>
                  </a:lnTo>
                  <a:lnTo>
                    <a:pt x="8" y="53"/>
                  </a:lnTo>
                  <a:lnTo>
                    <a:pt x="8" y="55"/>
                  </a:lnTo>
                  <a:lnTo>
                    <a:pt x="9" y="53"/>
                  </a:lnTo>
                  <a:lnTo>
                    <a:pt x="11" y="55"/>
                  </a:lnTo>
                  <a:lnTo>
                    <a:pt x="11" y="60"/>
                  </a:lnTo>
                  <a:lnTo>
                    <a:pt x="12" y="63"/>
                  </a:lnTo>
                  <a:lnTo>
                    <a:pt x="12" y="63"/>
                  </a:lnTo>
                  <a:lnTo>
                    <a:pt x="15" y="66"/>
                  </a:lnTo>
                  <a:lnTo>
                    <a:pt x="17" y="67"/>
                  </a:lnTo>
                  <a:lnTo>
                    <a:pt x="17" y="69"/>
                  </a:lnTo>
                  <a:lnTo>
                    <a:pt x="17" y="70"/>
                  </a:lnTo>
                  <a:lnTo>
                    <a:pt x="17" y="72"/>
                  </a:lnTo>
                  <a:lnTo>
                    <a:pt x="17" y="74"/>
                  </a:lnTo>
                  <a:lnTo>
                    <a:pt x="15" y="75"/>
                  </a:lnTo>
                  <a:lnTo>
                    <a:pt x="15" y="77"/>
                  </a:lnTo>
                  <a:lnTo>
                    <a:pt x="15" y="78"/>
                  </a:lnTo>
                  <a:lnTo>
                    <a:pt x="15" y="81"/>
                  </a:lnTo>
                  <a:lnTo>
                    <a:pt x="15" y="83"/>
                  </a:lnTo>
                  <a:lnTo>
                    <a:pt x="17" y="83"/>
                  </a:lnTo>
                  <a:lnTo>
                    <a:pt x="17" y="83"/>
                  </a:lnTo>
                  <a:lnTo>
                    <a:pt x="17" y="85"/>
                  </a:lnTo>
                  <a:lnTo>
                    <a:pt x="17" y="85"/>
                  </a:lnTo>
                  <a:lnTo>
                    <a:pt x="17" y="85"/>
                  </a:lnTo>
                  <a:lnTo>
                    <a:pt x="19" y="85"/>
                  </a:lnTo>
                  <a:lnTo>
                    <a:pt x="20" y="85"/>
                  </a:lnTo>
                  <a:lnTo>
                    <a:pt x="20" y="85"/>
                  </a:lnTo>
                  <a:lnTo>
                    <a:pt x="20" y="85"/>
                  </a:lnTo>
                  <a:lnTo>
                    <a:pt x="22" y="88"/>
                  </a:lnTo>
                  <a:lnTo>
                    <a:pt x="23" y="89"/>
                  </a:lnTo>
                  <a:lnTo>
                    <a:pt x="23" y="89"/>
                  </a:lnTo>
                  <a:lnTo>
                    <a:pt x="23" y="91"/>
                  </a:lnTo>
                  <a:lnTo>
                    <a:pt x="26" y="92"/>
                  </a:lnTo>
                  <a:lnTo>
                    <a:pt x="26" y="92"/>
                  </a:lnTo>
                  <a:lnTo>
                    <a:pt x="28" y="91"/>
                  </a:lnTo>
                  <a:lnTo>
                    <a:pt x="31" y="91"/>
                  </a:lnTo>
                  <a:lnTo>
                    <a:pt x="34" y="91"/>
                  </a:lnTo>
                  <a:lnTo>
                    <a:pt x="34" y="91"/>
                  </a:lnTo>
                  <a:lnTo>
                    <a:pt x="37" y="92"/>
                  </a:lnTo>
                  <a:lnTo>
                    <a:pt x="39" y="92"/>
                  </a:lnTo>
                  <a:lnTo>
                    <a:pt x="42" y="91"/>
                  </a:lnTo>
                  <a:lnTo>
                    <a:pt x="45" y="91"/>
                  </a:lnTo>
                  <a:lnTo>
                    <a:pt x="47" y="89"/>
                  </a:lnTo>
                  <a:lnTo>
                    <a:pt x="47" y="89"/>
                  </a:lnTo>
                  <a:lnTo>
                    <a:pt x="48" y="89"/>
                  </a:lnTo>
                  <a:lnTo>
                    <a:pt x="48" y="91"/>
                  </a:lnTo>
                  <a:lnTo>
                    <a:pt x="50" y="91"/>
                  </a:lnTo>
                  <a:lnTo>
                    <a:pt x="51" y="91"/>
                  </a:lnTo>
                  <a:lnTo>
                    <a:pt x="53" y="92"/>
                  </a:lnTo>
                  <a:lnTo>
                    <a:pt x="55" y="92"/>
                  </a:lnTo>
                  <a:lnTo>
                    <a:pt x="55" y="92"/>
                  </a:lnTo>
                  <a:lnTo>
                    <a:pt x="56" y="92"/>
                  </a:lnTo>
                  <a:lnTo>
                    <a:pt x="56" y="92"/>
                  </a:lnTo>
                  <a:lnTo>
                    <a:pt x="56" y="92"/>
                  </a:lnTo>
                  <a:lnTo>
                    <a:pt x="58" y="92"/>
                  </a:lnTo>
                  <a:lnTo>
                    <a:pt x="58" y="92"/>
                  </a:lnTo>
                  <a:lnTo>
                    <a:pt x="61" y="97"/>
                  </a:lnTo>
                  <a:lnTo>
                    <a:pt x="64" y="100"/>
                  </a:lnTo>
                  <a:lnTo>
                    <a:pt x="64" y="100"/>
                  </a:lnTo>
                  <a:lnTo>
                    <a:pt x="66" y="103"/>
                  </a:lnTo>
                  <a:lnTo>
                    <a:pt x="69" y="106"/>
                  </a:lnTo>
                  <a:lnTo>
                    <a:pt x="69" y="106"/>
                  </a:lnTo>
                  <a:lnTo>
                    <a:pt x="70" y="106"/>
                  </a:lnTo>
                  <a:lnTo>
                    <a:pt x="70" y="106"/>
                  </a:lnTo>
                  <a:lnTo>
                    <a:pt x="72" y="106"/>
                  </a:lnTo>
                  <a:lnTo>
                    <a:pt x="72" y="106"/>
                  </a:lnTo>
                  <a:lnTo>
                    <a:pt x="72" y="108"/>
                  </a:lnTo>
                  <a:lnTo>
                    <a:pt x="73" y="106"/>
                  </a:lnTo>
                  <a:lnTo>
                    <a:pt x="73" y="106"/>
                  </a:lnTo>
                  <a:lnTo>
                    <a:pt x="75" y="106"/>
                  </a:lnTo>
                  <a:lnTo>
                    <a:pt x="78" y="105"/>
                  </a:lnTo>
                  <a:lnTo>
                    <a:pt x="81" y="106"/>
                  </a:lnTo>
                  <a:lnTo>
                    <a:pt x="81" y="106"/>
                  </a:lnTo>
                  <a:lnTo>
                    <a:pt x="86" y="106"/>
                  </a:lnTo>
                  <a:lnTo>
                    <a:pt x="92" y="105"/>
                  </a:lnTo>
                  <a:lnTo>
                    <a:pt x="95" y="105"/>
                  </a:lnTo>
                  <a:lnTo>
                    <a:pt x="95" y="105"/>
                  </a:lnTo>
                  <a:lnTo>
                    <a:pt x="97" y="103"/>
                  </a:lnTo>
                  <a:lnTo>
                    <a:pt x="98" y="103"/>
                  </a:lnTo>
                  <a:lnTo>
                    <a:pt x="98" y="103"/>
                  </a:lnTo>
                  <a:lnTo>
                    <a:pt x="101" y="105"/>
                  </a:lnTo>
                  <a:lnTo>
                    <a:pt x="103" y="106"/>
                  </a:lnTo>
                  <a:lnTo>
                    <a:pt x="103" y="106"/>
                  </a:lnTo>
                  <a:lnTo>
                    <a:pt x="105" y="108"/>
                  </a:lnTo>
                  <a:lnTo>
                    <a:pt x="103" y="110"/>
                  </a:lnTo>
                  <a:lnTo>
                    <a:pt x="101" y="111"/>
                  </a:lnTo>
                  <a:lnTo>
                    <a:pt x="101" y="114"/>
                  </a:lnTo>
                  <a:lnTo>
                    <a:pt x="100" y="117"/>
                  </a:lnTo>
                  <a:lnTo>
                    <a:pt x="100" y="119"/>
                  </a:lnTo>
                  <a:lnTo>
                    <a:pt x="98" y="121"/>
                  </a:lnTo>
                  <a:lnTo>
                    <a:pt x="98" y="121"/>
                  </a:lnTo>
                  <a:lnTo>
                    <a:pt x="97" y="122"/>
                  </a:lnTo>
                  <a:lnTo>
                    <a:pt x="98" y="124"/>
                  </a:lnTo>
                  <a:lnTo>
                    <a:pt x="97" y="128"/>
                  </a:lnTo>
                  <a:lnTo>
                    <a:pt x="97" y="133"/>
                  </a:lnTo>
                  <a:lnTo>
                    <a:pt x="97" y="135"/>
                  </a:lnTo>
                  <a:lnTo>
                    <a:pt x="97" y="136"/>
                  </a:lnTo>
                  <a:lnTo>
                    <a:pt x="98" y="138"/>
                  </a:lnTo>
                  <a:lnTo>
                    <a:pt x="98" y="139"/>
                  </a:lnTo>
                  <a:lnTo>
                    <a:pt x="98" y="141"/>
                  </a:lnTo>
                  <a:lnTo>
                    <a:pt x="98" y="142"/>
                  </a:lnTo>
                  <a:lnTo>
                    <a:pt x="100" y="147"/>
                  </a:lnTo>
                  <a:lnTo>
                    <a:pt x="100" y="147"/>
                  </a:lnTo>
                  <a:lnTo>
                    <a:pt x="101" y="149"/>
                  </a:lnTo>
                  <a:lnTo>
                    <a:pt x="101" y="149"/>
                  </a:lnTo>
                  <a:lnTo>
                    <a:pt x="101" y="149"/>
                  </a:lnTo>
                  <a:lnTo>
                    <a:pt x="101" y="149"/>
                  </a:lnTo>
                  <a:lnTo>
                    <a:pt x="103" y="149"/>
                  </a:lnTo>
                  <a:lnTo>
                    <a:pt x="106" y="153"/>
                  </a:lnTo>
                  <a:lnTo>
                    <a:pt x="106" y="153"/>
                  </a:lnTo>
                  <a:lnTo>
                    <a:pt x="106" y="155"/>
                  </a:lnTo>
                  <a:lnTo>
                    <a:pt x="106" y="155"/>
                  </a:lnTo>
                  <a:lnTo>
                    <a:pt x="106" y="155"/>
                  </a:lnTo>
                  <a:lnTo>
                    <a:pt x="106" y="157"/>
                  </a:lnTo>
                  <a:lnTo>
                    <a:pt x="103" y="158"/>
                  </a:lnTo>
                  <a:lnTo>
                    <a:pt x="97" y="163"/>
                  </a:lnTo>
                  <a:lnTo>
                    <a:pt x="97" y="163"/>
                  </a:lnTo>
                  <a:lnTo>
                    <a:pt x="97" y="164"/>
                  </a:lnTo>
                  <a:lnTo>
                    <a:pt x="97" y="164"/>
                  </a:lnTo>
                  <a:lnTo>
                    <a:pt x="97" y="164"/>
                  </a:lnTo>
                  <a:lnTo>
                    <a:pt x="98" y="164"/>
                  </a:lnTo>
                  <a:lnTo>
                    <a:pt x="98" y="164"/>
                  </a:lnTo>
                  <a:lnTo>
                    <a:pt x="100" y="164"/>
                  </a:lnTo>
                  <a:lnTo>
                    <a:pt x="100" y="164"/>
                  </a:lnTo>
                  <a:lnTo>
                    <a:pt x="101" y="164"/>
                  </a:lnTo>
                  <a:lnTo>
                    <a:pt x="101" y="166"/>
                  </a:lnTo>
                  <a:lnTo>
                    <a:pt x="101" y="166"/>
                  </a:lnTo>
                  <a:lnTo>
                    <a:pt x="101" y="167"/>
                  </a:lnTo>
                  <a:lnTo>
                    <a:pt x="103" y="167"/>
                  </a:lnTo>
                  <a:lnTo>
                    <a:pt x="103" y="167"/>
                  </a:lnTo>
                  <a:lnTo>
                    <a:pt x="103" y="167"/>
                  </a:lnTo>
                  <a:lnTo>
                    <a:pt x="105" y="169"/>
                  </a:lnTo>
                  <a:lnTo>
                    <a:pt x="106" y="171"/>
                  </a:lnTo>
                  <a:lnTo>
                    <a:pt x="108" y="172"/>
                  </a:lnTo>
                  <a:lnTo>
                    <a:pt x="108" y="172"/>
                  </a:lnTo>
                  <a:lnTo>
                    <a:pt x="108" y="174"/>
                  </a:lnTo>
                  <a:lnTo>
                    <a:pt x="108" y="174"/>
                  </a:lnTo>
                  <a:lnTo>
                    <a:pt x="109" y="177"/>
                  </a:lnTo>
                  <a:lnTo>
                    <a:pt x="109" y="177"/>
                  </a:lnTo>
                  <a:lnTo>
                    <a:pt x="109" y="177"/>
                  </a:lnTo>
                  <a:lnTo>
                    <a:pt x="109" y="178"/>
                  </a:lnTo>
                  <a:lnTo>
                    <a:pt x="109" y="178"/>
                  </a:lnTo>
                  <a:lnTo>
                    <a:pt x="111" y="180"/>
                  </a:lnTo>
                  <a:lnTo>
                    <a:pt x="111" y="180"/>
                  </a:lnTo>
                  <a:lnTo>
                    <a:pt x="111" y="182"/>
                  </a:lnTo>
                  <a:lnTo>
                    <a:pt x="112" y="185"/>
                  </a:lnTo>
                  <a:lnTo>
                    <a:pt x="112" y="186"/>
                  </a:lnTo>
                  <a:lnTo>
                    <a:pt x="112" y="186"/>
                  </a:lnTo>
                  <a:lnTo>
                    <a:pt x="112" y="186"/>
                  </a:lnTo>
                  <a:lnTo>
                    <a:pt x="112" y="188"/>
                  </a:lnTo>
                  <a:lnTo>
                    <a:pt x="114" y="191"/>
                  </a:lnTo>
                  <a:lnTo>
                    <a:pt x="114" y="191"/>
                  </a:lnTo>
                  <a:lnTo>
                    <a:pt x="114" y="193"/>
                  </a:lnTo>
                  <a:lnTo>
                    <a:pt x="114" y="193"/>
                  </a:lnTo>
                  <a:lnTo>
                    <a:pt x="119" y="197"/>
                  </a:lnTo>
                  <a:lnTo>
                    <a:pt x="122" y="200"/>
                  </a:lnTo>
                  <a:lnTo>
                    <a:pt x="123" y="200"/>
                  </a:lnTo>
                  <a:lnTo>
                    <a:pt x="123" y="200"/>
                  </a:lnTo>
                  <a:lnTo>
                    <a:pt x="126" y="200"/>
                  </a:lnTo>
                  <a:lnTo>
                    <a:pt x="126" y="200"/>
                  </a:lnTo>
                  <a:lnTo>
                    <a:pt x="128" y="200"/>
                  </a:lnTo>
                  <a:lnTo>
                    <a:pt x="128" y="200"/>
                  </a:lnTo>
                  <a:lnTo>
                    <a:pt x="128" y="200"/>
                  </a:lnTo>
                  <a:lnTo>
                    <a:pt x="130" y="200"/>
                  </a:lnTo>
                  <a:lnTo>
                    <a:pt x="131" y="199"/>
                  </a:lnTo>
                  <a:lnTo>
                    <a:pt x="133" y="197"/>
                  </a:lnTo>
                  <a:lnTo>
                    <a:pt x="134" y="197"/>
                  </a:lnTo>
                  <a:lnTo>
                    <a:pt x="134" y="197"/>
                  </a:lnTo>
                  <a:lnTo>
                    <a:pt x="134" y="197"/>
                  </a:lnTo>
                  <a:lnTo>
                    <a:pt x="134" y="197"/>
                  </a:lnTo>
                  <a:lnTo>
                    <a:pt x="136" y="197"/>
                  </a:lnTo>
                  <a:lnTo>
                    <a:pt x="137" y="197"/>
                  </a:lnTo>
                  <a:lnTo>
                    <a:pt x="137" y="199"/>
                  </a:lnTo>
                  <a:lnTo>
                    <a:pt x="137" y="200"/>
                  </a:lnTo>
                  <a:lnTo>
                    <a:pt x="137" y="202"/>
                  </a:lnTo>
                  <a:lnTo>
                    <a:pt x="139" y="202"/>
                  </a:lnTo>
                  <a:lnTo>
                    <a:pt x="141" y="200"/>
                  </a:lnTo>
                  <a:lnTo>
                    <a:pt x="141" y="199"/>
                  </a:lnTo>
                  <a:lnTo>
                    <a:pt x="142" y="197"/>
                  </a:lnTo>
                  <a:lnTo>
                    <a:pt x="144" y="196"/>
                  </a:lnTo>
                  <a:lnTo>
                    <a:pt x="145" y="194"/>
                  </a:lnTo>
                  <a:lnTo>
                    <a:pt x="147" y="194"/>
                  </a:lnTo>
                  <a:lnTo>
                    <a:pt x="147" y="194"/>
                  </a:lnTo>
                  <a:lnTo>
                    <a:pt x="148" y="193"/>
                  </a:lnTo>
                  <a:lnTo>
                    <a:pt x="150" y="193"/>
                  </a:lnTo>
                  <a:lnTo>
                    <a:pt x="150" y="193"/>
                  </a:lnTo>
                  <a:lnTo>
                    <a:pt x="152" y="193"/>
                  </a:lnTo>
                  <a:lnTo>
                    <a:pt x="153" y="191"/>
                  </a:lnTo>
                  <a:lnTo>
                    <a:pt x="155" y="189"/>
                  </a:lnTo>
                  <a:lnTo>
                    <a:pt x="155" y="189"/>
                  </a:lnTo>
                  <a:lnTo>
                    <a:pt x="156" y="189"/>
                  </a:lnTo>
                  <a:lnTo>
                    <a:pt x="156" y="188"/>
                  </a:lnTo>
                  <a:lnTo>
                    <a:pt x="158" y="189"/>
                  </a:lnTo>
                  <a:lnTo>
                    <a:pt x="159" y="188"/>
                  </a:lnTo>
                  <a:lnTo>
                    <a:pt x="161" y="188"/>
                  </a:lnTo>
                  <a:lnTo>
                    <a:pt x="162" y="186"/>
                  </a:lnTo>
                  <a:lnTo>
                    <a:pt x="164" y="183"/>
                  </a:lnTo>
                  <a:lnTo>
                    <a:pt x="164" y="180"/>
                  </a:lnTo>
                  <a:lnTo>
                    <a:pt x="164" y="180"/>
                  </a:lnTo>
                  <a:lnTo>
                    <a:pt x="166" y="180"/>
                  </a:lnTo>
                  <a:lnTo>
                    <a:pt x="166" y="180"/>
                  </a:lnTo>
                  <a:lnTo>
                    <a:pt x="166" y="180"/>
                  </a:lnTo>
                  <a:lnTo>
                    <a:pt x="167" y="180"/>
                  </a:lnTo>
                  <a:lnTo>
                    <a:pt x="170" y="178"/>
                  </a:lnTo>
                  <a:lnTo>
                    <a:pt x="172" y="177"/>
                  </a:lnTo>
                  <a:lnTo>
                    <a:pt x="172" y="177"/>
                  </a:lnTo>
                  <a:lnTo>
                    <a:pt x="173" y="177"/>
                  </a:lnTo>
                  <a:lnTo>
                    <a:pt x="175" y="177"/>
                  </a:lnTo>
                  <a:lnTo>
                    <a:pt x="175" y="175"/>
                  </a:lnTo>
                  <a:lnTo>
                    <a:pt x="175" y="174"/>
                  </a:lnTo>
                  <a:lnTo>
                    <a:pt x="175" y="172"/>
                  </a:lnTo>
                  <a:lnTo>
                    <a:pt x="172" y="172"/>
                  </a:lnTo>
                  <a:lnTo>
                    <a:pt x="170" y="172"/>
                  </a:lnTo>
                  <a:lnTo>
                    <a:pt x="166" y="171"/>
                  </a:lnTo>
                  <a:lnTo>
                    <a:pt x="166" y="171"/>
                  </a:lnTo>
                  <a:lnTo>
                    <a:pt x="164" y="171"/>
                  </a:lnTo>
                  <a:lnTo>
                    <a:pt x="164" y="171"/>
                  </a:lnTo>
                  <a:lnTo>
                    <a:pt x="164" y="171"/>
                  </a:lnTo>
                  <a:lnTo>
                    <a:pt x="164" y="169"/>
                  </a:lnTo>
                  <a:lnTo>
                    <a:pt x="164" y="167"/>
                  </a:lnTo>
                  <a:lnTo>
                    <a:pt x="164" y="164"/>
                  </a:lnTo>
                  <a:lnTo>
                    <a:pt x="162" y="161"/>
                  </a:lnTo>
                  <a:lnTo>
                    <a:pt x="161" y="158"/>
                  </a:lnTo>
                  <a:lnTo>
                    <a:pt x="161" y="155"/>
                  </a:lnTo>
                  <a:lnTo>
                    <a:pt x="161" y="153"/>
                  </a:lnTo>
                  <a:lnTo>
                    <a:pt x="161" y="152"/>
                  </a:lnTo>
                  <a:lnTo>
                    <a:pt x="159" y="150"/>
                  </a:lnTo>
                  <a:lnTo>
                    <a:pt x="155" y="146"/>
                  </a:lnTo>
                  <a:lnTo>
                    <a:pt x="153" y="144"/>
                  </a:lnTo>
                  <a:lnTo>
                    <a:pt x="152" y="142"/>
                  </a:lnTo>
                  <a:lnTo>
                    <a:pt x="150" y="139"/>
                  </a:lnTo>
                  <a:lnTo>
                    <a:pt x="150" y="139"/>
                  </a:lnTo>
                  <a:lnTo>
                    <a:pt x="152" y="139"/>
                  </a:lnTo>
                  <a:lnTo>
                    <a:pt x="153" y="139"/>
                  </a:lnTo>
                  <a:lnTo>
                    <a:pt x="153" y="141"/>
                  </a:lnTo>
                  <a:lnTo>
                    <a:pt x="155" y="141"/>
                  </a:lnTo>
                  <a:lnTo>
                    <a:pt x="155" y="141"/>
                  </a:lnTo>
                  <a:lnTo>
                    <a:pt x="159" y="141"/>
                  </a:lnTo>
                  <a:lnTo>
                    <a:pt x="161" y="142"/>
                  </a:lnTo>
                  <a:lnTo>
                    <a:pt x="162" y="142"/>
                  </a:lnTo>
                  <a:lnTo>
                    <a:pt x="162" y="142"/>
                  </a:lnTo>
                  <a:lnTo>
                    <a:pt x="162" y="144"/>
                  </a:lnTo>
                  <a:lnTo>
                    <a:pt x="164" y="146"/>
                  </a:lnTo>
                  <a:lnTo>
                    <a:pt x="166" y="146"/>
                  </a:lnTo>
                  <a:lnTo>
                    <a:pt x="169" y="146"/>
                  </a:lnTo>
                  <a:lnTo>
                    <a:pt x="170" y="146"/>
                  </a:lnTo>
                  <a:lnTo>
                    <a:pt x="170" y="146"/>
                  </a:lnTo>
                  <a:lnTo>
                    <a:pt x="172" y="146"/>
                  </a:lnTo>
                  <a:lnTo>
                    <a:pt x="173" y="146"/>
                  </a:lnTo>
                  <a:lnTo>
                    <a:pt x="173" y="146"/>
                  </a:lnTo>
                  <a:lnTo>
                    <a:pt x="173" y="146"/>
                  </a:lnTo>
                  <a:lnTo>
                    <a:pt x="175" y="146"/>
                  </a:lnTo>
                  <a:lnTo>
                    <a:pt x="175" y="146"/>
                  </a:lnTo>
                  <a:lnTo>
                    <a:pt x="177" y="146"/>
                  </a:lnTo>
                  <a:lnTo>
                    <a:pt x="177" y="146"/>
                  </a:lnTo>
                  <a:lnTo>
                    <a:pt x="180" y="149"/>
                  </a:lnTo>
                  <a:lnTo>
                    <a:pt x="181" y="150"/>
                  </a:lnTo>
                  <a:lnTo>
                    <a:pt x="183" y="152"/>
                  </a:lnTo>
                  <a:lnTo>
                    <a:pt x="184" y="152"/>
                  </a:lnTo>
                  <a:lnTo>
                    <a:pt x="186" y="150"/>
                  </a:lnTo>
                  <a:lnTo>
                    <a:pt x="186" y="146"/>
                  </a:lnTo>
                  <a:lnTo>
                    <a:pt x="187" y="144"/>
                  </a:lnTo>
                  <a:lnTo>
                    <a:pt x="187" y="144"/>
                  </a:lnTo>
                  <a:lnTo>
                    <a:pt x="189" y="144"/>
                  </a:lnTo>
                  <a:lnTo>
                    <a:pt x="191" y="142"/>
                  </a:lnTo>
                  <a:lnTo>
                    <a:pt x="191" y="141"/>
                  </a:lnTo>
                  <a:lnTo>
                    <a:pt x="192" y="141"/>
                  </a:lnTo>
                  <a:lnTo>
                    <a:pt x="192" y="141"/>
                  </a:lnTo>
                  <a:lnTo>
                    <a:pt x="192" y="141"/>
                  </a:lnTo>
                  <a:lnTo>
                    <a:pt x="197" y="142"/>
                  </a:lnTo>
                  <a:lnTo>
                    <a:pt x="197" y="142"/>
                  </a:lnTo>
                  <a:lnTo>
                    <a:pt x="198" y="142"/>
                  </a:lnTo>
                  <a:lnTo>
                    <a:pt x="203" y="141"/>
                  </a:lnTo>
                  <a:lnTo>
                    <a:pt x="208" y="139"/>
                  </a:lnTo>
                  <a:lnTo>
                    <a:pt x="209" y="138"/>
                  </a:lnTo>
                  <a:lnTo>
                    <a:pt x="211" y="136"/>
                  </a:lnTo>
                  <a:lnTo>
                    <a:pt x="212" y="135"/>
                  </a:lnTo>
                  <a:lnTo>
                    <a:pt x="212" y="135"/>
                  </a:lnTo>
                  <a:lnTo>
                    <a:pt x="214" y="135"/>
                  </a:lnTo>
                  <a:lnTo>
                    <a:pt x="216" y="135"/>
                  </a:lnTo>
                  <a:lnTo>
                    <a:pt x="216" y="135"/>
                  </a:lnTo>
                  <a:lnTo>
                    <a:pt x="217" y="135"/>
                  </a:lnTo>
                  <a:lnTo>
                    <a:pt x="217" y="135"/>
                  </a:lnTo>
                  <a:lnTo>
                    <a:pt x="217" y="135"/>
                  </a:lnTo>
                  <a:lnTo>
                    <a:pt x="217" y="135"/>
                  </a:lnTo>
                  <a:lnTo>
                    <a:pt x="219" y="132"/>
                  </a:lnTo>
                  <a:lnTo>
                    <a:pt x="220" y="132"/>
                  </a:lnTo>
                  <a:lnTo>
                    <a:pt x="222" y="130"/>
                  </a:lnTo>
                  <a:lnTo>
                    <a:pt x="223" y="130"/>
                  </a:lnTo>
                  <a:lnTo>
                    <a:pt x="223" y="128"/>
                  </a:lnTo>
                  <a:lnTo>
                    <a:pt x="223" y="127"/>
                  </a:lnTo>
                  <a:lnTo>
                    <a:pt x="223" y="127"/>
                  </a:lnTo>
                  <a:lnTo>
                    <a:pt x="223" y="125"/>
                  </a:lnTo>
                  <a:lnTo>
                    <a:pt x="223" y="124"/>
                  </a:lnTo>
                  <a:lnTo>
                    <a:pt x="222" y="124"/>
                  </a:lnTo>
                  <a:lnTo>
                    <a:pt x="222" y="124"/>
                  </a:lnTo>
                  <a:lnTo>
                    <a:pt x="219" y="119"/>
                  </a:lnTo>
                  <a:lnTo>
                    <a:pt x="214" y="114"/>
                  </a:lnTo>
                  <a:lnTo>
                    <a:pt x="211" y="111"/>
                  </a:lnTo>
                  <a:lnTo>
                    <a:pt x="211" y="110"/>
                  </a:lnTo>
                  <a:lnTo>
                    <a:pt x="212" y="108"/>
                  </a:lnTo>
                  <a:lnTo>
                    <a:pt x="212" y="106"/>
                  </a:lnTo>
                  <a:lnTo>
                    <a:pt x="214" y="106"/>
                  </a:lnTo>
                  <a:lnTo>
                    <a:pt x="216" y="105"/>
                  </a:lnTo>
                  <a:lnTo>
                    <a:pt x="214" y="102"/>
                  </a:lnTo>
                  <a:lnTo>
                    <a:pt x="214" y="102"/>
                  </a:lnTo>
                  <a:lnTo>
                    <a:pt x="214" y="100"/>
                  </a:lnTo>
                  <a:lnTo>
                    <a:pt x="214" y="99"/>
                  </a:lnTo>
                  <a:lnTo>
                    <a:pt x="214" y="97"/>
                  </a:lnTo>
                  <a:lnTo>
                    <a:pt x="214" y="97"/>
                  </a:lnTo>
                  <a:lnTo>
                    <a:pt x="216" y="97"/>
                  </a:lnTo>
                  <a:lnTo>
                    <a:pt x="217" y="97"/>
                  </a:lnTo>
                  <a:lnTo>
                    <a:pt x="219" y="96"/>
                  </a:lnTo>
                  <a:lnTo>
                    <a:pt x="219" y="96"/>
                  </a:lnTo>
                  <a:lnTo>
                    <a:pt x="219" y="96"/>
                  </a:lnTo>
                  <a:lnTo>
                    <a:pt x="220" y="96"/>
                  </a:lnTo>
                  <a:lnTo>
                    <a:pt x="222" y="96"/>
                  </a:lnTo>
                  <a:lnTo>
                    <a:pt x="223" y="96"/>
                  </a:lnTo>
                  <a:lnTo>
                    <a:pt x="225" y="94"/>
                  </a:lnTo>
                  <a:lnTo>
                    <a:pt x="228" y="92"/>
                  </a:lnTo>
                  <a:lnTo>
                    <a:pt x="228" y="91"/>
                  </a:lnTo>
                  <a:lnTo>
                    <a:pt x="230" y="89"/>
                  </a:lnTo>
                  <a:lnTo>
                    <a:pt x="230" y="89"/>
                  </a:lnTo>
                  <a:lnTo>
                    <a:pt x="228" y="89"/>
                  </a:lnTo>
                  <a:lnTo>
                    <a:pt x="228" y="89"/>
                  </a:lnTo>
                  <a:lnTo>
                    <a:pt x="227" y="89"/>
                  </a:lnTo>
                  <a:lnTo>
                    <a:pt x="227" y="89"/>
                  </a:lnTo>
                  <a:lnTo>
                    <a:pt x="225" y="89"/>
                  </a:lnTo>
                  <a:lnTo>
                    <a:pt x="225" y="89"/>
                  </a:lnTo>
                  <a:lnTo>
                    <a:pt x="223" y="88"/>
                  </a:lnTo>
                  <a:lnTo>
                    <a:pt x="223" y="88"/>
                  </a:lnTo>
                  <a:lnTo>
                    <a:pt x="223" y="86"/>
                  </a:lnTo>
                  <a:lnTo>
                    <a:pt x="223" y="85"/>
                  </a:lnTo>
                  <a:lnTo>
                    <a:pt x="222" y="83"/>
                  </a:lnTo>
                  <a:lnTo>
                    <a:pt x="222" y="81"/>
                  </a:lnTo>
                  <a:lnTo>
                    <a:pt x="223" y="81"/>
                  </a:lnTo>
                  <a:lnTo>
                    <a:pt x="223" y="80"/>
                  </a:lnTo>
                  <a:lnTo>
                    <a:pt x="225" y="78"/>
                  </a:lnTo>
                  <a:lnTo>
                    <a:pt x="225" y="77"/>
                  </a:lnTo>
                  <a:lnTo>
                    <a:pt x="228" y="77"/>
                  </a:lnTo>
                  <a:lnTo>
                    <a:pt x="228" y="77"/>
                  </a:lnTo>
                  <a:lnTo>
                    <a:pt x="230" y="75"/>
                  </a:lnTo>
                  <a:lnTo>
                    <a:pt x="231" y="74"/>
                  </a:lnTo>
                  <a:lnTo>
                    <a:pt x="234" y="74"/>
                  </a:lnTo>
                  <a:lnTo>
                    <a:pt x="234" y="70"/>
                  </a:lnTo>
                  <a:lnTo>
                    <a:pt x="234" y="70"/>
                  </a:lnTo>
                  <a:lnTo>
                    <a:pt x="236" y="70"/>
                  </a:lnTo>
                  <a:lnTo>
                    <a:pt x="238" y="69"/>
                  </a:lnTo>
                  <a:lnTo>
                    <a:pt x="238" y="69"/>
                  </a:lnTo>
                  <a:lnTo>
                    <a:pt x="238" y="6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7" name="Freeform 215">
              <a:extLst>
                <a:ext uri="{FF2B5EF4-FFF2-40B4-BE49-F238E27FC236}">
                  <a16:creationId xmlns:a16="http://schemas.microsoft.com/office/drawing/2014/main" id="{56D4EBAA-5888-D3C5-FA2B-7B7B09850FD9}"/>
                </a:ext>
              </a:extLst>
            </p:cNvPr>
            <p:cNvSpPr>
              <a:spLocks noEditPoints="1"/>
            </p:cNvSpPr>
            <p:nvPr/>
          </p:nvSpPr>
          <p:spPr bwMode="gray">
            <a:xfrm>
              <a:off x="1540" y="1244"/>
              <a:ext cx="6" cy="6"/>
            </a:xfrm>
            <a:custGeom>
              <a:avLst/>
              <a:gdLst>
                <a:gd name="T0" fmla="*/ 2 w 6"/>
                <a:gd name="T1" fmla="*/ 5 h 6"/>
                <a:gd name="T2" fmla="*/ 0 w 6"/>
                <a:gd name="T3" fmla="*/ 5 h 6"/>
                <a:gd name="T4" fmla="*/ 0 w 6"/>
                <a:gd name="T5" fmla="*/ 6 h 6"/>
                <a:gd name="T6" fmla="*/ 0 w 6"/>
                <a:gd name="T7" fmla="*/ 6 h 6"/>
                <a:gd name="T8" fmla="*/ 2 w 6"/>
                <a:gd name="T9" fmla="*/ 6 h 6"/>
                <a:gd name="T10" fmla="*/ 2 w 6"/>
                <a:gd name="T11" fmla="*/ 5 h 6"/>
                <a:gd name="T12" fmla="*/ 2 w 6"/>
                <a:gd name="T13" fmla="*/ 5 h 6"/>
                <a:gd name="T14" fmla="*/ 5 w 6"/>
                <a:gd name="T15" fmla="*/ 5 h 6"/>
                <a:gd name="T16" fmla="*/ 3 w 6"/>
                <a:gd name="T17" fmla="*/ 5 h 6"/>
                <a:gd name="T18" fmla="*/ 3 w 6"/>
                <a:gd name="T19" fmla="*/ 5 h 6"/>
                <a:gd name="T20" fmla="*/ 5 w 6"/>
                <a:gd name="T21" fmla="*/ 5 h 6"/>
                <a:gd name="T22" fmla="*/ 5 w 6"/>
                <a:gd name="T23" fmla="*/ 5 h 6"/>
                <a:gd name="T24" fmla="*/ 6 w 6"/>
                <a:gd name="T25" fmla="*/ 3 h 6"/>
                <a:gd name="T26" fmla="*/ 5 w 6"/>
                <a:gd name="T27" fmla="*/ 5 h 6"/>
                <a:gd name="T28" fmla="*/ 6 w 6"/>
                <a:gd name="T29" fmla="*/ 0 h 6"/>
                <a:gd name="T30" fmla="*/ 6 w 6"/>
                <a:gd name="T31" fmla="*/ 0 h 6"/>
                <a:gd name="T32" fmla="*/ 5 w 6"/>
                <a:gd name="T33" fmla="*/ 0 h 6"/>
                <a:gd name="T34" fmla="*/ 5 w 6"/>
                <a:gd name="T35" fmla="*/ 0 h 6"/>
                <a:gd name="T36" fmla="*/ 5 w 6"/>
                <a:gd name="T37" fmla="*/ 0 h 6"/>
                <a:gd name="T38" fmla="*/ 6 w 6"/>
                <a:gd name="T39" fmla="*/ 0 h 6"/>
                <a:gd name="T40" fmla="*/ 6 w 6"/>
                <a:gd name="T41" fmla="*/ 0 h 6"/>
                <a:gd name="T42" fmla="*/ 6 w 6"/>
                <a:gd name="T43" fmla="*/ 0 h 6"/>
                <a:gd name="T44" fmla="*/ 6 w 6"/>
                <a:gd name="T4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6">
                  <a:moveTo>
                    <a:pt x="2" y="5"/>
                  </a:moveTo>
                  <a:lnTo>
                    <a:pt x="0" y="5"/>
                  </a:lnTo>
                  <a:lnTo>
                    <a:pt x="0" y="6"/>
                  </a:lnTo>
                  <a:lnTo>
                    <a:pt x="0" y="6"/>
                  </a:lnTo>
                  <a:lnTo>
                    <a:pt x="2" y="6"/>
                  </a:lnTo>
                  <a:lnTo>
                    <a:pt x="2" y="5"/>
                  </a:lnTo>
                  <a:lnTo>
                    <a:pt x="2" y="5"/>
                  </a:lnTo>
                  <a:close/>
                  <a:moveTo>
                    <a:pt x="5" y="5"/>
                  </a:moveTo>
                  <a:lnTo>
                    <a:pt x="3" y="5"/>
                  </a:lnTo>
                  <a:lnTo>
                    <a:pt x="3" y="5"/>
                  </a:lnTo>
                  <a:lnTo>
                    <a:pt x="5" y="5"/>
                  </a:lnTo>
                  <a:lnTo>
                    <a:pt x="5" y="5"/>
                  </a:lnTo>
                  <a:lnTo>
                    <a:pt x="6" y="3"/>
                  </a:lnTo>
                  <a:lnTo>
                    <a:pt x="5" y="5"/>
                  </a:lnTo>
                  <a:close/>
                  <a:moveTo>
                    <a:pt x="6" y="0"/>
                  </a:moveTo>
                  <a:lnTo>
                    <a:pt x="6" y="0"/>
                  </a:lnTo>
                  <a:lnTo>
                    <a:pt x="5" y="0"/>
                  </a:lnTo>
                  <a:lnTo>
                    <a:pt x="5" y="0"/>
                  </a:lnTo>
                  <a:lnTo>
                    <a:pt x="5" y="0"/>
                  </a:lnTo>
                  <a:lnTo>
                    <a:pt x="6" y="0"/>
                  </a:lnTo>
                  <a:lnTo>
                    <a:pt x="6" y="0"/>
                  </a:lnTo>
                  <a:lnTo>
                    <a:pt x="6" y="0"/>
                  </a:lnTo>
                  <a:lnTo>
                    <a:pt x="6"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8" name="Freeform 216">
              <a:extLst>
                <a:ext uri="{FF2B5EF4-FFF2-40B4-BE49-F238E27FC236}">
                  <a16:creationId xmlns:a16="http://schemas.microsoft.com/office/drawing/2014/main" id="{535E8081-EF08-3E05-D315-F3771119E502}"/>
                </a:ext>
              </a:extLst>
            </p:cNvPr>
            <p:cNvSpPr>
              <a:spLocks noEditPoints="1"/>
            </p:cNvSpPr>
            <p:nvPr/>
          </p:nvSpPr>
          <p:spPr bwMode="gray">
            <a:xfrm>
              <a:off x="1534" y="1250"/>
              <a:ext cx="8" cy="13"/>
            </a:xfrm>
            <a:custGeom>
              <a:avLst/>
              <a:gdLst>
                <a:gd name="T0" fmla="*/ 6 w 8"/>
                <a:gd name="T1" fmla="*/ 11 h 13"/>
                <a:gd name="T2" fmla="*/ 5 w 8"/>
                <a:gd name="T3" fmla="*/ 11 h 13"/>
                <a:gd name="T4" fmla="*/ 1 w 8"/>
                <a:gd name="T5" fmla="*/ 11 h 13"/>
                <a:gd name="T6" fmla="*/ 1 w 8"/>
                <a:gd name="T7" fmla="*/ 13 h 13"/>
                <a:gd name="T8" fmla="*/ 6 w 8"/>
                <a:gd name="T9" fmla="*/ 13 h 13"/>
                <a:gd name="T10" fmla="*/ 8 w 8"/>
                <a:gd name="T11" fmla="*/ 11 h 13"/>
                <a:gd name="T12" fmla="*/ 6 w 8"/>
                <a:gd name="T13" fmla="*/ 11 h 13"/>
                <a:gd name="T14" fmla="*/ 5 w 8"/>
                <a:gd name="T15" fmla="*/ 0 h 13"/>
                <a:gd name="T16" fmla="*/ 3 w 8"/>
                <a:gd name="T17" fmla="*/ 2 h 13"/>
                <a:gd name="T18" fmla="*/ 5 w 8"/>
                <a:gd name="T19" fmla="*/ 2 h 13"/>
                <a:gd name="T20" fmla="*/ 5 w 8"/>
                <a:gd name="T21" fmla="*/ 2 h 13"/>
                <a:gd name="T22" fmla="*/ 6 w 8"/>
                <a:gd name="T23" fmla="*/ 0 h 13"/>
                <a:gd name="T24" fmla="*/ 5 w 8"/>
                <a:gd name="T25" fmla="*/ 0 h 13"/>
                <a:gd name="T26" fmla="*/ 1 w 8"/>
                <a:gd name="T27" fmla="*/ 0 h 13"/>
                <a:gd name="T28" fmla="*/ 1 w 8"/>
                <a:gd name="T29" fmla="*/ 0 h 13"/>
                <a:gd name="T30" fmla="*/ 0 w 8"/>
                <a:gd name="T31" fmla="*/ 0 h 13"/>
                <a:gd name="T32" fmla="*/ 1 w 8"/>
                <a:gd name="T33" fmla="*/ 2 h 13"/>
                <a:gd name="T34" fmla="*/ 3 w 8"/>
                <a:gd name="T35" fmla="*/ 2 h 13"/>
                <a:gd name="T36" fmla="*/ 1 w 8"/>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3">
                  <a:moveTo>
                    <a:pt x="6" y="11"/>
                  </a:moveTo>
                  <a:lnTo>
                    <a:pt x="5" y="11"/>
                  </a:lnTo>
                  <a:lnTo>
                    <a:pt x="1" y="11"/>
                  </a:lnTo>
                  <a:lnTo>
                    <a:pt x="1" y="13"/>
                  </a:lnTo>
                  <a:lnTo>
                    <a:pt x="6" y="13"/>
                  </a:lnTo>
                  <a:lnTo>
                    <a:pt x="8" y="11"/>
                  </a:lnTo>
                  <a:lnTo>
                    <a:pt x="6" y="11"/>
                  </a:lnTo>
                  <a:close/>
                  <a:moveTo>
                    <a:pt x="5" y="0"/>
                  </a:moveTo>
                  <a:lnTo>
                    <a:pt x="3" y="2"/>
                  </a:lnTo>
                  <a:lnTo>
                    <a:pt x="5" y="2"/>
                  </a:lnTo>
                  <a:lnTo>
                    <a:pt x="5" y="2"/>
                  </a:lnTo>
                  <a:lnTo>
                    <a:pt x="6" y="0"/>
                  </a:lnTo>
                  <a:lnTo>
                    <a:pt x="5" y="0"/>
                  </a:lnTo>
                  <a:close/>
                  <a:moveTo>
                    <a:pt x="1" y="0"/>
                  </a:moveTo>
                  <a:lnTo>
                    <a:pt x="1" y="0"/>
                  </a:lnTo>
                  <a:lnTo>
                    <a:pt x="0" y="0"/>
                  </a:lnTo>
                  <a:lnTo>
                    <a:pt x="1" y="2"/>
                  </a:lnTo>
                  <a:lnTo>
                    <a:pt x="3" y="2"/>
                  </a:lnTo>
                  <a:lnTo>
                    <a:pt x="1"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59" name="Freeform 217">
              <a:extLst>
                <a:ext uri="{FF2B5EF4-FFF2-40B4-BE49-F238E27FC236}">
                  <a16:creationId xmlns:a16="http://schemas.microsoft.com/office/drawing/2014/main" id="{2B06FCE2-1C03-C2E2-B33E-08B9717A70B6}"/>
                </a:ext>
              </a:extLst>
            </p:cNvPr>
            <p:cNvSpPr>
              <a:spLocks noEditPoints="1"/>
            </p:cNvSpPr>
            <p:nvPr/>
          </p:nvSpPr>
          <p:spPr bwMode="gray">
            <a:xfrm>
              <a:off x="4467" y="1158"/>
              <a:ext cx="128" cy="269"/>
            </a:xfrm>
            <a:custGeom>
              <a:avLst/>
              <a:gdLst>
                <a:gd name="T0" fmla="*/ 34 w 128"/>
                <a:gd name="T1" fmla="*/ 236 h 269"/>
                <a:gd name="T2" fmla="*/ 34 w 128"/>
                <a:gd name="T3" fmla="*/ 238 h 269"/>
                <a:gd name="T4" fmla="*/ 84 w 128"/>
                <a:gd name="T5" fmla="*/ 47 h 269"/>
                <a:gd name="T6" fmla="*/ 83 w 128"/>
                <a:gd name="T7" fmla="*/ 47 h 269"/>
                <a:gd name="T8" fmla="*/ 95 w 128"/>
                <a:gd name="T9" fmla="*/ 44 h 269"/>
                <a:gd name="T10" fmla="*/ 128 w 128"/>
                <a:gd name="T11" fmla="*/ 191 h 269"/>
                <a:gd name="T12" fmla="*/ 125 w 128"/>
                <a:gd name="T13" fmla="*/ 171 h 269"/>
                <a:gd name="T14" fmla="*/ 117 w 128"/>
                <a:gd name="T15" fmla="*/ 147 h 269"/>
                <a:gd name="T16" fmla="*/ 106 w 128"/>
                <a:gd name="T17" fmla="*/ 133 h 269"/>
                <a:gd name="T18" fmla="*/ 95 w 128"/>
                <a:gd name="T19" fmla="*/ 125 h 269"/>
                <a:gd name="T20" fmla="*/ 77 w 128"/>
                <a:gd name="T21" fmla="*/ 105 h 269"/>
                <a:gd name="T22" fmla="*/ 64 w 128"/>
                <a:gd name="T23" fmla="*/ 86 h 269"/>
                <a:gd name="T24" fmla="*/ 69 w 128"/>
                <a:gd name="T25" fmla="*/ 63 h 269"/>
                <a:gd name="T26" fmla="*/ 81 w 128"/>
                <a:gd name="T27" fmla="*/ 44 h 269"/>
                <a:gd name="T28" fmla="*/ 92 w 128"/>
                <a:gd name="T29" fmla="*/ 42 h 269"/>
                <a:gd name="T30" fmla="*/ 102 w 128"/>
                <a:gd name="T31" fmla="*/ 33 h 269"/>
                <a:gd name="T32" fmla="*/ 88 w 128"/>
                <a:gd name="T33" fmla="*/ 30 h 269"/>
                <a:gd name="T34" fmla="*/ 80 w 128"/>
                <a:gd name="T35" fmla="*/ 25 h 269"/>
                <a:gd name="T36" fmla="*/ 78 w 128"/>
                <a:gd name="T37" fmla="*/ 14 h 269"/>
                <a:gd name="T38" fmla="*/ 73 w 128"/>
                <a:gd name="T39" fmla="*/ 9 h 269"/>
                <a:gd name="T40" fmla="*/ 63 w 128"/>
                <a:gd name="T41" fmla="*/ 6 h 269"/>
                <a:gd name="T42" fmla="*/ 50 w 128"/>
                <a:gd name="T43" fmla="*/ 3 h 269"/>
                <a:gd name="T44" fmla="*/ 42 w 128"/>
                <a:gd name="T45" fmla="*/ 9 h 269"/>
                <a:gd name="T46" fmla="*/ 33 w 128"/>
                <a:gd name="T47" fmla="*/ 14 h 269"/>
                <a:gd name="T48" fmla="*/ 22 w 128"/>
                <a:gd name="T49" fmla="*/ 11 h 269"/>
                <a:gd name="T50" fmla="*/ 14 w 128"/>
                <a:gd name="T51" fmla="*/ 16 h 269"/>
                <a:gd name="T52" fmla="*/ 5 w 128"/>
                <a:gd name="T53" fmla="*/ 13 h 269"/>
                <a:gd name="T54" fmla="*/ 9 w 128"/>
                <a:gd name="T55" fmla="*/ 28 h 269"/>
                <a:gd name="T56" fmla="*/ 14 w 128"/>
                <a:gd name="T57" fmla="*/ 30 h 269"/>
                <a:gd name="T58" fmla="*/ 17 w 128"/>
                <a:gd name="T59" fmla="*/ 45 h 269"/>
                <a:gd name="T60" fmla="*/ 34 w 128"/>
                <a:gd name="T61" fmla="*/ 45 h 269"/>
                <a:gd name="T62" fmla="*/ 39 w 128"/>
                <a:gd name="T63" fmla="*/ 55 h 269"/>
                <a:gd name="T64" fmla="*/ 48 w 128"/>
                <a:gd name="T65" fmla="*/ 60 h 269"/>
                <a:gd name="T66" fmla="*/ 42 w 128"/>
                <a:gd name="T67" fmla="*/ 70 h 269"/>
                <a:gd name="T68" fmla="*/ 33 w 128"/>
                <a:gd name="T69" fmla="*/ 74 h 269"/>
                <a:gd name="T70" fmla="*/ 50 w 128"/>
                <a:gd name="T71" fmla="*/ 86 h 269"/>
                <a:gd name="T72" fmla="*/ 56 w 128"/>
                <a:gd name="T73" fmla="*/ 96 h 269"/>
                <a:gd name="T74" fmla="*/ 67 w 128"/>
                <a:gd name="T75" fmla="*/ 110 h 269"/>
                <a:gd name="T76" fmla="*/ 78 w 128"/>
                <a:gd name="T77" fmla="*/ 124 h 269"/>
                <a:gd name="T78" fmla="*/ 84 w 128"/>
                <a:gd name="T79" fmla="*/ 128 h 269"/>
                <a:gd name="T80" fmla="*/ 92 w 128"/>
                <a:gd name="T81" fmla="*/ 138 h 269"/>
                <a:gd name="T82" fmla="*/ 97 w 128"/>
                <a:gd name="T83" fmla="*/ 150 h 269"/>
                <a:gd name="T84" fmla="*/ 95 w 128"/>
                <a:gd name="T85" fmla="*/ 160 h 269"/>
                <a:gd name="T86" fmla="*/ 95 w 128"/>
                <a:gd name="T87" fmla="*/ 178 h 269"/>
                <a:gd name="T88" fmla="*/ 95 w 128"/>
                <a:gd name="T89" fmla="*/ 200 h 269"/>
                <a:gd name="T90" fmla="*/ 81 w 128"/>
                <a:gd name="T91" fmla="*/ 207 h 269"/>
                <a:gd name="T92" fmla="*/ 72 w 128"/>
                <a:gd name="T93" fmla="*/ 213 h 269"/>
                <a:gd name="T94" fmla="*/ 66 w 128"/>
                <a:gd name="T95" fmla="*/ 219 h 269"/>
                <a:gd name="T96" fmla="*/ 67 w 128"/>
                <a:gd name="T97" fmla="*/ 229 h 269"/>
                <a:gd name="T98" fmla="*/ 56 w 128"/>
                <a:gd name="T99" fmla="*/ 229 h 269"/>
                <a:gd name="T100" fmla="*/ 50 w 128"/>
                <a:gd name="T101" fmla="*/ 232 h 269"/>
                <a:gd name="T102" fmla="*/ 44 w 128"/>
                <a:gd name="T103" fmla="*/ 239 h 269"/>
                <a:gd name="T104" fmla="*/ 53 w 128"/>
                <a:gd name="T105" fmla="*/ 246 h 269"/>
                <a:gd name="T106" fmla="*/ 55 w 128"/>
                <a:gd name="T107" fmla="*/ 266 h 269"/>
                <a:gd name="T108" fmla="*/ 67 w 128"/>
                <a:gd name="T109" fmla="*/ 244 h 269"/>
                <a:gd name="T110" fmla="*/ 77 w 128"/>
                <a:gd name="T111" fmla="*/ 244 h 269"/>
                <a:gd name="T112" fmla="*/ 80 w 128"/>
                <a:gd name="T113" fmla="*/ 239 h 269"/>
                <a:gd name="T114" fmla="*/ 80 w 128"/>
                <a:gd name="T115" fmla="*/ 235 h 269"/>
                <a:gd name="T116" fmla="*/ 88 w 128"/>
                <a:gd name="T117" fmla="*/ 235 h 269"/>
                <a:gd name="T118" fmla="*/ 106 w 128"/>
                <a:gd name="T119" fmla="*/ 227 h 269"/>
                <a:gd name="T120" fmla="*/ 123 w 128"/>
                <a:gd name="T121" fmla="*/ 214 h 269"/>
                <a:gd name="T122" fmla="*/ 125 w 128"/>
                <a:gd name="T123" fmla="*/ 208 h 269"/>
                <a:gd name="T124" fmla="*/ 128 w 128"/>
                <a:gd name="T125" fmla="*/ 19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269">
                  <a:moveTo>
                    <a:pt x="80" y="266"/>
                  </a:moveTo>
                  <a:lnTo>
                    <a:pt x="78" y="266"/>
                  </a:lnTo>
                  <a:lnTo>
                    <a:pt x="78" y="268"/>
                  </a:lnTo>
                  <a:lnTo>
                    <a:pt x="80" y="266"/>
                  </a:lnTo>
                  <a:lnTo>
                    <a:pt x="80" y="266"/>
                  </a:lnTo>
                  <a:lnTo>
                    <a:pt x="80" y="266"/>
                  </a:lnTo>
                  <a:lnTo>
                    <a:pt x="80" y="266"/>
                  </a:lnTo>
                  <a:close/>
                  <a:moveTo>
                    <a:pt x="34" y="238"/>
                  </a:moveTo>
                  <a:lnTo>
                    <a:pt x="34" y="236"/>
                  </a:lnTo>
                  <a:lnTo>
                    <a:pt x="34" y="236"/>
                  </a:lnTo>
                  <a:lnTo>
                    <a:pt x="33" y="236"/>
                  </a:lnTo>
                  <a:lnTo>
                    <a:pt x="31" y="236"/>
                  </a:lnTo>
                  <a:lnTo>
                    <a:pt x="31" y="236"/>
                  </a:lnTo>
                  <a:lnTo>
                    <a:pt x="31" y="238"/>
                  </a:lnTo>
                  <a:lnTo>
                    <a:pt x="33" y="239"/>
                  </a:lnTo>
                  <a:lnTo>
                    <a:pt x="34" y="243"/>
                  </a:lnTo>
                  <a:lnTo>
                    <a:pt x="34" y="243"/>
                  </a:lnTo>
                  <a:lnTo>
                    <a:pt x="34" y="241"/>
                  </a:lnTo>
                  <a:lnTo>
                    <a:pt x="34" y="239"/>
                  </a:lnTo>
                  <a:lnTo>
                    <a:pt x="34" y="238"/>
                  </a:lnTo>
                  <a:close/>
                  <a:moveTo>
                    <a:pt x="89" y="236"/>
                  </a:moveTo>
                  <a:lnTo>
                    <a:pt x="89" y="236"/>
                  </a:lnTo>
                  <a:lnTo>
                    <a:pt x="88" y="236"/>
                  </a:lnTo>
                  <a:lnTo>
                    <a:pt x="88" y="238"/>
                  </a:lnTo>
                  <a:lnTo>
                    <a:pt x="89" y="236"/>
                  </a:lnTo>
                  <a:lnTo>
                    <a:pt x="89" y="236"/>
                  </a:lnTo>
                  <a:lnTo>
                    <a:pt x="89" y="236"/>
                  </a:lnTo>
                  <a:close/>
                  <a:moveTo>
                    <a:pt x="86" y="47"/>
                  </a:moveTo>
                  <a:lnTo>
                    <a:pt x="84" y="47"/>
                  </a:lnTo>
                  <a:lnTo>
                    <a:pt x="84" y="47"/>
                  </a:lnTo>
                  <a:lnTo>
                    <a:pt x="86" y="49"/>
                  </a:lnTo>
                  <a:lnTo>
                    <a:pt x="86" y="49"/>
                  </a:lnTo>
                  <a:lnTo>
                    <a:pt x="86" y="49"/>
                  </a:lnTo>
                  <a:lnTo>
                    <a:pt x="88" y="47"/>
                  </a:lnTo>
                  <a:lnTo>
                    <a:pt x="88" y="47"/>
                  </a:lnTo>
                  <a:lnTo>
                    <a:pt x="86" y="47"/>
                  </a:lnTo>
                  <a:close/>
                  <a:moveTo>
                    <a:pt x="83" y="47"/>
                  </a:moveTo>
                  <a:lnTo>
                    <a:pt x="83" y="45"/>
                  </a:lnTo>
                  <a:lnTo>
                    <a:pt x="81" y="47"/>
                  </a:lnTo>
                  <a:lnTo>
                    <a:pt x="83" y="47"/>
                  </a:lnTo>
                  <a:lnTo>
                    <a:pt x="83" y="47"/>
                  </a:lnTo>
                  <a:lnTo>
                    <a:pt x="83" y="47"/>
                  </a:lnTo>
                  <a:lnTo>
                    <a:pt x="83" y="47"/>
                  </a:lnTo>
                  <a:close/>
                  <a:moveTo>
                    <a:pt x="95" y="44"/>
                  </a:moveTo>
                  <a:lnTo>
                    <a:pt x="94" y="45"/>
                  </a:lnTo>
                  <a:lnTo>
                    <a:pt x="92" y="45"/>
                  </a:lnTo>
                  <a:lnTo>
                    <a:pt x="94" y="45"/>
                  </a:lnTo>
                  <a:lnTo>
                    <a:pt x="95" y="45"/>
                  </a:lnTo>
                  <a:lnTo>
                    <a:pt x="95" y="44"/>
                  </a:lnTo>
                  <a:lnTo>
                    <a:pt x="95" y="44"/>
                  </a:lnTo>
                  <a:lnTo>
                    <a:pt x="95" y="44"/>
                  </a:lnTo>
                  <a:close/>
                  <a:moveTo>
                    <a:pt x="95" y="39"/>
                  </a:moveTo>
                  <a:lnTo>
                    <a:pt x="94" y="39"/>
                  </a:lnTo>
                  <a:lnTo>
                    <a:pt x="94" y="39"/>
                  </a:lnTo>
                  <a:lnTo>
                    <a:pt x="94" y="42"/>
                  </a:lnTo>
                  <a:lnTo>
                    <a:pt x="94" y="42"/>
                  </a:lnTo>
                  <a:lnTo>
                    <a:pt x="97" y="39"/>
                  </a:lnTo>
                  <a:lnTo>
                    <a:pt x="95" y="39"/>
                  </a:lnTo>
                  <a:close/>
                  <a:moveTo>
                    <a:pt x="128" y="196"/>
                  </a:moveTo>
                  <a:lnTo>
                    <a:pt x="128" y="191"/>
                  </a:lnTo>
                  <a:lnTo>
                    <a:pt x="128" y="189"/>
                  </a:lnTo>
                  <a:lnTo>
                    <a:pt x="127" y="186"/>
                  </a:lnTo>
                  <a:lnTo>
                    <a:pt x="125" y="185"/>
                  </a:lnTo>
                  <a:lnTo>
                    <a:pt x="127" y="182"/>
                  </a:lnTo>
                  <a:lnTo>
                    <a:pt x="125" y="180"/>
                  </a:lnTo>
                  <a:lnTo>
                    <a:pt x="125" y="175"/>
                  </a:lnTo>
                  <a:lnTo>
                    <a:pt x="127" y="177"/>
                  </a:lnTo>
                  <a:lnTo>
                    <a:pt x="127" y="175"/>
                  </a:lnTo>
                  <a:lnTo>
                    <a:pt x="125" y="171"/>
                  </a:lnTo>
                  <a:lnTo>
                    <a:pt x="125" y="171"/>
                  </a:lnTo>
                  <a:lnTo>
                    <a:pt x="125" y="169"/>
                  </a:lnTo>
                  <a:lnTo>
                    <a:pt x="125" y="168"/>
                  </a:lnTo>
                  <a:lnTo>
                    <a:pt x="123" y="166"/>
                  </a:lnTo>
                  <a:lnTo>
                    <a:pt x="122" y="163"/>
                  </a:lnTo>
                  <a:lnTo>
                    <a:pt x="122" y="160"/>
                  </a:lnTo>
                  <a:lnTo>
                    <a:pt x="122" y="158"/>
                  </a:lnTo>
                  <a:lnTo>
                    <a:pt x="120" y="153"/>
                  </a:lnTo>
                  <a:lnTo>
                    <a:pt x="119" y="150"/>
                  </a:lnTo>
                  <a:lnTo>
                    <a:pt x="117" y="147"/>
                  </a:lnTo>
                  <a:lnTo>
                    <a:pt x="117" y="147"/>
                  </a:lnTo>
                  <a:lnTo>
                    <a:pt x="116" y="146"/>
                  </a:lnTo>
                  <a:lnTo>
                    <a:pt x="114" y="144"/>
                  </a:lnTo>
                  <a:lnTo>
                    <a:pt x="111" y="141"/>
                  </a:lnTo>
                  <a:lnTo>
                    <a:pt x="111" y="138"/>
                  </a:lnTo>
                  <a:lnTo>
                    <a:pt x="108" y="136"/>
                  </a:lnTo>
                  <a:lnTo>
                    <a:pt x="108" y="136"/>
                  </a:lnTo>
                  <a:lnTo>
                    <a:pt x="108" y="135"/>
                  </a:lnTo>
                  <a:lnTo>
                    <a:pt x="108" y="135"/>
                  </a:lnTo>
                  <a:lnTo>
                    <a:pt x="108" y="135"/>
                  </a:lnTo>
                  <a:lnTo>
                    <a:pt x="106" y="133"/>
                  </a:lnTo>
                  <a:lnTo>
                    <a:pt x="105" y="132"/>
                  </a:lnTo>
                  <a:lnTo>
                    <a:pt x="105" y="130"/>
                  </a:lnTo>
                  <a:lnTo>
                    <a:pt x="103" y="130"/>
                  </a:lnTo>
                  <a:lnTo>
                    <a:pt x="102" y="130"/>
                  </a:lnTo>
                  <a:lnTo>
                    <a:pt x="102" y="130"/>
                  </a:lnTo>
                  <a:lnTo>
                    <a:pt x="100" y="130"/>
                  </a:lnTo>
                  <a:lnTo>
                    <a:pt x="100" y="128"/>
                  </a:lnTo>
                  <a:lnTo>
                    <a:pt x="98" y="127"/>
                  </a:lnTo>
                  <a:lnTo>
                    <a:pt x="97" y="125"/>
                  </a:lnTo>
                  <a:lnTo>
                    <a:pt x="95" y="125"/>
                  </a:lnTo>
                  <a:lnTo>
                    <a:pt x="95" y="124"/>
                  </a:lnTo>
                  <a:lnTo>
                    <a:pt x="92" y="122"/>
                  </a:lnTo>
                  <a:lnTo>
                    <a:pt x="89" y="119"/>
                  </a:lnTo>
                  <a:lnTo>
                    <a:pt x="88" y="117"/>
                  </a:lnTo>
                  <a:lnTo>
                    <a:pt x="84" y="114"/>
                  </a:lnTo>
                  <a:lnTo>
                    <a:pt x="81" y="111"/>
                  </a:lnTo>
                  <a:lnTo>
                    <a:pt x="78" y="105"/>
                  </a:lnTo>
                  <a:lnTo>
                    <a:pt x="75" y="103"/>
                  </a:lnTo>
                  <a:lnTo>
                    <a:pt x="75" y="103"/>
                  </a:lnTo>
                  <a:lnTo>
                    <a:pt x="77" y="105"/>
                  </a:lnTo>
                  <a:lnTo>
                    <a:pt x="77" y="102"/>
                  </a:lnTo>
                  <a:lnTo>
                    <a:pt x="77" y="100"/>
                  </a:lnTo>
                  <a:lnTo>
                    <a:pt x="75" y="99"/>
                  </a:lnTo>
                  <a:lnTo>
                    <a:pt x="72" y="96"/>
                  </a:lnTo>
                  <a:lnTo>
                    <a:pt x="70" y="94"/>
                  </a:lnTo>
                  <a:lnTo>
                    <a:pt x="69" y="94"/>
                  </a:lnTo>
                  <a:lnTo>
                    <a:pt x="66" y="91"/>
                  </a:lnTo>
                  <a:lnTo>
                    <a:pt x="66" y="89"/>
                  </a:lnTo>
                  <a:lnTo>
                    <a:pt x="66" y="88"/>
                  </a:lnTo>
                  <a:lnTo>
                    <a:pt x="64" y="86"/>
                  </a:lnTo>
                  <a:lnTo>
                    <a:pt x="64" y="85"/>
                  </a:lnTo>
                  <a:lnTo>
                    <a:pt x="63" y="81"/>
                  </a:lnTo>
                  <a:lnTo>
                    <a:pt x="63" y="80"/>
                  </a:lnTo>
                  <a:lnTo>
                    <a:pt x="64" y="78"/>
                  </a:lnTo>
                  <a:lnTo>
                    <a:pt x="64" y="75"/>
                  </a:lnTo>
                  <a:lnTo>
                    <a:pt x="64" y="74"/>
                  </a:lnTo>
                  <a:lnTo>
                    <a:pt x="66" y="72"/>
                  </a:lnTo>
                  <a:lnTo>
                    <a:pt x="66" y="70"/>
                  </a:lnTo>
                  <a:lnTo>
                    <a:pt x="69" y="64"/>
                  </a:lnTo>
                  <a:lnTo>
                    <a:pt x="69" y="63"/>
                  </a:lnTo>
                  <a:lnTo>
                    <a:pt x="72" y="63"/>
                  </a:lnTo>
                  <a:lnTo>
                    <a:pt x="75" y="58"/>
                  </a:lnTo>
                  <a:lnTo>
                    <a:pt x="78" y="56"/>
                  </a:lnTo>
                  <a:lnTo>
                    <a:pt x="78" y="55"/>
                  </a:lnTo>
                  <a:lnTo>
                    <a:pt x="78" y="53"/>
                  </a:lnTo>
                  <a:lnTo>
                    <a:pt x="81" y="49"/>
                  </a:lnTo>
                  <a:lnTo>
                    <a:pt x="81" y="47"/>
                  </a:lnTo>
                  <a:lnTo>
                    <a:pt x="80" y="44"/>
                  </a:lnTo>
                  <a:lnTo>
                    <a:pt x="80" y="44"/>
                  </a:lnTo>
                  <a:lnTo>
                    <a:pt x="81" y="44"/>
                  </a:lnTo>
                  <a:lnTo>
                    <a:pt x="81" y="44"/>
                  </a:lnTo>
                  <a:lnTo>
                    <a:pt x="83" y="45"/>
                  </a:lnTo>
                  <a:lnTo>
                    <a:pt x="84" y="45"/>
                  </a:lnTo>
                  <a:lnTo>
                    <a:pt x="84" y="44"/>
                  </a:lnTo>
                  <a:lnTo>
                    <a:pt x="86" y="44"/>
                  </a:lnTo>
                  <a:lnTo>
                    <a:pt x="86" y="44"/>
                  </a:lnTo>
                  <a:lnTo>
                    <a:pt x="88" y="44"/>
                  </a:lnTo>
                  <a:lnTo>
                    <a:pt x="88" y="44"/>
                  </a:lnTo>
                  <a:lnTo>
                    <a:pt x="89" y="45"/>
                  </a:lnTo>
                  <a:lnTo>
                    <a:pt x="92" y="42"/>
                  </a:lnTo>
                  <a:lnTo>
                    <a:pt x="92" y="41"/>
                  </a:lnTo>
                  <a:lnTo>
                    <a:pt x="92" y="41"/>
                  </a:lnTo>
                  <a:lnTo>
                    <a:pt x="94" y="39"/>
                  </a:lnTo>
                  <a:lnTo>
                    <a:pt x="95" y="38"/>
                  </a:lnTo>
                  <a:lnTo>
                    <a:pt x="97" y="38"/>
                  </a:lnTo>
                  <a:lnTo>
                    <a:pt x="98" y="36"/>
                  </a:lnTo>
                  <a:lnTo>
                    <a:pt x="100" y="34"/>
                  </a:lnTo>
                  <a:lnTo>
                    <a:pt x="102" y="34"/>
                  </a:lnTo>
                  <a:lnTo>
                    <a:pt x="103" y="34"/>
                  </a:lnTo>
                  <a:lnTo>
                    <a:pt x="102" y="33"/>
                  </a:lnTo>
                  <a:lnTo>
                    <a:pt x="100" y="31"/>
                  </a:lnTo>
                  <a:lnTo>
                    <a:pt x="100" y="31"/>
                  </a:lnTo>
                  <a:lnTo>
                    <a:pt x="97" y="33"/>
                  </a:lnTo>
                  <a:lnTo>
                    <a:pt x="94" y="33"/>
                  </a:lnTo>
                  <a:lnTo>
                    <a:pt x="94" y="31"/>
                  </a:lnTo>
                  <a:lnTo>
                    <a:pt x="94" y="31"/>
                  </a:lnTo>
                  <a:lnTo>
                    <a:pt x="92" y="33"/>
                  </a:lnTo>
                  <a:lnTo>
                    <a:pt x="91" y="31"/>
                  </a:lnTo>
                  <a:lnTo>
                    <a:pt x="89" y="30"/>
                  </a:lnTo>
                  <a:lnTo>
                    <a:pt x="88" y="30"/>
                  </a:lnTo>
                  <a:lnTo>
                    <a:pt x="86" y="28"/>
                  </a:lnTo>
                  <a:lnTo>
                    <a:pt x="86" y="27"/>
                  </a:lnTo>
                  <a:lnTo>
                    <a:pt x="86" y="27"/>
                  </a:lnTo>
                  <a:lnTo>
                    <a:pt x="86" y="27"/>
                  </a:lnTo>
                  <a:lnTo>
                    <a:pt x="84" y="27"/>
                  </a:lnTo>
                  <a:lnTo>
                    <a:pt x="84" y="27"/>
                  </a:lnTo>
                  <a:lnTo>
                    <a:pt x="83" y="25"/>
                  </a:lnTo>
                  <a:lnTo>
                    <a:pt x="81" y="25"/>
                  </a:lnTo>
                  <a:lnTo>
                    <a:pt x="81" y="25"/>
                  </a:lnTo>
                  <a:lnTo>
                    <a:pt x="80" y="25"/>
                  </a:lnTo>
                  <a:lnTo>
                    <a:pt x="80" y="25"/>
                  </a:lnTo>
                  <a:lnTo>
                    <a:pt x="80" y="22"/>
                  </a:lnTo>
                  <a:lnTo>
                    <a:pt x="80" y="20"/>
                  </a:lnTo>
                  <a:lnTo>
                    <a:pt x="80" y="20"/>
                  </a:lnTo>
                  <a:lnTo>
                    <a:pt x="80" y="20"/>
                  </a:lnTo>
                  <a:lnTo>
                    <a:pt x="78" y="19"/>
                  </a:lnTo>
                  <a:lnTo>
                    <a:pt x="78" y="19"/>
                  </a:lnTo>
                  <a:lnTo>
                    <a:pt x="78" y="17"/>
                  </a:lnTo>
                  <a:lnTo>
                    <a:pt x="78" y="16"/>
                  </a:lnTo>
                  <a:lnTo>
                    <a:pt x="78" y="14"/>
                  </a:lnTo>
                  <a:lnTo>
                    <a:pt x="80" y="14"/>
                  </a:lnTo>
                  <a:lnTo>
                    <a:pt x="81" y="13"/>
                  </a:lnTo>
                  <a:lnTo>
                    <a:pt x="81" y="11"/>
                  </a:lnTo>
                  <a:lnTo>
                    <a:pt x="83" y="11"/>
                  </a:lnTo>
                  <a:lnTo>
                    <a:pt x="80" y="8"/>
                  </a:lnTo>
                  <a:lnTo>
                    <a:pt x="78" y="8"/>
                  </a:lnTo>
                  <a:lnTo>
                    <a:pt x="77" y="8"/>
                  </a:lnTo>
                  <a:lnTo>
                    <a:pt x="75" y="9"/>
                  </a:lnTo>
                  <a:lnTo>
                    <a:pt x="73" y="9"/>
                  </a:lnTo>
                  <a:lnTo>
                    <a:pt x="73" y="9"/>
                  </a:lnTo>
                  <a:lnTo>
                    <a:pt x="72" y="6"/>
                  </a:lnTo>
                  <a:lnTo>
                    <a:pt x="72" y="6"/>
                  </a:lnTo>
                  <a:lnTo>
                    <a:pt x="70" y="6"/>
                  </a:lnTo>
                  <a:lnTo>
                    <a:pt x="70" y="6"/>
                  </a:lnTo>
                  <a:lnTo>
                    <a:pt x="69" y="6"/>
                  </a:lnTo>
                  <a:lnTo>
                    <a:pt x="67" y="8"/>
                  </a:lnTo>
                  <a:lnTo>
                    <a:pt x="67" y="8"/>
                  </a:lnTo>
                  <a:lnTo>
                    <a:pt x="66" y="8"/>
                  </a:lnTo>
                  <a:lnTo>
                    <a:pt x="64" y="6"/>
                  </a:lnTo>
                  <a:lnTo>
                    <a:pt x="63" y="6"/>
                  </a:lnTo>
                  <a:lnTo>
                    <a:pt x="61" y="5"/>
                  </a:lnTo>
                  <a:lnTo>
                    <a:pt x="59" y="3"/>
                  </a:lnTo>
                  <a:lnTo>
                    <a:pt x="59" y="3"/>
                  </a:lnTo>
                  <a:lnTo>
                    <a:pt x="58" y="2"/>
                  </a:lnTo>
                  <a:lnTo>
                    <a:pt x="56" y="0"/>
                  </a:lnTo>
                  <a:lnTo>
                    <a:pt x="56" y="0"/>
                  </a:lnTo>
                  <a:lnTo>
                    <a:pt x="56" y="0"/>
                  </a:lnTo>
                  <a:lnTo>
                    <a:pt x="55" y="0"/>
                  </a:lnTo>
                  <a:lnTo>
                    <a:pt x="55" y="2"/>
                  </a:lnTo>
                  <a:lnTo>
                    <a:pt x="50" y="3"/>
                  </a:lnTo>
                  <a:lnTo>
                    <a:pt x="50" y="3"/>
                  </a:lnTo>
                  <a:lnTo>
                    <a:pt x="48" y="3"/>
                  </a:lnTo>
                  <a:lnTo>
                    <a:pt x="48" y="5"/>
                  </a:lnTo>
                  <a:lnTo>
                    <a:pt x="47" y="6"/>
                  </a:lnTo>
                  <a:lnTo>
                    <a:pt x="47" y="8"/>
                  </a:lnTo>
                  <a:lnTo>
                    <a:pt x="47" y="9"/>
                  </a:lnTo>
                  <a:lnTo>
                    <a:pt x="45" y="9"/>
                  </a:lnTo>
                  <a:lnTo>
                    <a:pt x="44" y="9"/>
                  </a:lnTo>
                  <a:lnTo>
                    <a:pt x="44" y="9"/>
                  </a:lnTo>
                  <a:lnTo>
                    <a:pt x="42" y="9"/>
                  </a:lnTo>
                  <a:lnTo>
                    <a:pt x="39" y="13"/>
                  </a:lnTo>
                  <a:lnTo>
                    <a:pt x="39" y="11"/>
                  </a:lnTo>
                  <a:lnTo>
                    <a:pt x="38" y="11"/>
                  </a:lnTo>
                  <a:lnTo>
                    <a:pt x="38" y="9"/>
                  </a:lnTo>
                  <a:lnTo>
                    <a:pt x="38" y="9"/>
                  </a:lnTo>
                  <a:lnTo>
                    <a:pt x="36" y="9"/>
                  </a:lnTo>
                  <a:lnTo>
                    <a:pt x="34" y="11"/>
                  </a:lnTo>
                  <a:lnTo>
                    <a:pt x="33" y="13"/>
                  </a:lnTo>
                  <a:lnTo>
                    <a:pt x="33" y="14"/>
                  </a:lnTo>
                  <a:lnTo>
                    <a:pt x="33" y="14"/>
                  </a:lnTo>
                  <a:lnTo>
                    <a:pt x="33" y="16"/>
                  </a:lnTo>
                  <a:lnTo>
                    <a:pt x="31" y="16"/>
                  </a:lnTo>
                  <a:lnTo>
                    <a:pt x="27" y="11"/>
                  </a:lnTo>
                  <a:lnTo>
                    <a:pt x="27" y="11"/>
                  </a:lnTo>
                  <a:lnTo>
                    <a:pt x="25" y="11"/>
                  </a:lnTo>
                  <a:lnTo>
                    <a:pt x="25" y="14"/>
                  </a:lnTo>
                  <a:lnTo>
                    <a:pt x="25" y="14"/>
                  </a:lnTo>
                  <a:lnTo>
                    <a:pt x="25" y="14"/>
                  </a:lnTo>
                  <a:lnTo>
                    <a:pt x="23" y="14"/>
                  </a:lnTo>
                  <a:lnTo>
                    <a:pt x="22" y="11"/>
                  </a:lnTo>
                  <a:lnTo>
                    <a:pt x="22" y="11"/>
                  </a:lnTo>
                  <a:lnTo>
                    <a:pt x="20" y="11"/>
                  </a:lnTo>
                  <a:lnTo>
                    <a:pt x="20" y="11"/>
                  </a:lnTo>
                  <a:lnTo>
                    <a:pt x="19" y="13"/>
                  </a:lnTo>
                  <a:lnTo>
                    <a:pt x="19" y="14"/>
                  </a:lnTo>
                  <a:lnTo>
                    <a:pt x="19" y="14"/>
                  </a:lnTo>
                  <a:lnTo>
                    <a:pt x="17" y="16"/>
                  </a:lnTo>
                  <a:lnTo>
                    <a:pt x="16" y="17"/>
                  </a:lnTo>
                  <a:lnTo>
                    <a:pt x="16" y="17"/>
                  </a:lnTo>
                  <a:lnTo>
                    <a:pt x="14" y="16"/>
                  </a:lnTo>
                  <a:lnTo>
                    <a:pt x="14" y="16"/>
                  </a:lnTo>
                  <a:lnTo>
                    <a:pt x="12" y="14"/>
                  </a:lnTo>
                  <a:lnTo>
                    <a:pt x="12" y="14"/>
                  </a:lnTo>
                  <a:lnTo>
                    <a:pt x="11" y="13"/>
                  </a:lnTo>
                  <a:lnTo>
                    <a:pt x="9" y="13"/>
                  </a:lnTo>
                  <a:lnTo>
                    <a:pt x="8" y="11"/>
                  </a:lnTo>
                  <a:lnTo>
                    <a:pt x="6" y="11"/>
                  </a:lnTo>
                  <a:lnTo>
                    <a:pt x="6" y="11"/>
                  </a:lnTo>
                  <a:lnTo>
                    <a:pt x="5" y="11"/>
                  </a:lnTo>
                  <a:lnTo>
                    <a:pt x="5" y="13"/>
                  </a:lnTo>
                  <a:lnTo>
                    <a:pt x="3" y="14"/>
                  </a:lnTo>
                  <a:lnTo>
                    <a:pt x="3" y="16"/>
                  </a:lnTo>
                  <a:lnTo>
                    <a:pt x="2" y="17"/>
                  </a:lnTo>
                  <a:lnTo>
                    <a:pt x="0" y="17"/>
                  </a:lnTo>
                  <a:lnTo>
                    <a:pt x="2" y="20"/>
                  </a:lnTo>
                  <a:lnTo>
                    <a:pt x="3" y="22"/>
                  </a:lnTo>
                  <a:lnTo>
                    <a:pt x="6" y="25"/>
                  </a:lnTo>
                  <a:lnTo>
                    <a:pt x="6" y="27"/>
                  </a:lnTo>
                  <a:lnTo>
                    <a:pt x="8" y="27"/>
                  </a:lnTo>
                  <a:lnTo>
                    <a:pt x="9" y="28"/>
                  </a:lnTo>
                  <a:lnTo>
                    <a:pt x="9" y="30"/>
                  </a:lnTo>
                  <a:lnTo>
                    <a:pt x="9" y="30"/>
                  </a:lnTo>
                  <a:lnTo>
                    <a:pt x="9" y="31"/>
                  </a:lnTo>
                  <a:lnTo>
                    <a:pt x="11" y="31"/>
                  </a:lnTo>
                  <a:lnTo>
                    <a:pt x="11" y="31"/>
                  </a:lnTo>
                  <a:lnTo>
                    <a:pt x="12" y="31"/>
                  </a:lnTo>
                  <a:lnTo>
                    <a:pt x="12" y="28"/>
                  </a:lnTo>
                  <a:lnTo>
                    <a:pt x="12" y="28"/>
                  </a:lnTo>
                  <a:lnTo>
                    <a:pt x="12" y="30"/>
                  </a:lnTo>
                  <a:lnTo>
                    <a:pt x="14" y="30"/>
                  </a:lnTo>
                  <a:lnTo>
                    <a:pt x="14" y="30"/>
                  </a:lnTo>
                  <a:lnTo>
                    <a:pt x="16" y="31"/>
                  </a:lnTo>
                  <a:lnTo>
                    <a:pt x="16" y="33"/>
                  </a:lnTo>
                  <a:lnTo>
                    <a:pt x="16" y="33"/>
                  </a:lnTo>
                  <a:lnTo>
                    <a:pt x="14" y="34"/>
                  </a:lnTo>
                  <a:lnTo>
                    <a:pt x="14" y="36"/>
                  </a:lnTo>
                  <a:lnTo>
                    <a:pt x="14" y="38"/>
                  </a:lnTo>
                  <a:lnTo>
                    <a:pt x="12" y="39"/>
                  </a:lnTo>
                  <a:lnTo>
                    <a:pt x="14" y="41"/>
                  </a:lnTo>
                  <a:lnTo>
                    <a:pt x="17" y="45"/>
                  </a:lnTo>
                  <a:lnTo>
                    <a:pt x="19" y="47"/>
                  </a:lnTo>
                  <a:lnTo>
                    <a:pt x="23" y="49"/>
                  </a:lnTo>
                  <a:lnTo>
                    <a:pt x="25" y="49"/>
                  </a:lnTo>
                  <a:lnTo>
                    <a:pt x="27" y="50"/>
                  </a:lnTo>
                  <a:lnTo>
                    <a:pt x="28" y="49"/>
                  </a:lnTo>
                  <a:lnTo>
                    <a:pt x="28" y="49"/>
                  </a:lnTo>
                  <a:lnTo>
                    <a:pt x="30" y="47"/>
                  </a:lnTo>
                  <a:lnTo>
                    <a:pt x="31" y="47"/>
                  </a:lnTo>
                  <a:lnTo>
                    <a:pt x="34" y="45"/>
                  </a:lnTo>
                  <a:lnTo>
                    <a:pt x="34" y="45"/>
                  </a:lnTo>
                  <a:lnTo>
                    <a:pt x="38" y="45"/>
                  </a:lnTo>
                  <a:lnTo>
                    <a:pt x="39" y="47"/>
                  </a:lnTo>
                  <a:lnTo>
                    <a:pt x="41" y="49"/>
                  </a:lnTo>
                  <a:lnTo>
                    <a:pt x="42" y="50"/>
                  </a:lnTo>
                  <a:lnTo>
                    <a:pt x="44" y="50"/>
                  </a:lnTo>
                  <a:lnTo>
                    <a:pt x="44" y="52"/>
                  </a:lnTo>
                  <a:lnTo>
                    <a:pt x="42" y="52"/>
                  </a:lnTo>
                  <a:lnTo>
                    <a:pt x="42" y="53"/>
                  </a:lnTo>
                  <a:lnTo>
                    <a:pt x="41" y="53"/>
                  </a:lnTo>
                  <a:lnTo>
                    <a:pt x="39" y="55"/>
                  </a:lnTo>
                  <a:lnTo>
                    <a:pt x="41" y="55"/>
                  </a:lnTo>
                  <a:lnTo>
                    <a:pt x="42" y="55"/>
                  </a:lnTo>
                  <a:lnTo>
                    <a:pt x="44" y="55"/>
                  </a:lnTo>
                  <a:lnTo>
                    <a:pt x="44" y="55"/>
                  </a:lnTo>
                  <a:lnTo>
                    <a:pt x="45" y="56"/>
                  </a:lnTo>
                  <a:lnTo>
                    <a:pt x="45" y="56"/>
                  </a:lnTo>
                  <a:lnTo>
                    <a:pt x="45" y="58"/>
                  </a:lnTo>
                  <a:lnTo>
                    <a:pt x="45" y="58"/>
                  </a:lnTo>
                  <a:lnTo>
                    <a:pt x="47" y="58"/>
                  </a:lnTo>
                  <a:lnTo>
                    <a:pt x="48" y="60"/>
                  </a:lnTo>
                  <a:lnTo>
                    <a:pt x="48" y="60"/>
                  </a:lnTo>
                  <a:lnTo>
                    <a:pt x="50" y="61"/>
                  </a:lnTo>
                  <a:lnTo>
                    <a:pt x="50" y="63"/>
                  </a:lnTo>
                  <a:lnTo>
                    <a:pt x="48" y="64"/>
                  </a:lnTo>
                  <a:lnTo>
                    <a:pt x="47" y="64"/>
                  </a:lnTo>
                  <a:lnTo>
                    <a:pt x="47" y="66"/>
                  </a:lnTo>
                  <a:lnTo>
                    <a:pt x="47" y="67"/>
                  </a:lnTo>
                  <a:lnTo>
                    <a:pt x="47" y="67"/>
                  </a:lnTo>
                  <a:lnTo>
                    <a:pt x="44" y="69"/>
                  </a:lnTo>
                  <a:lnTo>
                    <a:pt x="42" y="70"/>
                  </a:lnTo>
                  <a:lnTo>
                    <a:pt x="38" y="69"/>
                  </a:lnTo>
                  <a:lnTo>
                    <a:pt x="36" y="69"/>
                  </a:lnTo>
                  <a:lnTo>
                    <a:pt x="36" y="69"/>
                  </a:lnTo>
                  <a:lnTo>
                    <a:pt x="34" y="69"/>
                  </a:lnTo>
                  <a:lnTo>
                    <a:pt x="34" y="69"/>
                  </a:lnTo>
                  <a:lnTo>
                    <a:pt x="33" y="69"/>
                  </a:lnTo>
                  <a:lnTo>
                    <a:pt x="34" y="70"/>
                  </a:lnTo>
                  <a:lnTo>
                    <a:pt x="34" y="72"/>
                  </a:lnTo>
                  <a:lnTo>
                    <a:pt x="34" y="74"/>
                  </a:lnTo>
                  <a:lnTo>
                    <a:pt x="33" y="74"/>
                  </a:lnTo>
                  <a:lnTo>
                    <a:pt x="31" y="75"/>
                  </a:lnTo>
                  <a:lnTo>
                    <a:pt x="31" y="75"/>
                  </a:lnTo>
                  <a:lnTo>
                    <a:pt x="31" y="77"/>
                  </a:lnTo>
                  <a:lnTo>
                    <a:pt x="33" y="77"/>
                  </a:lnTo>
                  <a:lnTo>
                    <a:pt x="36" y="77"/>
                  </a:lnTo>
                  <a:lnTo>
                    <a:pt x="41" y="81"/>
                  </a:lnTo>
                  <a:lnTo>
                    <a:pt x="42" y="83"/>
                  </a:lnTo>
                  <a:lnTo>
                    <a:pt x="44" y="83"/>
                  </a:lnTo>
                  <a:lnTo>
                    <a:pt x="45" y="85"/>
                  </a:lnTo>
                  <a:lnTo>
                    <a:pt x="50" y="86"/>
                  </a:lnTo>
                  <a:lnTo>
                    <a:pt x="53" y="88"/>
                  </a:lnTo>
                  <a:lnTo>
                    <a:pt x="53" y="88"/>
                  </a:lnTo>
                  <a:lnTo>
                    <a:pt x="53" y="88"/>
                  </a:lnTo>
                  <a:lnTo>
                    <a:pt x="53" y="89"/>
                  </a:lnTo>
                  <a:lnTo>
                    <a:pt x="53" y="91"/>
                  </a:lnTo>
                  <a:lnTo>
                    <a:pt x="52" y="91"/>
                  </a:lnTo>
                  <a:lnTo>
                    <a:pt x="53" y="92"/>
                  </a:lnTo>
                  <a:lnTo>
                    <a:pt x="53" y="94"/>
                  </a:lnTo>
                  <a:lnTo>
                    <a:pt x="56" y="96"/>
                  </a:lnTo>
                  <a:lnTo>
                    <a:pt x="56" y="96"/>
                  </a:lnTo>
                  <a:lnTo>
                    <a:pt x="58" y="96"/>
                  </a:lnTo>
                  <a:lnTo>
                    <a:pt x="59" y="97"/>
                  </a:lnTo>
                  <a:lnTo>
                    <a:pt x="59" y="99"/>
                  </a:lnTo>
                  <a:lnTo>
                    <a:pt x="61" y="100"/>
                  </a:lnTo>
                  <a:lnTo>
                    <a:pt x="61" y="100"/>
                  </a:lnTo>
                  <a:lnTo>
                    <a:pt x="63" y="102"/>
                  </a:lnTo>
                  <a:lnTo>
                    <a:pt x="63" y="105"/>
                  </a:lnTo>
                  <a:lnTo>
                    <a:pt x="64" y="106"/>
                  </a:lnTo>
                  <a:lnTo>
                    <a:pt x="67" y="108"/>
                  </a:lnTo>
                  <a:lnTo>
                    <a:pt x="67" y="110"/>
                  </a:lnTo>
                  <a:lnTo>
                    <a:pt x="69" y="110"/>
                  </a:lnTo>
                  <a:lnTo>
                    <a:pt x="73" y="114"/>
                  </a:lnTo>
                  <a:lnTo>
                    <a:pt x="73" y="114"/>
                  </a:lnTo>
                  <a:lnTo>
                    <a:pt x="75" y="116"/>
                  </a:lnTo>
                  <a:lnTo>
                    <a:pt x="77" y="117"/>
                  </a:lnTo>
                  <a:lnTo>
                    <a:pt x="77" y="117"/>
                  </a:lnTo>
                  <a:lnTo>
                    <a:pt x="77" y="119"/>
                  </a:lnTo>
                  <a:lnTo>
                    <a:pt x="78" y="121"/>
                  </a:lnTo>
                  <a:lnTo>
                    <a:pt x="78" y="121"/>
                  </a:lnTo>
                  <a:lnTo>
                    <a:pt x="78" y="124"/>
                  </a:lnTo>
                  <a:lnTo>
                    <a:pt x="78" y="125"/>
                  </a:lnTo>
                  <a:lnTo>
                    <a:pt x="78" y="125"/>
                  </a:lnTo>
                  <a:lnTo>
                    <a:pt x="80" y="127"/>
                  </a:lnTo>
                  <a:lnTo>
                    <a:pt x="80" y="127"/>
                  </a:lnTo>
                  <a:lnTo>
                    <a:pt x="81" y="128"/>
                  </a:lnTo>
                  <a:lnTo>
                    <a:pt x="81" y="128"/>
                  </a:lnTo>
                  <a:lnTo>
                    <a:pt x="83" y="127"/>
                  </a:lnTo>
                  <a:lnTo>
                    <a:pt x="83" y="127"/>
                  </a:lnTo>
                  <a:lnTo>
                    <a:pt x="83" y="127"/>
                  </a:lnTo>
                  <a:lnTo>
                    <a:pt x="84" y="128"/>
                  </a:lnTo>
                  <a:lnTo>
                    <a:pt x="84" y="130"/>
                  </a:lnTo>
                  <a:lnTo>
                    <a:pt x="86" y="130"/>
                  </a:lnTo>
                  <a:lnTo>
                    <a:pt x="88" y="132"/>
                  </a:lnTo>
                  <a:lnTo>
                    <a:pt x="89" y="133"/>
                  </a:lnTo>
                  <a:lnTo>
                    <a:pt x="91" y="135"/>
                  </a:lnTo>
                  <a:lnTo>
                    <a:pt x="92" y="135"/>
                  </a:lnTo>
                  <a:lnTo>
                    <a:pt x="92" y="135"/>
                  </a:lnTo>
                  <a:lnTo>
                    <a:pt x="94" y="136"/>
                  </a:lnTo>
                  <a:lnTo>
                    <a:pt x="92" y="136"/>
                  </a:lnTo>
                  <a:lnTo>
                    <a:pt x="92" y="138"/>
                  </a:lnTo>
                  <a:lnTo>
                    <a:pt x="89" y="139"/>
                  </a:lnTo>
                  <a:lnTo>
                    <a:pt x="89" y="139"/>
                  </a:lnTo>
                  <a:lnTo>
                    <a:pt x="89" y="141"/>
                  </a:lnTo>
                  <a:lnTo>
                    <a:pt x="91" y="142"/>
                  </a:lnTo>
                  <a:lnTo>
                    <a:pt x="91" y="142"/>
                  </a:lnTo>
                  <a:lnTo>
                    <a:pt x="92" y="144"/>
                  </a:lnTo>
                  <a:lnTo>
                    <a:pt x="94" y="146"/>
                  </a:lnTo>
                  <a:lnTo>
                    <a:pt x="95" y="147"/>
                  </a:lnTo>
                  <a:lnTo>
                    <a:pt x="97" y="149"/>
                  </a:lnTo>
                  <a:lnTo>
                    <a:pt x="97" y="150"/>
                  </a:lnTo>
                  <a:lnTo>
                    <a:pt x="97" y="150"/>
                  </a:lnTo>
                  <a:lnTo>
                    <a:pt x="97" y="152"/>
                  </a:lnTo>
                  <a:lnTo>
                    <a:pt x="95" y="153"/>
                  </a:lnTo>
                  <a:lnTo>
                    <a:pt x="95" y="153"/>
                  </a:lnTo>
                  <a:lnTo>
                    <a:pt x="94" y="155"/>
                  </a:lnTo>
                  <a:lnTo>
                    <a:pt x="95" y="155"/>
                  </a:lnTo>
                  <a:lnTo>
                    <a:pt x="95" y="157"/>
                  </a:lnTo>
                  <a:lnTo>
                    <a:pt x="95" y="158"/>
                  </a:lnTo>
                  <a:lnTo>
                    <a:pt x="95" y="160"/>
                  </a:lnTo>
                  <a:lnTo>
                    <a:pt x="95" y="160"/>
                  </a:lnTo>
                  <a:lnTo>
                    <a:pt x="95" y="163"/>
                  </a:lnTo>
                  <a:lnTo>
                    <a:pt x="94" y="164"/>
                  </a:lnTo>
                  <a:lnTo>
                    <a:pt x="92" y="166"/>
                  </a:lnTo>
                  <a:lnTo>
                    <a:pt x="92" y="166"/>
                  </a:lnTo>
                  <a:lnTo>
                    <a:pt x="92" y="171"/>
                  </a:lnTo>
                  <a:lnTo>
                    <a:pt x="92" y="171"/>
                  </a:lnTo>
                  <a:lnTo>
                    <a:pt x="92" y="172"/>
                  </a:lnTo>
                  <a:lnTo>
                    <a:pt x="92" y="172"/>
                  </a:lnTo>
                  <a:lnTo>
                    <a:pt x="94" y="175"/>
                  </a:lnTo>
                  <a:lnTo>
                    <a:pt x="95" y="178"/>
                  </a:lnTo>
                  <a:lnTo>
                    <a:pt x="97" y="180"/>
                  </a:lnTo>
                  <a:lnTo>
                    <a:pt x="97" y="182"/>
                  </a:lnTo>
                  <a:lnTo>
                    <a:pt x="95" y="186"/>
                  </a:lnTo>
                  <a:lnTo>
                    <a:pt x="94" y="189"/>
                  </a:lnTo>
                  <a:lnTo>
                    <a:pt x="94" y="191"/>
                  </a:lnTo>
                  <a:lnTo>
                    <a:pt x="95" y="193"/>
                  </a:lnTo>
                  <a:lnTo>
                    <a:pt x="95" y="196"/>
                  </a:lnTo>
                  <a:lnTo>
                    <a:pt x="95" y="199"/>
                  </a:lnTo>
                  <a:lnTo>
                    <a:pt x="95" y="200"/>
                  </a:lnTo>
                  <a:lnTo>
                    <a:pt x="95" y="200"/>
                  </a:lnTo>
                  <a:lnTo>
                    <a:pt x="95" y="202"/>
                  </a:lnTo>
                  <a:lnTo>
                    <a:pt x="94" y="202"/>
                  </a:lnTo>
                  <a:lnTo>
                    <a:pt x="92" y="203"/>
                  </a:lnTo>
                  <a:lnTo>
                    <a:pt x="92" y="202"/>
                  </a:lnTo>
                  <a:lnTo>
                    <a:pt x="91" y="202"/>
                  </a:lnTo>
                  <a:lnTo>
                    <a:pt x="89" y="202"/>
                  </a:lnTo>
                  <a:lnTo>
                    <a:pt x="89" y="203"/>
                  </a:lnTo>
                  <a:lnTo>
                    <a:pt x="88" y="205"/>
                  </a:lnTo>
                  <a:lnTo>
                    <a:pt x="84" y="207"/>
                  </a:lnTo>
                  <a:lnTo>
                    <a:pt x="81" y="207"/>
                  </a:lnTo>
                  <a:lnTo>
                    <a:pt x="81" y="208"/>
                  </a:lnTo>
                  <a:lnTo>
                    <a:pt x="80" y="208"/>
                  </a:lnTo>
                  <a:lnTo>
                    <a:pt x="77" y="208"/>
                  </a:lnTo>
                  <a:lnTo>
                    <a:pt x="75" y="208"/>
                  </a:lnTo>
                  <a:lnTo>
                    <a:pt x="75" y="210"/>
                  </a:lnTo>
                  <a:lnTo>
                    <a:pt x="75" y="213"/>
                  </a:lnTo>
                  <a:lnTo>
                    <a:pt x="75" y="213"/>
                  </a:lnTo>
                  <a:lnTo>
                    <a:pt x="75" y="213"/>
                  </a:lnTo>
                  <a:lnTo>
                    <a:pt x="75" y="214"/>
                  </a:lnTo>
                  <a:lnTo>
                    <a:pt x="72" y="213"/>
                  </a:lnTo>
                  <a:lnTo>
                    <a:pt x="70" y="213"/>
                  </a:lnTo>
                  <a:lnTo>
                    <a:pt x="69" y="213"/>
                  </a:lnTo>
                  <a:lnTo>
                    <a:pt x="67" y="214"/>
                  </a:lnTo>
                  <a:lnTo>
                    <a:pt x="67" y="214"/>
                  </a:lnTo>
                  <a:lnTo>
                    <a:pt x="67" y="214"/>
                  </a:lnTo>
                  <a:lnTo>
                    <a:pt x="66" y="214"/>
                  </a:lnTo>
                  <a:lnTo>
                    <a:pt x="66" y="214"/>
                  </a:lnTo>
                  <a:lnTo>
                    <a:pt x="66" y="216"/>
                  </a:lnTo>
                  <a:lnTo>
                    <a:pt x="66" y="218"/>
                  </a:lnTo>
                  <a:lnTo>
                    <a:pt x="66" y="219"/>
                  </a:lnTo>
                  <a:lnTo>
                    <a:pt x="66" y="221"/>
                  </a:lnTo>
                  <a:lnTo>
                    <a:pt x="67" y="221"/>
                  </a:lnTo>
                  <a:lnTo>
                    <a:pt x="70" y="224"/>
                  </a:lnTo>
                  <a:lnTo>
                    <a:pt x="72" y="225"/>
                  </a:lnTo>
                  <a:lnTo>
                    <a:pt x="72" y="225"/>
                  </a:lnTo>
                  <a:lnTo>
                    <a:pt x="70" y="227"/>
                  </a:lnTo>
                  <a:lnTo>
                    <a:pt x="72" y="230"/>
                  </a:lnTo>
                  <a:lnTo>
                    <a:pt x="70" y="230"/>
                  </a:lnTo>
                  <a:lnTo>
                    <a:pt x="69" y="229"/>
                  </a:lnTo>
                  <a:lnTo>
                    <a:pt x="67" y="229"/>
                  </a:lnTo>
                  <a:lnTo>
                    <a:pt x="66" y="229"/>
                  </a:lnTo>
                  <a:lnTo>
                    <a:pt x="66" y="229"/>
                  </a:lnTo>
                  <a:lnTo>
                    <a:pt x="66" y="227"/>
                  </a:lnTo>
                  <a:lnTo>
                    <a:pt x="64" y="225"/>
                  </a:lnTo>
                  <a:lnTo>
                    <a:pt x="63" y="225"/>
                  </a:lnTo>
                  <a:lnTo>
                    <a:pt x="61" y="227"/>
                  </a:lnTo>
                  <a:lnTo>
                    <a:pt x="59" y="227"/>
                  </a:lnTo>
                  <a:lnTo>
                    <a:pt x="58" y="227"/>
                  </a:lnTo>
                  <a:lnTo>
                    <a:pt x="58" y="227"/>
                  </a:lnTo>
                  <a:lnTo>
                    <a:pt x="56" y="229"/>
                  </a:lnTo>
                  <a:lnTo>
                    <a:pt x="56" y="229"/>
                  </a:lnTo>
                  <a:lnTo>
                    <a:pt x="56" y="229"/>
                  </a:lnTo>
                  <a:lnTo>
                    <a:pt x="53" y="227"/>
                  </a:lnTo>
                  <a:lnTo>
                    <a:pt x="52" y="227"/>
                  </a:lnTo>
                  <a:lnTo>
                    <a:pt x="52" y="229"/>
                  </a:lnTo>
                  <a:lnTo>
                    <a:pt x="52" y="229"/>
                  </a:lnTo>
                  <a:lnTo>
                    <a:pt x="52" y="229"/>
                  </a:lnTo>
                  <a:lnTo>
                    <a:pt x="52" y="230"/>
                  </a:lnTo>
                  <a:lnTo>
                    <a:pt x="52" y="232"/>
                  </a:lnTo>
                  <a:lnTo>
                    <a:pt x="50" y="232"/>
                  </a:lnTo>
                  <a:lnTo>
                    <a:pt x="48" y="233"/>
                  </a:lnTo>
                  <a:lnTo>
                    <a:pt x="48" y="235"/>
                  </a:lnTo>
                  <a:lnTo>
                    <a:pt x="47" y="235"/>
                  </a:lnTo>
                  <a:lnTo>
                    <a:pt x="45" y="235"/>
                  </a:lnTo>
                  <a:lnTo>
                    <a:pt x="44" y="235"/>
                  </a:lnTo>
                  <a:lnTo>
                    <a:pt x="42" y="235"/>
                  </a:lnTo>
                  <a:lnTo>
                    <a:pt x="42" y="236"/>
                  </a:lnTo>
                  <a:lnTo>
                    <a:pt x="41" y="236"/>
                  </a:lnTo>
                  <a:lnTo>
                    <a:pt x="42" y="238"/>
                  </a:lnTo>
                  <a:lnTo>
                    <a:pt x="44" y="239"/>
                  </a:lnTo>
                  <a:lnTo>
                    <a:pt x="44" y="239"/>
                  </a:lnTo>
                  <a:lnTo>
                    <a:pt x="45" y="241"/>
                  </a:lnTo>
                  <a:lnTo>
                    <a:pt x="47" y="239"/>
                  </a:lnTo>
                  <a:lnTo>
                    <a:pt x="47" y="239"/>
                  </a:lnTo>
                  <a:lnTo>
                    <a:pt x="48" y="241"/>
                  </a:lnTo>
                  <a:lnTo>
                    <a:pt x="50" y="241"/>
                  </a:lnTo>
                  <a:lnTo>
                    <a:pt x="52" y="243"/>
                  </a:lnTo>
                  <a:lnTo>
                    <a:pt x="52" y="244"/>
                  </a:lnTo>
                  <a:lnTo>
                    <a:pt x="53" y="244"/>
                  </a:lnTo>
                  <a:lnTo>
                    <a:pt x="53" y="246"/>
                  </a:lnTo>
                  <a:lnTo>
                    <a:pt x="50" y="246"/>
                  </a:lnTo>
                  <a:lnTo>
                    <a:pt x="48" y="247"/>
                  </a:lnTo>
                  <a:lnTo>
                    <a:pt x="48" y="250"/>
                  </a:lnTo>
                  <a:lnTo>
                    <a:pt x="47" y="258"/>
                  </a:lnTo>
                  <a:lnTo>
                    <a:pt x="47" y="265"/>
                  </a:lnTo>
                  <a:lnTo>
                    <a:pt x="48" y="266"/>
                  </a:lnTo>
                  <a:lnTo>
                    <a:pt x="47" y="268"/>
                  </a:lnTo>
                  <a:lnTo>
                    <a:pt x="48" y="269"/>
                  </a:lnTo>
                  <a:lnTo>
                    <a:pt x="53" y="268"/>
                  </a:lnTo>
                  <a:lnTo>
                    <a:pt x="55" y="266"/>
                  </a:lnTo>
                  <a:lnTo>
                    <a:pt x="56" y="265"/>
                  </a:lnTo>
                  <a:lnTo>
                    <a:pt x="58" y="261"/>
                  </a:lnTo>
                  <a:lnTo>
                    <a:pt x="59" y="260"/>
                  </a:lnTo>
                  <a:lnTo>
                    <a:pt x="72" y="254"/>
                  </a:lnTo>
                  <a:lnTo>
                    <a:pt x="72" y="254"/>
                  </a:lnTo>
                  <a:lnTo>
                    <a:pt x="72" y="252"/>
                  </a:lnTo>
                  <a:lnTo>
                    <a:pt x="72" y="250"/>
                  </a:lnTo>
                  <a:lnTo>
                    <a:pt x="70" y="249"/>
                  </a:lnTo>
                  <a:lnTo>
                    <a:pt x="66" y="244"/>
                  </a:lnTo>
                  <a:lnTo>
                    <a:pt x="67" y="244"/>
                  </a:lnTo>
                  <a:lnTo>
                    <a:pt x="72" y="249"/>
                  </a:lnTo>
                  <a:lnTo>
                    <a:pt x="75" y="252"/>
                  </a:lnTo>
                  <a:lnTo>
                    <a:pt x="77" y="252"/>
                  </a:lnTo>
                  <a:lnTo>
                    <a:pt x="78" y="250"/>
                  </a:lnTo>
                  <a:lnTo>
                    <a:pt x="78" y="250"/>
                  </a:lnTo>
                  <a:lnTo>
                    <a:pt x="78" y="249"/>
                  </a:lnTo>
                  <a:lnTo>
                    <a:pt x="77" y="247"/>
                  </a:lnTo>
                  <a:lnTo>
                    <a:pt x="72" y="241"/>
                  </a:lnTo>
                  <a:lnTo>
                    <a:pt x="70" y="239"/>
                  </a:lnTo>
                  <a:lnTo>
                    <a:pt x="77" y="244"/>
                  </a:lnTo>
                  <a:lnTo>
                    <a:pt x="78" y="246"/>
                  </a:lnTo>
                  <a:lnTo>
                    <a:pt x="78" y="246"/>
                  </a:lnTo>
                  <a:lnTo>
                    <a:pt x="80" y="246"/>
                  </a:lnTo>
                  <a:lnTo>
                    <a:pt x="80" y="244"/>
                  </a:lnTo>
                  <a:lnTo>
                    <a:pt x="80" y="244"/>
                  </a:lnTo>
                  <a:lnTo>
                    <a:pt x="81" y="243"/>
                  </a:lnTo>
                  <a:lnTo>
                    <a:pt x="83" y="241"/>
                  </a:lnTo>
                  <a:lnTo>
                    <a:pt x="83" y="241"/>
                  </a:lnTo>
                  <a:lnTo>
                    <a:pt x="81" y="239"/>
                  </a:lnTo>
                  <a:lnTo>
                    <a:pt x="80" y="239"/>
                  </a:lnTo>
                  <a:lnTo>
                    <a:pt x="77" y="238"/>
                  </a:lnTo>
                  <a:lnTo>
                    <a:pt x="77" y="238"/>
                  </a:lnTo>
                  <a:lnTo>
                    <a:pt x="80" y="238"/>
                  </a:lnTo>
                  <a:lnTo>
                    <a:pt x="81" y="238"/>
                  </a:lnTo>
                  <a:lnTo>
                    <a:pt x="81" y="238"/>
                  </a:lnTo>
                  <a:lnTo>
                    <a:pt x="81" y="236"/>
                  </a:lnTo>
                  <a:lnTo>
                    <a:pt x="81" y="236"/>
                  </a:lnTo>
                  <a:lnTo>
                    <a:pt x="81" y="235"/>
                  </a:lnTo>
                  <a:lnTo>
                    <a:pt x="80" y="235"/>
                  </a:lnTo>
                  <a:lnTo>
                    <a:pt x="80" y="235"/>
                  </a:lnTo>
                  <a:lnTo>
                    <a:pt x="81" y="235"/>
                  </a:lnTo>
                  <a:lnTo>
                    <a:pt x="83" y="236"/>
                  </a:lnTo>
                  <a:lnTo>
                    <a:pt x="84" y="236"/>
                  </a:lnTo>
                  <a:lnTo>
                    <a:pt x="84" y="236"/>
                  </a:lnTo>
                  <a:lnTo>
                    <a:pt x="86" y="236"/>
                  </a:lnTo>
                  <a:lnTo>
                    <a:pt x="86" y="233"/>
                  </a:lnTo>
                  <a:lnTo>
                    <a:pt x="86" y="232"/>
                  </a:lnTo>
                  <a:lnTo>
                    <a:pt x="86" y="232"/>
                  </a:lnTo>
                  <a:lnTo>
                    <a:pt x="86" y="233"/>
                  </a:lnTo>
                  <a:lnTo>
                    <a:pt x="88" y="235"/>
                  </a:lnTo>
                  <a:lnTo>
                    <a:pt x="89" y="235"/>
                  </a:lnTo>
                  <a:lnTo>
                    <a:pt x="91" y="236"/>
                  </a:lnTo>
                  <a:lnTo>
                    <a:pt x="91" y="236"/>
                  </a:lnTo>
                  <a:lnTo>
                    <a:pt x="92" y="235"/>
                  </a:lnTo>
                  <a:lnTo>
                    <a:pt x="94" y="235"/>
                  </a:lnTo>
                  <a:lnTo>
                    <a:pt x="95" y="233"/>
                  </a:lnTo>
                  <a:lnTo>
                    <a:pt x="100" y="232"/>
                  </a:lnTo>
                  <a:lnTo>
                    <a:pt x="103" y="230"/>
                  </a:lnTo>
                  <a:lnTo>
                    <a:pt x="105" y="227"/>
                  </a:lnTo>
                  <a:lnTo>
                    <a:pt x="106" y="227"/>
                  </a:lnTo>
                  <a:lnTo>
                    <a:pt x="108" y="227"/>
                  </a:lnTo>
                  <a:lnTo>
                    <a:pt x="111" y="225"/>
                  </a:lnTo>
                  <a:lnTo>
                    <a:pt x="113" y="222"/>
                  </a:lnTo>
                  <a:lnTo>
                    <a:pt x="116" y="222"/>
                  </a:lnTo>
                  <a:lnTo>
                    <a:pt x="117" y="221"/>
                  </a:lnTo>
                  <a:lnTo>
                    <a:pt x="120" y="219"/>
                  </a:lnTo>
                  <a:lnTo>
                    <a:pt x="122" y="218"/>
                  </a:lnTo>
                  <a:lnTo>
                    <a:pt x="122" y="216"/>
                  </a:lnTo>
                  <a:lnTo>
                    <a:pt x="123" y="214"/>
                  </a:lnTo>
                  <a:lnTo>
                    <a:pt x="123" y="214"/>
                  </a:lnTo>
                  <a:lnTo>
                    <a:pt x="125" y="213"/>
                  </a:lnTo>
                  <a:lnTo>
                    <a:pt x="125" y="211"/>
                  </a:lnTo>
                  <a:lnTo>
                    <a:pt x="123" y="211"/>
                  </a:lnTo>
                  <a:lnTo>
                    <a:pt x="123" y="210"/>
                  </a:lnTo>
                  <a:lnTo>
                    <a:pt x="125" y="208"/>
                  </a:lnTo>
                  <a:lnTo>
                    <a:pt x="125" y="208"/>
                  </a:lnTo>
                  <a:lnTo>
                    <a:pt x="125" y="208"/>
                  </a:lnTo>
                  <a:lnTo>
                    <a:pt x="125" y="208"/>
                  </a:lnTo>
                  <a:lnTo>
                    <a:pt x="125" y="210"/>
                  </a:lnTo>
                  <a:lnTo>
                    <a:pt x="125" y="208"/>
                  </a:lnTo>
                  <a:lnTo>
                    <a:pt x="125" y="208"/>
                  </a:lnTo>
                  <a:lnTo>
                    <a:pt x="125" y="207"/>
                  </a:lnTo>
                  <a:lnTo>
                    <a:pt x="125" y="200"/>
                  </a:lnTo>
                  <a:lnTo>
                    <a:pt x="127" y="200"/>
                  </a:lnTo>
                  <a:lnTo>
                    <a:pt x="125" y="196"/>
                  </a:lnTo>
                  <a:lnTo>
                    <a:pt x="125" y="196"/>
                  </a:lnTo>
                  <a:lnTo>
                    <a:pt x="127" y="194"/>
                  </a:lnTo>
                  <a:lnTo>
                    <a:pt x="128" y="196"/>
                  </a:lnTo>
                  <a:lnTo>
                    <a:pt x="128" y="197"/>
                  </a:lnTo>
                  <a:lnTo>
                    <a:pt x="128" y="19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0" name="Freeform 218">
              <a:extLst>
                <a:ext uri="{FF2B5EF4-FFF2-40B4-BE49-F238E27FC236}">
                  <a16:creationId xmlns:a16="http://schemas.microsoft.com/office/drawing/2014/main" id="{8C185B78-7F67-64B2-8AFF-952091B6D930}"/>
                </a:ext>
              </a:extLst>
            </p:cNvPr>
            <p:cNvSpPr>
              <a:spLocks noEditPoints="1"/>
            </p:cNvSpPr>
            <p:nvPr/>
          </p:nvSpPr>
          <p:spPr bwMode="gray">
            <a:xfrm>
              <a:off x="5597" y="1818"/>
              <a:ext cx="60" cy="119"/>
            </a:xfrm>
            <a:custGeom>
              <a:avLst/>
              <a:gdLst>
                <a:gd name="T0" fmla="*/ 57 w 60"/>
                <a:gd name="T1" fmla="*/ 118 h 119"/>
                <a:gd name="T2" fmla="*/ 60 w 60"/>
                <a:gd name="T3" fmla="*/ 119 h 119"/>
                <a:gd name="T4" fmla="*/ 50 w 60"/>
                <a:gd name="T5" fmla="*/ 105 h 119"/>
                <a:gd name="T6" fmla="*/ 49 w 60"/>
                <a:gd name="T7" fmla="*/ 104 h 119"/>
                <a:gd name="T8" fmla="*/ 50 w 60"/>
                <a:gd name="T9" fmla="*/ 108 h 119"/>
                <a:gd name="T10" fmla="*/ 50 w 60"/>
                <a:gd name="T11" fmla="*/ 105 h 119"/>
                <a:gd name="T12" fmla="*/ 49 w 60"/>
                <a:gd name="T13" fmla="*/ 93 h 119"/>
                <a:gd name="T14" fmla="*/ 46 w 60"/>
                <a:gd name="T15" fmla="*/ 90 h 119"/>
                <a:gd name="T16" fmla="*/ 44 w 60"/>
                <a:gd name="T17" fmla="*/ 94 h 119"/>
                <a:gd name="T18" fmla="*/ 49 w 60"/>
                <a:gd name="T19" fmla="*/ 96 h 119"/>
                <a:gd name="T20" fmla="*/ 36 w 60"/>
                <a:gd name="T21" fmla="*/ 72 h 119"/>
                <a:gd name="T22" fmla="*/ 32 w 60"/>
                <a:gd name="T23" fmla="*/ 69 h 119"/>
                <a:gd name="T24" fmla="*/ 30 w 60"/>
                <a:gd name="T25" fmla="*/ 72 h 119"/>
                <a:gd name="T26" fmla="*/ 30 w 60"/>
                <a:gd name="T27" fmla="*/ 72 h 119"/>
                <a:gd name="T28" fmla="*/ 32 w 60"/>
                <a:gd name="T29" fmla="*/ 74 h 119"/>
                <a:gd name="T30" fmla="*/ 36 w 60"/>
                <a:gd name="T31" fmla="*/ 72 h 119"/>
                <a:gd name="T32" fmla="*/ 33 w 60"/>
                <a:gd name="T33" fmla="*/ 55 h 119"/>
                <a:gd name="T34" fmla="*/ 30 w 60"/>
                <a:gd name="T35" fmla="*/ 54 h 119"/>
                <a:gd name="T36" fmla="*/ 29 w 60"/>
                <a:gd name="T37" fmla="*/ 54 h 119"/>
                <a:gd name="T38" fmla="*/ 30 w 60"/>
                <a:gd name="T39" fmla="*/ 57 h 119"/>
                <a:gd name="T40" fmla="*/ 35 w 60"/>
                <a:gd name="T41" fmla="*/ 57 h 119"/>
                <a:gd name="T42" fmla="*/ 32 w 60"/>
                <a:gd name="T43" fmla="*/ 47 h 119"/>
                <a:gd name="T44" fmla="*/ 30 w 60"/>
                <a:gd name="T45" fmla="*/ 43 h 119"/>
                <a:gd name="T46" fmla="*/ 25 w 60"/>
                <a:gd name="T47" fmla="*/ 46 h 119"/>
                <a:gd name="T48" fmla="*/ 30 w 60"/>
                <a:gd name="T49" fmla="*/ 49 h 119"/>
                <a:gd name="T50" fmla="*/ 32 w 60"/>
                <a:gd name="T51" fmla="*/ 47 h 119"/>
                <a:gd name="T52" fmla="*/ 22 w 60"/>
                <a:gd name="T53" fmla="*/ 47 h 119"/>
                <a:gd name="T54" fmla="*/ 18 w 60"/>
                <a:gd name="T55" fmla="*/ 44 h 119"/>
                <a:gd name="T56" fmla="*/ 16 w 60"/>
                <a:gd name="T57" fmla="*/ 44 h 119"/>
                <a:gd name="T58" fmla="*/ 13 w 60"/>
                <a:gd name="T59" fmla="*/ 40 h 119"/>
                <a:gd name="T60" fmla="*/ 13 w 60"/>
                <a:gd name="T61" fmla="*/ 44 h 119"/>
                <a:gd name="T62" fmla="*/ 14 w 60"/>
                <a:gd name="T63" fmla="*/ 44 h 119"/>
                <a:gd name="T64" fmla="*/ 18 w 60"/>
                <a:gd name="T65" fmla="*/ 51 h 119"/>
                <a:gd name="T66" fmla="*/ 18 w 60"/>
                <a:gd name="T67" fmla="*/ 52 h 119"/>
                <a:gd name="T68" fmla="*/ 24 w 60"/>
                <a:gd name="T69" fmla="*/ 51 h 119"/>
                <a:gd name="T70" fmla="*/ 11 w 60"/>
                <a:gd name="T71" fmla="*/ 36 h 119"/>
                <a:gd name="T72" fmla="*/ 13 w 60"/>
                <a:gd name="T73" fmla="*/ 35 h 119"/>
                <a:gd name="T74" fmla="*/ 30 w 60"/>
                <a:gd name="T75" fmla="*/ 32 h 119"/>
                <a:gd name="T76" fmla="*/ 30 w 60"/>
                <a:gd name="T77" fmla="*/ 41 h 119"/>
                <a:gd name="T78" fmla="*/ 32 w 60"/>
                <a:gd name="T79" fmla="*/ 40 h 119"/>
                <a:gd name="T80" fmla="*/ 21 w 60"/>
                <a:gd name="T81" fmla="*/ 32 h 119"/>
                <a:gd name="T82" fmla="*/ 25 w 60"/>
                <a:gd name="T83" fmla="*/ 32 h 119"/>
                <a:gd name="T84" fmla="*/ 29 w 60"/>
                <a:gd name="T85" fmla="*/ 24 h 119"/>
                <a:gd name="T86" fmla="*/ 29 w 60"/>
                <a:gd name="T87" fmla="*/ 30 h 119"/>
                <a:gd name="T88" fmla="*/ 30 w 60"/>
                <a:gd name="T89" fmla="*/ 27 h 119"/>
                <a:gd name="T90" fmla="*/ 11 w 60"/>
                <a:gd name="T91" fmla="*/ 25 h 119"/>
                <a:gd name="T92" fmla="*/ 10 w 60"/>
                <a:gd name="T93" fmla="*/ 24 h 119"/>
                <a:gd name="T94" fmla="*/ 8 w 60"/>
                <a:gd name="T95" fmla="*/ 22 h 119"/>
                <a:gd name="T96" fmla="*/ 7 w 60"/>
                <a:gd name="T97" fmla="*/ 27 h 119"/>
                <a:gd name="T98" fmla="*/ 4 w 60"/>
                <a:gd name="T99" fmla="*/ 19 h 119"/>
                <a:gd name="T100" fmla="*/ 0 w 60"/>
                <a:gd name="T101" fmla="*/ 19 h 119"/>
                <a:gd name="T102" fmla="*/ 2 w 60"/>
                <a:gd name="T103" fmla="*/ 32 h 119"/>
                <a:gd name="T104" fmla="*/ 5 w 60"/>
                <a:gd name="T105" fmla="*/ 35 h 119"/>
                <a:gd name="T106" fmla="*/ 11 w 60"/>
                <a:gd name="T107" fmla="*/ 35 h 119"/>
                <a:gd name="T108" fmla="*/ 13 w 60"/>
                <a:gd name="T109" fmla="*/ 30 h 119"/>
                <a:gd name="T110" fmla="*/ 16 w 60"/>
                <a:gd name="T111" fmla="*/ 10 h 119"/>
                <a:gd name="T112" fmla="*/ 19 w 60"/>
                <a:gd name="T113" fmla="*/ 11 h 119"/>
                <a:gd name="T114" fmla="*/ 18 w 60"/>
                <a:gd name="T115" fmla="*/ 8 h 119"/>
                <a:gd name="T116" fmla="*/ 16 w 60"/>
                <a:gd name="T117" fmla="*/ 0 h 119"/>
                <a:gd name="T118" fmla="*/ 18 w 60"/>
                <a:gd name="T119" fmla="*/ 4 h 119"/>
                <a:gd name="T120" fmla="*/ 19 w 60"/>
                <a:gd name="T121" fmla="*/ 4 h 119"/>
                <a:gd name="T122" fmla="*/ 19 w 60"/>
                <a:gd name="T123" fmla="*/ 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 h="119">
                  <a:moveTo>
                    <a:pt x="60" y="118"/>
                  </a:moveTo>
                  <a:lnTo>
                    <a:pt x="58" y="118"/>
                  </a:lnTo>
                  <a:lnTo>
                    <a:pt x="57" y="118"/>
                  </a:lnTo>
                  <a:lnTo>
                    <a:pt x="57" y="119"/>
                  </a:lnTo>
                  <a:lnTo>
                    <a:pt x="58" y="119"/>
                  </a:lnTo>
                  <a:lnTo>
                    <a:pt x="60" y="119"/>
                  </a:lnTo>
                  <a:lnTo>
                    <a:pt x="60" y="119"/>
                  </a:lnTo>
                  <a:lnTo>
                    <a:pt x="60" y="118"/>
                  </a:lnTo>
                  <a:close/>
                  <a:moveTo>
                    <a:pt x="50" y="105"/>
                  </a:moveTo>
                  <a:lnTo>
                    <a:pt x="50" y="102"/>
                  </a:lnTo>
                  <a:lnTo>
                    <a:pt x="49" y="102"/>
                  </a:lnTo>
                  <a:lnTo>
                    <a:pt x="49" y="104"/>
                  </a:lnTo>
                  <a:lnTo>
                    <a:pt x="47" y="105"/>
                  </a:lnTo>
                  <a:lnTo>
                    <a:pt x="49" y="107"/>
                  </a:lnTo>
                  <a:lnTo>
                    <a:pt x="50" y="108"/>
                  </a:lnTo>
                  <a:lnTo>
                    <a:pt x="52" y="108"/>
                  </a:lnTo>
                  <a:lnTo>
                    <a:pt x="54" y="107"/>
                  </a:lnTo>
                  <a:lnTo>
                    <a:pt x="50" y="105"/>
                  </a:lnTo>
                  <a:close/>
                  <a:moveTo>
                    <a:pt x="49" y="94"/>
                  </a:moveTo>
                  <a:lnTo>
                    <a:pt x="47" y="93"/>
                  </a:lnTo>
                  <a:lnTo>
                    <a:pt x="49" y="93"/>
                  </a:lnTo>
                  <a:lnTo>
                    <a:pt x="47" y="91"/>
                  </a:lnTo>
                  <a:lnTo>
                    <a:pt x="47" y="90"/>
                  </a:lnTo>
                  <a:lnTo>
                    <a:pt x="46" y="90"/>
                  </a:lnTo>
                  <a:lnTo>
                    <a:pt x="44" y="90"/>
                  </a:lnTo>
                  <a:lnTo>
                    <a:pt x="44" y="91"/>
                  </a:lnTo>
                  <a:lnTo>
                    <a:pt x="44" y="94"/>
                  </a:lnTo>
                  <a:lnTo>
                    <a:pt x="44" y="94"/>
                  </a:lnTo>
                  <a:lnTo>
                    <a:pt x="49" y="96"/>
                  </a:lnTo>
                  <a:lnTo>
                    <a:pt x="49" y="96"/>
                  </a:lnTo>
                  <a:lnTo>
                    <a:pt x="50" y="96"/>
                  </a:lnTo>
                  <a:lnTo>
                    <a:pt x="49" y="94"/>
                  </a:lnTo>
                  <a:close/>
                  <a:moveTo>
                    <a:pt x="36" y="72"/>
                  </a:moveTo>
                  <a:lnTo>
                    <a:pt x="35" y="69"/>
                  </a:lnTo>
                  <a:lnTo>
                    <a:pt x="33" y="71"/>
                  </a:lnTo>
                  <a:lnTo>
                    <a:pt x="32" y="69"/>
                  </a:lnTo>
                  <a:lnTo>
                    <a:pt x="32" y="69"/>
                  </a:lnTo>
                  <a:lnTo>
                    <a:pt x="32" y="71"/>
                  </a:lnTo>
                  <a:lnTo>
                    <a:pt x="30" y="72"/>
                  </a:lnTo>
                  <a:lnTo>
                    <a:pt x="30" y="72"/>
                  </a:lnTo>
                  <a:lnTo>
                    <a:pt x="30" y="74"/>
                  </a:lnTo>
                  <a:lnTo>
                    <a:pt x="30" y="72"/>
                  </a:lnTo>
                  <a:lnTo>
                    <a:pt x="32" y="72"/>
                  </a:lnTo>
                  <a:lnTo>
                    <a:pt x="32" y="74"/>
                  </a:lnTo>
                  <a:lnTo>
                    <a:pt x="32" y="74"/>
                  </a:lnTo>
                  <a:lnTo>
                    <a:pt x="33" y="76"/>
                  </a:lnTo>
                  <a:lnTo>
                    <a:pt x="36" y="74"/>
                  </a:lnTo>
                  <a:lnTo>
                    <a:pt x="36" y="72"/>
                  </a:lnTo>
                  <a:lnTo>
                    <a:pt x="36" y="72"/>
                  </a:lnTo>
                  <a:close/>
                  <a:moveTo>
                    <a:pt x="35" y="57"/>
                  </a:moveTo>
                  <a:lnTo>
                    <a:pt x="33" y="55"/>
                  </a:lnTo>
                  <a:lnTo>
                    <a:pt x="32" y="54"/>
                  </a:lnTo>
                  <a:lnTo>
                    <a:pt x="32" y="54"/>
                  </a:lnTo>
                  <a:lnTo>
                    <a:pt x="30" y="54"/>
                  </a:lnTo>
                  <a:lnTo>
                    <a:pt x="30" y="52"/>
                  </a:lnTo>
                  <a:lnTo>
                    <a:pt x="30" y="52"/>
                  </a:lnTo>
                  <a:lnTo>
                    <a:pt x="29" y="54"/>
                  </a:lnTo>
                  <a:lnTo>
                    <a:pt x="29" y="55"/>
                  </a:lnTo>
                  <a:lnTo>
                    <a:pt x="29" y="55"/>
                  </a:lnTo>
                  <a:lnTo>
                    <a:pt x="30" y="57"/>
                  </a:lnTo>
                  <a:lnTo>
                    <a:pt x="30" y="57"/>
                  </a:lnTo>
                  <a:lnTo>
                    <a:pt x="32" y="57"/>
                  </a:lnTo>
                  <a:lnTo>
                    <a:pt x="35" y="57"/>
                  </a:lnTo>
                  <a:lnTo>
                    <a:pt x="35" y="57"/>
                  </a:lnTo>
                  <a:lnTo>
                    <a:pt x="35" y="57"/>
                  </a:lnTo>
                  <a:close/>
                  <a:moveTo>
                    <a:pt x="32" y="47"/>
                  </a:moveTo>
                  <a:lnTo>
                    <a:pt x="30" y="46"/>
                  </a:lnTo>
                  <a:lnTo>
                    <a:pt x="30" y="44"/>
                  </a:lnTo>
                  <a:lnTo>
                    <a:pt x="30" y="43"/>
                  </a:lnTo>
                  <a:lnTo>
                    <a:pt x="27" y="46"/>
                  </a:lnTo>
                  <a:lnTo>
                    <a:pt x="27" y="46"/>
                  </a:lnTo>
                  <a:lnTo>
                    <a:pt x="25" y="46"/>
                  </a:lnTo>
                  <a:lnTo>
                    <a:pt x="25" y="47"/>
                  </a:lnTo>
                  <a:lnTo>
                    <a:pt x="27" y="47"/>
                  </a:lnTo>
                  <a:lnTo>
                    <a:pt x="30" y="49"/>
                  </a:lnTo>
                  <a:lnTo>
                    <a:pt x="32" y="47"/>
                  </a:lnTo>
                  <a:lnTo>
                    <a:pt x="32" y="47"/>
                  </a:lnTo>
                  <a:lnTo>
                    <a:pt x="32" y="47"/>
                  </a:lnTo>
                  <a:close/>
                  <a:moveTo>
                    <a:pt x="22" y="49"/>
                  </a:moveTo>
                  <a:lnTo>
                    <a:pt x="22" y="47"/>
                  </a:lnTo>
                  <a:lnTo>
                    <a:pt x="22" y="47"/>
                  </a:lnTo>
                  <a:lnTo>
                    <a:pt x="21" y="47"/>
                  </a:lnTo>
                  <a:lnTo>
                    <a:pt x="21" y="47"/>
                  </a:lnTo>
                  <a:lnTo>
                    <a:pt x="18" y="44"/>
                  </a:lnTo>
                  <a:lnTo>
                    <a:pt x="18" y="44"/>
                  </a:lnTo>
                  <a:lnTo>
                    <a:pt x="18" y="44"/>
                  </a:lnTo>
                  <a:lnTo>
                    <a:pt x="16" y="44"/>
                  </a:lnTo>
                  <a:lnTo>
                    <a:pt x="14" y="41"/>
                  </a:lnTo>
                  <a:lnTo>
                    <a:pt x="13" y="40"/>
                  </a:lnTo>
                  <a:lnTo>
                    <a:pt x="13" y="40"/>
                  </a:lnTo>
                  <a:lnTo>
                    <a:pt x="13" y="41"/>
                  </a:lnTo>
                  <a:lnTo>
                    <a:pt x="11" y="43"/>
                  </a:lnTo>
                  <a:lnTo>
                    <a:pt x="13" y="44"/>
                  </a:lnTo>
                  <a:lnTo>
                    <a:pt x="13" y="44"/>
                  </a:lnTo>
                  <a:lnTo>
                    <a:pt x="14" y="44"/>
                  </a:lnTo>
                  <a:lnTo>
                    <a:pt x="14" y="44"/>
                  </a:lnTo>
                  <a:lnTo>
                    <a:pt x="16" y="46"/>
                  </a:lnTo>
                  <a:lnTo>
                    <a:pt x="16" y="49"/>
                  </a:lnTo>
                  <a:lnTo>
                    <a:pt x="18" y="51"/>
                  </a:lnTo>
                  <a:lnTo>
                    <a:pt x="16" y="51"/>
                  </a:lnTo>
                  <a:lnTo>
                    <a:pt x="18" y="52"/>
                  </a:lnTo>
                  <a:lnTo>
                    <a:pt x="18" y="52"/>
                  </a:lnTo>
                  <a:lnTo>
                    <a:pt x="19" y="51"/>
                  </a:lnTo>
                  <a:lnTo>
                    <a:pt x="22" y="51"/>
                  </a:lnTo>
                  <a:lnTo>
                    <a:pt x="24" y="51"/>
                  </a:lnTo>
                  <a:lnTo>
                    <a:pt x="22" y="49"/>
                  </a:lnTo>
                  <a:close/>
                  <a:moveTo>
                    <a:pt x="11" y="35"/>
                  </a:moveTo>
                  <a:lnTo>
                    <a:pt x="11" y="36"/>
                  </a:lnTo>
                  <a:lnTo>
                    <a:pt x="13" y="38"/>
                  </a:lnTo>
                  <a:lnTo>
                    <a:pt x="13" y="36"/>
                  </a:lnTo>
                  <a:lnTo>
                    <a:pt x="13" y="35"/>
                  </a:lnTo>
                  <a:lnTo>
                    <a:pt x="11" y="35"/>
                  </a:lnTo>
                  <a:close/>
                  <a:moveTo>
                    <a:pt x="30" y="33"/>
                  </a:moveTo>
                  <a:lnTo>
                    <a:pt x="30" y="32"/>
                  </a:lnTo>
                  <a:lnTo>
                    <a:pt x="29" y="36"/>
                  </a:lnTo>
                  <a:lnTo>
                    <a:pt x="30" y="41"/>
                  </a:lnTo>
                  <a:lnTo>
                    <a:pt x="30" y="41"/>
                  </a:lnTo>
                  <a:lnTo>
                    <a:pt x="30" y="41"/>
                  </a:lnTo>
                  <a:lnTo>
                    <a:pt x="32" y="41"/>
                  </a:lnTo>
                  <a:lnTo>
                    <a:pt x="32" y="40"/>
                  </a:lnTo>
                  <a:lnTo>
                    <a:pt x="30" y="33"/>
                  </a:lnTo>
                  <a:close/>
                  <a:moveTo>
                    <a:pt x="24" y="30"/>
                  </a:moveTo>
                  <a:lnTo>
                    <a:pt x="21" y="32"/>
                  </a:lnTo>
                  <a:lnTo>
                    <a:pt x="22" y="32"/>
                  </a:lnTo>
                  <a:lnTo>
                    <a:pt x="24" y="32"/>
                  </a:lnTo>
                  <a:lnTo>
                    <a:pt x="25" y="32"/>
                  </a:lnTo>
                  <a:lnTo>
                    <a:pt x="27" y="29"/>
                  </a:lnTo>
                  <a:lnTo>
                    <a:pt x="24" y="30"/>
                  </a:lnTo>
                  <a:close/>
                  <a:moveTo>
                    <a:pt x="29" y="24"/>
                  </a:moveTo>
                  <a:lnTo>
                    <a:pt x="29" y="24"/>
                  </a:lnTo>
                  <a:lnTo>
                    <a:pt x="29" y="24"/>
                  </a:lnTo>
                  <a:lnTo>
                    <a:pt x="29" y="30"/>
                  </a:lnTo>
                  <a:lnTo>
                    <a:pt x="30" y="30"/>
                  </a:lnTo>
                  <a:lnTo>
                    <a:pt x="30" y="30"/>
                  </a:lnTo>
                  <a:lnTo>
                    <a:pt x="30" y="27"/>
                  </a:lnTo>
                  <a:lnTo>
                    <a:pt x="29" y="24"/>
                  </a:lnTo>
                  <a:close/>
                  <a:moveTo>
                    <a:pt x="13" y="30"/>
                  </a:moveTo>
                  <a:lnTo>
                    <a:pt x="11" y="25"/>
                  </a:lnTo>
                  <a:lnTo>
                    <a:pt x="11" y="25"/>
                  </a:lnTo>
                  <a:lnTo>
                    <a:pt x="10" y="25"/>
                  </a:lnTo>
                  <a:lnTo>
                    <a:pt x="10" y="24"/>
                  </a:lnTo>
                  <a:lnTo>
                    <a:pt x="10" y="22"/>
                  </a:lnTo>
                  <a:lnTo>
                    <a:pt x="10" y="22"/>
                  </a:lnTo>
                  <a:lnTo>
                    <a:pt x="8" y="22"/>
                  </a:lnTo>
                  <a:lnTo>
                    <a:pt x="8" y="25"/>
                  </a:lnTo>
                  <a:lnTo>
                    <a:pt x="8" y="27"/>
                  </a:lnTo>
                  <a:lnTo>
                    <a:pt x="7" y="27"/>
                  </a:lnTo>
                  <a:lnTo>
                    <a:pt x="5" y="27"/>
                  </a:lnTo>
                  <a:lnTo>
                    <a:pt x="5" y="21"/>
                  </a:lnTo>
                  <a:lnTo>
                    <a:pt x="4" y="19"/>
                  </a:lnTo>
                  <a:lnTo>
                    <a:pt x="2" y="18"/>
                  </a:lnTo>
                  <a:lnTo>
                    <a:pt x="2" y="18"/>
                  </a:lnTo>
                  <a:lnTo>
                    <a:pt x="0" y="19"/>
                  </a:lnTo>
                  <a:lnTo>
                    <a:pt x="0" y="21"/>
                  </a:lnTo>
                  <a:lnTo>
                    <a:pt x="4" y="27"/>
                  </a:lnTo>
                  <a:lnTo>
                    <a:pt x="2" y="32"/>
                  </a:lnTo>
                  <a:lnTo>
                    <a:pt x="4" y="33"/>
                  </a:lnTo>
                  <a:lnTo>
                    <a:pt x="5" y="33"/>
                  </a:lnTo>
                  <a:lnTo>
                    <a:pt x="5" y="35"/>
                  </a:lnTo>
                  <a:lnTo>
                    <a:pt x="7" y="35"/>
                  </a:lnTo>
                  <a:lnTo>
                    <a:pt x="8" y="35"/>
                  </a:lnTo>
                  <a:lnTo>
                    <a:pt x="11" y="35"/>
                  </a:lnTo>
                  <a:lnTo>
                    <a:pt x="13" y="33"/>
                  </a:lnTo>
                  <a:lnTo>
                    <a:pt x="13" y="32"/>
                  </a:lnTo>
                  <a:lnTo>
                    <a:pt x="13" y="30"/>
                  </a:lnTo>
                  <a:close/>
                  <a:moveTo>
                    <a:pt x="18" y="8"/>
                  </a:moveTo>
                  <a:lnTo>
                    <a:pt x="16" y="8"/>
                  </a:lnTo>
                  <a:lnTo>
                    <a:pt x="16" y="10"/>
                  </a:lnTo>
                  <a:lnTo>
                    <a:pt x="16" y="11"/>
                  </a:lnTo>
                  <a:lnTo>
                    <a:pt x="16" y="11"/>
                  </a:lnTo>
                  <a:lnTo>
                    <a:pt x="19" y="11"/>
                  </a:lnTo>
                  <a:lnTo>
                    <a:pt x="19" y="10"/>
                  </a:lnTo>
                  <a:lnTo>
                    <a:pt x="19" y="10"/>
                  </a:lnTo>
                  <a:lnTo>
                    <a:pt x="18" y="8"/>
                  </a:lnTo>
                  <a:close/>
                  <a:moveTo>
                    <a:pt x="19" y="2"/>
                  </a:moveTo>
                  <a:lnTo>
                    <a:pt x="18" y="0"/>
                  </a:lnTo>
                  <a:lnTo>
                    <a:pt x="16" y="0"/>
                  </a:lnTo>
                  <a:lnTo>
                    <a:pt x="16" y="2"/>
                  </a:lnTo>
                  <a:lnTo>
                    <a:pt x="18" y="4"/>
                  </a:lnTo>
                  <a:lnTo>
                    <a:pt x="18" y="4"/>
                  </a:lnTo>
                  <a:lnTo>
                    <a:pt x="18" y="4"/>
                  </a:lnTo>
                  <a:lnTo>
                    <a:pt x="18" y="4"/>
                  </a:lnTo>
                  <a:lnTo>
                    <a:pt x="19" y="4"/>
                  </a:lnTo>
                  <a:lnTo>
                    <a:pt x="19" y="4"/>
                  </a:lnTo>
                  <a:lnTo>
                    <a:pt x="19" y="2"/>
                  </a:lnTo>
                  <a:lnTo>
                    <a:pt x="19" y="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1" name="Freeform 219">
              <a:extLst>
                <a:ext uri="{FF2B5EF4-FFF2-40B4-BE49-F238E27FC236}">
                  <a16:creationId xmlns:a16="http://schemas.microsoft.com/office/drawing/2014/main" id="{24CBE040-4B93-E3E4-CA24-6EAFAF257E58}"/>
                </a:ext>
              </a:extLst>
            </p:cNvPr>
            <p:cNvSpPr>
              <a:spLocks noEditPoints="1"/>
            </p:cNvSpPr>
            <p:nvPr/>
          </p:nvSpPr>
          <p:spPr bwMode="gray">
            <a:xfrm>
              <a:off x="3421" y="1239"/>
              <a:ext cx="211" cy="121"/>
            </a:xfrm>
            <a:custGeom>
              <a:avLst/>
              <a:gdLst>
                <a:gd name="T0" fmla="*/ 197 w 211"/>
                <a:gd name="T1" fmla="*/ 116 h 121"/>
                <a:gd name="T2" fmla="*/ 191 w 211"/>
                <a:gd name="T3" fmla="*/ 116 h 121"/>
                <a:gd name="T4" fmla="*/ 194 w 211"/>
                <a:gd name="T5" fmla="*/ 121 h 121"/>
                <a:gd name="T6" fmla="*/ 209 w 211"/>
                <a:gd name="T7" fmla="*/ 118 h 121"/>
                <a:gd name="T8" fmla="*/ 5 w 211"/>
                <a:gd name="T9" fmla="*/ 96 h 121"/>
                <a:gd name="T10" fmla="*/ 5 w 211"/>
                <a:gd name="T11" fmla="*/ 96 h 121"/>
                <a:gd name="T12" fmla="*/ 5 w 211"/>
                <a:gd name="T13" fmla="*/ 91 h 121"/>
                <a:gd name="T14" fmla="*/ 5 w 211"/>
                <a:gd name="T15" fmla="*/ 90 h 121"/>
                <a:gd name="T16" fmla="*/ 2 w 211"/>
                <a:gd name="T17" fmla="*/ 68 h 121"/>
                <a:gd name="T18" fmla="*/ 2 w 211"/>
                <a:gd name="T19" fmla="*/ 65 h 121"/>
                <a:gd name="T20" fmla="*/ 181 w 211"/>
                <a:gd name="T21" fmla="*/ 33 h 121"/>
                <a:gd name="T22" fmla="*/ 178 w 211"/>
                <a:gd name="T23" fmla="*/ 30 h 121"/>
                <a:gd name="T24" fmla="*/ 175 w 211"/>
                <a:gd name="T25" fmla="*/ 22 h 121"/>
                <a:gd name="T26" fmla="*/ 172 w 211"/>
                <a:gd name="T27" fmla="*/ 15 h 121"/>
                <a:gd name="T28" fmla="*/ 170 w 211"/>
                <a:gd name="T29" fmla="*/ 10 h 121"/>
                <a:gd name="T30" fmla="*/ 167 w 211"/>
                <a:gd name="T31" fmla="*/ 2 h 121"/>
                <a:gd name="T32" fmla="*/ 163 w 211"/>
                <a:gd name="T33" fmla="*/ 0 h 121"/>
                <a:gd name="T34" fmla="*/ 149 w 211"/>
                <a:gd name="T35" fmla="*/ 2 h 121"/>
                <a:gd name="T36" fmla="*/ 138 w 211"/>
                <a:gd name="T37" fmla="*/ 4 h 121"/>
                <a:gd name="T38" fmla="*/ 117 w 211"/>
                <a:gd name="T39" fmla="*/ 7 h 121"/>
                <a:gd name="T40" fmla="*/ 106 w 211"/>
                <a:gd name="T41" fmla="*/ 11 h 121"/>
                <a:gd name="T42" fmla="*/ 95 w 211"/>
                <a:gd name="T43" fmla="*/ 21 h 121"/>
                <a:gd name="T44" fmla="*/ 89 w 211"/>
                <a:gd name="T45" fmla="*/ 29 h 121"/>
                <a:gd name="T46" fmla="*/ 86 w 211"/>
                <a:gd name="T47" fmla="*/ 36 h 121"/>
                <a:gd name="T48" fmla="*/ 77 w 211"/>
                <a:gd name="T49" fmla="*/ 35 h 121"/>
                <a:gd name="T50" fmla="*/ 70 w 211"/>
                <a:gd name="T51" fmla="*/ 32 h 121"/>
                <a:gd name="T52" fmla="*/ 58 w 211"/>
                <a:gd name="T53" fmla="*/ 32 h 121"/>
                <a:gd name="T54" fmla="*/ 48 w 211"/>
                <a:gd name="T55" fmla="*/ 30 h 121"/>
                <a:gd name="T56" fmla="*/ 42 w 211"/>
                <a:gd name="T57" fmla="*/ 29 h 121"/>
                <a:gd name="T58" fmla="*/ 30 w 211"/>
                <a:gd name="T59" fmla="*/ 30 h 121"/>
                <a:gd name="T60" fmla="*/ 27 w 211"/>
                <a:gd name="T61" fmla="*/ 30 h 121"/>
                <a:gd name="T62" fmla="*/ 23 w 211"/>
                <a:gd name="T63" fmla="*/ 30 h 121"/>
                <a:gd name="T64" fmla="*/ 20 w 211"/>
                <a:gd name="T65" fmla="*/ 29 h 121"/>
                <a:gd name="T66" fmla="*/ 16 w 211"/>
                <a:gd name="T67" fmla="*/ 27 h 121"/>
                <a:gd name="T68" fmla="*/ 12 w 211"/>
                <a:gd name="T69" fmla="*/ 30 h 121"/>
                <a:gd name="T70" fmla="*/ 12 w 211"/>
                <a:gd name="T71" fmla="*/ 32 h 121"/>
                <a:gd name="T72" fmla="*/ 11 w 211"/>
                <a:gd name="T73" fmla="*/ 36 h 121"/>
                <a:gd name="T74" fmla="*/ 12 w 211"/>
                <a:gd name="T75" fmla="*/ 41 h 121"/>
                <a:gd name="T76" fmla="*/ 11 w 211"/>
                <a:gd name="T77" fmla="*/ 43 h 121"/>
                <a:gd name="T78" fmla="*/ 5 w 211"/>
                <a:gd name="T79" fmla="*/ 49 h 121"/>
                <a:gd name="T80" fmla="*/ 5 w 211"/>
                <a:gd name="T81" fmla="*/ 68 h 121"/>
                <a:gd name="T82" fmla="*/ 3 w 211"/>
                <a:gd name="T83" fmla="*/ 69 h 121"/>
                <a:gd name="T84" fmla="*/ 8 w 211"/>
                <a:gd name="T85" fmla="*/ 76 h 121"/>
                <a:gd name="T86" fmla="*/ 9 w 211"/>
                <a:gd name="T87" fmla="*/ 82 h 121"/>
                <a:gd name="T88" fmla="*/ 11 w 211"/>
                <a:gd name="T89" fmla="*/ 88 h 121"/>
                <a:gd name="T90" fmla="*/ 14 w 211"/>
                <a:gd name="T91" fmla="*/ 97 h 121"/>
                <a:gd name="T92" fmla="*/ 20 w 211"/>
                <a:gd name="T93" fmla="*/ 113 h 121"/>
                <a:gd name="T94" fmla="*/ 28 w 211"/>
                <a:gd name="T95" fmla="*/ 116 h 121"/>
                <a:gd name="T96" fmla="*/ 39 w 211"/>
                <a:gd name="T97" fmla="*/ 113 h 121"/>
                <a:gd name="T98" fmla="*/ 47 w 211"/>
                <a:gd name="T99" fmla="*/ 108 h 121"/>
                <a:gd name="T100" fmla="*/ 59 w 211"/>
                <a:gd name="T101" fmla="*/ 102 h 121"/>
                <a:gd name="T102" fmla="*/ 75 w 211"/>
                <a:gd name="T103" fmla="*/ 101 h 121"/>
                <a:gd name="T104" fmla="*/ 91 w 211"/>
                <a:gd name="T105" fmla="*/ 94 h 121"/>
                <a:gd name="T106" fmla="*/ 102 w 211"/>
                <a:gd name="T107" fmla="*/ 91 h 121"/>
                <a:gd name="T108" fmla="*/ 109 w 211"/>
                <a:gd name="T109" fmla="*/ 90 h 121"/>
                <a:gd name="T110" fmla="*/ 116 w 211"/>
                <a:gd name="T111" fmla="*/ 82 h 121"/>
                <a:gd name="T112" fmla="*/ 134 w 211"/>
                <a:gd name="T113" fmla="*/ 76 h 121"/>
                <a:gd name="T114" fmla="*/ 155 w 211"/>
                <a:gd name="T115" fmla="*/ 69 h 121"/>
                <a:gd name="T116" fmla="*/ 164 w 211"/>
                <a:gd name="T117" fmla="*/ 65 h 121"/>
                <a:gd name="T118" fmla="*/ 170 w 211"/>
                <a:gd name="T119" fmla="*/ 60 h 121"/>
                <a:gd name="T120" fmla="*/ 175 w 211"/>
                <a:gd name="T121" fmla="*/ 4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1" h="121">
                  <a:moveTo>
                    <a:pt x="205" y="115"/>
                  </a:moveTo>
                  <a:lnTo>
                    <a:pt x="200" y="115"/>
                  </a:lnTo>
                  <a:lnTo>
                    <a:pt x="199" y="116"/>
                  </a:lnTo>
                  <a:lnTo>
                    <a:pt x="197" y="116"/>
                  </a:lnTo>
                  <a:lnTo>
                    <a:pt x="195" y="115"/>
                  </a:lnTo>
                  <a:lnTo>
                    <a:pt x="194" y="115"/>
                  </a:lnTo>
                  <a:lnTo>
                    <a:pt x="192" y="115"/>
                  </a:lnTo>
                  <a:lnTo>
                    <a:pt x="191" y="116"/>
                  </a:lnTo>
                  <a:lnTo>
                    <a:pt x="191" y="116"/>
                  </a:lnTo>
                  <a:lnTo>
                    <a:pt x="189" y="118"/>
                  </a:lnTo>
                  <a:lnTo>
                    <a:pt x="192" y="119"/>
                  </a:lnTo>
                  <a:lnTo>
                    <a:pt x="194" y="121"/>
                  </a:lnTo>
                  <a:lnTo>
                    <a:pt x="197" y="121"/>
                  </a:lnTo>
                  <a:lnTo>
                    <a:pt x="203" y="121"/>
                  </a:lnTo>
                  <a:lnTo>
                    <a:pt x="206" y="119"/>
                  </a:lnTo>
                  <a:lnTo>
                    <a:pt x="209" y="118"/>
                  </a:lnTo>
                  <a:lnTo>
                    <a:pt x="209" y="118"/>
                  </a:lnTo>
                  <a:lnTo>
                    <a:pt x="211" y="118"/>
                  </a:lnTo>
                  <a:lnTo>
                    <a:pt x="205" y="115"/>
                  </a:lnTo>
                  <a:close/>
                  <a:moveTo>
                    <a:pt x="5" y="96"/>
                  </a:moveTo>
                  <a:lnTo>
                    <a:pt x="5" y="96"/>
                  </a:lnTo>
                  <a:lnTo>
                    <a:pt x="3" y="97"/>
                  </a:lnTo>
                  <a:lnTo>
                    <a:pt x="5" y="96"/>
                  </a:lnTo>
                  <a:lnTo>
                    <a:pt x="5" y="96"/>
                  </a:lnTo>
                  <a:lnTo>
                    <a:pt x="5" y="96"/>
                  </a:lnTo>
                  <a:close/>
                  <a:moveTo>
                    <a:pt x="5" y="90"/>
                  </a:moveTo>
                  <a:lnTo>
                    <a:pt x="3" y="91"/>
                  </a:lnTo>
                  <a:lnTo>
                    <a:pt x="5" y="91"/>
                  </a:lnTo>
                  <a:lnTo>
                    <a:pt x="5" y="93"/>
                  </a:lnTo>
                  <a:lnTo>
                    <a:pt x="5" y="91"/>
                  </a:lnTo>
                  <a:lnTo>
                    <a:pt x="5" y="91"/>
                  </a:lnTo>
                  <a:lnTo>
                    <a:pt x="5" y="90"/>
                  </a:lnTo>
                  <a:close/>
                  <a:moveTo>
                    <a:pt x="2" y="65"/>
                  </a:moveTo>
                  <a:lnTo>
                    <a:pt x="2" y="66"/>
                  </a:lnTo>
                  <a:lnTo>
                    <a:pt x="0" y="68"/>
                  </a:lnTo>
                  <a:lnTo>
                    <a:pt x="2" y="68"/>
                  </a:lnTo>
                  <a:lnTo>
                    <a:pt x="2" y="68"/>
                  </a:lnTo>
                  <a:lnTo>
                    <a:pt x="2" y="68"/>
                  </a:lnTo>
                  <a:lnTo>
                    <a:pt x="2" y="66"/>
                  </a:lnTo>
                  <a:lnTo>
                    <a:pt x="2" y="65"/>
                  </a:lnTo>
                  <a:close/>
                  <a:moveTo>
                    <a:pt x="184" y="41"/>
                  </a:moveTo>
                  <a:lnTo>
                    <a:pt x="183" y="38"/>
                  </a:lnTo>
                  <a:lnTo>
                    <a:pt x="183" y="36"/>
                  </a:lnTo>
                  <a:lnTo>
                    <a:pt x="181" y="33"/>
                  </a:lnTo>
                  <a:lnTo>
                    <a:pt x="181" y="32"/>
                  </a:lnTo>
                  <a:lnTo>
                    <a:pt x="180" y="32"/>
                  </a:lnTo>
                  <a:lnTo>
                    <a:pt x="178" y="30"/>
                  </a:lnTo>
                  <a:lnTo>
                    <a:pt x="178" y="30"/>
                  </a:lnTo>
                  <a:lnTo>
                    <a:pt x="178" y="27"/>
                  </a:lnTo>
                  <a:lnTo>
                    <a:pt x="177" y="25"/>
                  </a:lnTo>
                  <a:lnTo>
                    <a:pt x="177" y="24"/>
                  </a:lnTo>
                  <a:lnTo>
                    <a:pt x="175" y="22"/>
                  </a:lnTo>
                  <a:lnTo>
                    <a:pt x="175" y="21"/>
                  </a:lnTo>
                  <a:lnTo>
                    <a:pt x="174" y="19"/>
                  </a:lnTo>
                  <a:lnTo>
                    <a:pt x="174" y="16"/>
                  </a:lnTo>
                  <a:lnTo>
                    <a:pt x="172" y="15"/>
                  </a:lnTo>
                  <a:lnTo>
                    <a:pt x="172" y="15"/>
                  </a:lnTo>
                  <a:lnTo>
                    <a:pt x="172" y="13"/>
                  </a:lnTo>
                  <a:lnTo>
                    <a:pt x="170" y="11"/>
                  </a:lnTo>
                  <a:lnTo>
                    <a:pt x="170" y="10"/>
                  </a:lnTo>
                  <a:lnTo>
                    <a:pt x="169" y="8"/>
                  </a:lnTo>
                  <a:lnTo>
                    <a:pt x="169" y="5"/>
                  </a:lnTo>
                  <a:lnTo>
                    <a:pt x="167" y="4"/>
                  </a:lnTo>
                  <a:lnTo>
                    <a:pt x="167" y="2"/>
                  </a:lnTo>
                  <a:lnTo>
                    <a:pt x="166" y="0"/>
                  </a:lnTo>
                  <a:lnTo>
                    <a:pt x="166" y="0"/>
                  </a:lnTo>
                  <a:lnTo>
                    <a:pt x="163" y="0"/>
                  </a:lnTo>
                  <a:lnTo>
                    <a:pt x="163" y="0"/>
                  </a:lnTo>
                  <a:lnTo>
                    <a:pt x="158" y="2"/>
                  </a:lnTo>
                  <a:lnTo>
                    <a:pt x="158" y="2"/>
                  </a:lnTo>
                  <a:lnTo>
                    <a:pt x="153" y="2"/>
                  </a:lnTo>
                  <a:lnTo>
                    <a:pt x="149" y="2"/>
                  </a:lnTo>
                  <a:lnTo>
                    <a:pt x="144" y="4"/>
                  </a:lnTo>
                  <a:lnTo>
                    <a:pt x="144" y="4"/>
                  </a:lnTo>
                  <a:lnTo>
                    <a:pt x="138" y="4"/>
                  </a:lnTo>
                  <a:lnTo>
                    <a:pt x="138" y="4"/>
                  </a:lnTo>
                  <a:lnTo>
                    <a:pt x="133" y="5"/>
                  </a:lnTo>
                  <a:lnTo>
                    <a:pt x="127" y="5"/>
                  </a:lnTo>
                  <a:lnTo>
                    <a:pt x="122" y="7"/>
                  </a:lnTo>
                  <a:lnTo>
                    <a:pt x="117" y="7"/>
                  </a:lnTo>
                  <a:lnTo>
                    <a:pt x="116" y="8"/>
                  </a:lnTo>
                  <a:lnTo>
                    <a:pt x="114" y="8"/>
                  </a:lnTo>
                  <a:lnTo>
                    <a:pt x="111" y="10"/>
                  </a:lnTo>
                  <a:lnTo>
                    <a:pt x="106" y="11"/>
                  </a:lnTo>
                  <a:lnTo>
                    <a:pt x="102" y="15"/>
                  </a:lnTo>
                  <a:lnTo>
                    <a:pt x="100" y="16"/>
                  </a:lnTo>
                  <a:lnTo>
                    <a:pt x="97" y="19"/>
                  </a:lnTo>
                  <a:lnTo>
                    <a:pt x="95" y="21"/>
                  </a:lnTo>
                  <a:lnTo>
                    <a:pt x="92" y="24"/>
                  </a:lnTo>
                  <a:lnTo>
                    <a:pt x="92" y="24"/>
                  </a:lnTo>
                  <a:lnTo>
                    <a:pt x="91" y="25"/>
                  </a:lnTo>
                  <a:lnTo>
                    <a:pt x="89" y="29"/>
                  </a:lnTo>
                  <a:lnTo>
                    <a:pt x="89" y="29"/>
                  </a:lnTo>
                  <a:lnTo>
                    <a:pt x="88" y="32"/>
                  </a:lnTo>
                  <a:lnTo>
                    <a:pt x="86" y="35"/>
                  </a:lnTo>
                  <a:lnTo>
                    <a:pt x="86" y="36"/>
                  </a:lnTo>
                  <a:lnTo>
                    <a:pt x="83" y="36"/>
                  </a:lnTo>
                  <a:lnTo>
                    <a:pt x="81" y="38"/>
                  </a:lnTo>
                  <a:lnTo>
                    <a:pt x="78" y="38"/>
                  </a:lnTo>
                  <a:lnTo>
                    <a:pt x="77" y="35"/>
                  </a:lnTo>
                  <a:lnTo>
                    <a:pt x="75" y="33"/>
                  </a:lnTo>
                  <a:lnTo>
                    <a:pt x="73" y="32"/>
                  </a:lnTo>
                  <a:lnTo>
                    <a:pt x="73" y="32"/>
                  </a:lnTo>
                  <a:lnTo>
                    <a:pt x="70" y="32"/>
                  </a:lnTo>
                  <a:lnTo>
                    <a:pt x="67" y="33"/>
                  </a:lnTo>
                  <a:lnTo>
                    <a:pt x="67" y="33"/>
                  </a:lnTo>
                  <a:lnTo>
                    <a:pt x="63" y="32"/>
                  </a:lnTo>
                  <a:lnTo>
                    <a:pt x="58" y="32"/>
                  </a:lnTo>
                  <a:lnTo>
                    <a:pt x="58" y="32"/>
                  </a:lnTo>
                  <a:lnTo>
                    <a:pt x="53" y="32"/>
                  </a:lnTo>
                  <a:lnTo>
                    <a:pt x="52" y="32"/>
                  </a:lnTo>
                  <a:lnTo>
                    <a:pt x="48" y="30"/>
                  </a:lnTo>
                  <a:lnTo>
                    <a:pt x="47" y="29"/>
                  </a:lnTo>
                  <a:lnTo>
                    <a:pt x="47" y="29"/>
                  </a:lnTo>
                  <a:lnTo>
                    <a:pt x="47" y="29"/>
                  </a:lnTo>
                  <a:lnTo>
                    <a:pt x="42" y="29"/>
                  </a:lnTo>
                  <a:lnTo>
                    <a:pt x="39" y="29"/>
                  </a:lnTo>
                  <a:lnTo>
                    <a:pt x="36" y="30"/>
                  </a:lnTo>
                  <a:lnTo>
                    <a:pt x="33" y="29"/>
                  </a:lnTo>
                  <a:lnTo>
                    <a:pt x="30" y="30"/>
                  </a:lnTo>
                  <a:lnTo>
                    <a:pt x="28" y="30"/>
                  </a:lnTo>
                  <a:lnTo>
                    <a:pt x="28" y="30"/>
                  </a:lnTo>
                  <a:lnTo>
                    <a:pt x="27" y="30"/>
                  </a:lnTo>
                  <a:lnTo>
                    <a:pt x="27" y="30"/>
                  </a:lnTo>
                  <a:lnTo>
                    <a:pt x="25" y="30"/>
                  </a:lnTo>
                  <a:lnTo>
                    <a:pt x="25" y="30"/>
                  </a:lnTo>
                  <a:lnTo>
                    <a:pt x="25" y="30"/>
                  </a:lnTo>
                  <a:lnTo>
                    <a:pt x="23" y="30"/>
                  </a:lnTo>
                  <a:lnTo>
                    <a:pt x="23" y="30"/>
                  </a:lnTo>
                  <a:lnTo>
                    <a:pt x="23" y="30"/>
                  </a:lnTo>
                  <a:lnTo>
                    <a:pt x="22" y="30"/>
                  </a:lnTo>
                  <a:lnTo>
                    <a:pt x="20" y="29"/>
                  </a:lnTo>
                  <a:lnTo>
                    <a:pt x="19" y="29"/>
                  </a:lnTo>
                  <a:lnTo>
                    <a:pt x="19" y="27"/>
                  </a:lnTo>
                  <a:lnTo>
                    <a:pt x="17" y="27"/>
                  </a:lnTo>
                  <a:lnTo>
                    <a:pt x="16" y="27"/>
                  </a:lnTo>
                  <a:lnTo>
                    <a:pt x="16" y="27"/>
                  </a:lnTo>
                  <a:lnTo>
                    <a:pt x="14" y="29"/>
                  </a:lnTo>
                  <a:lnTo>
                    <a:pt x="14" y="29"/>
                  </a:lnTo>
                  <a:lnTo>
                    <a:pt x="12" y="30"/>
                  </a:lnTo>
                  <a:lnTo>
                    <a:pt x="12" y="30"/>
                  </a:lnTo>
                  <a:lnTo>
                    <a:pt x="12" y="32"/>
                  </a:lnTo>
                  <a:lnTo>
                    <a:pt x="12" y="32"/>
                  </a:lnTo>
                  <a:lnTo>
                    <a:pt x="12" y="32"/>
                  </a:lnTo>
                  <a:lnTo>
                    <a:pt x="11" y="33"/>
                  </a:lnTo>
                  <a:lnTo>
                    <a:pt x="11" y="33"/>
                  </a:lnTo>
                  <a:lnTo>
                    <a:pt x="11" y="35"/>
                  </a:lnTo>
                  <a:lnTo>
                    <a:pt x="11" y="36"/>
                  </a:lnTo>
                  <a:lnTo>
                    <a:pt x="11" y="38"/>
                  </a:lnTo>
                  <a:lnTo>
                    <a:pt x="11" y="40"/>
                  </a:lnTo>
                  <a:lnTo>
                    <a:pt x="12" y="40"/>
                  </a:lnTo>
                  <a:lnTo>
                    <a:pt x="12" y="41"/>
                  </a:lnTo>
                  <a:lnTo>
                    <a:pt x="11" y="43"/>
                  </a:lnTo>
                  <a:lnTo>
                    <a:pt x="11" y="43"/>
                  </a:lnTo>
                  <a:lnTo>
                    <a:pt x="11" y="43"/>
                  </a:lnTo>
                  <a:lnTo>
                    <a:pt x="11" y="43"/>
                  </a:lnTo>
                  <a:lnTo>
                    <a:pt x="9" y="44"/>
                  </a:lnTo>
                  <a:lnTo>
                    <a:pt x="9" y="44"/>
                  </a:lnTo>
                  <a:lnTo>
                    <a:pt x="8" y="46"/>
                  </a:lnTo>
                  <a:lnTo>
                    <a:pt x="5" y="49"/>
                  </a:lnTo>
                  <a:lnTo>
                    <a:pt x="6" y="55"/>
                  </a:lnTo>
                  <a:lnTo>
                    <a:pt x="3" y="61"/>
                  </a:lnTo>
                  <a:lnTo>
                    <a:pt x="5" y="66"/>
                  </a:lnTo>
                  <a:lnTo>
                    <a:pt x="5" y="68"/>
                  </a:lnTo>
                  <a:lnTo>
                    <a:pt x="5" y="68"/>
                  </a:lnTo>
                  <a:lnTo>
                    <a:pt x="5" y="68"/>
                  </a:lnTo>
                  <a:lnTo>
                    <a:pt x="3" y="68"/>
                  </a:lnTo>
                  <a:lnTo>
                    <a:pt x="3" y="69"/>
                  </a:lnTo>
                  <a:lnTo>
                    <a:pt x="6" y="71"/>
                  </a:lnTo>
                  <a:lnTo>
                    <a:pt x="6" y="72"/>
                  </a:lnTo>
                  <a:lnTo>
                    <a:pt x="8" y="74"/>
                  </a:lnTo>
                  <a:lnTo>
                    <a:pt x="8" y="76"/>
                  </a:lnTo>
                  <a:lnTo>
                    <a:pt x="8" y="76"/>
                  </a:lnTo>
                  <a:lnTo>
                    <a:pt x="8" y="77"/>
                  </a:lnTo>
                  <a:lnTo>
                    <a:pt x="8" y="77"/>
                  </a:lnTo>
                  <a:lnTo>
                    <a:pt x="9" y="82"/>
                  </a:lnTo>
                  <a:lnTo>
                    <a:pt x="9" y="82"/>
                  </a:lnTo>
                  <a:lnTo>
                    <a:pt x="9" y="82"/>
                  </a:lnTo>
                  <a:lnTo>
                    <a:pt x="9" y="85"/>
                  </a:lnTo>
                  <a:lnTo>
                    <a:pt x="11" y="88"/>
                  </a:lnTo>
                  <a:lnTo>
                    <a:pt x="11" y="91"/>
                  </a:lnTo>
                  <a:lnTo>
                    <a:pt x="12" y="94"/>
                  </a:lnTo>
                  <a:lnTo>
                    <a:pt x="14" y="97"/>
                  </a:lnTo>
                  <a:lnTo>
                    <a:pt x="14" y="97"/>
                  </a:lnTo>
                  <a:lnTo>
                    <a:pt x="12" y="104"/>
                  </a:lnTo>
                  <a:lnTo>
                    <a:pt x="17" y="112"/>
                  </a:lnTo>
                  <a:lnTo>
                    <a:pt x="17" y="115"/>
                  </a:lnTo>
                  <a:lnTo>
                    <a:pt x="20" y="113"/>
                  </a:lnTo>
                  <a:lnTo>
                    <a:pt x="23" y="115"/>
                  </a:lnTo>
                  <a:lnTo>
                    <a:pt x="25" y="116"/>
                  </a:lnTo>
                  <a:lnTo>
                    <a:pt x="27" y="116"/>
                  </a:lnTo>
                  <a:lnTo>
                    <a:pt x="28" y="116"/>
                  </a:lnTo>
                  <a:lnTo>
                    <a:pt x="31" y="116"/>
                  </a:lnTo>
                  <a:lnTo>
                    <a:pt x="33" y="115"/>
                  </a:lnTo>
                  <a:lnTo>
                    <a:pt x="38" y="113"/>
                  </a:lnTo>
                  <a:lnTo>
                    <a:pt x="39" y="113"/>
                  </a:lnTo>
                  <a:lnTo>
                    <a:pt x="42" y="113"/>
                  </a:lnTo>
                  <a:lnTo>
                    <a:pt x="44" y="113"/>
                  </a:lnTo>
                  <a:lnTo>
                    <a:pt x="45" y="110"/>
                  </a:lnTo>
                  <a:lnTo>
                    <a:pt x="47" y="108"/>
                  </a:lnTo>
                  <a:lnTo>
                    <a:pt x="50" y="108"/>
                  </a:lnTo>
                  <a:lnTo>
                    <a:pt x="53" y="105"/>
                  </a:lnTo>
                  <a:lnTo>
                    <a:pt x="55" y="104"/>
                  </a:lnTo>
                  <a:lnTo>
                    <a:pt x="59" y="102"/>
                  </a:lnTo>
                  <a:lnTo>
                    <a:pt x="64" y="102"/>
                  </a:lnTo>
                  <a:lnTo>
                    <a:pt x="70" y="102"/>
                  </a:lnTo>
                  <a:lnTo>
                    <a:pt x="73" y="101"/>
                  </a:lnTo>
                  <a:lnTo>
                    <a:pt x="75" y="101"/>
                  </a:lnTo>
                  <a:lnTo>
                    <a:pt x="78" y="99"/>
                  </a:lnTo>
                  <a:lnTo>
                    <a:pt x="83" y="97"/>
                  </a:lnTo>
                  <a:lnTo>
                    <a:pt x="86" y="97"/>
                  </a:lnTo>
                  <a:lnTo>
                    <a:pt x="91" y="94"/>
                  </a:lnTo>
                  <a:lnTo>
                    <a:pt x="94" y="91"/>
                  </a:lnTo>
                  <a:lnTo>
                    <a:pt x="95" y="91"/>
                  </a:lnTo>
                  <a:lnTo>
                    <a:pt x="97" y="90"/>
                  </a:lnTo>
                  <a:lnTo>
                    <a:pt x="102" y="91"/>
                  </a:lnTo>
                  <a:lnTo>
                    <a:pt x="105" y="91"/>
                  </a:lnTo>
                  <a:lnTo>
                    <a:pt x="106" y="90"/>
                  </a:lnTo>
                  <a:lnTo>
                    <a:pt x="108" y="90"/>
                  </a:lnTo>
                  <a:lnTo>
                    <a:pt x="109" y="90"/>
                  </a:lnTo>
                  <a:lnTo>
                    <a:pt x="113" y="87"/>
                  </a:lnTo>
                  <a:lnTo>
                    <a:pt x="114" y="85"/>
                  </a:lnTo>
                  <a:lnTo>
                    <a:pt x="114" y="83"/>
                  </a:lnTo>
                  <a:lnTo>
                    <a:pt x="116" y="82"/>
                  </a:lnTo>
                  <a:lnTo>
                    <a:pt x="120" y="80"/>
                  </a:lnTo>
                  <a:lnTo>
                    <a:pt x="124" y="79"/>
                  </a:lnTo>
                  <a:lnTo>
                    <a:pt x="130" y="76"/>
                  </a:lnTo>
                  <a:lnTo>
                    <a:pt x="134" y="76"/>
                  </a:lnTo>
                  <a:lnTo>
                    <a:pt x="138" y="74"/>
                  </a:lnTo>
                  <a:lnTo>
                    <a:pt x="141" y="72"/>
                  </a:lnTo>
                  <a:lnTo>
                    <a:pt x="149" y="71"/>
                  </a:lnTo>
                  <a:lnTo>
                    <a:pt x="155" y="69"/>
                  </a:lnTo>
                  <a:lnTo>
                    <a:pt x="159" y="68"/>
                  </a:lnTo>
                  <a:lnTo>
                    <a:pt x="161" y="66"/>
                  </a:lnTo>
                  <a:lnTo>
                    <a:pt x="163" y="65"/>
                  </a:lnTo>
                  <a:lnTo>
                    <a:pt x="164" y="65"/>
                  </a:lnTo>
                  <a:lnTo>
                    <a:pt x="166" y="63"/>
                  </a:lnTo>
                  <a:lnTo>
                    <a:pt x="169" y="63"/>
                  </a:lnTo>
                  <a:lnTo>
                    <a:pt x="170" y="61"/>
                  </a:lnTo>
                  <a:lnTo>
                    <a:pt x="170" y="60"/>
                  </a:lnTo>
                  <a:lnTo>
                    <a:pt x="170" y="55"/>
                  </a:lnTo>
                  <a:lnTo>
                    <a:pt x="170" y="52"/>
                  </a:lnTo>
                  <a:lnTo>
                    <a:pt x="172" y="49"/>
                  </a:lnTo>
                  <a:lnTo>
                    <a:pt x="175" y="47"/>
                  </a:lnTo>
                  <a:lnTo>
                    <a:pt x="177" y="46"/>
                  </a:lnTo>
                  <a:lnTo>
                    <a:pt x="186" y="43"/>
                  </a:lnTo>
                  <a:lnTo>
                    <a:pt x="184" y="4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2" name="Freeform 220">
              <a:extLst>
                <a:ext uri="{FF2B5EF4-FFF2-40B4-BE49-F238E27FC236}">
                  <a16:creationId xmlns:a16="http://schemas.microsoft.com/office/drawing/2014/main" id="{361AD5A9-18A4-21D2-68D5-955CCF619207}"/>
                </a:ext>
              </a:extLst>
            </p:cNvPr>
            <p:cNvSpPr>
              <a:spLocks/>
            </p:cNvSpPr>
            <p:nvPr/>
          </p:nvSpPr>
          <p:spPr bwMode="gray">
            <a:xfrm>
              <a:off x="3465" y="1800"/>
              <a:ext cx="3" cy="6"/>
            </a:xfrm>
            <a:custGeom>
              <a:avLst/>
              <a:gdLst>
                <a:gd name="T0" fmla="*/ 3 w 3"/>
                <a:gd name="T1" fmla="*/ 6 h 6"/>
                <a:gd name="T2" fmla="*/ 1 w 3"/>
                <a:gd name="T3" fmla="*/ 6 h 6"/>
                <a:gd name="T4" fmla="*/ 1 w 3"/>
                <a:gd name="T5" fmla="*/ 4 h 6"/>
                <a:gd name="T6" fmla="*/ 1 w 3"/>
                <a:gd name="T7" fmla="*/ 4 h 6"/>
                <a:gd name="T8" fmla="*/ 1 w 3"/>
                <a:gd name="T9" fmla="*/ 3 h 6"/>
                <a:gd name="T10" fmla="*/ 1 w 3"/>
                <a:gd name="T11" fmla="*/ 1 h 6"/>
                <a:gd name="T12" fmla="*/ 0 w 3"/>
                <a:gd name="T13" fmla="*/ 0 h 6"/>
                <a:gd name="T14" fmla="*/ 1 w 3"/>
                <a:gd name="T15" fmla="*/ 0 h 6"/>
                <a:gd name="T16" fmla="*/ 1 w 3"/>
                <a:gd name="T17" fmla="*/ 1 h 6"/>
                <a:gd name="T18" fmla="*/ 3 w 3"/>
                <a:gd name="T19" fmla="*/ 1 h 6"/>
                <a:gd name="T20" fmla="*/ 3 w 3"/>
                <a:gd name="T21" fmla="*/ 1 h 6"/>
                <a:gd name="T22" fmla="*/ 3 w 3"/>
                <a:gd name="T23" fmla="*/ 3 h 6"/>
                <a:gd name="T24" fmla="*/ 3 w 3"/>
                <a:gd name="T25" fmla="*/ 3 h 6"/>
                <a:gd name="T26" fmla="*/ 3 w 3"/>
                <a:gd name="T27" fmla="*/ 4 h 6"/>
                <a:gd name="T28" fmla="*/ 3 w 3"/>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3" y="6"/>
                  </a:moveTo>
                  <a:lnTo>
                    <a:pt x="1" y="6"/>
                  </a:lnTo>
                  <a:lnTo>
                    <a:pt x="1" y="4"/>
                  </a:lnTo>
                  <a:lnTo>
                    <a:pt x="1" y="4"/>
                  </a:lnTo>
                  <a:lnTo>
                    <a:pt x="1" y="3"/>
                  </a:lnTo>
                  <a:lnTo>
                    <a:pt x="1" y="1"/>
                  </a:lnTo>
                  <a:lnTo>
                    <a:pt x="0" y="0"/>
                  </a:lnTo>
                  <a:lnTo>
                    <a:pt x="1" y="0"/>
                  </a:lnTo>
                  <a:lnTo>
                    <a:pt x="1" y="1"/>
                  </a:lnTo>
                  <a:lnTo>
                    <a:pt x="3" y="1"/>
                  </a:lnTo>
                  <a:lnTo>
                    <a:pt x="3" y="1"/>
                  </a:lnTo>
                  <a:lnTo>
                    <a:pt x="3" y="3"/>
                  </a:lnTo>
                  <a:lnTo>
                    <a:pt x="3" y="3"/>
                  </a:lnTo>
                  <a:lnTo>
                    <a:pt x="3" y="4"/>
                  </a:lnTo>
                  <a:lnTo>
                    <a:pt x="3"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3" name="Freeform 221">
              <a:extLst>
                <a:ext uri="{FF2B5EF4-FFF2-40B4-BE49-F238E27FC236}">
                  <a16:creationId xmlns:a16="http://schemas.microsoft.com/office/drawing/2014/main" id="{A1A3F5F1-E4EA-81F2-8275-C2604BF25132}"/>
                </a:ext>
              </a:extLst>
            </p:cNvPr>
            <p:cNvSpPr>
              <a:spLocks noEditPoints="1"/>
            </p:cNvSpPr>
            <p:nvPr/>
          </p:nvSpPr>
          <p:spPr bwMode="gray">
            <a:xfrm>
              <a:off x="2963" y="1973"/>
              <a:ext cx="289" cy="252"/>
            </a:xfrm>
            <a:custGeom>
              <a:avLst/>
              <a:gdLst>
                <a:gd name="T0" fmla="*/ 275 w 289"/>
                <a:gd name="T1" fmla="*/ 91 h 252"/>
                <a:gd name="T2" fmla="*/ 261 w 289"/>
                <a:gd name="T3" fmla="*/ 99 h 252"/>
                <a:gd name="T4" fmla="*/ 253 w 289"/>
                <a:gd name="T5" fmla="*/ 82 h 252"/>
                <a:gd name="T6" fmla="*/ 267 w 289"/>
                <a:gd name="T7" fmla="*/ 72 h 252"/>
                <a:gd name="T8" fmla="*/ 273 w 289"/>
                <a:gd name="T9" fmla="*/ 60 h 252"/>
                <a:gd name="T10" fmla="*/ 270 w 289"/>
                <a:gd name="T11" fmla="*/ 36 h 252"/>
                <a:gd name="T12" fmla="*/ 266 w 289"/>
                <a:gd name="T13" fmla="*/ 22 h 252"/>
                <a:gd name="T14" fmla="*/ 258 w 289"/>
                <a:gd name="T15" fmla="*/ 3 h 252"/>
                <a:gd name="T16" fmla="*/ 227 w 289"/>
                <a:gd name="T17" fmla="*/ 2 h 252"/>
                <a:gd name="T18" fmla="*/ 216 w 289"/>
                <a:gd name="T19" fmla="*/ 8 h 252"/>
                <a:gd name="T20" fmla="*/ 202 w 289"/>
                <a:gd name="T21" fmla="*/ 16 h 252"/>
                <a:gd name="T22" fmla="*/ 197 w 289"/>
                <a:gd name="T23" fmla="*/ 21 h 252"/>
                <a:gd name="T24" fmla="*/ 189 w 289"/>
                <a:gd name="T25" fmla="*/ 27 h 252"/>
                <a:gd name="T26" fmla="*/ 181 w 289"/>
                <a:gd name="T27" fmla="*/ 41 h 252"/>
                <a:gd name="T28" fmla="*/ 167 w 289"/>
                <a:gd name="T29" fmla="*/ 50 h 252"/>
                <a:gd name="T30" fmla="*/ 161 w 289"/>
                <a:gd name="T31" fmla="*/ 66 h 252"/>
                <a:gd name="T32" fmla="*/ 147 w 289"/>
                <a:gd name="T33" fmla="*/ 71 h 252"/>
                <a:gd name="T34" fmla="*/ 130 w 289"/>
                <a:gd name="T35" fmla="*/ 66 h 252"/>
                <a:gd name="T36" fmla="*/ 114 w 289"/>
                <a:gd name="T37" fmla="*/ 61 h 252"/>
                <a:gd name="T38" fmla="*/ 106 w 289"/>
                <a:gd name="T39" fmla="*/ 79 h 252"/>
                <a:gd name="T40" fmla="*/ 92 w 289"/>
                <a:gd name="T41" fmla="*/ 91 h 252"/>
                <a:gd name="T42" fmla="*/ 78 w 289"/>
                <a:gd name="T43" fmla="*/ 90 h 252"/>
                <a:gd name="T44" fmla="*/ 76 w 289"/>
                <a:gd name="T45" fmla="*/ 77 h 252"/>
                <a:gd name="T46" fmla="*/ 72 w 289"/>
                <a:gd name="T47" fmla="*/ 60 h 252"/>
                <a:gd name="T48" fmla="*/ 55 w 289"/>
                <a:gd name="T49" fmla="*/ 126 h 252"/>
                <a:gd name="T50" fmla="*/ 48 w 289"/>
                <a:gd name="T51" fmla="*/ 132 h 252"/>
                <a:gd name="T52" fmla="*/ 23 w 289"/>
                <a:gd name="T53" fmla="*/ 129 h 252"/>
                <a:gd name="T54" fmla="*/ 17 w 289"/>
                <a:gd name="T55" fmla="*/ 121 h 252"/>
                <a:gd name="T56" fmla="*/ 11 w 289"/>
                <a:gd name="T57" fmla="*/ 115 h 252"/>
                <a:gd name="T58" fmla="*/ 6 w 289"/>
                <a:gd name="T59" fmla="*/ 122 h 252"/>
                <a:gd name="T60" fmla="*/ 9 w 289"/>
                <a:gd name="T61" fmla="*/ 141 h 252"/>
                <a:gd name="T62" fmla="*/ 34 w 289"/>
                <a:gd name="T63" fmla="*/ 199 h 252"/>
                <a:gd name="T64" fmla="*/ 26 w 289"/>
                <a:gd name="T65" fmla="*/ 215 h 252"/>
                <a:gd name="T66" fmla="*/ 36 w 289"/>
                <a:gd name="T67" fmla="*/ 232 h 252"/>
                <a:gd name="T68" fmla="*/ 36 w 289"/>
                <a:gd name="T69" fmla="*/ 238 h 252"/>
                <a:gd name="T70" fmla="*/ 42 w 289"/>
                <a:gd name="T71" fmla="*/ 243 h 252"/>
                <a:gd name="T72" fmla="*/ 51 w 289"/>
                <a:gd name="T73" fmla="*/ 246 h 252"/>
                <a:gd name="T74" fmla="*/ 70 w 289"/>
                <a:gd name="T75" fmla="*/ 246 h 252"/>
                <a:gd name="T76" fmla="*/ 91 w 289"/>
                <a:gd name="T77" fmla="*/ 244 h 252"/>
                <a:gd name="T78" fmla="*/ 122 w 289"/>
                <a:gd name="T79" fmla="*/ 237 h 252"/>
                <a:gd name="T80" fmla="*/ 153 w 289"/>
                <a:gd name="T81" fmla="*/ 235 h 252"/>
                <a:gd name="T82" fmla="*/ 180 w 289"/>
                <a:gd name="T83" fmla="*/ 230 h 252"/>
                <a:gd name="T84" fmla="*/ 223 w 289"/>
                <a:gd name="T85" fmla="*/ 194 h 252"/>
                <a:gd name="T86" fmla="*/ 253 w 289"/>
                <a:gd name="T87" fmla="*/ 155 h 252"/>
                <a:gd name="T88" fmla="*/ 278 w 289"/>
                <a:gd name="T89" fmla="*/ 126 h 252"/>
                <a:gd name="T90" fmla="*/ 228 w 289"/>
                <a:gd name="T91" fmla="*/ 140 h 252"/>
                <a:gd name="T92" fmla="*/ 222 w 289"/>
                <a:gd name="T93" fmla="*/ 152 h 252"/>
                <a:gd name="T94" fmla="*/ 213 w 289"/>
                <a:gd name="T95" fmla="*/ 157 h 252"/>
                <a:gd name="T96" fmla="*/ 205 w 289"/>
                <a:gd name="T97" fmla="*/ 166 h 252"/>
                <a:gd name="T98" fmla="*/ 194 w 289"/>
                <a:gd name="T99" fmla="*/ 162 h 252"/>
                <a:gd name="T100" fmla="*/ 192 w 289"/>
                <a:gd name="T101" fmla="*/ 158 h 252"/>
                <a:gd name="T102" fmla="*/ 186 w 289"/>
                <a:gd name="T103" fmla="*/ 147 h 252"/>
                <a:gd name="T104" fmla="*/ 194 w 289"/>
                <a:gd name="T105" fmla="*/ 140 h 252"/>
                <a:gd name="T106" fmla="*/ 208 w 289"/>
                <a:gd name="T107" fmla="*/ 127 h 252"/>
                <a:gd name="T108" fmla="*/ 219 w 289"/>
                <a:gd name="T109" fmla="*/ 129 h 252"/>
                <a:gd name="T110" fmla="*/ 228 w 289"/>
                <a:gd name="T111" fmla="*/ 13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9" h="252">
                  <a:moveTo>
                    <a:pt x="288" y="91"/>
                  </a:moveTo>
                  <a:lnTo>
                    <a:pt x="284" y="91"/>
                  </a:lnTo>
                  <a:lnTo>
                    <a:pt x="281" y="91"/>
                  </a:lnTo>
                  <a:lnTo>
                    <a:pt x="280" y="91"/>
                  </a:lnTo>
                  <a:lnTo>
                    <a:pt x="277" y="91"/>
                  </a:lnTo>
                  <a:lnTo>
                    <a:pt x="275" y="91"/>
                  </a:lnTo>
                  <a:lnTo>
                    <a:pt x="275" y="91"/>
                  </a:lnTo>
                  <a:lnTo>
                    <a:pt x="275" y="91"/>
                  </a:lnTo>
                  <a:lnTo>
                    <a:pt x="273" y="90"/>
                  </a:lnTo>
                  <a:lnTo>
                    <a:pt x="273" y="90"/>
                  </a:lnTo>
                  <a:lnTo>
                    <a:pt x="273" y="93"/>
                  </a:lnTo>
                  <a:lnTo>
                    <a:pt x="272" y="97"/>
                  </a:lnTo>
                  <a:lnTo>
                    <a:pt x="273" y="100"/>
                  </a:lnTo>
                  <a:lnTo>
                    <a:pt x="269" y="100"/>
                  </a:lnTo>
                  <a:lnTo>
                    <a:pt x="264" y="99"/>
                  </a:lnTo>
                  <a:lnTo>
                    <a:pt x="261" y="99"/>
                  </a:lnTo>
                  <a:lnTo>
                    <a:pt x="258" y="96"/>
                  </a:lnTo>
                  <a:lnTo>
                    <a:pt x="255" y="93"/>
                  </a:lnTo>
                  <a:lnTo>
                    <a:pt x="253" y="90"/>
                  </a:lnTo>
                  <a:lnTo>
                    <a:pt x="253" y="90"/>
                  </a:lnTo>
                  <a:lnTo>
                    <a:pt x="252" y="90"/>
                  </a:lnTo>
                  <a:lnTo>
                    <a:pt x="252" y="86"/>
                  </a:lnTo>
                  <a:lnTo>
                    <a:pt x="252" y="83"/>
                  </a:lnTo>
                  <a:lnTo>
                    <a:pt x="253" y="82"/>
                  </a:lnTo>
                  <a:lnTo>
                    <a:pt x="255" y="79"/>
                  </a:lnTo>
                  <a:lnTo>
                    <a:pt x="256" y="75"/>
                  </a:lnTo>
                  <a:lnTo>
                    <a:pt x="258" y="74"/>
                  </a:lnTo>
                  <a:lnTo>
                    <a:pt x="259" y="71"/>
                  </a:lnTo>
                  <a:lnTo>
                    <a:pt x="263" y="69"/>
                  </a:lnTo>
                  <a:lnTo>
                    <a:pt x="263" y="69"/>
                  </a:lnTo>
                  <a:lnTo>
                    <a:pt x="263" y="69"/>
                  </a:lnTo>
                  <a:lnTo>
                    <a:pt x="267" y="72"/>
                  </a:lnTo>
                  <a:lnTo>
                    <a:pt x="272" y="74"/>
                  </a:lnTo>
                  <a:lnTo>
                    <a:pt x="272" y="74"/>
                  </a:lnTo>
                  <a:lnTo>
                    <a:pt x="272" y="74"/>
                  </a:lnTo>
                  <a:lnTo>
                    <a:pt x="272" y="72"/>
                  </a:lnTo>
                  <a:lnTo>
                    <a:pt x="272" y="69"/>
                  </a:lnTo>
                  <a:lnTo>
                    <a:pt x="273" y="68"/>
                  </a:lnTo>
                  <a:lnTo>
                    <a:pt x="273" y="61"/>
                  </a:lnTo>
                  <a:lnTo>
                    <a:pt x="273" y="60"/>
                  </a:lnTo>
                  <a:lnTo>
                    <a:pt x="273" y="57"/>
                  </a:lnTo>
                  <a:lnTo>
                    <a:pt x="273" y="52"/>
                  </a:lnTo>
                  <a:lnTo>
                    <a:pt x="273" y="47"/>
                  </a:lnTo>
                  <a:lnTo>
                    <a:pt x="273" y="44"/>
                  </a:lnTo>
                  <a:lnTo>
                    <a:pt x="273" y="43"/>
                  </a:lnTo>
                  <a:lnTo>
                    <a:pt x="272" y="43"/>
                  </a:lnTo>
                  <a:lnTo>
                    <a:pt x="272" y="39"/>
                  </a:lnTo>
                  <a:lnTo>
                    <a:pt x="270" y="36"/>
                  </a:lnTo>
                  <a:lnTo>
                    <a:pt x="270" y="33"/>
                  </a:lnTo>
                  <a:lnTo>
                    <a:pt x="269" y="32"/>
                  </a:lnTo>
                  <a:lnTo>
                    <a:pt x="269" y="30"/>
                  </a:lnTo>
                  <a:lnTo>
                    <a:pt x="267" y="30"/>
                  </a:lnTo>
                  <a:lnTo>
                    <a:pt x="267" y="27"/>
                  </a:lnTo>
                  <a:lnTo>
                    <a:pt x="266" y="25"/>
                  </a:lnTo>
                  <a:lnTo>
                    <a:pt x="266" y="25"/>
                  </a:lnTo>
                  <a:lnTo>
                    <a:pt x="266" y="22"/>
                  </a:lnTo>
                  <a:lnTo>
                    <a:pt x="264" y="18"/>
                  </a:lnTo>
                  <a:lnTo>
                    <a:pt x="264" y="13"/>
                  </a:lnTo>
                  <a:lnTo>
                    <a:pt x="263" y="10"/>
                  </a:lnTo>
                  <a:lnTo>
                    <a:pt x="261" y="7"/>
                  </a:lnTo>
                  <a:lnTo>
                    <a:pt x="261" y="7"/>
                  </a:lnTo>
                  <a:lnTo>
                    <a:pt x="261" y="5"/>
                  </a:lnTo>
                  <a:lnTo>
                    <a:pt x="259" y="3"/>
                  </a:lnTo>
                  <a:lnTo>
                    <a:pt x="258" y="3"/>
                  </a:lnTo>
                  <a:lnTo>
                    <a:pt x="255" y="3"/>
                  </a:lnTo>
                  <a:lnTo>
                    <a:pt x="252" y="3"/>
                  </a:lnTo>
                  <a:lnTo>
                    <a:pt x="247" y="3"/>
                  </a:lnTo>
                  <a:lnTo>
                    <a:pt x="242" y="3"/>
                  </a:lnTo>
                  <a:lnTo>
                    <a:pt x="236" y="2"/>
                  </a:lnTo>
                  <a:lnTo>
                    <a:pt x="233" y="0"/>
                  </a:lnTo>
                  <a:lnTo>
                    <a:pt x="228" y="2"/>
                  </a:lnTo>
                  <a:lnTo>
                    <a:pt x="227" y="2"/>
                  </a:lnTo>
                  <a:lnTo>
                    <a:pt x="223" y="2"/>
                  </a:lnTo>
                  <a:lnTo>
                    <a:pt x="222" y="3"/>
                  </a:lnTo>
                  <a:lnTo>
                    <a:pt x="220" y="3"/>
                  </a:lnTo>
                  <a:lnTo>
                    <a:pt x="220" y="3"/>
                  </a:lnTo>
                  <a:lnTo>
                    <a:pt x="220" y="5"/>
                  </a:lnTo>
                  <a:lnTo>
                    <a:pt x="220" y="5"/>
                  </a:lnTo>
                  <a:lnTo>
                    <a:pt x="219" y="7"/>
                  </a:lnTo>
                  <a:lnTo>
                    <a:pt x="216" y="8"/>
                  </a:lnTo>
                  <a:lnTo>
                    <a:pt x="213" y="8"/>
                  </a:lnTo>
                  <a:lnTo>
                    <a:pt x="213" y="8"/>
                  </a:lnTo>
                  <a:lnTo>
                    <a:pt x="213" y="8"/>
                  </a:lnTo>
                  <a:lnTo>
                    <a:pt x="213" y="8"/>
                  </a:lnTo>
                  <a:lnTo>
                    <a:pt x="209" y="8"/>
                  </a:lnTo>
                  <a:lnTo>
                    <a:pt x="206" y="11"/>
                  </a:lnTo>
                  <a:lnTo>
                    <a:pt x="203" y="14"/>
                  </a:lnTo>
                  <a:lnTo>
                    <a:pt x="202" y="16"/>
                  </a:lnTo>
                  <a:lnTo>
                    <a:pt x="202" y="18"/>
                  </a:lnTo>
                  <a:lnTo>
                    <a:pt x="202" y="18"/>
                  </a:lnTo>
                  <a:lnTo>
                    <a:pt x="200" y="19"/>
                  </a:lnTo>
                  <a:lnTo>
                    <a:pt x="200" y="19"/>
                  </a:lnTo>
                  <a:lnTo>
                    <a:pt x="198" y="21"/>
                  </a:lnTo>
                  <a:lnTo>
                    <a:pt x="198" y="21"/>
                  </a:lnTo>
                  <a:lnTo>
                    <a:pt x="198" y="21"/>
                  </a:lnTo>
                  <a:lnTo>
                    <a:pt x="197" y="21"/>
                  </a:lnTo>
                  <a:lnTo>
                    <a:pt x="197" y="21"/>
                  </a:lnTo>
                  <a:lnTo>
                    <a:pt x="195" y="22"/>
                  </a:lnTo>
                  <a:lnTo>
                    <a:pt x="195" y="22"/>
                  </a:lnTo>
                  <a:lnTo>
                    <a:pt x="195" y="24"/>
                  </a:lnTo>
                  <a:lnTo>
                    <a:pt x="192" y="24"/>
                  </a:lnTo>
                  <a:lnTo>
                    <a:pt x="191" y="25"/>
                  </a:lnTo>
                  <a:lnTo>
                    <a:pt x="191" y="25"/>
                  </a:lnTo>
                  <a:lnTo>
                    <a:pt x="189" y="27"/>
                  </a:lnTo>
                  <a:lnTo>
                    <a:pt x="189" y="27"/>
                  </a:lnTo>
                  <a:lnTo>
                    <a:pt x="187" y="27"/>
                  </a:lnTo>
                  <a:lnTo>
                    <a:pt x="186" y="30"/>
                  </a:lnTo>
                  <a:lnTo>
                    <a:pt x="186" y="32"/>
                  </a:lnTo>
                  <a:lnTo>
                    <a:pt x="183" y="41"/>
                  </a:lnTo>
                  <a:lnTo>
                    <a:pt x="183" y="41"/>
                  </a:lnTo>
                  <a:lnTo>
                    <a:pt x="183" y="41"/>
                  </a:lnTo>
                  <a:lnTo>
                    <a:pt x="181" y="41"/>
                  </a:lnTo>
                  <a:lnTo>
                    <a:pt x="180" y="43"/>
                  </a:lnTo>
                  <a:lnTo>
                    <a:pt x="177" y="46"/>
                  </a:lnTo>
                  <a:lnTo>
                    <a:pt x="177" y="47"/>
                  </a:lnTo>
                  <a:lnTo>
                    <a:pt x="175" y="47"/>
                  </a:lnTo>
                  <a:lnTo>
                    <a:pt x="170" y="49"/>
                  </a:lnTo>
                  <a:lnTo>
                    <a:pt x="170" y="49"/>
                  </a:lnTo>
                  <a:lnTo>
                    <a:pt x="169" y="49"/>
                  </a:lnTo>
                  <a:lnTo>
                    <a:pt x="167" y="50"/>
                  </a:lnTo>
                  <a:lnTo>
                    <a:pt x="166" y="50"/>
                  </a:lnTo>
                  <a:lnTo>
                    <a:pt x="166" y="54"/>
                  </a:lnTo>
                  <a:lnTo>
                    <a:pt x="166" y="54"/>
                  </a:lnTo>
                  <a:lnTo>
                    <a:pt x="164" y="58"/>
                  </a:lnTo>
                  <a:lnTo>
                    <a:pt x="162" y="61"/>
                  </a:lnTo>
                  <a:lnTo>
                    <a:pt x="162" y="63"/>
                  </a:lnTo>
                  <a:lnTo>
                    <a:pt x="162" y="63"/>
                  </a:lnTo>
                  <a:lnTo>
                    <a:pt x="161" y="66"/>
                  </a:lnTo>
                  <a:lnTo>
                    <a:pt x="159" y="68"/>
                  </a:lnTo>
                  <a:lnTo>
                    <a:pt x="158" y="69"/>
                  </a:lnTo>
                  <a:lnTo>
                    <a:pt x="156" y="69"/>
                  </a:lnTo>
                  <a:lnTo>
                    <a:pt x="155" y="69"/>
                  </a:lnTo>
                  <a:lnTo>
                    <a:pt x="153" y="69"/>
                  </a:lnTo>
                  <a:lnTo>
                    <a:pt x="150" y="69"/>
                  </a:lnTo>
                  <a:lnTo>
                    <a:pt x="148" y="71"/>
                  </a:lnTo>
                  <a:lnTo>
                    <a:pt x="147" y="71"/>
                  </a:lnTo>
                  <a:lnTo>
                    <a:pt x="142" y="71"/>
                  </a:lnTo>
                  <a:lnTo>
                    <a:pt x="141" y="69"/>
                  </a:lnTo>
                  <a:lnTo>
                    <a:pt x="139" y="69"/>
                  </a:lnTo>
                  <a:lnTo>
                    <a:pt x="136" y="68"/>
                  </a:lnTo>
                  <a:lnTo>
                    <a:pt x="134" y="68"/>
                  </a:lnTo>
                  <a:lnTo>
                    <a:pt x="133" y="68"/>
                  </a:lnTo>
                  <a:lnTo>
                    <a:pt x="131" y="66"/>
                  </a:lnTo>
                  <a:lnTo>
                    <a:pt x="130" y="66"/>
                  </a:lnTo>
                  <a:lnTo>
                    <a:pt x="128" y="63"/>
                  </a:lnTo>
                  <a:lnTo>
                    <a:pt x="125" y="61"/>
                  </a:lnTo>
                  <a:lnTo>
                    <a:pt x="122" y="60"/>
                  </a:lnTo>
                  <a:lnTo>
                    <a:pt x="120" y="60"/>
                  </a:lnTo>
                  <a:lnTo>
                    <a:pt x="119" y="60"/>
                  </a:lnTo>
                  <a:lnTo>
                    <a:pt x="117" y="61"/>
                  </a:lnTo>
                  <a:lnTo>
                    <a:pt x="116" y="61"/>
                  </a:lnTo>
                  <a:lnTo>
                    <a:pt x="114" y="61"/>
                  </a:lnTo>
                  <a:lnTo>
                    <a:pt x="114" y="65"/>
                  </a:lnTo>
                  <a:lnTo>
                    <a:pt x="112" y="66"/>
                  </a:lnTo>
                  <a:lnTo>
                    <a:pt x="112" y="68"/>
                  </a:lnTo>
                  <a:lnTo>
                    <a:pt x="111" y="71"/>
                  </a:lnTo>
                  <a:lnTo>
                    <a:pt x="109" y="75"/>
                  </a:lnTo>
                  <a:lnTo>
                    <a:pt x="108" y="77"/>
                  </a:lnTo>
                  <a:lnTo>
                    <a:pt x="108" y="77"/>
                  </a:lnTo>
                  <a:lnTo>
                    <a:pt x="106" y="79"/>
                  </a:lnTo>
                  <a:lnTo>
                    <a:pt x="102" y="82"/>
                  </a:lnTo>
                  <a:lnTo>
                    <a:pt x="100" y="85"/>
                  </a:lnTo>
                  <a:lnTo>
                    <a:pt x="98" y="86"/>
                  </a:lnTo>
                  <a:lnTo>
                    <a:pt x="97" y="86"/>
                  </a:lnTo>
                  <a:lnTo>
                    <a:pt x="95" y="88"/>
                  </a:lnTo>
                  <a:lnTo>
                    <a:pt x="94" y="88"/>
                  </a:lnTo>
                  <a:lnTo>
                    <a:pt x="94" y="90"/>
                  </a:lnTo>
                  <a:lnTo>
                    <a:pt x="92" y="91"/>
                  </a:lnTo>
                  <a:lnTo>
                    <a:pt x="92" y="91"/>
                  </a:lnTo>
                  <a:lnTo>
                    <a:pt x="89" y="91"/>
                  </a:lnTo>
                  <a:lnTo>
                    <a:pt x="89" y="91"/>
                  </a:lnTo>
                  <a:lnTo>
                    <a:pt x="89" y="91"/>
                  </a:lnTo>
                  <a:lnTo>
                    <a:pt x="81" y="91"/>
                  </a:lnTo>
                  <a:lnTo>
                    <a:pt x="80" y="90"/>
                  </a:lnTo>
                  <a:lnTo>
                    <a:pt x="78" y="90"/>
                  </a:lnTo>
                  <a:lnTo>
                    <a:pt x="78" y="90"/>
                  </a:lnTo>
                  <a:lnTo>
                    <a:pt x="76" y="91"/>
                  </a:lnTo>
                  <a:lnTo>
                    <a:pt x="75" y="90"/>
                  </a:lnTo>
                  <a:lnTo>
                    <a:pt x="75" y="88"/>
                  </a:lnTo>
                  <a:lnTo>
                    <a:pt x="73" y="85"/>
                  </a:lnTo>
                  <a:lnTo>
                    <a:pt x="73" y="83"/>
                  </a:lnTo>
                  <a:lnTo>
                    <a:pt x="75" y="80"/>
                  </a:lnTo>
                  <a:lnTo>
                    <a:pt x="76" y="80"/>
                  </a:lnTo>
                  <a:lnTo>
                    <a:pt x="76" y="77"/>
                  </a:lnTo>
                  <a:lnTo>
                    <a:pt x="78" y="77"/>
                  </a:lnTo>
                  <a:lnTo>
                    <a:pt x="76" y="75"/>
                  </a:lnTo>
                  <a:lnTo>
                    <a:pt x="76" y="74"/>
                  </a:lnTo>
                  <a:lnTo>
                    <a:pt x="76" y="74"/>
                  </a:lnTo>
                  <a:lnTo>
                    <a:pt x="76" y="72"/>
                  </a:lnTo>
                  <a:lnTo>
                    <a:pt x="75" y="69"/>
                  </a:lnTo>
                  <a:lnTo>
                    <a:pt x="73" y="65"/>
                  </a:lnTo>
                  <a:lnTo>
                    <a:pt x="72" y="60"/>
                  </a:lnTo>
                  <a:lnTo>
                    <a:pt x="70" y="58"/>
                  </a:lnTo>
                  <a:lnTo>
                    <a:pt x="69" y="55"/>
                  </a:lnTo>
                  <a:lnTo>
                    <a:pt x="64" y="50"/>
                  </a:lnTo>
                  <a:lnTo>
                    <a:pt x="62" y="50"/>
                  </a:lnTo>
                  <a:lnTo>
                    <a:pt x="62" y="122"/>
                  </a:lnTo>
                  <a:lnTo>
                    <a:pt x="61" y="122"/>
                  </a:lnTo>
                  <a:lnTo>
                    <a:pt x="58" y="124"/>
                  </a:lnTo>
                  <a:lnTo>
                    <a:pt x="55" y="126"/>
                  </a:lnTo>
                  <a:lnTo>
                    <a:pt x="55" y="127"/>
                  </a:lnTo>
                  <a:lnTo>
                    <a:pt x="53" y="127"/>
                  </a:lnTo>
                  <a:lnTo>
                    <a:pt x="51" y="129"/>
                  </a:lnTo>
                  <a:lnTo>
                    <a:pt x="50" y="129"/>
                  </a:lnTo>
                  <a:lnTo>
                    <a:pt x="50" y="130"/>
                  </a:lnTo>
                  <a:lnTo>
                    <a:pt x="50" y="132"/>
                  </a:lnTo>
                  <a:lnTo>
                    <a:pt x="50" y="132"/>
                  </a:lnTo>
                  <a:lnTo>
                    <a:pt x="48" y="132"/>
                  </a:lnTo>
                  <a:lnTo>
                    <a:pt x="45" y="132"/>
                  </a:lnTo>
                  <a:lnTo>
                    <a:pt x="42" y="130"/>
                  </a:lnTo>
                  <a:lnTo>
                    <a:pt x="39" y="130"/>
                  </a:lnTo>
                  <a:lnTo>
                    <a:pt x="33" y="132"/>
                  </a:lnTo>
                  <a:lnTo>
                    <a:pt x="30" y="130"/>
                  </a:lnTo>
                  <a:lnTo>
                    <a:pt x="28" y="130"/>
                  </a:lnTo>
                  <a:lnTo>
                    <a:pt x="25" y="129"/>
                  </a:lnTo>
                  <a:lnTo>
                    <a:pt x="23" y="129"/>
                  </a:lnTo>
                  <a:lnTo>
                    <a:pt x="22" y="129"/>
                  </a:lnTo>
                  <a:lnTo>
                    <a:pt x="19" y="127"/>
                  </a:lnTo>
                  <a:lnTo>
                    <a:pt x="17" y="126"/>
                  </a:lnTo>
                  <a:lnTo>
                    <a:pt x="17" y="124"/>
                  </a:lnTo>
                  <a:lnTo>
                    <a:pt x="17" y="124"/>
                  </a:lnTo>
                  <a:lnTo>
                    <a:pt x="16" y="122"/>
                  </a:lnTo>
                  <a:lnTo>
                    <a:pt x="17" y="122"/>
                  </a:lnTo>
                  <a:lnTo>
                    <a:pt x="17" y="121"/>
                  </a:lnTo>
                  <a:lnTo>
                    <a:pt x="17" y="119"/>
                  </a:lnTo>
                  <a:lnTo>
                    <a:pt x="16" y="118"/>
                  </a:lnTo>
                  <a:lnTo>
                    <a:pt x="14" y="118"/>
                  </a:lnTo>
                  <a:lnTo>
                    <a:pt x="14" y="118"/>
                  </a:lnTo>
                  <a:lnTo>
                    <a:pt x="14" y="116"/>
                  </a:lnTo>
                  <a:lnTo>
                    <a:pt x="12" y="115"/>
                  </a:lnTo>
                  <a:lnTo>
                    <a:pt x="12" y="115"/>
                  </a:lnTo>
                  <a:lnTo>
                    <a:pt x="11" y="115"/>
                  </a:lnTo>
                  <a:lnTo>
                    <a:pt x="9" y="115"/>
                  </a:lnTo>
                  <a:lnTo>
                    <a:pt x="8" y="116"/>
                  </a:lnTo>
                  <a:lnTo>
                    <a:pt x="8" y="118"/>
                  </a:lnTo>
                  <a:lnTo>
                    <a:pt x="8" y="119"/>
                  </a:lnTo>
                  <a:lnTo>
                    <a:pt x="6" y="121"/>
                  </a:lnTo>
                  <a:lnTo>
                    <a:pt x="6" y="121"/>
                  </a:lnTo>
                  <a:lnTo>
                    <a:pt x="6" y="122"/>
                  </a:lnTo>
                  <a:lnTo>
                    <a:pt x="6" y="122"/>
                  </a:lnTo>
                  <a:lnTo>
                    <a:pt x="6" y="122"/>
                  </a:lnTo>
                  <a:lnTo>
                    <a:pt x="5" y="122"/>
                  </a:lnTo>
                  <a:lnTo>
                    <a:pt x="3" y="122"/>
                  </a:lnTo>
                  <a:lnTo>
                    <a:pt x="1" y="126"/>
                  </a:lnTo>
                  <a:lnTo>
                    <a:pt x="0" y="126"/>
                  </a:lnTo>
                  <a:lnTo>
                    <a:pt x="1" y="126"/>
                  </a:lnTo>
                  <a:lnTo>
                    <a:pt x="6" y="133"/>
                  </a:lnTo>
                  <a:lnTo>
                    <a:pt x="9" y="141"/>
                  </a:lnTo>
                  <a:lnTo>
                    <a:pt x="14" y="155"/>
                  </a:lnTo>
                  <a:lnTo>
                    <a:pt x="17" y="163"/>
                  </a:lnTo>
                  <a:lnTo>
                    <a:pt x="22" y="174"/>
                  </a:lnTo>
                  <a:lnTo>
                    <a:pt x="26" y="182"/>
                  </a:lnTo>
                  <a:lnTo>
                    <a:pt x="31" y="187"/>
                  </a:lnTo>
                  <a:lnTo>
                    <a:pt x="31" y="190"/>
                  </a:lnTo>
                  <a:lnTo>
                    <a:pt x="33" y="198"/>
                  </a:lnTo>
                  <a:lnTo>
                    <a:pt x="34" y="199"/>
                  </a:lnTo>
                  <a:lnTo>
                    <a:pt x="34" y="205"/>
                  </a:lnTo>
                  <a:lnTo>
                    <a:pt x="33" y="208"/>
                  </a:lnTo>
                  <a:lnTo>
                    <a:pt x="30" y="210"/>
                  </a:lnTo>
                  <a:lnTo>
                    <a:pt x="28" y="210"/>
                  </a:lnTo>
                  <a:lnTo>
                    <a:pt x="26" y="208"/>
                  </a:lnTo>
                  <a:lnTo>
                    <a:pt x="26" y="210"/>
                  </a:lnTo>
                  <a:lnTo>
                    <a:pt x="25" y="212"/>
                  </a:lnTo>
                  <a:lnTo>
                    <a:pt x="26" y="215"/>
                  </a:lnTo>
                  <a:lnTo>
                    <a:pt x="26" y="216"/>
                  </a:lnTo>
                  <a:lnTo>
                    <a:pt x="28" y="218"/>
                  </a:lnTo>
                  <a:lnTo>
                    <a:pt x="30" y="219"/>
                  </a:lnTo>
                  <a:lnTo>
                    <a:pt x="31" y="223"/>
                  </a:lnTo>
                  <a:lnTo>
                    <a:pt x="33" y="224"/>
                  </a:lnTo>
                  <a:lnTo>
                    <a:pt x="33" y="226"/>
                  </a:lnTo>
                  <a:lnTo>
                    <a:pt x="36" y="230"/>
                  </a:lnTo>
                  <a:lnTo>
                    <a:pt x="36" y="232"/>
                  </a:lnTo>
                  <a:lnTo>
                    <a:pt x="36" y="234"/>
                  </a:lnTo>
                  <a:lnTo>
                    <a:pt x="34" y="235"/>
                  </a:lnTo>
                  <a:lnTo>
                    <a:pt x="34" y="238"/>
                  </a:lnTo>
                  <a:lnTo>
                    <a:pt x="34" y="240"/>
                  </a:lnTo>
                  <a:lnTo>
                    <a:pt x="34" y="243"/>
                  </a:lnTo>
                  <a:lnTo>
                    <a:pt x="36" y="243"/>
                  </a:lnTo>
                  <a:lnTo>
                    <a:pt x="36" y="240"/>
                  </a:lnTo>
                  <a:lnTo>
                    <a:pt x="36" y="238"/>
                  </a:lnTo>
                  <a:lnTo>
                    <a:pt x="37" y="238"/>
                  </a:lnTo>
                  <a:lnTo>
                    <a:pt x="39" y="238"/>
                  </a:lnTo>
                  <a:lnTo>
                    <a:pt x="41" y="238"/>
                  </a:lnTo>
                  <a:lnTo>
                    <a:pt x="41" y="238"/>
                  </a:lnTo>
                  <a:lnTo>
                    <a:pt x="42" y="238"/>
                  </a:lnTo>
                  <a:lnTo>
                    <a:pt x="42" y="240"/>
                  </a:lnTo>
                  <a:lnTo>
                    <a:pt x="42" y="241"/>
                  </a:lnTo>
                  <a:lnTo>
                    <a:pt x="42" y="243"/>
                  </a:lnTo>
                  <a:lnTo>
                    <a:pt x="42" y="243"/>
                  </a:lnTo>
                  <a:lnTo>
                    <a:pt x="44" y="243"/>
                  </a:lnTo>
                  <a:lnTo>
                    <a:pt x="45" y="243"/>
                  </a:lnTo>
                  <a:lnTo>
                    <a:pt x="47" y="243"/>
                  </a:lnTo>
                  <a:lnTo>
                    <a:pt x="48" y="244"/>
                  </a:lnTo>
                  <a:lnTo>
                    <a:pt x="50" y="244"/>
                  </a:lnTo>
                  <a:lnTo>
                    <a:pt x="50" y="244"/>
                  </a:lnTo>
                  <a:lnTo>
                    <a:pt x="51" y="246"/>
                  </a:lnTo>
                  <a:lnTo>
                    <a:pt x="51" y="248"/>
                  </a:lnTo>
                  <a:lnTo>
                    <a:pt x="50" y="249"/>
                  </a:lnTo>
                  <a:lnTo>
                    <a:pt x="51" y="249"/>
                  </a:lnTo>
                  <a:lnTo>
                    <a:pt x="56" y="252"/>
                  </a:lnTo>
                  <a:lnTo>
                    <a:pt x="61" y="252"/>
                  </a:lnTo>
                  <a:lnTo>
                    <a:pt x="61" y="252"/>
                  </a:lnTo>
                  <a:lnTo>
                    <a:pt x="64" y="252"/>
                  </a:lnTo>
                  <a:lnTo>
                    <a:pt x="70" y="246"/>
                  </a:lnTo>
                  <a:lnTo>
                    <a:pt x="72" y="246"/>
                  </a:lnTo>
                  <a:lnTo>
                    <a:pt x="76" y="244"/>
                  </a:lnTo>
                  <a:lnTo>
                    <a:pt x="78" y="244"/>
                  </a:lnTo>
                  <a:lnTo>
                    <a:pt x="80" y="244"/>
                  </a:lnTo>
                  <a:lnTo>
                    <a:pt x="81" y="243"/>
                  </a:lnTo>
                  <a:lnTo>
                    <a:pt x="84" y="244"/>
                  </a:lnTo>
                  <a:lnTo>
                    <a:pt x="86" y="244"/>
                  </a:lnTo>
                  <a:lnTo>
                    <a:pt x="91" y="244"/>
                  </a:lnTo>
                  <a:lnTo>
                    <a:pt x="94" y="244"/>
                  </a:lnTo>
                  <a:lnTo>
                    <a:pt x="103" y="237"/>
                  </a:lnTo>
                  <a:lnTo>
                    <a:pt x="105" y="237"/>
                  </a:lnTo>
                  <a:lnTo>
                    <a:pt x="108" y="237"/>
                  </a:lnTo>
                  <a:lnTo>
                    <a:pt x="111" y="237"/>
                  </a:lnTo>
                  <a:lnTo>
                    <a:pt x="114" y="237"/>
                  </a:lnTo>
                  <a:lnTo>
                    <a:pt x="120" y="238"/>
                  </a:lnTo>
                  <a:lnTo>
                    <a:pt x="122" y="237"/>
                  </a:lnTo>
                  <a:lnTo>
                    <a:pt x="127" y="235"/>
                  </a:lnTo>
                  <a:lnTo>
                    <a:pt x="128" y="235"/>
                  </a:lnTo>
                  <a:lnTo>
                    <a:pt x="136" y="237"/>
                  </a:lnTo>
                  <a:lnTo>
                    <a:pt x="144" y="240"/>
                  </a:lnTo>
                  <a:lnTo>
                    <a:pt x="148" y="240"/>
                  </a:lnTo>
                  <a:lnTo>
                    <a:pt x="148" y="237"/>
                  </a:lnTo>
                  <a:lnTo>
                    <a:pt x="150" y="235"/>
                  </a:lnTo>
                  <a:lnTo>
                    <a:pt x="153" y="235"/>
                  </a:lnTo>
                  <a:lnTo>
                    <a:pt x="159" y="237"/>
                  </a:lnTo>
                  <a:lnTo>
                    <a:pt x="161" y="237"/>
                  </a:lnTo>
                  <a:lnTo>
                    <a:pt x="162" y="237"/>
                  </a:lnTo>
                  <a:lnTo>
                    <a:pt x="162" y="234"/>
                  </a:lnTo>
                  <a:lnTo>
                    <a:pt x="164" y="230"/>
                  </a:lnTo>
                  <a:lnTo>
                    <a:pt x="169" y="230"/>
                  </a:lnTo>
                  <a:lnTo>
                    <a:pt x="175" y="230"/>
                  </a:lnTo>
                  <a:lnTo>
                    <a:pt x="180" y="230"/>
                  </a:lnTo>
                  <a:lnTo>
                    <a:pt x="187" y="226"/>
                  </a:lnTo>
                  <a:lnTo>
                    <a:pt x="192" y="223"/>
                  </a:lnTo>
                  <a:lnTo>
                    <a:pt x="198" y="216"/>
                  </a:lnTo>
                  <a:lnTo>
                    <a:pt x="202" y="216"/>
                  </a:lnTo>
                  <a:lnTo>
                    <a:pt x="208" y="210"/>
                  </a:lnTo>
                  <a:lnTo>
                    <a:pt x="211" y="207"/>
                  </a:lnTo>
                  <a:lnTo>
                    <a:pt x="219" y="201"/>
                  </a:lnTo>
                  <a:lnTo>
                    <a:pt x="223" y="194"/>
                  </a:lnTo>
                  <a:lnTo>
                    <a:pt x="230" y="188"/>
                  </a:lnTo>
                  <a:lnTo>
                    <a:pt x="234" y="183"/>
                  </a:lnTo>
                  <a:lnTo>
                    <a:pt x="236" y="182"/>
                  </a:lnTo>
                  <a:lnTo>
                    <a:pt x="238" y="180"/>
                  </a:lnTo>
                  <a:lnTo>
                    <a:pt x="244" y="172"/>
                  </a:lnTo>
                  <a:lnTo>
                    <a:pt x="247" y="168"/>
                  </a:lnTo>
                  <a:lnTo>
                    <a:pt x="250" y="162"/>
                  </a:lnTo>
                  <a:lnTo>
                    <a:pt x="253" y="155"/>
                  </a:lnTo>
                  <a:lnTo>
                    <a:pt x="256" y="152"/>
                  </a:lnTo>
                  <a:lnTo>
                    <a:pt x="259" y="146"/>
                  </a:lnTo>
                  <a:lnTo>
                    <a:pt x="263" y="141"/>
                  </a:lnTo>
                  <a:lnTo>
                    <a:pt x="270" y="132"/>
                  </a:lnTo>
                  <a:lnTo>
                    <a:pt x="272" y="132"/>
                  </a:lnTo>
                  <a:lnTo>
                    <a:pt x="273" y="132"/>
                  </a:lnTo>
                  <a:lnTo>
                    <a:pt x="273" y="130"/>
                  </a:lnTo>
                  <a:lnTo>
                    <a:pt x="278" y="126"/>
                  </a:lnTo>
                  <a:lnTo>
                    <a:pt x="280" y="124"/>
                  </a:lnTo>
                  <a:lnTo>
                    <a:pt x="283" y="118"/>
                  </a:lnTo>
                  <a:lnTo>
                    <a:pt x="284" y="105"/>
                  </a:lnTo>
                  <a:lnTo>
                    <a:pt x="286" y="102"/>
                  </a:lnTo>
                  <a:lnTo>
                    <a:pt x="289" y="96"/>
                  </a:lnTo>
                  <a:lnTo>
                    <a:pt x="289" y="91"/>
                  </a:lnTo>
                  <a:lnTo>
                    <a:pt x="288" y="91"/>
                  </a:lnTo>
                  <a:close/>
                  <a:moveTo>
                    <a:pt x="228" y="140"/>
                  </a:moveTo>
                  <a:lnTo>
                    <a:pt x="227" y="143"/>
                  </a:lnTo>
                  <a:lnTo>
                    <a:pt x="227" y="144"/>
                  </a:lnTo>
                  <a:lnTo>
                    <a:pt x="225" y="146"/>
                  </a:lnTo>
                  <a:lnTo>
                    <a:pt x="225" y="146"/>
                  </a:lnTo>
                  <a:lnTo>
                    <a:pt x="225" y="146"/>
                  </a:lnTo>
                  <a:lnTo>
                    <a:pt x="223" y="147"/>
                  </a:lnTo>
                  <a:lnTo>
                    <a:pt x="223" y="149"/>
                  </a:lnTo>
                  <a:lnTo>
                    <a:pt x="222" y="152"/>
                  </a:lnTo>
                  <a:lnTo>
                    <a:pt x="222" y="152"/>
                  </a:lnTo>
                  <a:lnTo>
                    <a:pt x="220" y="154"/>
                  </a:lnTo>
                  <a:lnTo>
                    <a:pt x="219" y="154"/>
                  </a:lnTo>
                  <a:lnTo>
                    <a:pt x="216" y="155"/>
                  </a:lnTo>
                  <a:lnTo>
                    <a:pt x="214" y="155"/>
                  </a:lnTo>
                  <a:lnTo>
                    <a:pt x="214" y="157"/>
                  </a:lnTo>
                  <a:lnTo>
                    <a:pt x="214" y="155"/>
                  </a:lnTo>
                  <a:lnTo>
                    <a:pt x="213" y="157"/>
                  </a:lnTo>
                  <a:lnTo>
                    <a:pt x="211" y="157"/>
                  </a:lnTo>
                  <a:lnTo>
                    <a:pt x="211" y="157"/>
                  </a:lnTo>
                  <a:lnTo>
                    <a:pt x="209" y="158"/>
                  </a:lnTo>
                  <a:lnTo>
                    <a:pt x="206" y="162"/>
                  </a:lnTo>
                  <a:lnTo>
                    <a:pt x="206" y="163"/>
                  </a:lnTo>
                  <a:lnTo>
                    <a:pt x="206" y="165"/>
                  </a:lnTo>
                  <a:lnTo>
                    <a:pt x="205" y="165"/>
                  </a:lnTo>
                  <a:lnTo>
                    <a:pt x="205" y="166"/>
                  </a:lnTo>
                  <a:lnTo>
                    <a:pt x="203" y="166"/>
                  </a:lnTo>
                  <a:lnTo>
                    <a:pt x="202" y="166"/>
                  </a:lnTo>
                  <a:lnTo>
                    <a:pt x="198" y="166"/>
                  </a:lnTo>
                  <a:lnTo>
                    <a:pt x="197" y="165"/>
                  </a:lnTo>
                  <a:lnTo>
                    <a:pt x="197" y="163"/>
                  </a:lnTo>
                  <a:lnTo>
                    <a:pt x="195" y="162"/>
                  </a:lnTo>
                  <a:lnTo>
                    <a:pt x="195" y="162"/>
                  </a:lnTo>
                  <a:lnTo>
                    <a:pt x="194" y="162"/>
                  </a:lnTo>
                  <a:lnTo>
                    <a:pt x="194" y="162"/>
                  </a:lnTo>
                  <a:lnTo>
                    <a:pt x="194" y="160"/>
                  </a:lnTo>
                  <a:lnTo>
                    <a:pt x="194" y="160"/>
                  </a:lnTo>
                  <a:lnTo>
                    <a:pt x="194" y="160"/>
                  </a:lnTo>
                  <a:lnTo>
                    <a:pt x="194" y="160"/>
                  </a:lnTo>
                  <a:lnTo>
                    <a:pt x="192" y="160"/>
                  </a:lnTo>
                  <a:lnTo>
                    <a:pt x="192" y="160"/>
                  </a:lnTo>
                  <a:lnTo>
                    <a:pt x="192" y="158"/>
                  </a:lnTo>
                  <a:lnTo>
                    <a:pt x="192" y="158"/>
                  </a:lnTo>
                  <a:lnTo>
                    <a:pt x="192" y="157"/>
                  </a:lnTo>
                  <a:lnTo>
                    <a:pt x="191" y="155"/>
                  </a:lnTo>
                  <a:lnTo>
                    <a:pt x="191" y="154"/>
                  </a:lnTo>
                  <a:lnTo>
                    <a:pt x="189" y="152"/>
                  </a:lnTo>
                  <a:lnTo>
                    <a:pt x="187" y="151"/>
                  </a:lnTo>
                  <a:lnTo>
                    <a:pt x="187" y="149"/>
                  </a:lnTo>
                  <a:lnTo>
                    <a:pt x="186" y="147"/>
                  </a:lnTo>
                  <a:lnTo>
                    <a:pt x="187" y="146"/>
                  </a:lnTo>
                  <a:lnTo>
                    <a:pt x="187" y="146"/>
                  </a:lnTo>
                  <a:lnTo>
                    <a:pt x="189" y="144"/>
                  </a:lnTo>
                  <a:lnTo>
                    <a:pt x="191" y="144"/>
                  </a:lnTo>
                  <a:lnTo>
                    <a:pt x="192" y="143"/>
                  </a:lnTo>
                  <a:lnTo>
                    <a:pt x="194" y="141"/>
                  </a:lnTo>
                  <a:lnTo>
                    <a:pt x="194" y="140"/>
                  </a:lnTo>
                  <a:lnTo>
                    <a:pt x="194" y="140"/>
                  </a:lnTo>
                  <a:lnTo>
                    <a:pt x="195" y="138"/>
                  </a:lnTo>
                  <a:lnTo>
                    <a:pt x="197" y="136"/>
                  </a:lnTo>
                  <a:lnTo>
                    <a:pt x="197" y="135"/>
                  </a:lnTo>
                  <a:lnTo>
                    <a:pt x="198" y="132"/>
                  </a:lnTo>
                  <a:lnTo>
                    <a:pt x="200" y="132"/>
                  </a:lnTo>
                  <a:lnTo>
                    <a:pt x="203" y="130"/>
                  </a:lnTo>
                  <a:lnTo>
                    <a:pt x="205" y="129"/>
                  </a:lnTo>
                  <a:lnTo>
                    <a:pt x="208" y="127"/>
                  </a:lnTo>
                  <a:lnTo>
                    <a:pt x="211" y="126"/>
                  </a:lnTo>
                  <a:lnTo>
                    <a:pt x="214" y="126"/>
                  </a:lnTo>
                  <a:lnTo>
                    <a:pt x="214" y="126"/>
                  </a:lnTo>
                  <a:lnTo>
                    <a:pt x="214" y="126"/>
                  </a:lnTo>
                  <a:lnTo>
                    <a:pt x="216" y="127"/>
                  </a:lnTo>
                  <a:lnTo>
                    <a:pt x="216" y="127"/>
                  </a:lnTo>
                  <a:lnTo>
                    <a:pt x="217" y="129"/>
                  </a:lnTo>
                  <a:lnTo>
                    <a:pt x="219" y="129"/>
                  </a:lnTo>
                  <a:lnTo>
                    <a:pt x="220" y="130"/>
                  </a:lnTo>
                  <a:lnTo>
                    <a:pt x="222" y="132"/>
                  </a:lnTo>
                  <a:lnTo>
                    <a:pt x="223" y="133"/>
                  </a:lnTo>
                  <a:lnTo>
                    <a:pt x="225" y="135"/>
                  </a:lnTo>
                  <a:lnTo>
                    <a:pt x="227" y="135"/>
                  </a:lnTo>
                  <a:lnTo>
                    <a:pt x="227" y="136"/>
                  </a:lnTo>
                  <a:lnTo>
                    <a:pt x="228" y="138"/>
                  </a:lnTo>
                  <a:lnTo>
                    <a:pt x="228" y="138"/>
                  </a:lnTo>
                  <a:lnTo>
                    <a:pt x="228" y="14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4" name="Freeform 222">
              <a:extLst>
                <a:ext uri="{FF2B5EF4-FFF2-40B4-BE49-F238E27FC236}">
                  <a16:creationId xmlns:a16="http://schemas.microsoft.com/office/drawing/2014/main" id="{D4B867F6-1E9F-D325-EE57-219BCB406374}"/>
                </a:ext>
              </a:extLst>
            </p:cNvPr>
            <p:cNvSpPr>
              <a:spLocks/>
            </p:cNvSpPr>
            <p:nvPr/>
          </p:nvSpPr>
          <p:spPr bwMode="gray">
            <a:xfrm>
              <a:off x="3061" y="1720"/>
              <a:ext cx="205" cy="177"/>
            </a:xfrm>
            <a:custGeom>
              <a:avLst/>
              <a:gdLst>
                <a:gd name="T0" fmla="*/ 193 w 205"/>
                <a:gd name="T1" fmla="*/ 25 h 177"/>
                <a:gd name="T2" fmla="*/ 197 w 205"/>
                <a:gd name="T3" fmla="*/ 26 h 177"/>
                <a:gd name="T4" fmla="*/ 201 w 205"/>
                <a:gd name="T5" fmla="*/ 34 h 177"/>
                <a:gd name="T6" fmla="*/ 205 w 205"/>
                <a:gd name="T7" fmla="*/ 42 h 177"/>
                <a:gd name="T8" fmla="*/ 197 w 205"/>
                <a:gd name="T9" fmla="*/ 48 h 177"/>
                <a:gd name="T10" fmla="*/ 197 w 205"/>
                <a:gd name="T11" fmla="*/ 58 h 177"/>
                <a:gd name="T12" fmla="*/ 199 w 205"/>
                <a:gd name="T13" fmla="*/ 64 h 177"/>
                <a:gd name="T14" fmla="*/ 202 w 205"/>
                <a:gd name="T15" fmla="*/ 73 h 177"/>
                <a:gd name="T16" fmla="*/ 193 w 205"/>
                <a:gd name="T17" fmla="*/ 80 h 177"/>
                <a:gd name="T18" fmla="*/ 193 w 205"/>
                <a:gd name="T19" fmla="*/ 89 h 177"/>
                <a:gd name="T20" fmla="*/ 190 w 205"/>
                <a:gd name="T21" fmla="*/ 95 h 177"/>
                <a:gd name="T22" fmla="*/ 190 w 205"/>
                <a:gd name="T23" fmla="*/ 98 h 177"/>
                <a:gd name="T24" fmla="*/ 193 w 205"/>
                <a:gd name="T25" fmla="*/ 103 h 177"/>
                <a:gd name="T26" fmla="*/ 197 w 205"/>
                <a:gd name="T27" fmla="*/ 105 h 177"/>
                <a:gd name="T28" fmla="*/ 177 w 205"/>
                <a:gd name="T29" fmla="*/ 111 h 177"/>
                <a:gd name="T30" fmla="*/ 160 w 205"/>
                <a:gd name="T31" fmla="*/ 116 h 177"/>
                <a:gd name="T32" fmla="*/ 144 w 205"/>
                <a:gd name="T33" fmla="*/ 122 h 177"/>
                <a:gd name="T34" fmla="*/ 147 w 205"/>
                <a:gd name="T35" fmla="*/ 133 h 177"/>
                <a:gd name="T36" fmla="*/ 124 w 205"/>
                <a:gd name="T37" fmla="*/ 138 h 177"/>
                <a:gd name="T38" fmla="*/ 119 w 205"/>
                <a:gd name="T39" fmla="*/ 147 h 177"/>
                <a:gd name="T40" fmla="*/ 100 w 205"/>
                <a:gd name="T41" fmla="*/ 159 h 177"/>
                <a:gd name="T42" fmla="*/ 80 w 205"/>
                <a:gd name="T43" fmla="*/ 177 h 177"/>
                <a:gd name="T44" fmla="*/ 64 w 205"/>
                <a:gd name="T45" fmla="*/ 174 h 177"/>
                <a:gd name="T46" fmla="*/ 52 w 205"/>
                <a:gd name="T47" fmla="*/ 167 h 177"/>
                <a:gd name="T48" fmla="*/ 29 w 205"/>
                <a:gd name="T49" fmla="*/ 169 h 177"/>
                <a:gd name="T50" fmla="*/ 8 w 205"/>
                <a:gd name="T51" fmla="*/ 155 h 177"/>
                <a:gd name="T52" fmla="*/ 0 w 205"/>
                <a:gd name="T53" fmla="*/ 134 h 177"/>
                <a:gd name="T54" fmla="*/ 0 w 205"/>
                <a:gd name="T55" fmla="*/ 100 h 177"/>
                <a:gd name="T56" fmla="*/ 13 w 205"/>
                <a:gd name="T57" fmla="*/ 86 h 177"/>
                <a:gd name="T58" fmla="*/ 35 w 205"/>
                <a:gd name="T59" fmla="*/ 86 h 177"/>
                <a:gd name="T60" fmla="*/ 35 w 205"/>
                <a:gd name="T61" fmla="*/ 75 h 177"/>
                <a:gd name="T62" fmla="*/ 35 w 205"/>
                <a:gd name="T63" fmla="*/ 61 h 177"/>
                <a:gd name="T64" fmla="*/ 36 w 205"/>
                <a:gd name="T65" fmla="*/ 56 h 177"/>
                <a:gd name="T66" fmla="*/ 38 w 205"/>
                <a:gd name="T67" fmla="*/ 50 h 177"/>
                <a:gd name="T68" fmla="*/ 41 w 205"/>
                <a:gd name="T69" fmla="*/ 56 h 177"/>
                <a:gd name="T70" fmla="*/ 47 w 205"/>
                <a:gd name="T71" fmla="*/ 56 h 177"/>
                <a:gd name="T72" fmla="*/ 58 w 205"/>
                <a:gd name="T73" fmla="*/ 55 h 177"/>
                <a:gd name="T74" fmla="*/ 60 w 205"/>
                <a:gd name="T75" fmla="*/ 62 h 177"/>
                <a:gd name="T76" fmla="*/ 71 w 205"/>
                <a:gd name="T77" fmla="*/ 66 h 177"/>
                <a:gd name="T78" fmla="*/ 85 w 205"/>
                <a:gd name="T79" fmla="*/ 67 h 177"/>
                <a:gd name="T80" fmla="*/ 88 w 205"/>
                <a:gd name="T81" fmla="*/ 61 h 177"/>
                <a:gd name="T82" fmla="*/ 96 w 205"/>
                <a:gd name="T83" fmla="*/ 69 h 177"/>
                <a:gd name="T84" fmla="*/ 107 w 205"/>
                <a:gd name="T85" fmla="*/ 75 h 177"/>
                <a:gd name="T86" fmla="*/ 115 w 205"/>
                <a:gd name="T87" fmla="*/ 81 h 177"/>
                <a:gd name="T88" fmla="*/ 121 w 205"/>
                <a:gd name="T89" fmla="*/ 87 h 177"/>
                <a:gd name="T90" fmla="*/ 127 w 205"/>
                <a:gd name="T91" fmla="*/ 92 h 177"/>
                <a:gd name="T92" fmla="*/ 135 w 205"/>
                <a:gd name="T93" fmla="*/ 92 h 177"/>
                <a:gd name="T94" fmla="*/ 136 w 205"/>
                <a:gd name="T95" fmla="*/ 89 h 177"/>
                <a:gd name="T96" fmla="*/ 136 w 205"/>
                <a:gd name="T97" fmla="*/ 70 h 177"/>
                <a:gd name="T98" fmla="*/ 132 w 205"/>
                <a:gd name="T99" fmla="*/ 73 h 177"/>
                <a:gd name="T100" fmla="*/ 124 w 205"/>
                <a:gd name="T101" fmla="*/ 73 h 177"/>
                <a:gd name="T102" fmla="*/ 115 w 205"/>
                <a:gd name="T103" fmla="*/ 64 h 177"/>
                <a:gd name="T104" fmla="*/ 113 w 205"/>
                <a:gd name="T105" fmla="*/ 51 h 177"/>
                <a:gd name="T106" fmla="*/ 116 w 205"/>
                <a:gd name="T107" fmla="*/ 37 h 177"/>
                <a:gd name="T108" fmla="*/ 113 w 205"/>
                <a:gd name="T109" fmla="*/ 20 h 177"/>
                <a:gd name="T110" fmla="*/ 119 w 205"/>
                <a:gd name="T111" fmla="*/ 12 h 177"/>
                <a:gd name="T112" fmla="*/ 127 w 205"/>
                <a:gd name="T113" fmla="*/ 5 h 177"/>
                <a:gd name="T114" fmla="*/ 154 w 205"/>
                <a:gd name="T115" fmla="*/ 0 h 177"/>
                <a:gd name="T116" fmla="*/ 160 w 205"/>
                <a:gd name="T117" fmla="*/ 8 h 177"/>
                <a:gd name="T118" fmla="*/ 169 w 205"/>
                <a:gd name="T119" fmla="*/ 12 h 177"/>
                <a:gd name="T120" fmla="*/ 174 w 205"/>
                <a:gd name="T121" fmla="*/ 15 h 177"/>
                <a:gd name="T122" fmla="*/ 183 w 205"/>
                <a:gd name="T123"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5" h="177">
                  <a:moveTo>
                    <a:pt x="191" y="22"/>
                  </a:moveTo>
                  <a:lnTo>
                    <a:pt x="191" y="22"/>
                  </a:lnTo>
                  <a:lnTo>
                    <a:pt x="193" y="23"/>
                  </a:lnTo>
                  <a:lnTo>
                    <a:pt x="193" y="23"/>
                  </a:lnTo>
                  <a:lnTo>
                    <a:pt x="193" y="25"/>
                  </a:lnTo>
                  <a:lnTo>
                    <a:pt x="193" y="25"/>
                  </a:lnTo>
                  <a:lnTo>
                    <a:pt x="194" y="26"/>
                  </a:lnTo>
                  <a:lnTo>
                    <a:pt x="194" y="26"/>
                  </a:lnTo>
                  <a:lnTo>
                    <a:pt x="194" y="25"/>
                  </a:lnTo>
                  <a:lnTo>
                    <a:pt x="196" y="25"/>
                  </a:lnTo>
                  <a:lnTo>
                    <a:pt x="196" y="26"/>
                  </a:lnTo>
                  <a:lnTo>
                    <a:pt x="197" y="26"/>
                  </a:lnTo>
                  <a:lnTo>
                    <a:pt x="197" y="28"/>
                  </a:lnTo>
                  <a:lnTo>
                    <a:pt x="199" y="30"/>
                  </a:lnTo>
                  <a:lnTo>
                    <a:pt x="199" y="30"/>
                  </a:lnTo>
                  <a:lnTo>
                    <a:pt x="199" y="31"/>
                  </a:lnTo>
                  <a:lnTo>
                    <a:pt x="199" y="33"/>
                  </a:lnTo>
                  <a:lnTo>
                    <a:pt x="201" y="34"/>
                  </a:lnTo>
                  <a:lnTo>
                    <a:pt x="202" y="36"/>
                  </a:lnTo>
                  <a:lnTo>
                    <a:pt x="202" y="36"/>
                  </a:lnTo>
                  <a:lnTo>
                    <a:pt x="202" y="39"/>
                  </a:lnTo>
                  <a:lnTo>
                    <a:pt x="202" y="39"/>
                  </a:lnTo>
                  <a:lnTo>
                    <a:pt x="204" y="41"/>
                  </a:lnTo>
                  <a:lnTo>
                    <a:pt x="205" y="42"/>
                  </a:lnTo>
                  <a:lnTo>
                    <a:pt x="205" y="42"/>
                  </a:lnTo>
                  <a:lnTo>
                    <a:pt x="201" y="47"/>
                  </a:lnTo>
                  <a:lnTo>
                    <a:pt x="201" y="47"/>
                  </a:lnTo>
                  <a:lnTo>
                    <a:pt x="199" y="47"/>
                  </a:lnTo>
                  <a:lnTo>
                    <a:pt x="199" y="47"/>
                  </a:lnTo>
                  <a:lnTo>
                    <a:pt x="197" y="48"/>
                  </a:lnTo>
                  <a:lnTo>
                    <a:pt x="197" y="48"/>
                  </a:lnTo>
                  <a:lnTo>
                    <a:pt x="199" y="50"/>
                  </a:lnTo>
                  <a:lnTo>
                    <a:pt x="199" y="51"/>
                  </a:lnTo>
                  <a:lnTo>
                    <a:pt x="201" y="53"/>
                  </a:lnTo>
                  <a:lnTo>
                    <a:pt x="199" y="55"/>
                  </a:lnTo>
                  <a:lnTo>
                    <a:pt x="197" y="58"/>
                  </a:lnTo>
                  <a:lnTo>
                    <a:pt x="197" y="58"/>
                  </a:lnTo>
                  <a:lnTo>
                    <a:pt x="197" y="59"/>
                  </a:lnTo>
                  <a:lnTo>
                    <a:pt x="197" y="61"/>
                  </a:lnTo>
                  <a:lnTo>
                    <a:pt x="197" y="61"/>
                  </a:lnTo>
                  <a:lnTo>
                    <a:pt x="199" y="62"/>
                  </a:lnTo>
                  <a:lnTo>
                    <a:pt x="199" y="64"/>
                  </a:lnTo>
                  <a:lnTo>
                    <a:pt x="199" y="66"/>
                  </a:lnTo>
                  <a:lnTo>
                    <a:pt x="197" y="70"/>
                  </a:lnTo>
                  <a:lnTo>
                    <a:pt x="199" y="73"/>
                  </a:lnTo>
                  <a:lnTo>
                    <a:pt x="199" y="73"/>
                  </a:lnTo>
                  <a:lnTo>
                    <a:pt x="202" y="73"/>
                  </a:lnTo>
                  <a:lnTo>
                    <a:pt x="202" y="73"/>
                  </a:lnTo>
                  <a:lnTo>
                    <a:pt x="202" y="75"/>
                  </a:lnTo>
                  <a:lnTo>
                    <a:pt x="201" y="77"/>
                  </a:lnTo>
                  <a:lnTo>
                    <a:pt x="201" y="77"/>
                  </a:lnTo>
                  <a:lnTo>
                    <a:pt x="197" y="78"/>
                  </a:lnTo>
                  <a:lnTo>
                    <a:pt x="193" y="80"/>
                  </a:lnTo>
                  <a:lnTo>
                    <a:pt x="193" y="80"/>
                  </a:lnTo>
                  <a:lnTo>
                    <a:pt x="193" y="83"/>
                  </a:lnTo>
                  <a:lnTo>
                    <a:pt x="193" y="83"/>
                  </a:lnTo>
                  <a:lnTo>
                    <a:pt x="193" y="84"/>
                  </a:lnTo>
                  <a:lnTo>
                    <a:pt x="193" y="86"/>
                  </a:lnTo>
                  <a:lnTo>
                    <a:pt x="193" y="87"/>
                  </a:lnTo>
                  <a:lnTo>
                    <a:pt x="193" y="89"/>
                  </a:lnTo>
                  <a:lnTo>
                    <a:pt x="193" y="89"/>
                  </a:lnTo>
                  <a:lnTo>
                    <a:pt x="193" y="91"/>
                  </a:lnTo>
                  <a:lnTo>
                    <a:pt x="191" y="92"/>
                  </a:lnTo>
                  <a:lnTo>
                    <a:pt x="191" y="94"/>
                  </a:lnTo>
                  <a:lnTo>
                    <a:pt x="190" y="95"/>
                  </a:lnTo>
                  <a:lnTo>
                    <a:pt x="190" y="95"/>
                  </a:lnTo>
                  <a:lnTo>
                    <a:pt x="188" y="97"/>
                  </a:lnTo>
                  <a:lnTo>
                    <a:pt x="188" y="97"/>
                  </a:lnTo>
                  <a:lnTo>
                    <a:pt x="190" y="97"/>
                  </a:lnTo>
                  <a:lnTo>
                    <a:pt x="190" y="98"/>
                  </a:lnTo>
                  <a:lnTo>
                    <a:pt x="190" y="98"/>
                  </a:lnTo>
                  <a:lnTo>
                    <a:pt x="190" y="98"/>
                  </a:lnTo>
                  <a:lnTo>
                    <a:pt x="190" y="100"/>
                  </a:lnTo>
                  <a:lnTo>
                    <a:pt x="190" y="100"/>
                  </a:lnTo>
                  <a:lnTo>
                    <a:pt x="191" y="100"/>
                  </a:lnTo>
                  <a:lnTo>
                    <a:pt x="191" y="102"/>
                  </a:lnTo>
                  <a:lnTo>
                    <a:pt x="193" y="103"/>
                  </a:lnTo>
                  <a:lnTo>
                    <a:pt x="193" y="103"/>
                  </a:lnTo>
                  <a:lnTo>
                    <a:pt x="193" y="105"/>
                  </a:lnTo>
                  <a:lnTo>
                    <a:pt x="193" y="105"/>
                  </a:lnTo>
                  <a:lnTo>
                    <a:pt x="194" y="105"/>
                  </a:lnTo>
                  <a:lnTo>
                    <a:pt x="194" y="103"/>
                  </a:lnTo>
                  <a:lnTo>
                    <a:pt x="196" y="103"/>
                  </a:lnTo>
                  <a:lnTo>
                    <a:pt x="197" y="105"/>
                  </a:lnTo>
                  <a:lnTo>
                    <a:pt x="193" y="105"/>
                  </a:lnTo>
                  <a:lnTo>
                    <a:pt x="191" y="106"/>
                  </a:lnTo>
                  <a:lnTo>
                    <a:pt x="185" y="108"/>
                  </a:lnTo>
                  <a:lnTo>
                    <a:pt x="180" y="109"/>
                  </a:lnTo>
                  <a:lnTo>
                    <a:pt x="179" y="109"/>
                  </a:lnTo>
                  <a:lnTo>
                    <a:pt x="177" y="111"/>
                  </a:lnTo>
                  <a:lnTo>
                    <a:pt x="175" y="111"/>
                  </a:lnTo>
                  <a:lnTo>
                    <a:pt x="171" y="113"/>
                  </a:lnTo>
                  <a:lnTo>
                    <a:pt x="169" y="114"/>
                  </a:lnTo>
                  <a:lnTo>
                    <a:pt x="168" y="114"/>
                  </a:lnTo>
                  <a:lnTo>
                    <a:pt x="163" y="116"/>
                  </a:lnTo>
                  <a:lnTo>
                    <a:pt x="160" y="116"/>
                  </a:lnTo>
                  <a:lnTo>
                    <a:pt x="157" y="117"/>
                  </a:lnTo>
                  <a:lnTo>
                    <a:pt x="152" y="119"/>
                  </a:lnTo>
                  <a:lnTo>
                    <a:pt x="150" y="119"/>
                  </a:lnTo>
                  <a:lnTo>
                    <a:pt x="149" y="120"/>
                  </a:lnTo>
                  <a:lnTo>
                    <a:pt x="144" y="122"/>
                  </a:lnTo>
                  <a:lnTo>
                    <a:pt x="144" y="122"/>
                  </a:lnTo>
                  <a:lnTo>
                    <a:pt x="144" y="123"/>
                  </a:lnTo>
                  <a:lnTo>
                    <a:pt x="144" y="125"/>
                  </a:lnTo>
                  <a:lnTo>
                    <a:pt x="146" y="127"/>
                  </a:lnTo>
                  <a:lnTo>
                    <a:pt x="147" y="128"/>
                  </a:lnTo>
                  <a:lnTo>
                    <a:pt x="147" y="131"/>
                  </a:lnTo>
                  <a:lnTo>
                    <a:pt x="147" y="133"/>
                  </a:lnTo>
                  <a:lnTo>
                    <a:pt x="144" y="133"/>
                  </a:lnTo>
                  <a:lnTo>
                    <a:pt x="141" y="133"/>
                  </a:lnTo>
                  <a:lnTo>
                    <a:pt x="136" y="133"/>
                  </a:lnTo>
                  <a:lnTo>
                    <a:pt x="132" y="134"/>
                  </a:lnTo>
                  <a:lnTo>
                    <a:pt x="129" y="136"/>
                  </a:lnTo>
                  <a:lnTo>
                    <a:pt x="124" y="138"/>
                  </a:lnTo>
                  <a:lnTo>
                    <a:pt x="122" y="139"/>
                  </a:lnTo>
                  <a:lnTo>
                    <a:pt x="121" y="139"/>
                  </a:lnTo>
                  <a:lnTo>
                    <a:pt x="121" y="141"/>
                  </a:lnTo>
                  <a:lnTo>
                    <a:pt x="121" y="142"/>
                  </a:lnTo>
                  <a:lnTo>
                    <a:pt x="121" y="145"/>
                  </a:lnTo>
                  <a:lnTo>
                    <a:pt x="119" y="147"/>
                  </a:lnTo>
                  <a:lnTo>
                    <a:pt x="119" y="150"/>
                  </a:lnTo>
                  <a:lnTo>
                    <a:pt x="119" y="150"/>
                  </a:lnTo>
                  <a:lnTo>
                    <a:pt x="113" y="152"/>
                  </a:lnTo>
                  <a:lnTo>
                    <a:pt x="108" y="153"/>
                  </a:lnTo>
                  <a:lnTo>
                    <a:pt x="104" y="156"/>
                  </a:lnTo>
                  <a:lnTo>
                    <a:pt x="100" y="159"/>
                  </a:lnTo>
                  <a:lnTo>
                    <a:pt x="99" y="163"/>
                  </a:lnTo>
                  <a:lnTo>
                    <a:pt x="96" y="167"/>
                  </a:lnTo>
                  <a:lnTo>
                    <a:pt x="93" y="172"/>
                  </a:lnTo>
                  <a:lnTo>
                    <a:pt x="88" y="175"/>
                  </a:lnTo>
                  <a:lnTo>
                    <a:pt x="83" y="177"/>
                  </a:lnTo>
                  <a:lnTo>
                    <a:pt x="80" y="177"/>
                  </a:lnTo>
                  <a:lnTo>
                    <a:pt x="75" y="175"/>
                  </a:lnTo>
                  <a:lnTo>
                    <a:pt x="72" y="175"/>
                  </a:lnTo>
                  <a:lnTo>
                    <a:pt x="71" y="175"/>
                  </a:lnTo>
                  <a:lnTo>
                    <a:pt x="68" y="175"/>
                  </a:lnTo>
                  <a:lnTo>
                    <a:pt x="66" y="174"/>
                  </a:lnTo>
                  <a:lnTo>
                    <a:pt x="64" y="174"/>
                  </a:lnTo>
                  <a:lnTo>
                    <a:pt x="63" y="174"/>
                  </a:lnTo>
                  <a:lnTo>
                    <a:pt x="61" y="174"/>
                  </a:lnTo>
                  <a:lnTo>
                    <a:pt x="57" y="172"/>
                  </a:lnTo>
                  <a:lnTo>
                    <a:pt x="54" y="170"/>
                  </a:lnTo>
                  <a:lnTo>
                    <a:pt x="52" y="169"/>
                  </a:lnTo>
                  <a:lnTo>
                    <a:pt x="52" y="167"/>
                  </a:lnTo>
                  <a:lnTo>
                    <a:pt x="47" y="167"/>
                  </a:lnTo>
                  <a:lnTo>
                    <a:pt x="39" y="167"/>
                  </a:lnTo>
                  <a:lnTo>
                    <a:pt x="39" y="167"/>
                  </a:lnTo>
                  <a:lnTo>
                    <a:pt x="36" y="167"/>
                  </a:lnTo>
                  <a:lnTo>
                    <a:pt x="32" y="169"/>
                  </a:lnTo>
                  <a:lnTo>
                    <a:pt x="29" y="169"/>
                  </a:lnTo>
                  <a:lnTo>
                    <a:pt x="24" y="170"/>
                  </a:lnTo>
                  <a:lnTo>
                    <a:pt x="21" y="167"/>
                  </a:lnTo>
                  <a:lnTo>
                    <a:pt x="18" y="163"/>
                  </a:lnTo>
                  <a:lnTo>
                    <a:pt x="13" y="159"/>
                  </a:lnTo>
                  <a:lnTo>
                    <a:pt x="10" y="156"/>
                  </a:lnTo>
                  <a:lnTo>
                    <a:pt x="8" y="155"/>
                  </a:lnTo>
                  <a:lnTo>
                    <a:pt x="5" y="153"/>
                  </a:lnTo>
                  <a:lnTo>
                    <a:pt x="4" y="152"/>
                  </a:lnTo>
                  <a:lnTo>
                    <a:pt x="2" y="150"/>
                  </a:lnTo>
                  <a:lnTo>
                    <a:pt x="0" y="145"/>
                  </a:lnTo>
                  <a:lnTo>
                    <a:pt x="0" y="139"/>
                  </a:lnTo>
                  <a:lnTo>
                    <a:pt x="0" y="134"/>
                  </a:lnTo>
                  <a:lnTo>
                    <a:pt x="0" y="130"/>
                  </a:lnTo>
                  <a:lnTo>
                    <a:pt x="0" y="123"/>
                  </a:lnTo>
                  <a:lnTo>
                    <a:pt x="0" y="117"/>
                  </a:lnTo>
                  <a:lnTo>
                    <a:pt x="0" y="111"/>
                  </a:lnTo>
                  <a:lnTo>
                    <a:pt x="0" y="106"/>
                  </a:lnTo>
                  <a:lnTo>
                    <a:pt x="0" y="100"/>
                  </a:lnTo>
                  <a:lnTo>
                    <a:pt x="0" y="94"/>
                  </a:lnTo>
                  <a:lnTo>
                    <a:pt x="0" y="89"/>
                  </a:lnTo>
                  <a:lnTo>
                    <a:pt x="0" y="86"/>
                  </a:lnTo>
                  <a:lnTo>
                    <a:pt x="4" y="86"/>
                  </a:lnTo>
                  <a:lnTo>
                    <a:pt x="8" y="86"/>
                  </a:lnTo>
                  <a:lnTo>
                    <a:pt x="13" y="86"/>
                  </a:lnTo>
                  <a:lnTo>
                    <a:pt x="18" y="86"/>
                  </a:lnTo>
                  <a:lnTo>
                    <a:pt x="24" y="86"/>
                  </a:lnTo>
                  <a:lnTo>
                    <a:pt x="29" y="86"/>
                  </a:lnTo>
                  <a:lnTo>
                    <a:pt x="32" y="86"/>
                  </a:lnTo>
                  <a:lnTo>
                    <a:pt x="33" y="86"/>
                  </a:lnTo>
                  <a:lnTo>
                    <a:pt x="35" y="86"/>
                  </a:lnTo>
                  <a:lnTo>
                    <a:pt x="35" y="84"/>
                  </a:lnTo>
                  <a:lnTo>
                    <a:pt x="33" y="83"/>
                  </a:lnTo>
                  <a:lnTo>
                    <a:pt x="33" y="81"/>
                  </a:lnTo>
                  <a:lnTo>
                    <a:pt x="33" y="80"/>
                  </a:lnTo>
                  <a:lnTo>
                    <a:pt x="35" y="78"/>
                  </a:lnTo>
                  <a:lnTo>
                    <a:pt x="35" y="75"/>
                  </a:lnTo>
                  <a:lnTo>
                    <a:pt x="35" y="73"/>
                  </a:lnTo>
                  <a:lnTo>
                    <a:pt x="35" y="70"/>
                  </a:lnTo>
                  <a:lnTo>
                    <a:pt x="35" y="67"/>
                  </a:lnTo>
                  <a:lnTo>
                    <a:pt x="35" y="66"/>
                  </a:lnTo>
                  <a:lnTo>
                    <a:pt x="35" y="62"/>
                  </a:lnTo>
                  <a:lnTo>
                    <a:pt x="35" y="61"/>
                  </a:lnTo>
                  <a:lnTo>
                    <a:pt x="35" y="61"/>
                  </a:lnTo>
                  <a:lnTo>
                    <a:pt x="35" y="59"/>
                  </a:lnTo>
                  <a:lnTo>
                    <a:pt x="36" y="58"/>
                  </a:lnTo>
                  <a:lnTo>
                    <a:pt x="36" y="58"/>
                  </a:lnTo>
                  <a:lnTo>
                    <a:pt x="36" y="56"/>
                  </a:lnTo>
                  <a:lnTo>
                    <a:pt x="36" y="56"/>
                  </a:lnTo>
                  <a:lnTo>
                    <a:pt x="35" y="53"/>
                  </a:lnTo>
                  <a:lnTo>
                    <a:pt x="35" y="50"/>
                  </a:lnTo>
                  <a:lnTo>
                    <a:pt x="35" y="48"/>
                  </a:lnTo>
                  <a:lnTo>
                    <a:pt x="35" y="48"/>
                  </a:lnTo>
                  <a:lnTo>
                    <a:pt x="36" y="48"/>
                  </a:lnTo>
                  <a:lnTo>
                    <a:pt x="38" y="50"/>
                  </a:lnTo>
                  <a:lnTo>
                    <a:pt x="38" y="50"/>
                  </a:lnTo>
                  <a:lnTo>
                    <a:pt x="38" y="50"/>
                  </a:lnTo>
                  <a:lnTo>
                    <a:pt x="41" y="51"/>
                  </a:lnTo>
                  <a:lnTo>
                    <a:pt x="41" y="53"/>
                  </a:lnTo>
                  <a:lnTo>
                    <a:pt x="43" y="55"/>
                  </a:lnTo>
                  <a:lnTo>
                    <a:pt x="41" y="56"/>
                  </a:lnTo>
                  <a:lnTo>
                    <a:pt x="41" y="56"/>
                  </a:lnTo>
                  <a:lnTo>
                    <a:pt x="41" y="58"/>
                  </a:lnTo>
                  <a:lnTo>
                    <a:pt x="43" y="58"/>
                  </a:lnTo>
                  <a:lnTo>
                    <a:pt x="44" y="58"/>
                  </a:lnTo>
                  <a:lnTo>
                    <a:pt x="47" y="56"/>
                  </a:lnTo>
                  <a:lnTo>
                    <a:pt x="47" y="56"/>
                  </a:lnTo>
                  <a:lnTo>
                    <a:pt x="49" y="56"/>
                  </a:lnTo>
                  <a:lnTo>
                    <a:pt x="50" y="56"/>
                  </a:lnTo>
                  <a:lnTo>
                    <a:pt x="54" y="55"/>
                  </a:lnTo>
                  <a:lnTo>
                    <a:pt x="57" y="55"/>
                  </a:lnTo>
                  <a:lnTo>
                    <a:pt x="57" y="55"/>
                  </a:lnTo>
                  <a:lnTo>
                    <a:pt x="58" y="55"/>
                  </a:lnTo>
                  <a:lnTo>
                    <a:pt x="58" y="55"/>
                  </a:lnTo>
                  <a:lnTo>
                    <a:pt x="58" y="56"/>
                  </a:lnTo>
                  <a:lnTo>
                    <a:pt x="58" y="58"/>
                  </a:lnTo>
                  <a:lnTo>
                    <a:pt x="58" y="59"/>
                  </a:lnTo>
                  <a:lnTo>
                    <a:pt x="58" y="61"/>
                  </a:lnTo>
                  <a:lnTo>
                    <a:pt x="60" y="62"/>
                  </a:lnTo>
                  <a:lnTo>
                    <a:pt x="61" y="62"/>
                  </a:lnTo>
                  <a:lnTo>
                    <a:pt x="61" y="64"/>
                  </a:lnTo>
                  <a:lnTo>
                    <a:pt x="63" y="64"/>
                  </a:lnTo>
                  <a:lnTo>
                    <a:pt x="68" y="64"/>
                  </a:lnTo>
                  <a:lnTo>
                    <a:pt x="69" y="66"/>
                  </a:lnTo>
                  <a:lnTo>
                    <a:pt x="71" y="66"/>
                  </a:lnTo>
                  <a:lnTo>
                    <a:pt x="72" y="66"/>
                  </a:lnTo>
                  <a:lnTo>
                    <a:pt x="75" y="67"/>
                  </a:lnTo>
                  <a:lnTo>
                    <a:pt x="77" y="67"/>
                  </a:lnTo>
                  <a:lnTo>
                    <a:pt x="80" y="67"/>
                  </a:lnTo>
                  <a:lnTo>
                    <a:pt x="83" y="67"/>
                  </a:lnTo>
                  <a:lnTo>
                    <a:pt x="85" y="67"/>
                  </a:lnTo>
                  <a:lnTo>
                    <a:pt x="86" y="67"/>
                  </a:lnTo>
                  <a:lnTo>
                    <a:pt x="86" y="67"/>
                  </a:lnTo>
                  <a:lnTo>
                    <a:pt x="86" y="66"/>
                  </a:lnTo>
                  <a:lnTo>
                    <a:pt x="88" y="64"/>
                  </a:lnTo>
                  <a:lnTo>
                    <a:pt x="88" y="62"/>
                  </a:lnTo>
                  <a:lnTo>
                    <a:pt x="88" y="61"/>
                  </a:lnTo>
                  <a:lnTo>
                    <a:pt x="89" y="61"/>
                  </a:lnTo>
                  <a:lnTo>
                    <a:pt x="91" y="61"/>
                  </a:lnTo>
                  <a:lnTo>
                    <a:pt x="91" y="61"/>
                  </a:lnTo>
                  <a:lnTo>
                    <a:pt x="93" y="64"/>
                  </a:lnTo>
                  <a:lnTo>
                    <a:pt x="96" y="67"/>
                  </a:lnTo>
                  <a:lnTo>
                    <a:pt x="96" y="69"/>
                  </a:lnTo>
                  <a:lnTo>
                    <a:pt x="97" y="72"/>
                  </a:lnTo>
                  <a:lnTo>
                    <a:pt x="97" y="72"/>
                  </a:lnTo>
                  <a:lnTo>
                    <a:pt x="99" y="73"/>
                  </a:lnTo>
                  <a:lnTo>
                    <a:pt x="100" y="73"/>
                  </a:lnTo>
                  <a:lnTo>
                    <a:pt x="104" y="73"/>
                  </a:lnTo>
                  <a:lnTo>
                    <a:pt x="107" y="75"/>
                  </a:lnTo>
                  <a:lnTo>
                    <a:pt x="110" y="75"/>
                  </a:lnTo>
                  <a:lnTo>
                    <a:pt x="111" y="77"/>
                  </a:lnTo>
                  <a:lnTo>
                    <a:pt x="113" y="77"/>
                  </a:lnTo>
                  <a:lnTo>
                    <a:pt x="113" y="78"/>
                  </a:lnTo>
                  <a:lnTo>
                    <a:pt x="113" y="80"/>
                  </a:lnTo>
                  <a:lnTo>
                    <a:pt x="115" y="81"/>
                  </a:lnTo>
                  <a:lnTo>
                    <a:pt x="115" y="83"/>
                  </a:lnTo>
                  <a:lnTo>
                    <a:pt x="116" y="83"/>
                  </a:lnTo>
                  <a:lnTo>
                    <a:pt x="118" y="83"/>
                  </a:lnTo>
                  <a:lnTo>
                    <a:pt x="118" y="84"/>
                  </a:lnTo>
                  <a:lnTo>
                    <a:pt x="119" y="86"/>
                  </a:lnTo>
                  <a:lnTo>
                    <a:pt x="121" y="87"/>
                  </a:lnTo>
                  <a:lnTo>
                    <a:pt x="121" y="89"/>
                  </a:lnTo>
                  <a:lnTo>
                    <a:pt x="122" y="91"/>
                  </a:lnTo>
                  <a:lnTo>
                    <a:pt x="124" y="92"/>
                  </a:lnTo>
                  <a:lnTo>
                    <a:pt x="125" y="92"/>
                  </a:lnTo>
                  <a:lnTo>
                    <a:pt x="127" y="92"/>
                  </a:lnTo>
                  <a:lnTo>
                    <a:pt x="127" y="92"/>
                  </a:lnTo>
                  <a:lnTo>
                    <a:pt x="130" y="92"/>
                  </a:lnTo>
                  <a:lnTo>
                    <a:pt x="132" y="91"/>
                  </a:lnTo>
                  <a:lnTo>
                    <a:pt x="133" y="91"/>
                  </a:lnTo>
                  <a:lnTo>
                    <a:pt x="133" y="91"/>
                  </a:lnTo>
                  <a:lnTo>
                    <a:pt x="133" y="91"/>
                  </a:lnTo>
                  <a:lnTo>
                    <a:pt x="135" y="92"/>
                  </a:lnTo>
                  <a:lnTo>
                    <a:pt x="135" y="94"/>
                  </a:lnTo>
                  <a:lnTo>
                    <a:pt x="135" y="94"/>
                  </a:lnTo>
                  <a:lnTo>
                    <a:pt x="136" y="94"/>
                  </a:lnTo>
                  <a:lnTo>
                    <a:pt x="136" y="92"/>
                  </a:lnTo>
                  <a:lnTo>
                    <a:pt x="136" y="92"/>
                  </a:lnTo>
                  <a:lnTo>
                    <a:pt x="136" y="89"/>
                  </a:lnTo>
                  <a:lnTo>
                    <a:pt x="136" y="86"/>
                  </a:lnTo>
                  <a:lnTo>
                    <a:pt x="136" y="83"/>
                  </a:lnTo>
                  <a:lnTo>
                    <a:pt x="136" y="80"/>
                  </a:lnTo>
                  <a:lnTo>
                    <a:pt x="136" y="77"/>
                  </a:lnTo>
                  <a:lnTo>
                    <a:pt x="136" y="73"/>
                  </a:lnTo>
                  <a:lnTo>
                    <a:pt x="136" y="70"/>
                  </a:lnTo>
                  <a:lnTo>
                    <a:pt x="136" y="70"/>
                  </a:lnTo>
                  <a:lnTo>
                    <a:pt x="135" y="72"/>
                  </a:lnTo>
                  <a:lnTo>
                    <a:pt x="133" y="72"/>
                  </a:lnTo>
                  <a:lnTo>
                    <a:pt x="132" y="72"/>
                  </a:lnTo>
                  <a:lnTo>
                    <a:pt x="132" y="73"/>
                  </a:lnTo>
                  <a:lnTo>
                    <a:pt x="132" y="73"/>
                  </a:lnTo>
                  <a:lnTo>
                    <a:pt x="132" y="75"/>
                  </a:lnTo>
                  <a:lnTo>
                    <a:pt x="132" y="75"/>
                  </a:lnTo>
                  <a:lnTo>
                    <a:pt x="130" y="75"/>
                  </a:lnTo>
                  <a:lnTo>
                    <a:pt x="129" y="75"/>
                  </a:lnTo>
                  <a:lnTo>
                    <a:pt x="127" y="75"/>
                  </a:lnTo>
                  <a:lnTo>
                    <a:pt x="124" y="73"/>
                  </a:lnTo>
                  <a:lnTo>
                    <a:pt x="122" y="72"/>
                  </a:lnTo>
                  <a:lnTo>
                    <a:pt x="121" y="70"/>
                  </a:lnTo>
                  <a:lnTo>
                    <a:pt x="119" y="69"/>
                  </a:lnTo>
                  <a:lnTo>
                    <a:pt x="116" y="66"/>
                  </a:lnTo>
                  <a:lnTo>
                    <a:pt x="115" y="66"/>
                  </a:lnTo>
                  <a:lnTo>
                    <a:pt x="115" y="64"/>
                  </a:lnTo>
                  <a:lnTo>
                    <a:pt x="113" y="62"/>
                  </a:lnTo>
                  <a:lnTo>
                    <a:pt x="113" y="61"/>
                  </a:lnTo>
                  <a:lnTo>
                    <a:pt x="111" y="61"/>
                  </a:lnTo>
                  <a:lnTo>
                    <a:pt x="111" y="59"/>
                  </a:lnTo>
                  <a:lnTo>
                    <a:pt x="113" y="56"/>
                  </a:lnTo>
                  <a:lnTo>
                    <a:pt x="113" y="51"/>
                  </a:lnTo>
                  <a:lnTo>
                    <a:pt x="115" y="48"/>
                  </a:lnTo>
                  <a:lnTo>
                    <a:pt x="115" y="47"/>
                  </a:lnTo>
                  <a:lnTo>
                    <a:pt x="116" y="44"/>
                  </a:lnTo>
                  <a:lnTo>
                    <a:pt x="116" y="42"/>
                  </a:lnTo>
                  <a:lnTo>
                    <a:pt x="116" y="39"/>
                  </a:lnTo>
                  <a:lnTo>
                    <a:pt x="116" y="37"/>
                  </a:lnTo>
                  <a:lnTo>
                    <a:pt x="116" y="34"/>
                  </a:lnTo>
                  <a:lnTo>
                    <a:pt x="116" y="31"/>
                  </a:lnTo>
                  <a:lnTo>
                    <a:pt x="116" y="30"/>
                  </a:lnTo>
                  <a:lnTo>
                    <a:pt x="116" y="26"/>
                  </a:lnTo>
                  <a:lnTo>
                    <a:pt x="115" y="23"/>
                  </a:lnTo>
                  <a:lnTo>
                    <a:pt x="113" y="20"/>
                  </a:lnTo>
                  <a:lnTo>
                    <a:pt x="113" y="19"/>
                  </a:lnTo>
                  <a:lnTo>
                    <a:pt x="115" y="17"/>
                  </a:lnTo>
                  <a:lnTo>
                    <a:pt x="116" y="15"/>
                  </a:lnTo>
                  <a:lnTo>
                    <a:pt x="118" y="15"/>
                  </a:lnTo>
                  <a:lnTo>
                    <a:pt x="119" y="14"/>
                  </a:lnTo>
                  <a:lnTo>
                    <a:pt x="119" y="12"/>
                  </a:lnTo>
                  <a:lnTo>
                    <a:pt x="121" y="11"/>
                  </a:lnTo>
                  <a:lnTo>
                    <a:pt x="121" y="9"/>
                  </a:lnTo>
                  <a:lnTo>
                    <a:pt x="122" y="8"/>
                  </a:lnTo>
                  <a:lnTo>
                    <a:pt x="121" y="6"/>
                  </a:lnTo>
                  <a:lnTo>
                    <a:pt x="122" y="5"/>
                  </a:lnTo>
                  <a:lnTo>
                    <a:pt x="127" y="5"/>
                  </a:lnTo>
                  <a:lnTo>
                    <a:pt x="132" y="5"/>
                  </a:lnTo>
                  <a:lnTo>
                    <a:pt x="136" y="3"/>
                  </a:lnTo>
                  <a:lnTo>
                    <a:pt x="141" y="3"/>
                  </a:lnTo>
                  <a:lnTo>
                    <a:pt x="146" y="1"/>
                  </a:lnTo>
                  <a:lnTo>
                    <a:pt x="150" y="1"/>
                  </a:lnTo>
                  <a:lnTo>
                    <a:pt x="154" y="0"/>
                  </a:lnTo>
                  <a:lnTo>
                    <a:pt x="154" y="1"/>
                  </a:lnTo>
                  <a:lnTo>
                    <a:pt x="155" y="5"/>
                  </a:lnTo>
                  <a:lnTo>
                    <a:pt x="157" y="6"/>
                  </a:lnTo>
                  <a:lnTo>
                    <a:pt x="157" y="6"/>
                  </a:lnTo>
                  <a:lnTo>
                    <a:pt x="158" y="8"/>
                  </a:lnTo>
                  <a:lnTo>
                    <a:pt x="160" y="8"/>
                  </a:lnTo>
                  <a:lnTo>
                    <a:pt x="165" y="8"/>
                  </a:lnTo>
                  <a:lnTo>
                    <a:pt x="166" y="9"/>
                  </a:lnTo>
                  <a:lnTo>
                    <a:pt x="168" y="9"/>
                  </a:lnTo>
                  <a:lnTo>
                    <a:pt x="168" y="11"/>
                  </a:lnTo>
                  <a:lnTo>
                    <a:pt x="169" y="12"/>
                  </a:lnTo>
                  <a:lnTo>
                    <a:pt x="169" y="12"/>
                  </a:lnTo>
                  <a:lnTo>
                    <a:pt x="171" y="12"/>
                  </a:lnTo>
                  <a:lnTo>
                    <a:pt x="171" y="12"/>
                  </a:lnTo>
                  <a:lnTo>
                    <a:pt x="172" y="12"/>
                  </a:lnTo>
                  <a:lnTo>
                    <a:pt x="174" y="14"/>
                  </a:lnTo>
                  <a:lnTo>
                    <a:pt x="174" y="14"/>
                  </a:lnTo>
                  <a:lnTo>
                    <a:pt x="174" y="15"/>
                  </a:lnTo>
                  <a:lnTo>
                    <a:pt x="174" y="15"/>
                  </a:lnTo>
                  <a:lnTo>
                    <a:pt x="175" y="15"/>
                  </a:lnTo>
                  <a:lnTo>
                    <a:pt x="177" y="15"/>
                  </a:lnTo>
                  <a:lnTo>
                    <a:pt x="180" y="17"/>
                  </a:lnTo>
                  <a:lnTo>
                    <a:pt x="182" y="17"/>
                  </a:lnTo>
                  <a:lnTo>
                    <a:pt x="183" y="17"/>
                  </a:lnTo>
                  <a:lnTo>
                    <a:pt x="185" y="19"/>
                  </a:lnTo>
                  <a:lnTo>
                    <a:pt x="186" y="20"/>
                  </a:lnTo>
                  <a:lnTo>
                    <a:pt x="190" y="20"/>
                  </a:lnTo>
                  <a:lnTo>
                    <a:pt x="191" y="22"/>
                  </a:lnTo>
                  <a:lnTo>
                    <a:pt x="191" y="22"/>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5" name="Freeform 223">
              <a:extLst>
                <a:ext uri="{FF2B5EF4-FFF2-40B4-BE49-F238E27FC236}">
                  <a16:creationId xmlns:a16="http://schemas.microsoft.com/office/drawing/2014/main" id="{4A1B06E5-D975-4EFF-D738-D3225F2AEAC8}"/>
                </a:ext>
              </a:extLst>
            </p:cNvPr>
            <p:cNvSpPr>
              <a:spLocks/>
            </p:cNvSpPr>
            <p:nvPr/>
          </p:nvSpPr>
          <p:spPr bwMode="gray">
            <a:xfrm>
              <a:off x="3118" y="1853"/>
              <a:ext cx="136" cy="125"/>
            </a:xfrm>
            <a:custGeom>
              <a:avLst/>
              <a:gdLst>
                <a:gd name="T0" fmla="*/ 103 w 136"/>
                <a:gd name="T1" fmla="*/ 123 h 125"/>
                <a:gd name="T2" fmla="*/ 92 w 136"/>
                <a:gd name="T3" fmla="*/ 123 h 125"/>
                <a:gd name="T4" fmla="*/ 78 w 136"/>
                <a:gd name="T5" fmla="*/ 120 h 125"/>
                <a:gd name="T6" fmla="*/ 72 w 136"/>
                <a:gd name="T7" fmla="*/ 120 h 125"/>
                <a:gd name="T8" fmla="*/ 67 w 136"/>
                <a:gd name="T9" fmla="*/ 119 h 125"/>
                <a:gd name="T10" fmla="*/ 67 w 136"/>
                <a:gd name="T11" fmla="*/ 117 h 125"/>
                <a:gd name="T12" fmla="*/ 65 w 136"/>
                <a:gd name="T13" fmla="*/ 114 h 125"/>
                <a:gd name="T14" fmla="*/ 58 w 136"/>
                <a:gd name="T15" fmla="*/ 111 h 125"/>
                <a:gd name="T16" fmla="*/ 48 w 136"/>
                <a:gd name="T17" fmla="*/ 109 h 125"/>
                <a:gd name="T18" fmla="*/ 45 w 136"/>
                <a:gd name="T19" fmla="*/ 103 h 125"/>
                <a:gd name="T20" fmla="*/ 43 w 136"/>
                <a:gd name="T21" fmla="*/ 98 h 125"/>
                <a:gd name="T22" fmla="*/ 43 w 136"/>
                <a:gd name="T23" fmla="*/ 94 h 125"/>
                <a:gd name="T24" fmla="*/ 43 w 136"/>
                <a:gd name="T25" fmla="*/ 89 h 125"/>
                <a:gd name="T26" fmla="*/ 36 w 136"/>
                <a:gd name="T27" fmla="*/ 89 h 125"/>
                <a:gd name="T28" fmla="*/ 34 w 136"/>
                <a:gd name="T29" fmla="*/ 83 h 125"/>
                <a:gd name="T30" fmla="*/ 29 w 136"/>
                <a:gd name="T31" fmla="*/ 80 h 125"/>
                <a:gd name="T32" fmla="*/ 17 w 136"/>
                <a:gd name="T33" fmla="*/ 72 h 125"/>
                <a:gd name="T34" fmla="*/ 12 w 136"/>
                <a:gd name="T35" fmla="*/ 64 h 125"/>
                <a:gd name="T36" fmla="*/ 11 w 136"/>
                <a:gd name="T37" fmla="*/ 58 h 125"/>
                <a:gd name="T38" fmla="*/ 6 w 136"/>
                <a:gd name="T39" fmla="*/ 51 h 125"/>
                <a:gd name="T40" fmla="*/ 3 w 136"/>
                <a:gd name="T41" fmla="*/ 45 h 125"/>
                <a:gd name="T42" fmla="*/ 0 w 136"/>
                <a:gd name="T43" fmla="*/ 42 h 125"/>
                <a:gd name="T44" fmla="*/ 0 w 136"/>
                <a:gd name="T45" fmla="*/ 39 h 125"/>
                <a:gd name="T46" fmla="*/ 7 w 136"/>
                <a:gd name="T47" fmla="*/ 41 h 125"/>
                <a:gd name="T48" fmla="*/ 14 w 136"/>
                <a:gd name="T49" fmla="*/ 42 h 125"/>
                <a:gd name="T50" fmla="*/ 23 w 136"/>
                <a:gd name="T51" fmla="*/ 44 h 125"/>
                <a:gd name="T52" fmla="*/ 36 w 136"/>
                <a:gd name="T53" fmla="*/ 39 h 125"/>
                <a:gd name="T54" fmla="*/ 43 w 136"/>
                <a:gd name="T55" fmla="*/ 26 h 125"/>
                <a:gd name="T56" fmla="*/ 56 w 136"/>
                <a:gd name="T57" fmla="*/ 19 h 125"/>
                <a:gd name="T58" fmla="*/ 62 w 136"/>
                <a:gd name="T59" fmla="*/ 14 h 125"/>
                <a:gd name="T60" fmla="*/ 64 w 136"/>
                <a:gd name="T61" fmla="*/ 8 h 125"/>
                <a:gd name="T62" fmla="*/ 67 w 136"/>
                <a:gd name="T63" fmla="*/ 5 h 125"/>
                <a:gd name="T64" fmla="*/ 79 w 136"/>
                <a:gd name="T65" fmla="*/ 0 h 125"/>
                <a:gd name="T66" fmla="*/ 90 w 136"/>
                <a:gd name="T67" fmla="*/ 0 h 125"/>
                <a:gd name="T68" fmla="*/ 90 w 136"/>
                <a:gd name="T69" fmla="*/ 6 h 125"/>
                <a:gd name="T70" fmla="*/ 104 w 136"/>
                <a:gd name="T71" fmla="*/ 8 h 125"/>
                <a:gd name="T72" fmla="*/ 114 w 136"/>
                <a:gd name="T73" fmla="*/ 11 h 125"/>
                <a:gd name="T74" fmla="*/ 126 w 136"/>
                <a:gd name="T75" fmla="*/ 16 h 125"/>
                <a:gd name="T76" fmla="*/ 133 w 136"/>
                <a:gd name="T77" fmla="*/ 20 h 125"/>
                <a:gd name="T78" fmla="*/ 136 w 136"/>
                <a:gd name="T79" fmla="*/ 22 h 125"/>
                <a:gd name="T80" fmla="*/ 136 w 136"/>
                <a:gd name="T81" fmla="*/ 30 h 125"/>
                <a:gd name="T82" fmla="*/ 136 w 136"/>
                <a:gd name="T83" fmla="*/ 45 h 125"/>
                <a:gd name="T84" fmla="*/ 136 w 136"/>
                <a:gd name="T85" fmla="*/ 48 h 125"/>
                <a:gd name="T86" fmla="*/ 134 w 136"/>
                <a:gd name="T87" fmla="*/ 55 h 125"/>
                <a:gd name="T88" fmla="*/ 134 w 136"/>
                <a:gd name="T89" fmla="*/ 58 h 125"/>
                <a:gd name="T90" fmla="*/ 131 w 136"/>
                <a:gd name="T91" fmla="*/ 61 h 125"/>
                <a:gd name="T92" fmla="*/ 133 w 136"/>
                <a:gd name="T93" fmla="*/ 62 h 125"/>
                <a:gd name="T94" fmla="*/ 133 w 136"/>
                <a:gd name="T95" fmla="*/ 66 h 125"/>
                <a:gd name="T96" fmla="*/ 134 w 136"/>
                <a:gd name="T97" fmla="*/ 73 h 125"/>
                <a:gd name="T98" fmla="*/ 136 w 136"/>
                <a:gd name="T99" fmla="*/ 80 h 125"/>
                <a:gd name="T100" fmla="*/ 133 w 136"/>
                <a:gd name="T101" fmla="*/ 87 h 125"/>
                <a:gd name="T102" fmla="*/ 128 w 136"/>
                <a:gd name="T103" fmla="*/ 92 h 125"/>
                <a:gd name="T104" fmla="*/ 126 w 136"/>
                <a:gd name="T105" fmla="*/ 98 h 125"/>
                <a:gd name="T106" fmla="*/ 126 w 136"/>
                <a:gd name="T107" fmla="*/ 105 h 125"/>
                <a:gd name="T108" fmla="*/ 118 w 136"/>
                <a:gd name="T109" fmla="*/ 113 h 125"/>
                <a:gd name="T110" fmla="*/ 111 w 136"/>
                <a:gd name="T111" fmla="*/ 12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125">
                  <a:moveTo>
                    <a:pt x="106" y="125"/>
                  </a:moveTo>
                  <a:lnTo>
                    <a:pt x="104" y="123"/>
                  </a:lnTo>
                  <a:lnTo>
                    <a:pt x="103" y="123"/>
                  </a:lnTo>
                  <a:lnTo>
                    <a:pt x="100" y="123"/>
                  </a:lnTo>
                  <a:lnTo>
                    <a:pt x="97" y="123"/>
                  </a:lnTo>
                  <a:lnTo>
                    <a:pt x="92" y="123"/>
                  </a:lnTo>
                  <a:lnTo>
                    <a:pt x="87" y="123"/>
                  </a:lnTo>
                  <a:lnTo>
                    <a:pt x="81" y="122"/>
                  </a:lnTo>
                  <a:lnTo>
                    <a:pt x="78" y="120"/>
                  </a:lnTo>
                  <a:lnTo>
                    <a:pt x="73" y="122"/>
                  </a:lnTo>
                  <a:lnTo>
                    <a:pt x="72" y="122"/>
                  </a:lnTo>
                  <a:lnTo>
                    <a:pt x="72" y="120"/>
                  </a:lnTo>
                  <a:lnTo>
                    <a:pt x="70" y="119"/>
                  </a:lnTo>
                  <a:lnTo>
                    <a:pt x="68" y="119"/>
                  </a:lnTo>
                  <a:lnTo>
                    <a:pt x="67" y="119"/>
                  </a:lnTo>
                  <a:lnTo>
                    <a:pt x="67" y="119"/>
                  </a:lnTo>
                  <a:lnTo>
                    <a:pt x="67" y="117"/>
                  </a:lnTo>
                  <a:lnTo>
                    <a:pt x="67" y="117"/>
                  </a:lnTo>
                  <a:lnTo>
                    <a:pt x="67" y="114"/>
                  </a:lnTo>
                  <a:lnTo>
                    <a:pt x="67" y="114"/>
                  </a:lnTo>
                  <a:lnTo>
                    <a:pt x="65" y="114"/>
                  </a:lnTo>
                  <a:lnTo>
                    <a:pt x="64" y="114"/>
                  </a:lnTo>
                  <a:lnTo>
                    <a:pt x="62" y="113"/>
                  </a:lnTo>
                  <a:lnTo>
                    <a:pt x="58" y="111"/>
                  </a:lnTo>
                  <a:lnTo>
                    <a:pt x="51" y="109"/>
                  </a:lnTo>
                  <a:lnTo>
                    <a:pt x="50" y="109"/>
                  </a:lnTo>
                  <a:lnTo>
                    <a:pt x="48" y="109"/>
                  </a:lnTo>
                  <a:lnTo>
                    <a:pt x="48" y="108"/>
                  </a:lnTo>
                  <a:lnTo>
                    <a:pt x="47" y="106"/>
                  </a:lnTo>
                  <a:lnTo>
                    <a:pt x="45" y="103"/>
                  </a:lnTo>
                  <a:lnTo>
                    <a:pt x="43" y="102"/>
                  </a:lnTo>
                  <a:lnTo>
                    <a:pt x="42" y="100"/>
                  </a:lnTo>
                  <a:lnTo>
                    <a:pt x="43" y="98"/>
                  </a:lnTo>
                  <a:lnTo>
                    <a:pt x="43" y="97"/>
                  </a:lnTo>
                  <a:lnTo>
                    <a:pt x="43" y="95"/>
                  </a:lnTo>
                  <a:lnTo>
                    <a:pt x="43" y="94"/>
                  </a:lnTo>
                  <a:lnTo>
                    <a:pt x="43" y="92"/>
                  </a:lnTo>
                  <a:lnTo>
                    <a:pt x="43" y="91"/>
                  </a:lnTo>
                  <a:lnTo>
                    <a:pt x="43" y="89"/>
                  </a:lnTo>
                  <a:lnTo>
                    <a:pt x="42" y="89"/>
                  </a:lnTo>
                  <a:lnTo>
                    <a:pt x="39" y="89"/>
                  </a:lnTo>
                  <a:lnTo>
                    <a:pt x="36" y="89"/>
                  </a:lnTo>
                  <a:lnTo>
                    <a:pt x="36" y="87"/>
                  </a:lnTo>
                  <a:lnTo>
                    <a:pt x="36" y="84"/>
                  </a:lnTo>
                  <a:lnTo>
                    <a:pt x="34" y="83"/>
                  </a:lnTo>
                  <a:lnTo>
                    <a:pt x="34" y="83"/>
                  </a:lnTo>
                  <a:lnTo>
                    <a:pt x="32" y="81"/>
                  </a:lnTo>
                  <a:lnTo>
                    <a:pt x="29" y="80"/>
                  </a:lnTo>
                  <a:lnTo>
                    <a:pt x="25" y="78"/>
                  </a:lnTo>
                  <a:lnTo>
                    <a:pt x="22" y="75"/>
                  </a:lnTo>
                  <a:lnTo>
                    <a:pt x="17" y="72"/>
                  </a:lnTo>
                  <a:lnTo>
                    <a:pt x="17" y="72"/>
                  </a:lnTo>
                  <a:lnTo>
                    <a:pt x="15" y="69"/>
                  </a:lnTo>
                  <a:lnTo>
                    <a:pt x="12" y="64"/>
                  </a:lnTo>
                  <a:lnTo>
                    <a:pt x="12" y="61"/>
                  </a:lnTo>
                  <a:lnTo>
                    <a:pt x="12" y="61"/>
                  </a:lnTo>
                  <a:lnTo>
                    <a:pt x="11" y="58"/>
                  </a:lnTo>
                  <a:lnTo>
                    <a:pt x="9" y="56"/>
                  </a:lnTo>
                  <a:lnTo>
                    <a:pt x="9" y="55"/>
                  </a:lnTo>
                  <a:lnTo>
                    <a:pt x="6" y="51"/>
                  </a:lnTo>
                  <a:lnTo>
                    <a:pt x="4" y="50"/>
                  </a:lnTo>
                  <a:lnTo>
                    <a:pt x="3" y="48"/>
                  </a:lnTo>
                  <a:lnTo>
                    <a:pt x="3" y="45"/>
                  </a:lnTo>
                  <a:lnTo>
                    <a:pt x="1" y="45"/>
                  </a:lnTo>
                  <a:lnTo>
                    <a:pt x="1" y="44"/>
                  </a:lnTo>
                  <a:lnTo>
                    <a:pt x="0" y="42"/>
                  </a:lnTo>
                  <a:lnTo>
                    <a:pt x="0" y="42"/>
                  </a:lnTo>
                  <a:lnTo>
                    <a:pt x="0" y="41"/>
                  </a:lnTo>
                  <a:lnTo>
                    <a:pt x="0" y="39"/>
                  </a:lnTo>
                  <a:lnTo>
                    <a:pt x="4" y="41"/>
                  </a:lnTo>
                  <a:lnTo>
                    <a:pt x="6" y="41"/>
                  </a:lnTo>
                  <a:lnTo>
                    <a:pt x="7" y="41"/>
                  </a:lnTo>
                  <a:lnTo>
                    <a:pt x="9" y="41"/>
                  </a:lnTo>
                  <a:lnTo>
                    <a:pt x="11" y="42"/>
                  </a:lnTo>
                  <a:lnTo>
                    <a:pt x="14" y="42"/>
                  </a:lnTo>
                  <a:lnTo>
                    <a:pt x="15" y="42"/>
                  </a:lnTo>
                  <a:lnTo>
                    <a:pt x="18" y="42"/>
                  </a:lnTo>
                  <a:lnTo>
                    <a:pt x="23" y="44"/>
                  </a:lnTo>
                  <a:lnTo>
                    <a:pt x="26" y="44"/>
                  </a:lnTo>
                  <a:lnTo>
                    <a:pt x="31" y="42"/>
                  </a:lnTo>
                  <a:lnTo>
                    <a:pt x="36" y="39"/>
                  </a:lnTo>
                  <a:lnTo>
                    <a:pt x="39" y="34"/>
                  </a:lnTo>
                  <a:lnTo>
                    <a:pt x="42" y="30"/>
                  </a:lnTo>
                  <a:lnTo>
                    <a:pt x="43" y="26"/>
                  </a:lnTo>
                  <a:lnTo>
                    <a:pt x="47" y="23"/>
                  </a:lnTo>
                  <a:lnTo>
                    <a:pt x="51" y="20"/>
                  </a:lnTo>
                  <a:lnTo>
                    <a:pt x="56" y="19"/>
                  </a:lnTo>
                  <a:lnTo>
                    <a:pt x="62" y="17"/>
                  </a:lnTo>
                  <a:lnTo>
                    <a:pt x="62" y="17"/>
                  </a:lnTo>
                  <a:lnTo>
                    <a:pt x="62" y="14"/>
                  </a:lnTo>
                  <a:lnTo>
                    <a:pt x="64" y="12"/>
                  </a:lnTo>
                  <a:lnTo>
                    <a:pt x="64" y="9"/>
                  </a:lnTo>
                  <a:lnTo>
                    <a:pt x="64" y="8"/>
                  </a:lnTo>
                  <a:lnTo>
                    <a:pt x="64" y="6"/>
                  </a:lnTo>
                  <a:lnTo>
                    <a:pt x="65" y="6"/>
                  </a:lnTo>
                  <a:lnTo>
                    <a:pt x="67" y="5"/>
                  </a:lnTo>
                  <a:lnTo>
                    <a:pt x="72" y="3"/>
                  </a:lnTo>
                  <a:lnTo>
                    <a:pt x="75" y="1"/>
                  </a:lnTo>
                  <a:lnTo>
                    <a:pt x="79" y="0"/>
                  </a:lnTo>
                  <a:lnTo>
                    <a:pt x="84" y="0"/>
                  </a:lnTo>
                  <a:lnTo>
                    <a:pt x="87" y="0"/>
                  </a:lnTo>
                  <a:lnTo>
                    <a:pt x="90" y="0"/>
                  </a:lnTo>
                  <a:lnTo>
                    <a:pt x="90" y="3"/>
                  </a:lnTo>
                  <a:lnTo>
                    <a:pt x="90" y="6"/>
                  </a:lnTo>
                  <a:lnTo>
                    <a:pt x="90" y="6"/>
                  </a:lnTo>
                  <a:lnTo>
                    <a:pt x="95" y="6"/>
                  </a:lnTo>
                  <a:lnTo>
                    <a:pt x="100" y="8"/>
                  </a:lnTo>
                  <a:lnTo>
                    <a:pt x="104" y="8"/>
                  </a:lnTo>
                  <a:lnTo>
                    <a:pt x="109" y="9"/>
                  </a:lnTo>
                  <a:lnTo>
                    <a:pt x="109" y="11"/>
                  </a:lnTo>
                  <a:lnTo>
                    <a:pt x="114" y="11"/>
                  </a:lnTo>
                  <a:lnTo>
                    <a:pt x="117" y="14"/>
                  </a:lnTo>
                  <a:lnTo>
                    <a:pt x="123" y="16"/>
                  </a:lnTo>
                  <a:lnTo>
                    <a:pt x="126" y="16"/>
                  </a:lnTo>
                  <a:lnTo>
                    <a:pt x="129" y="17"/>
                  </a:lnTo>
                  <a:lnTo>
                    <a:pt x="131" y="19"/>
                  </a:lnTo>
                  <a:lnTo>
                    <a:pt x="133" y="20"/>
                  </a:lnTo>
                  <a:lnTo>
                    <a:pt x="134" y="20"/>
                  </a:lnTo>
                  <a:lnTo>
                    <a:pt x="136" y="20"/>
                  </a:lnTo>
                  <a:lnTo>
                    <a:pt x="136" y="22"/>
                  </a:lnTo>
                  <a:lnTo>
                    <a:pt x="134" y="23"/>
                  </a:lnTo>
                  <a:lnTo>
                    <a:pt x="134" y="26"/>
                  </a:lnTo>
                  <a:lnTo>
                    <a:pt x="136" y="30"/>
                  </a:lnTo>
                  <a:lnTo>
                    <a:pt x="136" y="33"/>
                  </a:lnTo>
                  <a:lnTo>
                    <a:pt x="136" y="39"/>
                  </a:lnTo>
                  <a:lnTo>
                    <a:pt x="136" y="45"/>
                  </a:lnTo>
                  <a:lnTo>
                    <a:pt x="136" y="47"/>
                  </a:lnTo>
                  <a:lnTo>
                    <a:pt x="136" y="48"/>
                  </a:lnTo>
                  <a:lnTo>
                    <a:pt x="136" y="48"/>
                  </a:lnTo>
                  <a:lnTo>
                    <a:pt x="136" y="50"/>
                  </a:lnTo>
                  <a:lnTo>
                    <a:pt x="136" y="53"/>
                  </a:lnTo>
                  <a:lnTo>
                    <a:pt x="134" y="55"/>
                  </a:lnTo>
                  <a:lnTo>
                    <a:pt x="134" y="56"/>
                  </a:lnTo>
                  <a:lnTo>
                    <a:pt x="134" y="56"/>
                  </a:lnTo>
                  <a:lnTo>
                    <a:pt x="134" y="58"/>
                  </a:lnTo>
                  <a:lnTo>
                    <a:pt x="131" y="59"/>
                  </a:lnTo>
                  <a:lnTo>
                    <a:pt x="131" y="59"/>
                  </a:lnTo>
                  <a:lnTo>
                    <a:pt x="131" y="61"/>
                  </a:lnTo>
                  <a:lnTo>
                    <a:pt x="131" y="62"/>
                  </a:lnTo>
                  <a:lnTo>
                    <a:pt x="133" y="62"/>
                  </a:lnTo>
                  <a:lnTo>
                    <a:pt x="133" y="62"/>
                  </a:lnTo>
                  <a:lnTo>
                    <a:pt x="134" y="64"/>
                  </a:lnTo>
                  <a:lnTo>
                    <a:pt x="134" y="64"/>
                  </a:lnTo>
                  <a:lnTo>
                    <a:pt x="133" y="66"/>
                  </a:lnTo>
                  <a:lnTo>
                    <a:pt x="133" y="69"/>
                  </a:lnTo>
                  <a:lnTo>
                    <a:pt x="133" y="72"/>
                  </a:lnTo>
                  <a:lnTo>
                    <a:pt x="134" y="73"/>
                  </a:lnTo>
                  <a:lnTo>
                    <a:pt x="136" y="77"/>
                  </a:lnTo>
                  <a:lnTo>
                    <a:pt x="136" y="78"/>
                  </a:lnTo>
                  <a:lnTo>
                    <a:pt x="136" y="80"/>
                  </a:lnTo>
                  <a:lnTo>
                    <a:pt x="136" y="80"/>
                  </a:lnTo>
                  <a:lnTo>
                    <a:pt x="134" y="84"/>
                  </a:lnTo>
                  <a:lnTo>
                    <a:pt x="133" y="87"/>
                  </a:lnTo>
                  <a:lnTo>
                    <a:pt x="131" y="91"/>
                  </a:lnTo>
                  <a:lnTo>
                    <a:pt x="128" y="92"/>
                  </a:lnTo>
                  <a:lnTo>
                    <a:pt x="128" y="92"/>
                  </a:lnTo>
                  <a:lnTo>
                    <a:pt x="126" y="94"/>
                  </a:lnTo>
                  <a:lnTo>
                    <a:pt x="126" y="95"/>
                  </a:lnTo>
                  <a:lnTo>
                    <a:pt x="126" y="98"/>
                  </a:lnTo>
                  <a:lnTo>
                    <a:pt x="125" y="102"/>
                  </a:lnTo>
                  <a:lnTo>
                    <a:pt x="126" y="105"/>
                  </a:lnTo>
                  <a:lnTo>
                    <a:pt x="126" y="105"/>
                  </a:lnTo>
                  <a:lnTo>
                    <a:pt x="125" y="105"/>
                  </a:lnTo>
                  <a:lnTo>
                    <a:pt x="122" y="109"/>
                  </a:lnTo>
                  <a:lnTo>
                    <a:pt x="118" y="113"/>
                  </a:lnTo>
                  <a:lnTo>
                    <a:pt x="117" y="114"/>
                  </a:lnTo>
                  <a:lnTo>
                    <a:pt x="114" y="117"/>
                  </a:lnTo>
                  <a:lnTo>
                    <a:pt x="111" y="120"/>
                  </a:lnTo>
                  <a:lnTo>
                    <a:pt x="109" y="123"/>
                  </a:lnTo>
                  <a:lnTo>
                    <a:pt x="106" y="125"/>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6" name="Freeform 224">
              <a:extLst>
                <a:ext uri="{FF2B5EF4-FFF2-40B4-BE49-F238E27FC236}">
                  <a16:creationId xmlns:a16="http://schemas.microsoft.com/office/drawing/2014/main" id="{F8D16B38-DA30-8E87-AC1C-4BA6F5B54229}"/>
                </a:ext>
              </a:extLst>
            </p:cNvPr>
            <p:cNvSpPr>
              <a:spLocks/>
            </p:cNvSpPr>
            <p:nvPr/>
          </p:nvSpPr>
          <p:spPr bwMode="gray">
            <a:xfrm>
              <a:off x="1168" y="28"/>
              <a:ext cx="11" cy="5"/>
            </a:xfrm>
            <a:custGeom>
              <a:avLst/>
              <a:gdLst>
                <a:gd name="T0" fmla="*/ 8 w 11"/>
                <a:gd name="T1" fmla="*/ 3 h 5"/>
                <a:gd name="T2" fmla="*/ 11 w 11"/>
                <a:gd name="T3" fmla="*/ 5 h 5"/>
                <a:gd name="T4" fmla="*/ 0 w 11"/>
                <a:gd name="T5" fmla="*/ 5 h 5"/>
                <a:gd name="T6" fmla="*/ 0 w 11"/>
                <a:gd name="T7" fmla="*/ 3 h 5"/>
                <a:gd name="T8" fmla="*/ 3 w 11"/>
                <a:gd name="T9" fmla="*/ 2 h 5"/>
                <a:gd name="T10" fmla="*/ 5 w 11"/>
                <a:gd name="T11" fmla="*/ 0 h 5"/>
                <a:gd name="T12" fmla="*/ 6 w 11"/>
                <a:gd name="T13" fmla="*/ 0 h 5"/>
                <a:gd name="T14" fmla="*/ 6 w 11"/>
                <a:gd name="T15" fmla="*/ 0 h 5"/>
                <a:gd name="T16" fmla="*/ 8 w 11"/>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8" y="3"/>
                  </a:moveTo>
                  <a:lnTo>
                    <a:pt x="11" y="5"/>
                  </a:lnTo>
                  <a:lnTo>
                    <a:pt x="0" y="5"/>
                  </a:lnTo>
                  <a:lnTo>
                    <a:pt x="0" y="3"/>
                  </a:lnTo>
                  <a:lnTo>
                    <a:pt x="3" y="2"/>
                  </a:lnTo>
                  <a:lnTo>
                    <a:pt x="5" y="0"/>
                  </a:lnTo>
                  <a:lnTo>
                    <a:pt x="6" y="0"/>
                  </a:lnTo>
                  <a:lnTo>
                    <a:pt x="6" y="0"/>
                  </a:lnTo>
                  <a:lnTo>
                    <a:pt x="8" y="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7" name="Freeform 225">
              <a:extLst>
                <a:ext uri="{FF2B5EF4-FFF2-40B4-BE49-F238E27FC236}">
                  <a16:creationId xmlns:a16="http://schemas.microsoft.com/office/drawing/2014/main" id="{5159D50F-E1F0-18B2-9A3A-40E845C04BC0}"/>
                </a:ext>
              </a:extLst>
            </p:cNvPr>
            <p:cNvSpPr>
              <a:spLocks/>
            </p:cNvSpPr>
            <p:nvPr/>
          </p:nvSpPr>
          <p:spPr bwMode="gray">
            <a:xfrm>
              <a:off x="1180" y="24"/>
              <a:ext cx="8" cy="9"/>
            </a:xfrm>
            <a:custGeom>
              <a:avLst/>
              <a:gdLst>
                <a:gd name="T0" fmla="*/ 7 w 8"/>
                <a:gd name="T1" fmla="*/ 6 h 9"/>
                <a:gd name="T2" fmla="*/ 8 w 8"/>
                <a:gd name="T3" fmla="*/ 9 h 9"/>
                <a:gd name="T4" fmla="*/ 0 w 8"/>
                <a:gd name="T5" fmla="*/ 9 h 9"/>
                <a:gd name="T6" fmla="*/ 0 w 8"/>
                <a:gd name="T7" fmla="*/ 9 h 9"/>
                <a:gd name="T8" fmla="*/ 0 w 8"/>
                <a:gd name="T9" fmla="*/ 6 h 9"/>
                <a:gd name="T10" fmla="*/ 0 w 8"/>
                <a:gd name="T11" fmla="*/ 3 h 9"/>
                <a:gd name="T12" fmla="*/ 0 w 8"/>
                <a:gd name="T13" fmla="*/ 1 h 9"/>
                <a:gd name="T14" fmla="*/ 0 w 8"/>
                <a:gd name="T15" fmla="*/ 0 h 9"/>
                <a:gd name="T16" fmla="*/ 2 w 8"/>
                <a:gd name="T17" fmla="*/ 0 h 9"/>
                <a:gd name="T18" fmla="*/ 4 w 8"/>
                <a:gd name="T19" fmla="*/ 0 h 9"/>
                <a:gd name="T20" fmla="*/ 5 w 8"/>
                <a:gd name="T21" fmla="*/ 1 h 9"/>
                <a:gd name="T22" fmla="*/ 5 w 8"/>
                <a:gd name="T23" fmla="*/ 1 h 9"/>
                <a:gd name="T24" fmla="*/ 5 w 8"/>
                <a:gd name="T25" fmla="*/ 3 h 9"/>
                <a:gd name="T26" fmla="*/ 7 w 8"/>
                <a:gd name="T2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9">
                  <a:moveTo>
                    <a:pt x="7" y="6"/>
                  </a:moveTo>
                  <a:lnTo>
                    <a:pt x="8" y="9"/>
                  </a:lnTo>
                  <a:lnTo>
                    <a:pt x="0" y="9"/>
                  </a:lnTo>
                  <a:lnTo>
                    <a:pt x="0" y="9"/>
                  </a:lnTo>
                  <a:lnTo>
                    <a:pt x="0" y="6"/>
                  </a:lnTo>
                  <a:lnTo>
                    <a:pt x="0" y="3"/>
                  </a:lnTo>
                  <a:lnTo>
                    <a:pt x="0" y="1"/>
                  </a:lnTo>
                  <a:lnTo>
                    <a:pt x="0" y="0"/>
                  </a:lnTo>
                  <a:lnTo>
                    <a:pt x="2" y="0"/>
                  </a:lnTo>
                  <a:lnTo>
                    <a:pt x="4" y="0"/>
                  </a:lnTo>
                  <a:lnTo>
                    <a:pt x="5" y="1"/>
                  </a:lnTo>
                  <a:lnTo>
                    <a:pt x="5" y="1"/>
                  </a:lnTo>
                  <a:lnTo>
                    <a:pt x="5" y="3"/>
                  </a:lnTo>
                  <a:lnTo>
                    <a:pt x="7"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8" name="Freeform 226">
              <a:extLst>
                <a:ext uri="{FF2B5EF4-FFF2-40B4-BE49-F238E27FC236}">
                  <a16:creationId xmlns:a16="http://schemas.microsoft.com/office/drawing/2014/main" id="{D6D27F53-6777-7F53-924F-56811C78D2ED}"/>
                </a:ext>
              </a:extLst>
            </p:cNvPr>
            <p:cNvSpPr>
              <a:spLocks/>
            </p:cNvSpPr>
            <p:nvPr/>
          </p:nvSpPr>
          <p:spPr bwMode="gray">
            <a:xfrm>
              <a:off x="1193" y="19"/>
              <a:ext cx="12" cy="14"/>
            </a:xfrm>
            <a:custGeom>
              <a:avLst/>
              <a:gdLst>
                <a:gd name="T0" fmla="*/ 12 w 12"/>
                <a:gd name="T1" fmla="*/ 9 h 14"/>
                <a:gd name="T2" fmla="*/ 12 w 12"/>
                <a:gd name="T3" fmla="*/ 11 h 14"/>
                <a:gd name="T4" fmla="*/ 12 w 12"/>
                <a:gd name="T5" fmla="*/ 11 h 14"/>
                <a:gd name="T6" fmla="*/ 11 w 12"/>
                <a:gd name="T7" fmla="*/ 12 h 14"/>
                <a:gd name="T8" fmla="*/ 12 w 12"/>
                <a:gd name="T9" fmla="*/ 14 h 14"/>
                <a:gd name="T10" fmla="*/ 12 w 12"/>
                <a:gd name="T11" fmla="*/ 14 h 14"/>
                <a:gd name="T12" fmla="*/ 5 w 12"/>
                <a:gd name="T13" fmla="*/ 14 h 14"/>
                <a:gd name="T14" fmla="*/ 5 w 12"/>
                <a:gd name="T15" fmla="*/ 11 h 14"/>
                <a:gd name="T16" fmla="*/ 5 w 12"/>
                <a:gd name="T17" fmla="*/ 9 h 14"/>
                <a:gd name="T18" fmla="*/ 5 w 12"/>
                <a:gd name="T19" fmla="*/ 8 h 14"/>
                <a:gd name="T20" fmla="*/ 3 w 12"/>
                <a:gd name="T21" fmla="*/ 6 h 14"/>
                <a:gd name="T22" fmla="*/ 3 w 12"/>
                <a:gd name="T23" fmla="*/ 6 h 14"/>
                <a:gd name="T24" fmla="*/ 2 w 12"/>
                <a:gd name="T25" fmla="*/ 5 h 14"/>
                <a:gd name="T26" fmla="*/ 0 w 12"/>
                <a:gd name="T27" fmla="*/ 3 h 14"/>
                <a:gd name="T28" fmla="*/ 0 w 12"/>
                <a:gd name="T29" fmla="*/ 1 h 14"/>
                <a:gd name="T30" fmla="*/ 0 w 12"/>
                <a:gd name="T31" fmla="*/ 1 h 14"/>
                <a:gd name="T32" fmla="*/ 0 w 12"/>
                <a:gd name="T33" fmla="*/ 0 h 14"/>
                <a:gd name="T34" fmla="*/ 5 w 12"/>
                <a:gd name="T35" fmla="*/ 1 h 14"/>
                <a:gd name="T36" fmla="*/ 8 w 12"/>
                <a:gd name="T37" fmla="*/ 5 h 14"/>
                <a:gd name="T38" fmla="*/ 11 w 12"/>
                <a:gd name="T39" fmla="*/ 8 h 14"/>
                <a:gd name="T40" fmla="*/ 12 w 12"/>
                <a:gd name="T4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4">
                  <a:moveTo>
                    <a:pt x="12" y="9"/>
                  </a:moveTo>
                  <a:lnTo>
                    <a:pt x="12" y="11"/>
                  </a:lnTo>
                  <a:lnTo>
                    <a:pt x="12" y="11"/>
                  </a:lnTo>
                  <a:lnTo>
                    <a:pt x="11" y="12"/>
                  </a:lnTo>
                  <a:lnTo>
                    <a:pt x="12" y="14"/>
                  </a:lnTo>
                  <a:lnTo>
                    <a:pt x="12" y="14"/>
                  </a:lnTo>
                  <a:lnTo>
                    <a:pt x="5" y="14"/>
                  </a:lnTo>
                  <a:lnTo>
                    <a:pt x="5" y="11"/>
                  </a:lnTo>
                  <a:lnTo>
                    <a:pt x="5" y="9"/>
                  </a:lnTo>
                  <a:lnTo>
                    <a:pt x="5" y="8"/>
                  </a:lnTo>
                  <a:lnTo>
                    <a:pt x="3" y="6"/>
                  </a:lnTo>
                  <a:lnTo>
                    <a:pt x="3" y="6"/>
                  </a:lnTo>
                  <a:lnTo>
                    <a:pt x="2" y="5"/>
                  </a:lnTo>
                  <a:lnTo>
                    <a:pt x="0" y="3"/>
                  </a:lnTo>
                  <a:lnTo>
                    <a:pt x="0" y="1"/>
                  </a:lnTo>
                  <a:lnTo>
                    <a:pt x="0" y="1"/>
                  </a:lnTo>
                  <a:lnTo>
                    <a:pt x="0" y="0"/>
                  </a:lnTo>
                  <a:lnTo>
                    <a:pt x="5" y="1"/>
                  </a:lnTo>
                  <a:lnTo>
                    <a:pt x="8" y="5"/>
                  </a:lnTo>
                  <a:lnTo>
                    <a:pt x="11" y="8"/>
                  </a:lnTo>
                  <a:lnTo>
                    <a:pt x="12" y="9"/>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69" name="Freeform 227">
              <a:extLst>
                <a:ext uri="{FF2B5EF4-FFF2-40B4-BE49-F238E27FC236}">
                  <a16:creationId xmlns:a16="http://schemas.microsoft.com/office/drawing/2014/main" id="{44053F40-22EF-683A-2E42-D7994732BE08}"/>
                </a:ext>
              </a:extLst>
            </p:cNvPr>
            <p:cNvSpPr>
              <a:spLocks/>
            </p:cNvSpPr>
            <p:nvPr/>
          </p:nvSpPr>
          <p:spPr bwMode="gray">
            <a:xfrm>
              <a:off x="2256" y="5"/>
              <a:ext cx="46" cy="28"/>
            </a:xfrm>
            <a:custGeom>
              <a:avLst/>
              <a:gdLst>
                <a:gd name="T0" fmla="*/ 46 w 46"/>
                <a:gd name="T1" fmla="*/ 25 h 28"/>
                <a:gd name="T2" fmla="*/ 2 w 46"/>
                <a:gd name="T3" fmla="*/ 28 h 28"/>
                <a:gd name="T4" fmla="*/ 0 w 46"/>
                <a:gd name="T5" fmla="*/ 26 h 28"/>
                <a:gd name="T6" fmla="*/ 2 w 46"/>
                <a:gd name="T7" fmla="*/ 25 h 28"/>
                <a:gd name="T8" fmla="*/ 3 w 46"/>
                <a:gd name="T9" fmla="*/ 22 h 28"/>
                <a:gd name="T10" fmla="*/ 2 w 46"/>
                <a:gd name="T11" fmla="*/ 19 h 28"/>
                <a:gd name="T12" fmla="*/ 2 w 46"/>
                <a:gd name="T13" fmla="*/ 17 h 28"/>
                <a:gd name="T14" fmla="*/ 6 w 46"/>
                <a:gd name="T15" fmla="*/ 19 h 28"/>
                <a:gd name="T16" fmla="*/ 6 w 46"/>
                <a:gd name="T17" fmla="*/ 17 h 28"/>
                <a:gd name="T18" fmla="*/ 5 w 46"/>
                <a:gd name="T19" fmla="*/ 15 h 28"/>
                <a:gd name="T20" fmla="*/ 6 w 46"/>
                <a:gd name="T21" fmla="*/ 14 h 28"/>
                <a:gd name="T22" fmla="*/ 8 w 46"/>
                <a:gd name="T23" fmla="*/ 12 h 28"/>
                <a:gd name="T24" fmla="*/ 10 w 46"/>
                <a:gd name="T25" fmla="*/ 12 h 28"/>
                <a:gd name="T26" fmla="*/ 14 w 46"/>
                <a:gd name="T27" fmla="*/ 17 h 28"/>
                <a:gd name="T28" fmla="*/ 14 w 46"/>
                <a:gd name="T29" fmla="*/ 20 h 28"/>
                <a:gd name="T30" fmla="*/ 16 w 46"/>
                <a:gd name="T31" fmla="*/ 20 h 28"/>
                <a:gd name="T32" fmla="*/ 19 w 46"/>
                <a:gd name="T33" fmla="*/ 20 h 28"/>
                <a:gd name="T34" fmla="*/ 20 w 46"/>
                <a:gd name="T35" fmla="*/ 19 h 28"/>
                <a:gd name="T36" fmla="*/ 22 w 46"/>
                <a:gd name="T37" fmla="*/ 20 h 28"/>
                <a:gd name="T38" fmla="*/ 22 w 46"/>
                <a:gd name="T39" fmla="*/ 25 h 28"/>
                <a:gd name="T40" fmla="*/ 24 w 46"/>
                <a:gd name="T41" fmla="*/ 23 h 28"/>
                <a:gd name="T42" fmla="*/ 25 w 46"/>
                <a:gd name="T43" fmla="*/ 23 h 28"/>
                <a:gd name="T44" fmla="*/ 25 w 46"/>
                <a:gd name="T45" fmla="*/ 17 h 28"/>
                <a:gd name="T46" fmla="*/ 19 w 46"/>
                <a:gd name="T47" fmla="*/ 12 h 28"/>
                <a:gd name="T48" fmla="*/ 16 w 46"/>
                <a:gd name="T49" fmla="*/ 11 h 28"/>
                <a:gd name="T50" fmla="*/ 17 w 46"/>
                <a:gd name="T51" fmla="*/ 9 h 28"/>
                <a:gd name="T52" fmla="*/ 24 w 46"/>
                <a:gd name="T53" fmla="*/ 8 h 28"/>
                <a:gd name="T54" fmla="*/ 24 w 46"/>
                <a:gd name="T55" fmla="*/ 8 h 28"/>
                <a:gd name="T56" fmla="*/ 20 w 46"/>
                <a:gd name="T57" fmla="*/ 6 h 28"/>
                <a:gd name="T58" fmla="*/ 19 w 46"/>
                <a:gd name="T59" fmla="*/ 6 h 28"/>
                <a:gd name="T60" fmla="*/ 13 w 46"/>
                <a:gd name="T61" fmla="*/ 4 h 28"/>
                <a:gd name="T62" fmla="*/ 14 w 46"/>
                <a:gd name="T63" fmla="*/ 3 h 28"/>
                <a:gd name="T64" fmla="*/ 17 w 46"/>
                <a:gd name="T65" fmla="*/ 0 h 28"/>
                <a:gd name="T66" fmla="*/ 24 w 46"/>
                <a:gd name="T67" fmla="*/ 0 h 28"/>
                <a:gd name="T68" fmla="*/ 27 w 46"/>
                <a:gd name="T69" fmla="*/ 3 h 28"/>
                <a:gd name="T70" fmla="*/ 33 w 46"/>
                <a:gd name="T71" fmla="*/ 8 h 28"/>
                <a:gd name="T72" fmla="*/ 36 w 46"/>
                <a:gd name="T73" fmla="*/ 11 h 28"/>
                <a:gd name="T74" fmla="*/ 42 w 46"/>
                <a:gd name="T75" fmla="*/ 19 h 28"/>
                <a:gd name="T76" fmla="*/ 42 w 46"/>
                <a:gd name="T77" fmla="*/ 20 h 28"/>
                <a:gd name="T78" fmla="*/ 41 w 46"/>
                <a:gd name="T79" fmla="*/ 22 h 28"/>
                <a:gd name="T80" fmla="*/ 46 w 46"/>
                <a:gd name="T81"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 h="28">
                  <a:moveTo>
                    <a:pt x="46" y="23"/>
                  </a:moveTo>
                  <a:lnTo>
                    <a:pt x="46" y="25"/>
                  </a:lnTo>
                  <a:lnTo>
                    <a:pt x="44" y="28"/>
                  </a:lnTo>
                  <a:lnTo>
                    <a:pt x="2" y="28"/>
                  </a:lnTo>
                  <a:lnTo>
                    <a:pt x="2" y="28"/>
                  </a:lnTo>
                  <a:lnTo>
                    <a:pt x="0" y="26"/>
                  </a:lnTo>
                  <a:lnTo>
                    <a:pt x="0" y="25"/>
                  </a:lnTo>
                  <a:lnTo>
                    <a:pt x="2" y="25"/>
                  </a:lnTo>
                  <a:lnTo>
                    <a:pt x="6" y="25"/>
                  </a:lnTo>
                  <a:lnTo>
                    <a:pt x="3" y="22"/>
                  </a:lnTo>
                  <a:lnTo>
                    <a:pt x="2" y="20"/>
                  </a:lnTo>
                  <a:lnTo>
                    <a:pt x="2" y="19"/>
                  </a:lnTo>
                  <a:lnTo>
                    <a:pt x="2" y="17"/>
                  </a:lnTo>
                  <a:lnTo>
                    <a:pt x="2" y="17"/>
                  </a:lnTo>
                  <a:lnTo>
                    <a:pt x="2" y="17"/>
                  </a:lnTo>
                  <a:lnTo>
                    <a:pt x="6" y="19"/>
                  </a:lnTo>
                  <a:lnTo>
                    <a:pt x="8" y="19"/>
                  </a:lnTo>
                  <a:lnTo>
                    <a:pt x="6" y="17"/>
                  </a:lnTo>
                  <a:lnTo>
                    <a:pt x="5" y="15"/>
                  </a:lnTo>
                  <a:lnTo>
                    <a:pt x="5" y="15"/>
                  </a:lnTo>
                  <a:lnTo>
                    <a:pt x="5" y="14"/>
                  </a:lnTo>
                  <a:lnTo>
                    <a:pt x="6" y="14"/>
                  </a:lnTo>
                  <a:lnTo>
                    <a:pt x="6" y="12"/>
                  </a:lnTo>
                  <a:lnTo>
                    <a:pt x="8" y="12"/>
                  </a:lnTo>
                  <a:lnTo>
                    <a:pt x="8" y="12"/>
                  </a:lnTo>
                  <a:lnTo>
                    <a:pt x="10" y="12"/>
                  </a:lnTo>
                  <a:lnTo>
                    <a:pt x="14" y="15"/>
                  </a:lnTo>
                  <a:lnTo>
                    <a:pt x="14" y="17"/>
                  </a:lnTo>
                  <a:lnTo>
                    <a:pt x="14" y="19"/>
                  </a:lnTo>
                  <a:lnTo>
                    <a:pt x="14" y="20"/>
                  </a:lnTo>
                  <a:lnTo>
                    <a:pt x="14" y="20"/>
                  </a:lnTo>
                  <a:lnTo>
                    <a:pt x="16" y="20"/>
                  </a:lnTo>
                  <a:lnTo>
                    <a:pt x="17" y="20"/>
                  </a:lnTo>
                  <a:lnTo>
                    <a:pt x="19" y="20"/>
                  </a:lnTo>
                  <a:lnTo>
                    <a:pt x="20" y="19"/>
                  </a:lnTo>
                  <a:lnTo>
                    <a:pt x="20" y="19"/>
                  </a:lnTo>
                  <a:lnTo>
                    <a:pt x="22" y="20"/>
                  </a:lnTo>
                  <a:lnTo>
                    <a:pt x="22" y="20"/>
                  </a:lnTo>
                  <a:lnTo>
                    <a:pt x="22" y="22"/>
                  </a:lnTo>
                  <a:lnTo>
                    <a:pt x="22" y="25"/>
                  </a:lnTo>
                  <a:lnTo>
                    <a:pt x="22" y="25"/>
                  </a:lnTo>
                  <a:lnTo>
                    <a:pt x="24" y="23"/>
                  </a:lnTo>
                  <a:lnTo>
                    <a:pt x="25" y="23"/>
                  </a:lnTo>
                  <a:lnTo>
                    <a:pt x="25" y="23"/>
                  </a:lnTo>
                  <a:lnTo>
                    <a:pt x="25" y="20"/>
                  </a:lnTo>
                  <a:lnTo>
                    <a:pt x="25" y="17"/>
                  </a:lnTo>
                  <a:lnTo>
                    <a:pt x="25" y="17"/>
                  </a:lnTo>
                  <a:lnTo>
                    <a:pt x="19" y="12"/>
                  </a:lnTo>
                  <a:lnTo>
                    <a:pt x="17" y="12"/>
                  </a:lnTo>
                  <a:lnTo>
                    <a:pt x="16" y="11"/>
                  </a:lnTo>
                  <a:lnTo>
                    <a:pt x="16" y="9"/>
                  </a:lnTo>
                  <a:lnTo>
                    <a:pt x="17" y="9"/>
                  </a:lnTo>
                  <a:lnTo>
                    <a:pt x="19" y="8"/>
                  </a:lnTo>
                  <a:lnTo>
                    <a:pt x="24" y="8"/>
                  </a:lnTo>
                  <a:lnTo>
                    <a:pt x="24" y="8"/>
                  </a:lnTo>
                  <a:lnTo>
                    <a:pt x="24" y="8"/>
                  </a:lnTo>
                  <a:lnTo>
                    <a:pt x="22" y="6"/>
                  </a:lnTo>
                  <a:lnTo>
                    <a:pt x="20" y="6"/>
                  </a:lnTo>
                  <a:lnTo>
                    <a:pt x="20" y="4"/>
                  </a:lnTo>
                  <a:lnTo>
                    <a:pt x="19" y="6"/>
                  </a:lnTo>
                  <a:lnTo>
                    <a:pt x="16" y="6"/>
                  </a:lnTo>
                  <a:lnTo>
                    <a:pt x="13" y="4"/>
                  </a:lnTo>
                  <a:lnTo>
                    <a:pt x="13" y="4"/>
                  </a:lnTo>
                  <a:lnTo>
                    <a:pt x="14" y="3"/>
                  </a:lnTo>
                  <a:lnTo>
                    <a:pt x="16" y="1"/>
                  </a:lnTo>
                  <a:lnTo>
                    <a:pt x="17" y="0"/>
                  </a:lnTo>
                  <a:lnTo>
                    <a:pt x="20" y="1"/>
                  </a:lnTo>
                  <a:lnTo>
                    <a:pt x="24" y="0"/>
                  </a:lnTo>
                  <a:lnTo>
                    <a:pt x="25" y="1"/>
                  </a:lnTo>
                  <a:lnTo>
                    <a:pt x="27" y="3"/>
                  </a:lnTo>
                  <a:lnTo>
                    <a:pt x="30" y="6"/>
                  </a:lnTo>
                  <a:lnTo>
                    <a:pt x="33" y="8"/>
                  </a:lnTo>
                  <a:lnTo>
                    <a:pt x="33" y="9"/>
                  </a:lnTo>
                  <a:lnTo>
                    <a:pt x="36" y="11"/>
                  </a:lnTo>
                  <a:lnTo>
                    <a:pt x="39" y="15"/>
                  </a:lnTo>
                  <a:lnTo>
                    <a:pt x="42" y="19"/>
                  </a:lnTo>
                  <a:lnTo>
                    <a:pt x="44" y="19"/>
                  </a:lnTo>
                  <a:lnTo>
                    <a:pt x="42" y="20"/>
                  </a:lnTo>
                  <a:lnTo>
                    <a:pt x="41" y="20"/>
                  </a:lnTo>
                  <a:lnTo>
                    <a:pt x="41" y="22"/>
                  </a:lnTo>
                  <a:lnTo>
                    <a:pt x="44" y="22"/>
                  </a:lnTo>
                  <a:lnTo>
                    <a:pt x="46" y="2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0" name="Freeform 228">
              <a:extLst>
                <a:ext uri="{FF2B5EF4-FFF2-40B4-BE49-F238E27FC236}">
                  <a16:creationId xmlns:a16="http://schemas.microsoft.com/office/drawing/2014/main" id="{9D3B4C44-B6C6-E002-36E5-44A0BB32F277}"/>
                </a:ext>
              </a:extLst>
            </p:cNvPr>
            <p:cNvSpPr>
              <a:spLocks/>
            </p:cNvSpPr>
            <p:nvPr/>
          </p:nvSpPr>
          <p:spPr bwMode="gray">
            <a:xfrm>
              <a:off x="2317" y="20"/>
              <a:ext cx="13" cy="13"/>
            </a:xfrm>
            <a:custGeom>
              <a:avLst/>
              <a:gdLst>
                <a:gd name="T0" fmla="*/ 13 w 13"/>
                <a:gd name="T1" fmla="*/ 13 h 13"/>
                <a:gd name="T2" fmla="*/ 13 w 13"/>
                <a:gd name="T3" fmla="*/ 13 h 13"/>
                <a:gd name="T4" fmla="*/ 0 w 13"/>
                <a:gd name="T5" fmla="*/ 13 h 13"/>
                <a:gd name="T6" fmla="*/ 0 w 13"/>
                <a:gd name="T7" fmla="*/ 11 h 13"/>
                <a:gd name="T8" fmla="*/ 0 w 13"/>
                <a:gd name="T9" fmla="*/ 7 h 13"/>
                <a:gd name="T10" fmla="*/ 0 w 13"/>
                <a:gd name="T11" fmla="*/ 4 h 13"/>
                <a:gd name="T12" fmla="*/ 2 w 13"/>
                <a:gd name="T13" fmla="*/ 0 h 13"/>
                <a:gd name="T14" fmla="*/ 3 w 13"/>
                <a:gd name="T15" fmla="*/ 0 h 13"/>
                <a:gd name="T16" fmla="*/ 5 w 13"/>
                <a:gd name="T17" fmla="*/ 0 h 13"/>
                <a:gd name="T18" fmla="*/ 6 w 13"/>
                <a:gd name="T19" fmla="*/ 2 h 13"/>
                <a:gd name="T20" fmla="*/ 10 w 13"/>
                <a:gd name="T21" fmla="*/ 8 h 13"/>
                <a:gd name="T22" fmla="*/ 11 w 13"/>
                <a:gd name="T23" fmla="*/ 10 h 13"/>
                <a:gd name="T24" fmla="*/ 13 w 13"/>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3">
                  <a:moveTo>
                    <a:pt x="13" y="13"/>
                  </a:moveTo>
                  <a:lnTo>
                    <a:pt x="13" y="13"/>
                  </a:lnTo>
                  <a:lnTo>
                    <a:pt x="0" y="13"/>
                  </a:lnTo>
                  <a:lnTo>
                    <a:pt x="0" y="11"/>
                  </a:lnTo>
                  <a:lnTo>
                    <a:pt x="0" y="7"/>
                  </a:lnTo>
                  <a:lnTo>
                    <a:pt x="0" y="4"/>
                  </a:lnTo>
                  <a:lnTo>
                    <a:pt x="2" y="0"/>
                  </a:lnTo>
                  <a:lnTo>
                    <a:pt x="3" y="0"/>
                  </a:lnTo>
                  <a:lnTo>
                    <a:pt x="5" y="0"/>
                  </a:lnTo>
                  <a:lnTo>
                    <a:pt x="6" y="2"/>
                  </a:lnTo>
                  <a:lnTo>
                    <a:pt x="10" y="8"/>
                  </a:lnTo>
                  <a:lnTo>
                    <a:pt x="11" y="10"/>
                  </a:lnTo>
                  <a:lnTo>
                    <a:pt x="13" y="1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1" name="Freeform 229">
              <a:extLst>
                <a:ext uri="{FF2B5EF4-FFF2-40B4-BE49-F238E27FC236}">
                  <a16:creationId xmlns:a16="http://schemas.microsoft.com/office/drawing/2014/main" id="{7A37BD9B-35A7-F209-3298-A78EC2755E0F}"/>
                </a:ext>
              </a:extLst>
            </p:cNvPr>
            <p:cNvSpPr>
              <a:spLocks/>
            </p:cNvSpPr>
            <p:nvPr/>
          </p:nvSpPr>
          <p:spPr bwMode="gray">
            <a:xfrm>
              <a:off x="2333" y="17"/>
              <a:ext cx="22" cy="16"/>
            </a:xfrm>
            <a:custGeom>
              <a:avLst/>
              <a:gdLst>
                <a:gd name="T0" fmla="*/ 22 w 22"/>
                <a:gd name="T1" fmla="*/ 13 h 16"/>
                <a:gd name="T2" fmla="*/ 22 w 22"/>
                <a:gd name="T3" fmla="*/ 16 h 16"/>
                <a:gd name="T4" fmla="*/ 1 w 22"/>
                <a:gd name="T5" fmla="*/ 16 h 16"/>
                <a:gd name="T6" fmla="*/ 1 w 22"/>
                <a:gd name="T7" fmla="*/ 16 h 16"/>
                <a:gd name="T8" fmla="*/ 0 w 22"/>
                <a:gd name="T9" fmla="*/ 8 h 16"/>
                <a:gd name="T10" fmla="*/ 1 w 22"/>
                <a:gd name="T11" fmla="*/ 7 h 16"/>
                <a:gd name="T12" fmla="*/ 1 w 22"/>
                <a:gd name="T13" fmla="*/ 5 h 16"/>
                <a:gd name="T14" fmla="*/ 4 w 22"/>
                <a:gd name="T15" fmla="*/ 3 h 16"/>
                <a:gd name="T16" fmla="*/ 6 w 22"/>
                <a:gd name="T17" fmla="*/ 2 h 16"/>
                <a:gd name="T18" fmla="*/ 9 w 22"/>
                <a:gd name="T19" fmla="*/ 0 h 16"/>
                <a:gd name="T20" fmla="*/ 9 w 22"/>
                <a:gd name="T21" fmla="*/ 0 h 16"/>
                <a:gd name="T22" fmla="*/ 11 w 22"/>
                <a:gd name="T23" fmla="*/ 0 h 16"/>
                <a:gd name="T24" fmla="*/ 12 w 22"/>
                <a:gd name="T25" fmla="*/ 0 h 16"/>
                <a:gd name="T26" fmla="*/ 14 w 22"/>
                <a:gd name="T27" fmla="*/ 2 h 16"/>
                <a:gd name="T28" fmla="*/ 15 w 22"/>
                <a:gd name="T29" fmla="*/ 5 h 16"/>
                <a:gd name="T30" fmla="*/ 19 w 22"/>
                <a:gd name="T31" fmla="*/ 10 h 16"/>
                <a:gd name="T32" fmla="*/ 22 w 22"/>
                <a:gd name="T33"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6">
                  <a:moveTo>
                    <a:pt x="22" y="13"/>
                  </a:moveTo>
                  <a:lnTo>
                    <a:pt x="22" y="16"/>
                  </a:lnTo>
                  <a:lnTo>
                    <a:pt x="1" y="16"/>
                  </a:lnTo>
                  <a:lnTo>
                    <a:pt x="1" y="16"/>
                  </a:lnTo>
                  <a:lnTo>
                    <a:pt x="0" y="8"/>
                  </a:lnTo>
                  <a:lnTo>
                    <a:pt x="1" y="7"/>
                  </a:lnTo>
                  <a:lnTo>
                    <a:pt x="1" y="5"/>
                  </a:lnTo>
                  <a:lnTo>
                    <a:pt x="4" y="3"/>
                  </a:lnTo>
                  <a:lnTo>
                    <a:pt x="6" y="2"/>
                  </a:lnTo>
                  <a:lnTo>
                    <a:pt x="9" y="0"/>
                  </a:lnTo>
                  <a:lnTo>
                    <a:pt x="9" y="0"/>
                  </a:lnTo>
                  <a:lnTo>
                    <a:pt x="11" y="0"/>
                  </a:lnTo>
                  <a:lnTo>
                    <a:pt x="12" y="0"/>
                  </a:lnTo>
                  <a:lnTo>
                    <a:pt x="14" y="2"/>
                  </a:lnTo>
                  <a:lnTo>
                    <a:pt x="15" y="5"/>
                  </a:lnTo>
                  <a:lnTo>
                    <a:pt x="19" y="10"/>
                  </a:lnTo>
                  <a:lnTo>
                    <a:pt x="22" y="13"/>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2" name="Freeform 230">
              <a:extLst>
                <a:ext uri="{FF2B5EF4-FFF2-40B4-BE49-F238E27FC236}">
                  <a16:creationId xmlns:a16="http://schemas.microsoft.com/office/drawing/2014/main" id="{7ABFA141-C7D8-819C-CB0B-527BD4D7EAD7}"/>
                </a:ext>
              </a:extLst>
            </p:cNvPr>
            <p:cNvSpPr>
              <a:spLocks/>
            </p:cNvSpPr>
            <p:nvPr/>
          </p:nvSpPr>
          <p:spPr bwMode="gray">
            <a:xfrm>
              <a:off x="2353" y="2"/>
              <a:ext cx="66" cy="31"/>
            </a:xfrm>
            <a:custGeom>
              <a:avLst/>
              <a:gdLst>
                <a:gd name="T0" fmla="*/ 64 w 66"/>
                <a:gd name="T1" fmla="*/ 6 h 31"/>
                <a:gd name="T2" fmla="*/ 66 w 66"/>
                <a:gd name="T3" fmla="*/ 6 h 31"/>
                <a:gd name="T4" fmla="*/ 66 w 66"/>
                <a:gd name="T5" fmla="*/ 6 h 31"/>
                <a:gd name="T6" fmla="*/ 64 w 66"/>
                <a:gd name="T7" fmla="*/ 7 h 31"/>
                <a:gd name="T8" fmla="*/ 63 w 66"/>
                <a:gd name="T9" fmla="*/ 7 h 31"/>
                <a:gd name="T10" fmla="*/ 60 w 66"/>
                <a:gd name="T11" fmla="*/ 11 h 31"/>
                <a:gd name="T12" fmla="*/ 58 w 66"/>
                <a:gd name="T13" fmla="*/ 15 h 31"/>
                <a:gd name="T14" fmla="*/ 56 w 66"/>
                <a:gd name="T15" fmla="*/ 17 h 31"/>
                <a:gd name="T16" fmla="*/ 56 w 66"/>
                <a:gd name="T17" fmla="*/ 18 h 31"/>
                <a:gd name="T18" fmla="*/ 58 w 66"/>
                <a:gd name="T19" fmla="*/ 20 h 31"/>
                <a:gd name="T20" fmla="*/ 61 w 66"/>
                <a:gd name="T21" fmla="*/ 22 h 31"/>
                <a:gd name="T22" fmla="*/ 63 w 66"/>
                <a:gd name="T23" fmla="*/ 20 h 31"/>
                <a:gd name="T24" fmla="*/ 63 w 66"/>
                <a:gd name="T25" fmla="*/ 20 h 31"/>
                <a:gd name="T26" fmla="*/ 64 w 66"/>
                <a:gd name="T27" fmla="*/ 22 h 31"/>
                <a:gd name="T28" fmla="*/ 64 w 66"/>
                <a:gd name="T29" fmla="*/ 23 h 31"/>
                <a:gd name="T30" fmla="*/ 64 w 66"/>
                <a:gd name="T31" fmla="*/ 25 h 31"/>
                <a:gd name="T32" fmla="*/ 64 w 66"/>
                <a:gd name="T33" fmla="*/ 26 h 31"/>
                <a:gd name="T34" fmla="*/ 63 w 66"/>
                <a:gd name="T35" fmla="*/ 29 h 31"/>
                <a:gd name="T36" fmla="*/ 61 w 66"/>
                <a:gd name="T37" fmla="*/ 31 h 31"/>
                <a:gd name="T38" fmla="*/ 5 w 66"/>
                <a:gd name="T39" fmla="*/ 31 h 31"/>
                <a:gd name="T40" fmla="*/ 5 w 66"/>
                <a:gd name="T41" fmla="*/ 29 h 31"/>
                <a:gd name="T42" fmla="*/ 3 w 66"/>
                <a:gd name="T43" fmla="*/ 26 h 31"/>
                <a:gd name="T44" fmla="*/ 0 w 66"/>
                <a:gd name="T45" fmla="*/ 18 h 31"/>
                <a:gd name="T46" fmla="*/ 0 w 66"/>
                <a:gd name="T47" fmla="*/ 17 h 31"/>
                <a:gd name="T48" fmla="*/ 0 w 66"/>
                <a:gd name="T49" fmla="*/ 15 h 31"/>
                <a:gd name="T50" fmla="*/ 3 w 66"/>
                <a:gd name="T51" fmla="*/ 15 h 31"/>
                <a:gd name="T52" fmla="*/ 8 w 66"/>
                <a:gd name="T53" fmla="*/ 17 h 31"/>
                <a:gd name="T54" fmla="*/ 9 w 66"/>
                <a:gd name="T55" fmla="*/ 17 h 31"/>
                <a:gd name="T56" fmla="*/ 13 w 66"/>
                <a:gd name="T57" fmla="*/ 23 h 31"/>
                <a:gd name="T58" fmla="*/ 13 w 66"/>
                <a:gd name="T59" fmla="*/ 23 h 31"/>
                <a:gd name="T60" fmla="*/ 14 w 66"/>
                <a:gd name="T61" fmla="*/ 25 h 31"/>
                <a:gd name="T62" fmla="*/ 14 w 66"/>
                <a:gd name="T63" fmla="*/ 23 h 31"/>
                <a:gd name="T64" fmla="*/ 16 w 66"/>
                <a:gd name="T65" fmla="*/ 23 h 31"/>
                <a:gd name="T66" fmla="*/ 16 w 66"/>
                <a:gd name="T67" fmla="*/ 22 h 31"/>
                <a:gd name="T68" fmla="*/ 17 w 66"/>
                <a:gd name="T69" fmla="*/ 18 h 31"/>
                <a:gd name="T70" fmla="*/ 20 w 66"/>
                <a:gd name="T71" fmla="*/ 14 h 31"/>
                <a:gd name="T72" fmla="*/ 22 w 66"/>
                <a:gd name="T73" fmla="*/ 14 h 31"/>
                <a:gd name="T74" fmla="*/ 22 w 66"/>
                <a:gd name="T75" fmla="*/ 14 h 31"/>
                <a:gd name="T76" fmla="*/ 24 w 66"/>
                <a:gd name="T77" fmla="*/ 15 h 31"/>
                <a:gd name="T78" fmla="*/ 25 w 66"/>
                <a:gd name="T79" fmla="*/ 17 h 31"/>
                <a:gd name="T80" fmla="*/ 27 w 66"/>
                <a:gd name="T81" fmla="*/ 17 h 31"/>
                <a:gd name="T82" fmla="*/ 28 w 66"/>
                <a:gd name="T83" fmla="*/ 17 h 31"/>
                <a:gd name="T84" fmla="*/ 30 w 66"/>
                <a:gd name="T85" fmla="*/ 15 h 31"/>
                <a:gd name="T86" fmla="*/ 33 w 66"/>
                <a:gd name="T87" fmla="*/ 14 h 31"/>
                <a:gd name="T88" fmla="*/ 33 w 66"/>
                <a:gd name="T89" fmla="*/ 12 h 31"/>
                <a:gd name="T90" fmla="*/ 33 w 66"/>
                <a:gd name="T91" fmla="*/ 11 h 31"/>
                <a:gd name="T92" fmla="*/ 31 w 66"/>
                <a:gd name="T93" fmla="*/ 3 h 31"/>
                <a:gd name="T94" fmla="*/ 33 w 66"/>
                <a:gd name="T95" fmla="*/ 1 h 31"/>
                <a:gd name="T96" fmla="*/ 36 w 66"/>
                <a:gd name="T97" fmla="*/ 0 h 31"/>
                <a:gd name="T98" fmla="*/ 41 w 66"/>
                <a:gd name="T99" fmla="*/ 0 h 31"/>
                <a:gd name="T100" fmla="*/ 41 w 66"/>
                <a:gd name="T101" fmla="*/ 0 h 31"/>
                <a:gd name="T102" fmla="*/ 44 w 66"/>
                <a:gd name="T103" fmla="*/ 4 h 31"/>
                <a:gd name="T104" fmla="*/ 45 w 66"/>
                <a:gd name="T105" fmla="*/ 6 h 31"/>
                <a:gd name="T106" fmla="*/ 45 w 66"/>
                <a:gd name="T107" fmla="*/ 7 h 31"/>
                <a:gd name="T108" fmla="*/ 47 w 66"/>
                <a:gd name="T109" fmla="*/ 11 h 31"/>
                <a:gd name="T110" fmla="*/ 47 w 66"/>
                <a:gd name="T111" fmla="*/ 11 h 31"/>
                <a:gd name="T112" fmla="*/ 49 w 66"/>
                <a:gd name="T113" fmla="*/ 12 h 31"/>
                <a:gd name="T114" fmla="*/ 52 w 66"/>
                <a:gd name="T115" fmla="*/ 12 h 31"/>
                <a:gd name="T116" fmla="*/ 55 w 66"/>
                <a:gd name="T117" fmla="*/ 11 h 31"/>
                <a:gd name="T118" fmla="*/ 56 w 66"/>
                <a:gd name="T119" fmla="*/ 11 h 31"/>
                <a:gd name="T120" fmla="*/ 60 w 66"/>
                <a:gd name="T121" fmla="*/ 7 h 31"/>
                <a:gd name="T122" fmla="*/ 61 w 66"/>
                <a:gd name="T123" fmla="*/ 6 h 31"/>
                <a:gd name="T124" fmla="*/ 64 w 66"/>
                <a:gd name="T12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31">
                  <a:moveTo>
                    <a:pt x="64" y="6"/>
                  </a:moveTo>
                  <a:lnTo>
                    <a:pt x="66" y="6"/>
                  </a:lnTo>
                  <a:lnTo>
                    <a:pt x="66" y="6"/>
                  </a:lnTo>
                  <a:lnTo>
                    <a:pt x="64" y="7"/>
                  </a:lnTo>
                  <a:lnTo>
                    <a:pt x="63" y="7"/>
                  </a:lnTo>
                  <a:lnTo>
                    <a:pt x="60" y="11"/>
                  </a:lnTo>
                  <a:lnTo>
                    <a:pt x="58" y="15"/>
                  </a:lnTo>
                  <a:lnTo>
                    <a:pt x="56" y="17"/>
                  </a:lnTo>
                  <a:lnTo>
                    <a:pt x="56" y="18"/>
                  </a:lnTo>
                  <a:lnTo>
                    <a:pt x="58" y="20"/>
                  </a:lnTo>
                  <a:lnTo>
                    <a:pt x="61" y="22"/>
                  </a:lnTo>
                  <a:lnTo>
                    <a:pt x="63" y="20"/>
                  </a:lnTo>
                  <a:lnTo>
                    <a:pt x="63" y="20"/>
                  </a:lnTo>
                  <a:lnTo>
                    <a:pt x="64" y="22"/>
                  </a:lnTo>
                  <a:lnTo>
                    <a:pt x="64" y="23"/>
                  </a:lnTo>
                  <a:lnTo>
                    <a:pt x="64" y="25"/>
                  </a:lnTo>
                  <a:lnTo>
                    <a:pt x="64" y="26"/>
                  </a:lnTo>
                  <a:lnTo>
                    <a:pt x="63" y="29"/>
                  </a:lnTo>
                  <a:lnTo>
                    <a:pt x="61" y="31"/>
                  </a:lnTo>
                  <a:lnTo>
                    <a:pt x="5" y="31"/>
                  </a:lnTo>
                  <a:lnTo>
                    <a:pt x="5" y="29"/>
                  </a:lnTo>
                  <a:lnTo>
                    <a:pt x="3" y="26"/>
                  </a:lnTo>
                  <a:lnTo>
                    <a:pt x="0" y="18"/>
                  </a:lnTo>
                  <a:lnTo>
                    <a:pt x="0" y="17"/>
                  </a:lnTo>
                  <a:lnTo>
                    <a:pt x="0" y="15"/>
                  </a:lnTo>
                  <a:lnTo>
                    <a:pt x="3" y="15"/>
                  </a:lnTo>
                  <a:lnTo>
                    <a:pt x="8" y="17"/>
                  </a:lnTo>
                  <a:lnTo>
                    <a:pt x="9" y="17"/>
                  </a:lnTo>
                  <a:lnTo>
                    <a:pt x="13" y="23"/>
                  </a:lnTo>
                  <a:lnTo>
                    <a:pt x="13" y="23"/>
                  </a:lnTo>
                  <a:lnTo>
                    <a:pt x="14" y="25"/>
                  </a:lnTo>
                  <a:lnTo>
                    <a:pt x="14" y="23"/>
                  </a:lnTo>
                  <a:lnTo>
                    <a:pt x="16" y="23"/>
                  </a:lnTo>
                  <a:lnTo>
                    <a:pt x="16" y="22"/>
                  </a:lnTo>
                  <a:lnTo>
                    <a:pt x="17" y="18"/>
                  </a:lnTo>
                  <a:lnTo>
                    <a:pt x="20" y="14"/>
                  </a:lnTo>
                  <a:lnTo>
                    <a:pt x="22" y="14"/>
                  </a:lnTo>
                  <a:lnTo>
                    <a:pt x="22" y="14"/>
                  </a:lnTo>
                  <a:lnTo>
                    <a:pt x="24" y="15"/>
                  </a:lnTo>
                  <a:lnTo>
                    <a:pt x="25" y="17"/>
                  </a:lnTo>
                  <a:lnTo>
                    <a:pt x="27" y="17"/>
                  </a:lnTo>
                  <a:lnTo>
                    <a:pt x="28" y="17"/>
                  </a:lnTo>
                  <a:lnTo>
                    <a:pt x="30" y="15"/>
                  </a:lnTo>
                  <a:lnTo>
                    <a:pt x="33" y="14"/>
                  </a:lnTo>
                  <a:lnTo>
                    <a:pt x="33" y="12"/>
                  </a:lnTo>
                  <a:lnTo>
                    <a:pt x="33" y="11"/>
                  </a:lnTo>
                  <a:lnTo>
                    <a:pt x="31" y="3"/>
                  </a:lnTo>
                  <a:lnTo>
                    <a:pt x="33" y="1"/>
                  </a:lnTo>
                  <a:lnTo>
                    <a:pt x="36" y="0"/>
                  </a:lnTo>
                  <a:lnTo>
                    <a:pt x="41" y="0"/>
                  </a:lnTo>
                  <a:lnTo>
                    <a:pt x="41" y="0"/>
                  </a:lnTo>
                  <a:lnTo>
                    <a:pt x="44" y="4"/>
                  </a:lnTo>
                  <a:lnTo>
                    <a:pt x="45" y="6"/>
                  </a:lnTo>
                  <a:lnTo>
                    <a:pt x="45" y="7"/>
                  </a:lnTo>
                  <a:lnTo>
                    <a:pt x="47" y="11"/>
                  </a:lnTo>
                  <a:lnTo>
                    <a:pt x="47" y="11"/>
                  </a:lnTo>
                  <a:lnTo>
                    <a:pt x="49" y="12"/>
                  </a:lnTo>
                  <a:lnTo>
                    <a:pt x="52" y="12"/>
                  </a:lnTo>
                  <a:lnTo>
                    <a:pt x="55" y="11"/>
                  </a:lnTo>
                  <a:lnTo>
                    <a:pt x="56" y="11"/>
                  </a:lnTo>
                  <a:lnTo>
                    <a:pt x="60" y="7"/>
                  </a:lnTo>
                  <a:lnTo>
                    <a:pt x="61" y="6"/>
                  </a:lnTo>
                  <a:lnTo>
                    <a:pt x="64" y="6"/>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3" name="Freeform 231">
              <a:extLst>
                <a:ext uri="{FF2B5EF4-FFF2-40B4-BE49-F238E27FC236}">
                  <a16:creationId xmlns:a16="http://schemas.microsoft.com/office/drawing/2014/main" id="{03F57044-9245-88D6-A0AC-7EB25239F403}"/>
                </a:ext>
              </a:extLst>
            </p:cNvPr>
            <p:cNvSpPr>
              <a:spLocks/>
            </p:cNvSpPr>
            <p:nvPr/>
          </p:nvSpPr>
          <p:spPr bwMode="gray">
            <a:xfrm>
              <a:off x="3068" y="30"/>
              <a:ext cx="3" cy="3"/>
            </a:xfrm>
            <a:custGeom>
              <a:avLst/>
              <a:gdLst>
                <a:gd name="T0" fmla="*/ 1 w 3"/>
                <a:gd name="T1" fmla="*/ 1 h 3"/>
                <a:gd name="T2" fmla="*/ 3 w 3"/>
                <a:gd name="T3" fmla="*/ 3 h 3"/>
                <a:gd name="T4" fmla="*/ 0 w 3"/>
                <a:gd name="T5" fmla="*/ 3 h 3"/>
                <a:gd name="T6" fmla="*/ 0 w 3"/>
                <a:gd name="T7" fmla="*/ 1 h 3"/>
                <a:gd name="T8" fmla="*/ 0 w 3"/>
                <a:gd name="T9" fmla="*/ 0 h 3"/>
                <a:gd name="T10" fmla="*/ 1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1" y="1"/>
                  </a:moveTo>
                  <a:lnTo>
                    <a:pt x="3" y="3"/>
                  </a:lnTo>
                  <a:lnTo>
                    <a:pt x="0" y="3"/>
                  </a:lnTo>
                  <a:lnTo>
                    <a:pt x="0" y="1"/>
                  </a:lnTo>
                  <a:lnTo>
                    <a:pt x="0" y="0"/>
                  </a:lnTo>
                  <a:lnTo>
                    <a:pt x="1"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4" name="Freeform 232">
              <a:extLst>
                <a:ext uri="{FF2B5EF4-FFF2-40B4-BE49-F238E27FC236}">
                  <a16:creationId xmlns:a16="http://schemas.microsoft.com/office/drawing/2014/main" id="{6DFC2597-C282-80BC-6D5E-775536966536}"/>
                </a:ext>
              </a:extLst>
            </p:cNvPr>
            <p:cNvSpPr>
              <a:spLocks/>
            </p:cNvSpPr>
            <p:nvPr/>
          </p:nvSpPr>
          <p:spPr bwMode="gray">
            <a:xfrm>
              <a:off x="3071" y="30"/>
              <a:ext cx="6" cy="3"/>
            </a:xfrm>
            <a:custGeom>
              <a:avLst/>
              <a:gdLst>
                <a:gd name="T0" fmla="*/ 3 w 6"/>
                <a:gd name="T1" fmla="*/ 0 h 3"/>
                <a:gd name="T2" fmla="*/ 6 w 6"/>
                <a:gd name="T3" fmla="*/ 3 h 3"/>
                <a:gd name="T4" fmla="*/ 0 w 6"/>
                <a:gd name="T5" fmla="*/ 3 h 3"/>
                <a:gd name="T6" fmla="*/ 1 w 6"/>
                <a:gd name="T7" fmla="*/ 3 h 3"/>
                <a:gd name="T8" fmla="*/ 3 w 6"/>
                <a:gd name="T9" fmla="*/ 0 h 3"/>
              </a:gdLst>
              <a:ahLst/>
              <a:cxnLst>
                <a:cxn ang="0">
                  <a:pos x="T0" y="T1"/>
                </a:cxn>
                <a:cxn ang="0">
                  <a:pos x="T2" y="T3"/>
                </a:cxn>
                <a:cxn ang="0">
                  <a:pos x="T4" y="T5"/>
                </a:cxn>
                <a:cxn ang="0">
                  <a:pos x="T6" y="T7"/>
                </a:cxn>
                <a:cxn ang="0">
                  <a:pos x="T8" y="T9"/>
                </a:cxn>
              </a:cxnLst>
              <a:rect l="0" t="0" r="r" b="b"/>
              <a:pathLst>
                <a:path w="6" h="3">
                  <a:moveTo>
                    <a:pt x="3" y="0"/>
                  </a:moveTo>
                  <a:lnTo>
                    <a:pt x="6" y="3"/>
                  </a:lnTo>
                  <a:lnTo>
                    <a:pt x="0" y="3"/>
                  </a:lnTo>
                  <a:lnTo>
                    <a:pt x="1" y="3"/>
                  </a:lnTo>
                  <a:lnTo>
                    <a:pt x="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5" name="Freeform 233">
              <a:extLst>
                <a:ext uri="{FF2B5EF4-FFF2-40B4-BE49-F238E27FC236}">
                  <a16:creationId xmlns:a16="http://schemas.microsoft.com/office/drawing/2014/main" id="{3F21712D-9290-EF40-CEE4-D8C206AA2F57}"/>
                </a:ext>
              </a:extLst>
            </p:cNvPr>
            <p:cNvSpPr>
              <a:spLocks/>
            </p:cNvSpPr>
            <p:nvPr/>
          </p:nvSpPr>
          <p:spPr bwMode="gray">
            <a:xfrm>
              <a:off x="3085" y="31"/>
              <a:ext cx="8" cy="2"/>
            </a:xfrm>
            <a:custGeom>
              <a:avLst/>
              <a:gdLst>
                <a:gd name="T0" fmla="*/ 6 w 8"/>
                <a:gd name="T1" fmla="*/ 0 h 2"/>
                <a:gd name="T2" fmla="*/ 8 w 8"/>
                <a:gd name="T3" fmla="*/ 2 h 2"/>
                <a:gd name="T4" fmla="*/ 0 w 8"/>
                <a:gd name="T5" fmla="*/ 2 h 2"/>
                <a:gd name="T6" fmla="*/ 1 w 8"/>
                <a:gd name="T7" fmla="*/ 2 h 2"/>
                <a:gd name="T8" fmla="*/ 5 w 8"/>
                <a:gd name="T9" fmla="*/ 2 h 2"/>
                <a:gd name="T10" fmla="*/ 6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6" y="0"/>
                  </a:moveTo>
                  <a:lnTo>
                    <a:pt x="8" y="2"/>
                  </a:lnTo>
                  <a:lnTo>
                    <a:pt x="0" y="2"/>
                  </a:lnTo>
                  <a:lnTo>
                    <a:pt x="1" y="2"/>
                  </a:lnTo>
                  <a:lnTo>
                    <a:pt x="5" y="2"/>
                  </a:lnTo>
                  <a:lnTo>
                    <a:pt x="6"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6" name="Freeform 234">
              <a:extLst>
                <a:ext uri="{FF2B5EF4-FFF2-40B4-BE49-F238E27FC236}">
                  <a16:creationId xmlns:a16="http://schemas.microsoft.com/office/drawing/2014/main" id="{B9DF8BD4-9695-6756-B8E6-1739210DF9BA}"/>
                </a:ext>
              </a:extLst>
            </p:cNvPr>
            <p:cNvSpPr>
              <a:spLocks/>
            </p:cNvSpPr>
            <p:nvPr/>
          </p:nvSpPr>
          <p:spPr bwMode="gray">
            <a:xfrm>
              <a:off x="3097" y="33"/>
              <a:ext cx="5" cy="0"/>
            </a:xfrm>
            <a:custGeom>
              <a:avLst/>
              <a:gdLst>
                <a:gd name="T0" fmla="*/ 3 w 5"/>
                <a:gd name="T1" fmla="*/ 5 w 5"/>
                <a:gd name="T2" fmla="*/ 0 w 5"/>
                <a:gd name="T3" fmla="*/ 2 w 5"/>
                <a:gd name="T4" fmla="*/ 3 w 5"/>
              </a:gdLst>
              <a:ahLst/>
              <a:cxnLst>
                <a:cxn ang="0">
                  <a:pos x="T0" y="0"/>
                </a:cxn>
                <a:cxn ang="0">
                  <a:pos x="T1" y="0"/>
                </a:cxn>
                <a:cxn ang="0">
                  <a:pos x="T2" y="0"/>
                </a:cxn>
                <a:cxn ang="0">
                  <a:pos x="T3" y="0"/>
                </a:cxn>
                <a:cxn ang="0">
                  <a:pos x="T4" y="0"/>
                </a:cxn>
              </a:cxnLst>
              <a:rect l="0" t="0" r="r" b="b"/>
              <a:pathLst>
                <a:path w="5">
                  <a:moveTo>
                    <a:pt x="3" y="0"/>
                  </a:moveTo>
                  <a:lnTo>
                    <a:pt x="5" y="0"/>
                  </a:lnTo>
                  <a:lnTo>
                    <a:pt x="0" y="0"/>
                  </a:lnTo>
                  <a:lnTo>
                    <a:pt x="2" y="0"/>
                  </a:lnTo>
                  <a:lnTo>
                    <a:pt x="3" y="0"/>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sp>
          <p:nvSpPr>
            <p:cNvPr id="77" name="Freeform 235">
              <a:extLst>
                <a:ext uri="{FF2B5EF4-FFF2-40B4-BE49-F238E27FC236}">
                  <a16:creationId xmlns:a16="http://schemas.microsoft.com/office/drawing/2014/main" id="{F10BC796-F82C-9C1F-243E-8303FD579AFC}"/>
                </a:ext>
              </a:extLst>
            </p:cNvPr>
            <p:cNvSpPr>
              <a:spLocks/>
            </p:cNvSpPr>
            <p:nvPr/>
          </p:nvSpPr>
          <p:spPr bwMode="gray">
            <a:xfrm>
              <a:off x="3104" y="30"/>
              <a:ext cx="3" cy="3"/>
            </a:xfrm>
            <a:custGeom>
              <a:avLst/>
              <a:gdLst>
                <a:gd name="T0" fmla="*/ 3 w 3"/>
                <a:gd name="T1" fmla="*/ 1 h 3"/>
                <a:gd name="T2" fmla="*/ 3 w 3"/>
                <a:gd name="T3" fmla="*/ 0 h 3"/>
                <a:gd name="T4" fmla="*/ 3 w 3"/>
                <a:gd name="T5" fmla="*/ 1 h 3"/>
                <a:gd name="T6" fmla="*/ 3 w 3"/>
                <a:gd name="T7" fmla="*/ 3 h 3"/>
                <a:gd name="T8" fmla="*/ 0 w 3"/>
                <a:gd name="T9" fmla="*/ 3 h 3"/>
                <a:gd name="T10" fmla="*/ 1 w 3"/>
                <a:gd name="T11" fmla="*/ 3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lnTo>
                    <a:pt x="3" y="0"/>
                  </a:lnTo>
                  <a:lnTo>
                    <a:pt x="3" y="1"/>
                  </a:lnTo>
                  <a:lnTo>
                    <a:pt x="3" y="3"/>
                  </a:lnTo>
                  <a:lnTo>
                    <a:pt x="0" y="3"/>
                  </a:lnTo>
                  <a:lnTo>
                    <a:pt x="1" y="3"/>
                  </a:lnTo>
                  <a:lnTo>
                    <a:pt x="3" y="1"/>
                  </a:lnTo>
                  <a:close/>
                </a:path>
              </a:pathLst>
            </a:custGeom>
            <a:grpFill/>
            <a:ln w="9525" cap="flat">
              <a:solidFill>
                <a:srgbClr val="C3E0F1"/>
              </a:solidFill>
              <a:prstDash val="solid"/>
              <a:miter lim="800000"/>
              <a:headEnd/>
              <a:tailEnd/>
            </a:ln>
          </p:spPr>
          <p:txBody>
            <a:bodyPr vert="horz" wrap="square" lIns="121807" tIns="60904" rIns="121807" bIns="60904" numCol="1" anchor="t" anchorCtr="0" compatLnSpc="1">
              <a:prstTxWarp prst="textNoShape">
                <a:avLst/>
              </a:prstTxWarp>
            </a:bodyPr>
            <a:lstStyle/>
            <a:p>
              <a:pPr defTabSz="1519384">
                <a:defRPr/>
              </a:pPr>
              <a:endParaRPr lang="en-150" sz="2991">
                <a:solidFill>
                  <a:prstClr val="black"/>
                </a:solidFill>
                <a:latin typeface="Noto Sans"/>
              </a:endParaRPr>
            </a:p>
          </p:txBody>
        </p:sp>
      </p:grpSp>
      <p:sp>
        <p:nvSpPr>
          <p:cNvPr id="7" name="Freeform: Shape 360">
            <a:extLst>
              <a:ext uri="{FF2B5EF4-FFF2-40B4-BE49-F238E27FC236}">
                <a16:creationId xmlns:a16="http://schemas.microsoft.com/office/drawing/2014/main" id="{F1A81E01-4E69-E818-4CFE-9B99AEE279BD}"/>
              </a:ext>
            </a:extLst>
          </p:cNvPr>
          <p:cNvSpPr/>
          <p:nvPr/>
        </p:nvSpPr>
        <p:spPr bwMode="gray">
          <a:xfrm>
            <a:off x="10032936" y="3044889"/>
            <a:ext cx="43684" cy="43684"/>
          </a:xfrm>
          <a:custGeom>
            <a:avLst/>
            <a:gdLst>
              <a:gd name="connsiteX0" fmla="*/ 0 w 85725"/>
              <a:gd name="connsiteY0" fmla="*/ 32385 h 60960"/>
              <a:gd name="connsiteX1" fmla="*/ 53340 w 85725"/>
              <a:gd name="connsiteY1" fmla="*/ 60960 h 60960"/>
              <a:gd name="connsiteX2" fmla="*/ 85725 w 85725"/>
              <a:gd name="connsiteY2" fmla="*/ 0 h 60960"/>
              <a:gd name="connsiteX3" fmla="*/ 66675 w 85725"/>
              <a:gd name="connsiteY3" fmla="*/ 3810 h 60960"/>
            </a:gdLst>
            <a:ahLst/>
            <a:cxnLst>
              <a:cxn ang="0">
                <a:pos x="connsiteX0" y="connsiteY0"/>
              </a:cxn>
              <a:cxn ang="0">
                <a:pos x="connsiteX1" y="connsiteY1"/>
              </a:cxn>
              <a:cxn ang="0">
                <a:pos x="connsiteX2" y="connsiteY2"/>
              </a:cxn>
              <a:cxn ang="0">
                <a:pos x="connsiteX3" y="connsiteY3"/>
              </a:cxn>
            </a:cxnLst>
            <a:rect l="l" t="t" r="r" b="b"/>
            <a:pathLst>
              <a:path w="85725" h="60960">
                <a:moveTo>
                  <a:pt x="0" y="32385"/>
                </a:moveTo>
                <a:lnTo>
                  <a:pt x="53340" y="60960"/>
                </a:lnTo>
                <a:lnTo>
                  <a:pt x="85725" y="0"/>
                </a:lnTo>
                <a:lnTo>
                  <a:pt x="66675" y="3810"/>
                </a:lnTo>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19384">
              <a:defRPr/>
            </a:pPr>
            <a:endParaRPr lang="en-150" sz="2991">
              <a:solidFill>
                <a:prstClr val="white"/>
              </a:solidFill>
              <a:latin typeface="Noto Sans"/>
            </a:endParaRPr>
          </a:p>
        </p:txBody>
      </p:sp>
      <p:grpSp>
        <p:nvGrpSpPr>
          <p:cNvPr id="8" name="Group 7">
            <a:extLst>
              <a:ext uri="{FF2B5EF4-FFF2-40B4-BE49-F238E27FC236}">
                <a16:creationId xmlns:a16="http://schemas.microsoft.com/office/drawing/2014/main" id="{E177E0F0-8231-4FC5-02B7-2E184C8A429C}"/>
              </a:ext>
            </a:extLst>
          </p:cNvPr>
          <p:cNvGrpSpPr/>
          <p:nvPr/>
        </p:nvGrpSpPr>
        <p:grpSpPr bwMode="gray">
          <a:xfrm>
            <a:off x="10670048" y="858180"/>
            <a:ext cx="1698439" cy="1698439"/>
            <a:chOff x="7255605" y="722051"/>
            <a:chExt cx="1399664" cy="1399664"/>
          </a:xfrm>
        </p:grpSpPr>
        <p:sp>
          <p:nvSpPr>
            <p:cNvPr id="44" name="Oval 43">
              <a:extLst>
                <a:ext uri="{FF2B5EF4-FFF2-40B4-BE49-F238E27FC236}">
                  <a16:creationId xmlns:a16="http://schemas.microsoft.com/office/drawing/2014/main" id="{16793D5A-63FA-FF4F-B102-AD211254541B}"/>
                </a:ext>
              </a:extLst>
            </p:cNvPr>
            <p:cNvSpPr/>
            <p:nvPr/>
          </p:nvSpPr>
          <p:spPr bwMode="gray">
            <a:xfrm>
              <a:off x="7693135" y="1187547"/>
              <a:ext cx="512818" cy="512818"/>
            </a:xfrm>
            <a:prstGeom prst="ellipse">
              <a:avLst/>
            </a:prstGeom>
            <a:noFill/>
            <a:ln w="2857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45" name="Oval 44">
              <a:extLst>
                <a:ext uri="{FF2B5EF4-FFF2-40B4-BE49-F238E27FC236}">
                  <a16:creationId xmlns:a16="http://schemas.microsoft.com/office/drawing/2014/main" id="{019CC03B-BE0F-A263-AA96-EB8605FDF3EB}"/>
                </a:ext>
              </a:extLst>
            </p:cNvPr>
            <p:cNvSpPr/>
            <p:nvPr/>
          </p:nvSpPr>
          <p:spPr bwMode="gray">
            <a:xfrm>
              <a:off x="7499972" y="981398"/>
              <a:ext cx="910932" cy="910932"/>
            </a:xfrm>
            <a:prstGeom prst="ellipse">
              <a:avLst/>
            </a:prstGeom>
            <a:noFill/>
            <a:ln w="25400">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46" name="Oval 45">
              <a:extLst>
                <a:ext uri="{FF2B5EF4-FFF2-40B4-BE49-F238E27FC236}">
                  <a16:creationId xmlns:a16="http://schemas.microsoft.com/office/drawing/2014/main" id="{E1A3D5E5-DBDB-A753-24B4-819D32DD06AD}"/>
                </a:ext>
              </a:extLst>
            </p:cNvPr>
            <p:cNvSpPr/>
            <p:nvPr/>
          </p:nvSpPr>
          <p:spPr bwMode="gray">
            <a:xfrm>
              <a:off x="7255605" y="722051"/>
              <a:ext cx="1399664" cy="1399664"/>
            </a:xfrm>
            <a:prstGeom prst="ellipse">
              <a:avLst/>
            </a:prstGeom>
            <a:noFill/>
            <a:ln w="2222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grpSp>
      <p:grpSp>
        <p:nvGrpSpPr>
          <p:cNvPr id="9" name="Group 8">
            <a:extLst>
              <a:ext uri="{FF2B5EF4-FFF2-40B4-BE49-F238E27FC236}">
                <a16:creationId xmlns:a16="http://schemas.microsoft.com/office/drawing/2014/main" id="{B89319C8-9408-8F8B-81F0-BAAC141D5372}"/>
              </a:ext>
            </a:extLst>
          </p:cNvPr>
          <p:cNvGrpSpPr/>
          <p:nvPr/>
        </p:nvGrpSpPr>
        <p:grpSpPr bwMode="gray">
          <a:xfrm>
            <a:off x="3345550" y="689557"/>
            <a:ext cx="1846409" cy="1846409"/>
            <a:chOff x="1159558" y="575420"/>
            <a:chExt cx="1521604" cy="1521604"/>
          </a:xfrm>
        </p:grpSpPr>
        <p:sp>
          <p:nvSpPr>
            <p:cNvPr id="41" name="Oval 40">
              <a:extLst>
                <a:ext uri="{FF2B5EF4-FFF2-40B4-BE49-F238E27FC236}">
                  <a16:creationId xmlns:a16="http://schemas.microsoft.com/office/drawing/2014/main" id="{84949B36-83DA-7686-FF79-75D199B1FA75}"/>
                </a:ext>
              </a:extLst>
            </p:cNvPr>
            <p:cNvSpPr/>
            <p:nvPr/>
          </p:nvSpPr>
          <p:spPr bwMode="gray">
            <a:xfrm>
              <a:off x="1665938" y="1098318"/>
              <a:ext cx="501882" cy="501882"/>
            </a:xfrm>
            <a:prstGeom prst="ellipse">
              <a:avLst/>
            </a:prstGeom>
            <a:noFill/>
            <a:ln w="31750">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42" name="Oval 41">
              <a:extLst>
                <a:ext uri="{FF2B5EF4-FFF2-40B4-BE49-F238E27FC236}">
                  <a16:creationId xmlns:a16="http://schemas.microsoft.com/office/drawing/2014/main" id="{D567E8C9-5B40-2FBA-AC95-568A959072B1}"/>
                </a:ext>
              </a:extLst>
            </p:cNvPr>
            <p:cNvSpPr/>
            <p:nvPr/>
          </p:nvSpPr>
          <p:spPr bwMode="gray">
            <a:xfrm>
              <a:off x="1428596" y="853306"/>
              <a:ext cx="983528" cy="983528"/>
            </a:xfrm>
            <a:prstGeom prst="ellipse">
              <a:avLst/>
            </a:prstGeom>
            <a:noFill/>
            <a:ln w="2857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43" name="Oval 42">
              <a:extLst>
                <a:ext uri="{FF2B5EF4-FFF2-40B4-BE49-F238E27FC236}">
                  <a16:creationId xmlns:a16="http://schemas.microsoft.com/office/drawing/2014/main" id="{CF9B4FB8-1EBB-74DD-DA37-070F539FE602}"/>
                </a:ext>
              </a:extLst>
            </p:cNvPr>
            <p:cNvSpPr/>
            <p:nvPr/>
          </p:nvSpPr>
          <p:spPr bwMode="gray">
            <a:xfrm>
              <a:off x="1159558" y="575420"/>
              <a:ext cx="1521604" cy="1521604"/>
            </a:xfrm>
            <a:prstGeom prst="ellipse">
              <a:avLst/>
            </a:prstGeom>
            <a:noFill/>
            <a:ln w="2222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grpSp>
      <p:grpSp>
        <p:nvGrpSpPr>
          <p:cNvPr id="10" name="Group 9">
            <a:extLst>
              <a:ext uri="{FF2B5EF4-FFF2-40B4-BE49-F238E27FC236}">
                <a16:creationId xmlns:a16="http://schemas.microsoft.com/office/drawing/2014/main" id="{9EBD02F6-C2C2-2682-F4CF-B1AB1ADADB62}"/>
              </a:ext>
            </a:extLst>
          </p:cNvPr>
          <p:cNvGrpSpPr/>
          <p:nvPr/>
        </p:nvGrpSpPr>
        <p:grpSpPr bwMode="gray">
          <a:xfrm>
            <a:off x="5451636" y="-467100"/>
            <a:ext cx="3324315" cy="3324315"/>
            <a:chOff x="3015096" y="-387348"/>
            <a:chExt cx="2739528" cy="2739528"/>
          </a:xfrm>
        </p:grpSpPr>
        <p:sp>
          <p:nvSpPr>
            <p:cNvPr id="36" name="Oval 35">
              <a:extLst>
                <a:ext uri="{FF2B5EF4-FFF2-40B4-BE49-F238E27FC236}">
                  <a16:creationId xmlns:a16="http://schemas.microsoft.com/office/drawing/2014/main" id="{62E0198C-8ED8-1CF8-7E2E-10247D6A59A9}"/>
                </a:ext>
              </a:extLst>
            </p:cNvPr>
            <p:cNvSpPr/>
            <p:nvPr/>
          </p:nvSpPr>
          <p:spPr bwMode="gray">
            <a:xfrm>
              <a:off x="4013658" y="655165"/>
              <a:ext cx="723880" cy="723880"/>
            </a:xfrm>
            <a:prstGeom prst="ellipse">
              <a:avLst/>
            </a:prstGeom>
            <a:noFill/>
            <a:ln w="31750">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7" name="Oval 36">
              <a:extLst>
                <a:ext uri="{FF2B5EF4-FFF2-40B4-BE49-F238E27FC236}">
                  <a16:creationId xmlns:a16="http://schemas.microsoft.com/office/drawing/2014/main" id="{578168AC-152F-517D-C29C-3B1A9803DD3D}"/>
                </a:ext>
              </a:extLst>
            </p:cNvPr>
            <p:cNvSpPr/>
            <p:nvPr/>
          </p:nvSpPr>
          <p:spPr bwMode="gray">
            <a:xfrm>
              <a:off x="3554135" y="175233"/>
              <a:ext cx="1661450" cy="1661450"/>
            </a:xfrm>
            <a:prstGeom prst="ellipse">
              <a:avLst/>
            </a:prstGeom>
            <a:noFill/>
            <a:ln w="25400">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8" name="Oval 37">
              <a:extLst>
                <a:ext uri="{FF2B5EF4-FFF2-40B4-BE49-F238E27FC236}">
                  <a16:creationId xmlns:a16="http://schemas.microsoft.com/office/drawing/2014/main" id="{12480607-59CD-5C25-7332-1D91142DFFE2}"/>
                </a:ext>
              </a:extLst>
            </p:cNvPr>
            <p:cNvSpPr/>
            <p:nvPr/>
          </p:nvSpPr>
          <p:spPr bwMode="gray">
            <a:xfrm>
              <a:off x="3015096" y="-387348"/>
              <a:ext cx="2739528" cy="2739528"/>
            </a:xfrm>
            <a:prstGeom prst="ellipse">
              <a:avLst/>
            </a:prstGeom>
            <a:noFill/>
            <a:ln w="19050">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9" name="Oval 38">
              <a:extLst>
                <a:ext uri="{FF2B5EF4-FFF2-40B4-BE49-F238E27FC236}">
                  <a16:creationId xmlns:a16="http://schemas.microsoft.com/office/drawing/2014/main" id="{8ECD0211-4B59-BD3C-DC6D-B7680C5895AF}"/>
                </a:ext>
              </a:extLst>
            </p:cNvPr>
            <p:cNvSpPr/>
            <p:nvPr/>
          </p:nvSpPr>
          <p:spPr bwMode="gray">
            <a:xfrm>
              <a:off x="3768788" y="397071"/>
              <a:ext cx="1220998" cy="1220998"/>
            </a:xfrm>
            <a:prstGeom prst="ellipse">
              <a:avLst/>
            </a:prstGeom>
            <a:noFill/>
            <a:ln w="2857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40" name="Oval 39">
              <a:extLst>
                <a:ext uri="{FF2B5EF4-FFF2-40B4-BE49-F238E27FC236}">
                  <a16:creationId xmlns:a16="http://schemas.microsoft.com/office/drawing/2014/main" id="{B9DC4077-B660-57DF-6D75-A4280F8B8022}"/>
                </a:ext>
              </a:extLst>
            </p:cNvPr>
            <p:cNvSpPr/>
            <p:nvPr/>
          </p:nvSpPr>
          <p:spPr bwMode="gray">
            <a:xfrm>
              <a:off x="3278308" y="-70081"/>
              <a:ext cx="2192326" cy="2192326"/>
            </a:xfrm>
            <a:prstGeom prst="ellipse">
              <a:avLst/>
            </a:prstGeom>
            <a:noFill/>
            <a:ln w="22225">
              <a:solidFill>
                <a:srgbClr val="88C1E4">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grpSp>
      <p:sp>
        <p:nvSpPr>
          <p:cNvPr id="11" name="Oval 10">
            <a:extLst>
              <a:ext uri="{FF2B5EF4-FFF2-40B4-BE49-F238E27FC236}">
                <a16:creationId xmlns:a16="http://schemas.microsoft.com/office/drawing/2014/main" id="{2527A43E-DE9B-E7D2-9EDD-6B1B3D1B1061}"/>
              </a:ext>
            </a:extLst>
          </p:cNvPr>
          <p:cNvSpPr/>
          <p:nvPr/>
        </p:nvSpPr>
        <p:spPr bwMode="gray">
          <a:xfrm>
            <a:off x="6508729" y="1823595"/>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2" name="Oval 11">
            <a:extLst>
              <a:ext uri="{FF2B5EF4-FFF2-40B4-BE49-F238E27FC236}">
                <a16:creationId xmlns:a16="http://schemas.microsoft.com/office/drawing/2014/main" id="{13C1ADD0-E094-AE63-7CD8-59FA3C84B6E0}"/>
              </a:ext>
            </a:extLst>
          </p:cNvPr>
          <p:cNvSpPr/>
          <p:nvPr/>
        </p:nvSpPr>
        <p:spPr bwMode="gray">
          <a:xfrm>
            <a:off x="6757159" y="874190"/>
            <a:ext cx="90520" cy="90520"/>
          </a:xfrm>
          <a:prstGeom prst="ellipse">
            <a:avLst/>
          </a:prstGeom>
          <a:solidFill>
            <a:schemeClr val="bg1"/>
          </a:solidFill>
          <a:ln w="25400">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3" name="Oval 12">
            <a:extLst>
              <a:ext uri="{FF2B5EF4-FFF2-40B4-BE49-F238E27FC236}">
                <a16:creationId xmlns:a16="http://schemas.microsoft.com/office/drawing/2014/main" id="{C4D4E8AC-1C5D-0A1A-87A9-B891141E475E}"/>
              </a:ext>
            </a:extLst>
          </p:cNvPr>
          <p:cNvSpPr/>
          <p:nvPr/>
        </p:nvSpPr>
        <p:spPr bwMode="gray">
          <a:xfrm>
            <a:off x="7192094" y="1299486"/>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4" name="Oval 13">
            <a:extLst>
              <a:ext uri="{FF2B5EF4-FFF2-40B4-BE49-F238E27FC236}">
                <a16:creationId xmlns:a16="http://schemas.microsoft.com/office/drawing/2014/main" id="{47797206-469D-981B-483C-34C6CECDFB8D}"/>
              </a:ext>
            </a:extLst>
          </p:cNvPr>
          <p:cNvSpPr/>
          <p:nvPr/>
        </p:nvSpPr>
        <p:spPr bwMode="gray">
          <a:xfrm>
            <a:off x="11450269" y="1681715"/>
            <a:ext cx="91275" cy="91275"/>
          </a:xfrm>
          <a:prstGeom prst="ellipse">
            <a:avLst/>
          </a:prstGeom>
          <a:solidFill>
            <a:schemeClr val="bg1"/>
          </a:solidFill>
          <a:ln w="25400">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5" name="Oval 14">
            <a:extLst>
              <a:ext uri="{FF2B5EF4-FFF2-40B4-BE49-F238E27FC236}">
                <a16:creationId xmlns:a16="http://schemas.microsoft.com/office/drawing/2014/main" id="{09962596-8610-4372-D5CA-C5BE87246669}"/>
              </a:ext>
            </a:extLst>
          </p:cNvPr>
          <p:cNvSpPr/>
          <p:nvPr/>
        </p:nvSpPr>
        <p:spPr bwMode="gray">
          <a:xfrm>
            <a:off x="10326746" y="2908507"/>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6" name="Oval 15">
            <a:extLst>
              <a:ext uri="{FF2B5EF4-FFF2-40B4-BE49-F238E27FC236}">
                <a16:creationId xmlns:a16="http://schemas.microsoft.com/office/drawing/2014/main" id="{2CB58BDF-D2BB-46E9-7E3A-F593E7D71C2A}"/>
              </a:ext>
            </a:extLst>
          </p:cNvPr>
          <p:cNvSpPr/>
          <p:nvPr/>
        </p:nvSpPr>
        <p:spPr bwMode="gray">
          <a:xfrm>
            <a:off x="6895985" y="1382282"/>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7" name="Oval 16">
            <a:extLst>
              <a:ext uri="{FF2B5EF4-FFF2-40B4-BE49-F238E27FC236}">
                <a16:creationId xmlns:a16="http://schemas.microsoft.com/office/drawing/2014/main" id="{44F4C533-592B-8545-533C-40A7AF8505F8}"/>
              </a:ext>
            </a:extLst>
          </p:cNvPr>
          <p:cNvSpPr/>
          <p:nvPr/>
        </p:nvSpPr>
        <p:spPr bwMode="gray">
          <a:xfrm>
            <a:off x="4279608" y="1476686"/>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8" name="Oval 17">
            <a:extLst>
              <a:ext uri="{FF2B5EF4-FFF2-40B4-BE49-F238E27FC236}">
                <a16:creationId xmlns:a16="http://schemas.microsoft.com/office/drawing/2014/main" id="{0843A0FF-13ED-271E-2318-5B0E49D39AFA}"/>
              </a:ext>
            </a:extLst>
          </p:cNvPr>
          <p:cNvSpPr/>
          <p:nvPr/>
        </p:nvSpPr>
        <p:spPr bwMode="gray">
          <a:xfrm>
            <a:off x="4236664" y="1633307"/>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19" name="Oval 18">
            <a:extLst>
              <a:ext uri="{FF2B5EF4-FFF2-40B4-BE49-F238E27FC236}">
                <a16:creationId xmlns:a16="http://schemas.microsoft.com/office/drawing/2014/main" id="{224C4324-EE9E-120D-E0FC-7D2D274FA9C8}"/>
              </a:ext>
            </a:extLst>
          </p:cNvPr>
          <p:cNvSpPr/>
          <p:nvPr/>
        </p:nvSpPr>
        <p:spPr bwMode="gray">
          <a:xfrm>
            <a:off x="7107592" y="456654"/>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0" name="Oval 19">
            <a:extLst>
              <a:ext uri="{FF2B5EF4-FFF2-40B4-BE49-F238E27FC236}">
                <a16:creationId xmlns:a16="http://schemas.microsoft.com/office/drawing/2014/main" id="{B35D824B-B547-C7EF-F323-1807B41EF922}"/>
              </a:ext>
            </a:extLst>
          </p:cNvPr>
          <p:cNvSpPr/>
          <p:nvPr/>
        </p:nvSpPr>
        <p:spPr bwMode="gray">
          <a:xfrm>
            <a:off x="7378584" y="450829"/>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1" name="Oval 20">
            <a:extLst>
              <a:ext uri="{FF2B5EF4-FFF2-40B4-BE49-F238E27FC236}">
                <a16:creationId xmlns:a16="http://schemas.microsoft.com/office/drawing/2014/main" id="{DDC45FB2-B2C9-4AD8-B31A-D3693C809CB3}"/>
              </a:ext>
            </a:extLst>
          </p:cNvPr>
          <p:cNvSpPr/>
          <p:nvPr/>
        </p:nvSpPr>
        <p:spPr bwMode="gray">
          <a:xfrm>
            <a:off x="6640202" y="1426710"/>
            <a:ext cx="88312" cy="88312"/>
          </a:xfrm>
          <a:prstGeom prst="ellipse">
            <a:avLst/>
          </a:prstGeom>
          <a:solidFill>
            <a:schemeClr val="bg1"/>
          </a:solidFill>
          <a:ln w="25400">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2" name="Oval 21">
            <a:extLst>
              <a:ext uri="{FF2B5EF4-FFF2-40B4-BE49-F238E27FC236}">
                <a16:creationId xmlns:a16="http://schemas.microsoft.com/office/drawing/2014/main" id="{E6A2171B-C7C9-743B-0EDA-E55CEB011817}"/>
              </a:ext>
            </a:extLst>
          </p:cNvPr>
          <p:cNvSpPr/>
          <p:nvPr/>
        </p:nvSpPr>
        <p:spPr bwMode="gray">
          <a:xfrm>
            <a:off x="6999956" y="1125644"/>
            <a:ext cx="137904" cy="137904"/>
          </a:xfrm>
          <a:prstGeom prst="ellipse">
            <a:avLst/>
          </a:prstGeom>
          <a:solidFill>
            <a:schemeClr val="bg1"/>
          </a:solidFill>
          <a:ln w="285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3" name="Oval 373">
            <a:extLst>
              <a:ext uri="{FF2B5EF4-FFF2-40B4-BE49-F238E27FC236}">
                <a16:creationId xmlns:a16="http://schemas.microsoft.com/office/drawing/2014/main" id="{022C4961-FD9F-952A-F608-B6F283F66A44}"/>
              </a:ext>
            </a:extLst>
          </p:cNvPr>
          <p:cNvSpPr/>
          <p:nvPr/>
        </p:nvSpPr>
        <p:spPr bwMode="gray">
          <a:xfrm>
            <a:off x="4078064" y="2070913"/>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4" name="Oval 373">
            <a:extLst>
              <a:ext uri="{FF2B5EF4-FFF2-40B4-BE49-F238E27FC236}">
                <a16:creationId xmlns:a16="http://schemas.microsoft.com/office/drawing/2014/main" id="{6AC180E7-BA2A-1770-5F4F-794A6B82B236}"/>
              </a:ext>
            </a:extLst>
          </p:cNvPr>
          <p:cNvSpPr/>
          <p:nvPr/>
        </p:nvSpPr>
        <p:spPr bwMode="gray">
          <a:xfrm>
            <a:off x="4252671" y="2812566"/>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5" name="Oval 24">
            <a:extLst>
              <a:ext uri="{FF2B5EF4-FFF2-40B4-BE49-F238E27FC236}">
                <a16:creationId xmlns:a16="http://schemas.microsoft.com/office/drawing/2014/main" id="{CAE182E8-595D-F2E7-CDA6-29B682FF4641}"/>
              </a:ext>
            </a:extLst>
          </p:cNvPr>
          <p:cNvSpPr/>
          <p:nvPr/>
        </p:nvSpPr>
        <p:spPr bwMode="gray">
          <a:xfrm>
            <a:off x="6807656" y="1492688"/>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6" name="Oval 25">
            <a:extLst>
              <a:ext uri="{FF2B5EF4-FFF2-40B4-BE49-F238E27FC236}">
                <a16:creationId xmlns:a16="http://schemas.microsoft.com/office/drawing/2014/main" id="{3D08CFD4-92F7-0823-8520-F6EDE0670358}"/>
              </a:ext>
            </a:extLst>
          </p:cNvPr>
          <p:cNvSpPr/>
          <p:nvPr/>
        </p:nvSpPr>
        <p:spPr bwMode="gray">
          <a:xfrm>
            <a:off x="7031233" y="1310513"/>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7" name="Oval 26">
            <a:extLst>
              <a:ext uri="{FF2B5EF4-FFF2-40B4-BE49-F238E27FC236}">
                <a16:creationId xmlns:a16="http://schemas.microsoft.com/office/drawing/2014/main" id="{E8184711-90E0-408A-A69F-30914C9823AB}"/>
              </a:ext>
            </a:extLst>
          </p:cNvPr>
          <p:cNvSpPr/>
          <p:nvPr/>
        </p:nvSpPr>
        <p:spPr bwMode="gray">
          <a:xfrm>
            <a:off x="7524311" y="944079"/>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8" name="Oval 27">
            <a:extLst>
              <a:ext uri="{FF2B5EF4-FFF2-40B4-BE49-F238E27FC236}">
                <a16:creationId xmlns:a16="http://schemas.microsoft.com/office/drawing/2014/main" id="{651AE40F-D0AB-C082-B296-C26E512C4543}"/>
              </a:ext>
            </a:extLst>
          </p:cNvPr>
          <p:cNvSpPr/>
          <p:nvPr/>
        </p:nvSpPr>
        <p:spPr bwMode="gray">
          <a:xfrm>
            <a:off x="7184781" y="693821"/>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9" name="Oval 28">
            <a:extLst>
              <a:ext uri="{FF2B5EF4-FFF2-40B4-BE49-F238E27FC236}">
                <a16:creationId xmlns:a16="http://schemas.microsoft.com/office/drawing/2014/main" id="{11085521-6916-0F97-DE3F-9F7F39B24FC4}"/>
              </a:ext>
            </a:extLst>
          </p:cNvPr>
          <p:cNvSpPr/>
          <p:nvPr/>
        </p:nvSpPr>
        <p:spPr bwMode="gray">
          <a:xfrm>
            <a:off x="7104072" y="979592"/>
            <a:ext cx="69930" cy="69930"/>
          </a:xfrm>
          <a:prstGeom prst="ellipse">
            <a:avLst/>
          </a:prstGeom>
          <a:solidFill>
            <a:schemeClr val="bg1"/>
          </a:solidFill>
          <a:ln w="25400">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0" name="Oval 29">
            <a:extLst>
              <a:ext uri="{FF2B5EF4-FFF2-40B4-BE49-F238E27FC236}">
                <a16:creationId xmlns:a16="http://schemas.microsoft.com/office/drawing/2014/main" id="{FF61F66E-FC25-25AD-7654-027D25406741}"/>
              </a:ext>
            </a:extLst>
          </p:cNvPr>
          <p:cNvSpPr/>
          <p:nvPr/>
        </p:nvSpPr>
        <p:spPr bwMode="gray">
          <a:xfrm>
            <a:off x="6960164" y="932059"/>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1" name="Oval 30">
            <a:extLst>
              <a:ext uri="{FF2B5EF4-FFF2-40B4-BE49-F238E27FC236}">
                <a16:creationId xmlns:a16="http://schemas.microsoft.com/office/drawing/2014/main" id="{CFE38DDB-16B0-2807-6E0E-CF9C7034C6FE}"/>
              </a:ext>
            </a:extLst>
          </p:cNvPr>
          <p:cNvSpPr/>
          <p:nvPr/>
        </p:nvSpPr>
        <p:spPr bwMode="gray">
          <a:xfrm>
            <a:off x="6895630" y="1043560"/>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2" name="Oval 31">
            <a:extLst>
              <a:ext uri="{FF2B5EF4-FFF2-40B4-BE49-F238E27FC236}">
                <a16:creationId xmlns:a16="http://schemas.microsoft.com/office/drawing/2014/main" id="{64652F8B-AB4A-D693-4A50-EA5F6E41E990}"/>
              </a:ext>
            </a:extLst>
          </p:cNvPr>
          <p:cNvSpPr/>
          <p:nvPr/>
        </p:nvSpPr>
        <p:spPr bwMode="gray">
          <a:xfrm>
            <a:off x="6994686" y="986631"/>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3" name="Oval 32">
            <a:extLst>
              <a:ext uri="{FF2B5EF4-FFF2-40B4-BE49-F238E27FC236}">
                <a16:creationId xmlns:a16="http://schemas.microsoft.com/office/drawing/2014/main" id="{FC78C54C-B9E8-BB43-D3A7-F0D9AD5B0EC1}"/>
              </a:ext>
            </a:extLst>
          </p:cNvPr>
          <p:cNvSpPr/>
          <p:nvPr/>
        </p:nvSpPr>
        <p:spPr bwMode="gray">
          <a:xfrm>
            <a:off x="6952264" y="868579"/>
            <a:ext cx="55478" cy="55478"/>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34" name="Oval 33">
            <a:extLst>
              <a:ext uri="{FF2B5EF4-FFF2-40B4-BE49-F238E27FC236}">
                <a16:creationId xmlns:a16="http://schemas.microsoft.com/office/drawing/2014/main" id="{86C64065-9A4F-8745-EA6F-80891CD2D0CA}"/>
              </a:ext>
            </a:extLst>
          </p:cNvPr>
          <p:cNvSpPr/>
          <p:nvPr/>
        </p:nvSpPr>
        <p:spPr bwMode="gray">
          <a:xfrm>
            <a:off x="6699356" y="1322596"/>
            <a:ext cx="60824" cy="60824"/>
          </a:xfrm>
          <a:prstGeom prst="ellipse">
            <a:avLst/>
          </a:prstGeom>
          <a:solidFill>
            <a:schemeClr val="bg1"/>
          </a:solidFill>
          <a:ln w="15875">
            <a:solidFill>
              <a:srgbClr val="002C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t" anchorCtr="0" forceAA="0" compatLnSpc="1">
            <a:prstTxWarp prst="textNoShape">
              <a:avLst/>
            </a:prstTxWarp>
            <a:noAutofit/>
          </a:bodyPr>
          <a:lstStyle/>
          <a:p>
            <a:pPr algn="ctr" defTabSz="1519384">
              <a:defRPr/>
            </a:pPr>
            <a:endParaRPr lang="en-150" sz="2991">
              <a:solidFill>
                <a:prstClr val="white"/>
              </a:solidFill>
              <a:latin typeface="Noto Sans" panose="020B0502040504020204" pitchFamily="34" charset="0"/>
              <a:ea typeface="Noto Sans" panose="020B0502040504020204" pitchFamily="34" charset="0"/>
            </a:endParaRPr>
          </a:p>
        </p:txBody>
      </p:sp>
      <p:sp>
        <p:nvSpPr>
          <p:cNvPr id="2" name="Slide Number Placeholder 1">
            <a:extLst>
              <a:ext uri="{FF2B5EF4-FFF2-40B4-BE49-F238E27FC236}">
                <a16:creationId xmlns:a16="http://schemas.microsoft.com/office/drawing/2014/main" id="{46D7EE6B-C5C7-5551-B71C-A9AD6AEBB2EC}"/>
              </a:ext>
            </a:extLst>
          </p:cNvPr>
          <p:cNvSpPr>
            <a:spLocks noGrp="1"/>
          </p:cNvSpPr>
          <p:nvPr>
            <p:ph type="sldNum" sz="quarter" idx="10"/>
          </p:nvPr>
        </p:nvSpPr>
        <p:spPr/>
        <p:txBody>
          <a:bodyPr/>
          <a:lstStyle/>
          <a:p>
            <a:fld id="{6F42FDE4-A7DD-41A7-A0A6-9B649FB43336}" type="slidenum">
              <a:rPr lang="de-CH" smtClean="0"/>
              <a:pPr/>
              <a:t>6</a:t>
            </a:fld>
            <a:endParaRPr lang="de-CH"/>
          </a:p>
        </p:txBody>
      </p:sp>
      <p:sp>
        <p:nvSpPr>
          <p:cNvPr id="583" name="Rectangle 582">
            <a:extLst>
              <a:ext uri="{FF2B5EF4-FFF2-40B4-BE49-F238E27FC236}">
                <a16:creationId xmlns:a16="http://schemas.microsoft.com/office/drawing/2014/main" id="{59D2DA5C-B380-8ED8-C8E6-8B487F59F2B8}"/>
              </a:ext>
            </a:extLst>
          </p:cNvPr>
          <p:cNvSpPr/>
          <p:nvPr/>
        </p:nvSpPr>
        <p:spPr bwMode="gray">
          <a:xfrm>
            <a:off x="6334963" y="3284143"/>
            <a:ext cx="1199039" cy="553613"/>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Switzerland</a:t>
            </a:r>
            <a:r>
              <a:rPr lang="en-US" sz="1199" b="1" kern="0">
                <a:solidFill>
                  <a:srgbClr val="DE3919"/>
                </a:solidFill>
                <a:latin typeface="Noto Sans"/>
              </a:rPr>
              <a:t> </a:t>
            </a:r>
            <a:br>
              <a:rPr lang="en-US" sz="1199" b="1" kern="0">
                <a:solidFill>
                  <a:srgbClr val="000000"/>
                </a:solidFill>
                <a:latin typeface="Noto Sans"/>
              </a:rPr>
            </a:br>
            <a:r>
              <a:rPr lang="en-US" sz="1199" kern="0">
                <a:solidFill>
                  <a:srgbClr val="4E4E4E"/>
                </a:solidFill>
                <a:latin typeface="Noto Sans"/>
              </a:rPr>
              <a:t>Biel, Geneva, </a:t>
            </a:r>
            <a:br>
              <a:rPr lang="en-US" sz="1199" kern="0">
                <a:solidFill>
                  <a:srgbClr val="4E4E4E"/>
                </a:solidFill>
                <a:latin typeface="Noto Sans"/>
              </a:rPr>
            </a:br>
            <a:r>
              <a:rPr lang="en-US" sz="1199" kern="0" err="1">
                <a:solidFill>
                  <a:srgbClr val="4E4E4E"/>
                </a:solidFill>
                <a:latin typeface="Noto Sans"/>
              </a:rPr>
              <a:t>Olten</a:t>
            </a:r>
            <a:r>
              <a:rPr lang="en-US" sz="1199" kern="0">
                <a:solidFill>
                  <a:srgbClr val="4E4E4E"/>
                </a:solidFill>
                <a:latin typeface="Noto Sans"/>
              </a:rPr>
              <a:t>, Zurich</a:t>
            </a:r>
          </a:p>
        </p:txBody>
      </p:sp>
      <p:sp>
        <p:nvSpPr>
          <p:cNvPr id="584" name="Rectangle 583">
            <a:extLst>
              <a:ext uri="{FF2B5EF4-FFF2-40B4-BE49-F238E27FC236}">
                <a16:creationId xmlns:a16="http://schemas.microsoft.com/office/drawing/2014/main" id="{09F4A5CC-DB27-2BA3-FB88-98E69BB2F08C}"/>
              </a:ext>
            </a:extLst>
          </p:cNvPr>
          <p:cNvSpPr/>
          <p:nvPr/>
        </p:nvSpPr>
        <p:spPr bwMode="gray">
          <a:xfrm>
            <a:off x="7882184" y="5956371"/>
            <a:ext cx="1199039"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Belgium</a:t>
            </a:r>
            <a:br>
              <a:rPr lang="en-US" sz="1199" b="1" kern="0">
                <a:solidFill>
                  <a:srgbClr val="DE3919"/>
                </a:solidFill>
                <a:latin typeface="Noto Sans"/>
              </a:rPr>
            </a:br>
            <a:r>
              <a:rPr lang="en-US" sz="1199" kern="0">
                <a:solidFill>
                  <a:srgbClr val="4E4E4E"/>
                </a:solidFill>
                <a:latin typeface="Noto Sans"/>
              </a:rPr>
              <a:t>Brussels</a:t>
            </a:r>
          </a:p>
        </p:txBody>
      </p:sp>
      <p:sp>
        <p:nvSpPr>
          <p:cNvPr id="585" name="Rectangle 584">
            <a:extLst>
              <a:ext uri="{FF2B5EF4-FFF2-40B4-BE49-F238E27FC236}">
                <a16:creationId xmlns:a16="http://schemas.microsoft.com/office/drawing/2014/main" id="{D95D7E15-3A53-F7E1-205B-6B9153ED8A83}"/>
              </a:ext>
            </a:extLst>
          </p:cNvPr>
          <p:cNvSpPr/>
          <p:nvPr/>
        </p:nvSpPr>
        <p:spPr bwMode="gray">
          <a:xfrm>
            <a:off x="6334964" y="4441426"/>
            <a:ext cx="1247677"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Germany</a:t>
            </a:r>
            <a:br>
              <a:rPr lang="en-US" sz="1199" b="1" kern="0">
                <a:solidFill>
                  <a:srgbClr val="DE3919"/>
                </a:solidFill>
                <a:latin typeface="Noto Sans"/>
              </a:rPr>
            </a:br>
            <a:r>
              <a:rPr lang="en-US" sz="1199" kern="0">
                <a:solidFill>
                  <a:srgbClr val="4E4E4E"/>
                </a:solidFill>
                <a:latin typeface="Noto Sans"/>
              </a:rPr>
              <a:t>Frankfurt</a:t>
            </a:r>
          </a:p>
        </p:txBody>
      </p:sp>
      <p:sp>
        <p:nvSpPr>
          <p:cNvPr id="586" name="Rectangle 585">
            <a:extLst>
              <a:ext uri="{FF2B5EF4-FFF2-40B4-BE49-F238E27FC236}">
                <a16:creationId xmlns:a16="http://schemas.microsoft.com/office/drawing/2014/main" id="{8806749C-32D7-7152-A61A-E4BA6E6777E3}"/>
              </a:ext>
            </a:extLst>
          </p:cNvPr>
          <p:cNvSpPr/>
          <p:nvPr/>
        </p:nvSpPr>
        <p:spPr bwMode="gray">
          <a:xfrm>
            <a:off x="7870241" y="4440373"/>
            <a:ext cx="1199039"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Denmark</a:t>
            </a:r>
            <a:br>
              <a:rPr lang="en-US" sz="1199" b="1" kern="0">
                <a:solidFill>
                  <a:srgbClr val="DE3919"/>
                </a:solidFill>
                <a:latin typeface="Noto Sans"/>
              </a:rPr>
            </a:br>
            <a:r>
              <a:rPr lang="en-US" sz="1199" kern="0">
                <a:solidFill>
                  <a:srgbClr val="4E4E4E"/>
                </a:solidFill>
                <a:latin typeface="Noto Sans"/>
              </a:rPr>
              <a:t>Copenhagen</a:t>
            </a:r>
          </a:p>
        </p:txBody>
      </p:sp>
      <p:sp>
        <p:nvSpPr>
          <p:cNvPr id="587" name="Rectangle 586">
            <a:extLst>
              <a:ext uri="{FF2B5EF4-FFF2-40B4-BE49-F238E27FC236}">
                <a16:creationId xmlns:a16="http://schemas.microsoft.com/office/drawing/2014/main" id="{7C6A1D74-E571-D73A-973E-D945F0C2B654}"/>
              </a:ext>
            </a:extLst>
          </p:cNvPr>
          <p:cNvSpPr/>
          <p:nvPr/>
        </p:nvSpPr>
        <p:spPr bwMode="gray">
          <a:xfrm>
            <a:off x="6334963" y="4958498"/>
            <a:ext cx="1219783"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France</a:t>
            </a:r>
            <a:br>
              <a:rPr lang="en-US" sz="1199" b="1" kern="0">
                <a:solidFill>
                  <a:srgbClr val="DE3919"/>
                </a:solidFill>
                <a:latin typeface="Noto Sans"/>
              </a:rPr>
            </a:br>
            <a:r>
              <a:rPr lang="en-US" sz="1199" kern="0">
                <a:solidFill>
                  <a:srgbClr val="4E4E4E"/>
                </a:solidFill>
                <a:latin typeface="Noto Sans"/>
              </a:rPr>
              <a:t>Paris</a:t>
            </a:r>
          </a:p>
        </p:txBody>
      </p:sp>
      <p:sp>
        <p:nvSpPr>
          <p:cNvPr id="588" name="Rectangle 587">
            <a:extLst>
              <a:ext uri="{FF2B5EF4-FFF2-40B4-BE49-F238E27FC236}">
                <a16:creationId xmlns:a16="http://schemas.microsoft.com/office/drawing/2014/main" id="{B67941E6-1D86-CF68-7085-B864C89D2726}"/>
              </a:ext>
            </a:extLst>
          </p:cNvPr>
          <p:cNvSpPr/>
          <p:nvPr/>
        </p:nvSpPr>
        <p:spPr bwMode="gray">
          <a:xfrm>
            <a:off x="6334963" y="5948345"/>
            <a:ext cx="1219783"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Italy</a:t>
            </a:r>
            <a:br>
              <a:rPr lang="en-US" sz="1199" b="1" kern="0">
                <a:solidFill>
                  <a:srgbClr val="DE3919"/>
                </a:solidFill>
                <a:latin typeface="Noto Sans"/>
              </a:rPr>
            </a:br>
            <a:r>
              <a:rPr lang="en-US" sz="1199" kern="0">
                <a:solidFill>
                  <a:srgbClr val="4E4E4E"/>
                </a:solidFill>
                <a:latin typeface="Noto Sans"/>
              </a:rPr>
              <a:t>Milan</a:t>
            </a:r>
          </a:p>
        </p:txBody>
      </p:sp>
      <p:sp>
        <p:nvSpPr>
          <p:cNvPr id="589" name="Rectangle 588">
            <a:extLst>
              <a:ext uri="{FF2B5EF4-FFF2-40B4-BE49-F238E27FC236}">
                <a16:creationId xmlns:a16="http://schemas.microsoft.com/office/drawing/2014/main" id="{63C05F07-E2C8-57C4-A11C-5DE4E6FB599E}"/>
              </a:ext>
            </a:extLst>
          </p:cNvPr>
          <p:cNvSpPr/>
          <p:nvPr/>
        </p:nvSpPr>
        <p:spPr bwMode="gray">
          <a:xfrm>
            <a:off x="7870242" y="5457033"/>
            <a:ext cx="1247678"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Luxemburg</a:t>
            </a:r>
            <a:br>
              <a:rPr lang="en-US" sz="1199" b="1" kern="0">
                <a:solidFill>
                  <a:srgbClr val="DE3919"/>
                </a:solidFill>
                <a:latin typeface="Noto Sans"/>
              </a:rPr>
            </a:br>
            <a:r>
              <a:rPr lang="en-US" sz="1199" kern="0" err="1">
                <a:solidFill>
                  <a:srgbClr val="4E4E4E"/>
                </a:solidFill>
                <a:latin typeface="Noto Sans"/>
              </a:rPr>
              <a:t>Leudelange</a:t>
            </a:r>
            <a:endParaRPr lang="en-US" sz="1199" kern="0">
              <a:solidFill>
                <a:srgbClr val="4E4E4E"/>
              </a:solidFill>
              <a:latin typeface="Noto Sans"/>
            </a:endParaRPr>
          </a:p>
        </p:txBody>
      </p:sp>
      <p:sp>
        <p:nvSpPr>
          <p:cNvPr id="590" name="Rectangle 589">
            <a:extLst>
              <a:ext uri="{FF2B5EF4-FFF2-40B4-BE49-F238E27FC236}">
                <a16:creationId xmlns:a16="http://schemas.microsoft.com/office/drawing/2014/main" id="{0086F8B7-41F0-E621-9DE0-907C75073DF6}"/>
              </a:ext>
            </a:extLst>
          </p:cNvPr>
          <p:cNvSpPr/>
          <p:nvPr/>
        </p:nvSpPr>
        <p:spPr bwMode="gray">
          <a:xfrm>
            <a:off x="9405521" y="4442487"/>
            <a:ext cx="1159093"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Morocco</a:t>
            </a:r>
            <a:br>
              <a:rPr lang="en-US" sz="1199" b="1" kern="0">
                <a:solidFill>
                  <a:srgbClr val="DE3919"/>
                </a:solidFill>
                <a:latin typeface="Noto Sans"/>
              </a:rPr>
            </a:br>
            <a:r>
              <a:rPr lang="en-US" sz="1199" kern="0">
                <a:solidFill>
                  <a:srgbClr val="4E4E4E"/>
                </a:solidFill>
                <a:latin typeface="Noto Sans"/>
              </a:rPr>
              <a:t>Casablanca</a:t>
            </a:r>
          </a:p>
        </p:txBody>
      </p:sp>
      <p:sp>
        <p:nvSpPr>
          <p:cNvPr id="591" name="Rectangle 590">
            <a:extLst>
              <a:ext uri="{FF2B5EF4-FFF2-40B4-BE49-F238E27FC236}">
                <a16:creationId xmlns:a16="http://schemas.microsoft.com/office/drawing/2014/main" id="{06A8E81B-E76F-09F8-14BE-AEE499651CAA}"/>
              </a:ext>
            </a:extLst>
          </p:cNvPr>
          <p:cNvSpPr/>
          <p:nvPr/>
        </p:nvSpPr>
        <p:spPr bwMode="gray">
          <a:xfrm>
            <a:off x="9405520" y="3963696"/>
            <a:ext cx="1199039" cy="184538"/>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Monaco</a:t>
            </a:r>
          </a:p>
        </p:txBody>
      </p:sp>
      <p:sp>
        <p:nvSpPr>
          <p:cNvPr id="592" name="Rectangle 591">
            <a:extLst>
              <a:ext uri="{FF2B5EF4-FFF2-40B4-BE49-F238E27FC236}">
                <a16:creationId xmlns:a16="http://schemas.microsoft.com/office/drawing/2014/main" id="{3B0B43EF-A4E0-6CCF-3632-405866F115C8}"/>
              </a:ext>
            </a:extLst>
          </p:cNvPr>
          <p:cNvSpPr/>
          <p:nvPr/>
        </p:nvSpPr>
        <p:spPr bwMode="gray">
          <a:xfrm>
            <a:off x="6352516" y="5457033"/>
            <a:ext cx="1230125"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Netherlands</a:t>
            </a:r>
            <a:br>
              <a:rPr lang="en-US" sz="1199" b="1" kern="0">
                <a:solidFill>
                  <a:srgbClr val="DE3919"/>
                </a:solidFill>
                <a:latin typeface="Noto Sans"/>
              </a:rPr>
            </a:br>
            <a:r>
              <a:rPr lang="en-US" sz="1199" kern="0">
                <a:solidFill>
                  <a:srgbClr val="4E4E4E"/>
                </a:solidFill>
                <a:latin typeface="Noto Sans"/>
              </a:rPr>
              <a:t>Amsterdam</a:t>
            </a:r>
          </a:p>
        </p:txBody>
      </p:sp>
      <p:sp>
        <p:nvSpPr>
          <p:cNvPr id="593" name="Rectangle 592">
            <a:extLst>
              <a:ext uri="{FF2B5EF4-FFF2-40B4-BE49-F238E27FC236}">
                <a16:creationId xmlns:a16="http://schemas.microsoft.com/office/drawing/2014/main" id="{D7C115AA-BEB7-7212-7B0C-EE65C812D8A9}"/>
              </a:ext>
            </a:extLst>
          </p:cNvPr>
          <p:cNvSpPr/>
          <p:nvPr/>
        </p:nvSpPr>
        <p:spPr bwMode="gray">
          <a:xfrm>
            <a:off x="7870241" y="3951931"/>
            <a:ext cx="1146501"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Norway</a:t>
            </a:r>
            <a:br>
              <a:rPr lang="en-US" sz="1199" b="1" kern="0">
                <a:solidFill>
                  <a:srgbClr val="DE3919"/>
                </a:solidFill>
                <a:latin typeface="Noto Sans"/>
              </a:rPr>
            </a:br>
            <a:r>
              <a:rPr lang="en-US" sz="1199" kern="0">
                <a:solidFill>
                  <a:srgbClr val="4E4E4E"/>
                </a:solidFill>
                <a:latin typeface="Noto Sans"/>
              </a:rPr>
              <a:t>Oslo</a:t>
            </a:r>
          </a:p>
        </p:txBody>
      </p:sp>
      <p:sp>
        <p:nvSpPr>
          <p:cNvPr id="594" name="Rectangle 593">
            <a:extLst>
              <a:ext uri="{FF2B5EF4-FFF2-40B4-BE49-F238E27FC236}">
                <a16:creationId xmlns:a16="http://schemas.microsoft.com/office/drawing/2014/main" id="{BE106E71-D7EA-0377-749E-AF3E8AE76ACE}"/>
              </a:ext>
            </a:extLst>
          </p:cNvPr>
          <p:cNvSpPr/>
          <p:nvPr/>
        </p:nvSpPr>
        <p:spPr bwMode="gray">
          <a:xfrm>
            <a:off x="9405519" y="3284144"/>
            <a:ext cx="1007052"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Poland</a:t>
            </a:r>
            <a:br>
              <a:rPr lang="en-US" sz="1199" b="1" kern="0">
                <a:solidFill>
                  <a:srgbClr val="DE3919"/>
                </a:solidFill>
                <a:latin typeface="Noto Sans"/>
              </a:rPr>
            </a:br>
            <a:r>
              <a:rPr lang="en-US" sz="1199" kern="0">
                <a:solidFill>
                  <a:srgbClr val="4E4E4E"/>
                </a:solidFill>
                <a:latin typeface="Noto Sans"/>
              </a:rPr>
              <a:t>Warsaw</a:t>
            </a:r>
          </a:p>
        </p:txBody>
      </p:sp>
      <p:sp>
        <p:nvSpPr>
          <p:cNvPr id="595" name="Rectangle 594">
            <a:extLst>
              <a:ext uri="{FF2B5EF4-FFF2-40B4-BE49-F238E27FC236}">
                <a16:creationId xmlns:a16="http://schemas.microsoft.com/office/drawing/2014/main" id="{E113EC52-8326-D3EB-DA82-335B8F65C291}"/>
              </a:ext>
            </a:extLst>
          </p:cNvPr>
          <p:cNvSpPr/>
          <p:nvPr/>
        </p:nvSpPr>
        <p:spPr bwMode="gray">
          <a:xfrm>
            <a:off x="9405520" y="5460177"/>
            <a:ext cx="1199039" cy="184538"/>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Singapore</a:t>
            </a:r>
          </a:p>
        </p:txBody>
      </p:sp>
      <p:sp>
        <p:nvSpPr>
          <p:cNvPr id="596" name="Rectangle 595">
            <a:extLst>
              <a:ext uri="{FF2B5EF4-FFF2-40B4-BE49-F238E27FC236}">
                <a16:creationId xmlns:a16="http://schemas.microsoft.com/office/drawing/2014/main" id="{720D293A-44CD-DFF9-CC0A-2F0DF9990C64}"/>
              </a:ext>
            </a:extLst>
          </p:cNvPr>
          <p:cNvSpPr/>
          <p:nvPr/>
        </p:nvSpPr>
        <p:spPr bwMode="gray">
          <a:xfrm>
            <a:off x="9417463" y="4954969"/>
            <a:ext cx="1140191"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Japan</a:t>
            </a:r>
            <a:br>
              <a:rPr lang="en-US" sz="1199" b="1" kern="0">
                <a:solidFill>
                  <a:srgbClr val="DE3919"/>
                </a:solidFill>
                <a:latin typeface="Noto Sans"/>
              </a:rPr>
            </a:br>
            <a:r>
              <a:rPr lang="en-US" sz="1199" kern="0">
                <a:solidFill>
                  <a:srgbClr val="4E4E4E"/>
                </a:solidFill>
                <a:latin typeface="Noto Sans"/>
              </a:rPr>
              <a:t>Tokyo</a:t>
            </a:r>
          </a:p>
        </p:txBody>
      </p:sp>
      <p:sp>
        <p:nvSpPr>
          <p:cNvPr id="597" name="Rectangle 596">
            <a:extLst>
              <a:ext uri="{FF2B5EF4-FFF2-40B4-BE49-F238E27FC236}">
                <a16:creationId xmlns:a16="http://schemas.microsoft.com/office/drawing/2014/main" id="{7DFE5E3F-89A4-D052-6A4B-AC5DC70DD0FA}"/>
              </a:ext>
            </a:extLst>
          </p:cNvPr>
          <p:cNvSpPr/>
          <p:nvPr/>
        </p:nvSpPr>
        <p:spPr bwMode="gray">
          <a:xfrm>
            <a:off x="7870241" y="3284144"/>
            <a:ext cx="1555871" cy="553613"/>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Spain</a:t>
            </a:r>
            <a:br>
              <a:rPr lang="en-US" sz="1199" b="1" kern="0">
                <a:solidFill>
                  <a:srgbClr val="DE3919"/>
                </a:solidFill>
                <a:latin typeface="Noto Sans"/>
              </a:rPr>
            </a:br>
            <a:r>
              <a:rPr lang="en-US" sz="1199" kern="0">
                <a:solidFill>
                  <a:srgbClr val="4E4E4E"/>
                </a:solidFill>
                <a:latin typeface="Noto Sans"/>
              </a:rPr>
              <a:t>Barcelona, Bilbao, Madrid, Valencia</a:t>
            </a:r>
          </a:p>
        </p:txBody>
      </p:sp>
      <p:sp>
        <p:nvSpPr>
          <p:cNvPr id="598" name="Rectangle 597">
            <a:extLst>
              <a:ext uri="{FF2B5EF4-FFF2-40B4-BE49-F238E27FC236}">
                <a16:creationId xmlns:a16="http://schemas.microsoft.com/office/drawing/2014/main" id="{A23CB179-D2D5-07A8-9CCE-E767DD8D68D0}"/>
              </a:ext>
            </a:extLst>
          </p:cNvPr>
          <p:cNvSpPr/>
          <p:nvPr/>
        </p:nvSpPr>
        <p:spPr bwMode="gray">
          <a:xfrm>
            <a:off x="7870241" y="4955474"/>
            <a:ext cx="1328487"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Sweden</a:t>
            </a:r>
            <a:br>
              <a:rPr lang="en-US" sz="1199" b="1" kern="0">
                <a:solidFill>
                  <a:srgbClr val="DE3919"/>
                </a:solidFill>
                <a:latin typeface="Noto Sans"/>
              </a:rPr>
            </a:br>
            <a:r>
              <a:rPr lang="en-US" sz="1199" kern="0">
                <a:solidFill>
                  <a:srgbClr val="4E4E4E"/>
                </a:solidFill>
                <a:latin typeface="Noto Sans"/>
              </a:rPr>
              <a:t>Stockholm</a:t>
            </a:r>
          </a:p>
        </p:txBody>
      </p:sp>
      <p:sp>
        <p:nvSpPr>
          <p:cNvPr id="599" name="Rectangle 598">
            <a:extLst>
              <a:ext uri="{FF2B5EF4-FFF2-40B4-BE49-F238E27FC236}">
                <a16:creationId xmlns:a16="http://schemas.microsoft.com/office/drawing/2014/main" id="{23B14B35-2F38-35CD-05EE-165865DC1FCC}"/>
              </a:ext>
            </a:extLst>
          </p:cNvPr>
          <p:cNvSpPr/>
          <p:nvPr/>
        </p:nvSpPr>
        <p:spPr bwMode="gray">
          <a:xfrm>
            <a:off x="6334964" y="3962697"/>
            <a:ext cx="1199040"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UK</a:t>
            </a:r>
            <a:br>
              <a:rPr lang="en-US" sz="1199" b="1" kern="0">
                <a:solidFill>
                  <a:srgbClr val="DE3919"/>
                </a:solidFill>
                <a:latin typeface="Noto Sans"/>
              </a:rPr>
            </a:br>
            <a:r>
              <a:rPr lang="en-US" sz="1199" kern="0">
                <a:solidFill>
                  <a:srgbClr val="4E4E4E"/>
                </a:solidFill>
                <a:latin typeface="Noto Sans"/>
              </a:rPr>
              <a:t>London </a:t>
            </a:r>
          </a:p>
        </p:txBody>
      </p:sp>
      <p:sp>
        <p:nvSpPr>
          <p:cNvPr id="600" name="Rectangle 599">
            <a:extLst>
              <a:ext uri="{FF2B5EF4-FFF2-40B4-BE49-F238E27FC236}">
                <a16:creationId xmlns:a16="http://schemas.microsoft.com/office/drawing/2014/main" id="{772222E4-605B-033F-2A7E-DDB884189321}"/>
              </a:ext>
            </a:extLst>
          </p:cNvPr>
          <p:cNvSpPr/>
          <p:nvPr/>
        </p:nvSpPr>
        <p:spPr bwMode="gray">
          <a:xfrm>
            <a:off x="4801799" y="3284268"/>
            <a:ext cx="1318085" cy="738151"/>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USA</a:t>
            </a:r>
            <a:br>
              <a:rPr lang="en-US" sz="1199" b="1" kern="0">
                <a:solidFill>
                  <a:srgbClr val="DE3919"/>
                </a:solidFill>
                <a:latin typeface="Noto Sans"/>
              </a:rPr>
            </a:br>
            <a:r>
              <a:rPr lang="en-US" sz="1199" kern="0">
                <a:solidFill>
                  <a:srgbClr val="4E4E4E"/>
                </a:solidFill>
                <a:latin typeface="Noto Sans"/>
              </a:rPr>
              <a:t>Miami, New York, </a:t>
            </a:r>
            <a:br>
              <a:rPr lang="en-US" sz="1199" kern="0">
                <a:solidFill>
                  <a:srgbClr val="4E4E4E"/>
                </a:solidFill>
                <a:latin typeface="Noto Sans"/>
              </a:rPr>
            </a:br>
            <a:r>
              <a:rPr lang="en-US" sz="1199" kern="0">
                <a:solidFill>
                  <a:srgbClr val="4E4E4E"/>
                </a:solidFill>
                <a:latin typeface="Noto Sans"/>
              </a:rPr>
              <a:t>Stamford CT</a:t>
            </a:r>
            <a:br>
              <a:rPr lang="en-US" sz="1199" kern="0">
                <a:solidFill>
                  <a:srgbClr val="4E4E4E"/>
                </a:solidFill>
                <a:latin typeface="Noto Sans"/>
              </a:rPr>
            </a:br>
            <a:endParaRPr lang="en-US" sz="1199" kern="0">
              <a:solidFill>
                <a:srgbClr val="4E4E4E"/>
              </a:solidFill>
              <a:latin typeface="Noto Sans"/>
            </a:endParaRPr>
          </a:p>
        </p:txBody>
      </p:sp>
      <p:sp>
        <p:nvSpPr>
          <p:cNvPr id="601" name="Rectangle 600">
            <a:extLst>
              <a:ext uri="{FF2B5EF4-FFF2-40B4-BE49-F238E27FC236}">
                <a16:creationId xmlns:a16="http://schemas.microsoft.com/office/drawing/2014/main" id="{98C964B1-36BB-70CC-D9ED-653597BD966F}"/>
              </a:ext>
            </a:extLst>
          </p:cNvPr>
          <p:cNvSpPr/>
          <p:nvPr/>
        </p:nvSpPr>
        <p:spPr bwMode="gray">
          <a:xfrm>
            <a:off x="4801798" y="3956326"/>
            <a:ext cx="1044899" cy="369075"/>
          </a:xfrm>
          <a:prstGeom prst="rect">
            <a:avLst/>
          </a:prstGeom>
        </p:spPr>
        <p:txBody>
          <a:bodyPr wrap="square" lIns="0" tIns="0" rIns="0" bIns="0">
            <a:spAutoFit/>
          </a:bodyPr>
          <a:lstStyle/>
          <a:p>
            <a:pPr defTabSz="1218072">
              <a:spcAft>
                <a:spcPts val="932"/>
              </a:spcAft>
              <a:defRPr/>
            </a:pPr>
            <a:r>
              <a:rPr lang="en-US" sz="1199" b="1" kern="0">
                <a:solidFill>
                  <a:srgbClr val="002C5F"/>
                </a:solidFill>
                <a:latin typeface="Noto Sans"/>
              </a:rPr>
              <a:t>Colombia</a:t>
            </a:r>
            <a:br>
              <a:rPr lang="en-US" sz="1199" b="1" kern="0">
                <a:solidFill>
                  <a:srgbClr val="DE3919"/>
                </a:solidFill>
                <a:latin typeface="Noto Sans"/>
              </a:rPr>
            </a:br>
            <a:r>
              <a:rPr lang="en-US" sz="1199" kern="0">
                <a:solidFill>
                  <a:srgbClr val="4E4E4E"/>
                </a:solidFill>
                <a:latin typeface="Noto Sans"/>
              </a:rPr>
              <a:t>Bogota</a:t>
            </a:r>
          </a:p>
        </p:txBody>
      </p:sp>
      <p:sp>
        <p:nvSpPr>
          <p:cNvPr id="286" name="Rectangle 285">
            <a:extLst>
              <a:ext uri="{FF2B5EF4-FFF2-40B4-BE49-F238E27FC236}">
                <a16:creationId xmlns:a16="http://schemas.microsoft.com/office/drawing/2014/main" id="{85A9197A-0D08-57C6-D002-4582B7A726FF}"/>
              </a:ext>
            </a:extLst>
          </p:cNvPr>
          <p:cNvSpPr>
            <a:spLocks noChangeAspect="1"/>
          </p:cNvSpPr>
          <p:nvPr/>
        </p:nvSpPr>
        <p:spPr bwMode="gray">
          <a:xfrm>
            <a:off x="2839754" y="3284143"/>
            <a:ext cx="1660091" cy="649158"/>
          </a:xfrm>
          <a:prstGeom prst="rect">
            <a:avLst/>
          </a:prstGeom>
          <a:solidFill>
            <a:schemeClr val="accent5">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ctr" anchorCtr="0" forceAA="0" compatLnSpc="1">
            <a:prstTxWarp prst="textNoShape">
              <a:avLst/>
            </a:prstTxWarp>
            <a:noAutofit/>
          </a:bodyPr>
          <a:lstStyle/>
          <a:p>
            <a:pPr algn="ctr">
              <a:tabLst>
                <a:tab pos="1399937" algn="l"/>
                <a:tab pos="3298946" algn="l"/>
              </a:tabLst>
              <a:defRPr/>
            </a:pPr>
            <a:r>
              <a:rPr lang="en-US" sz="2664" b="1">
                <a:solidFill>
                  <a:srgbClr val="002C5F"/>
                </a:solidFill>
                <a:latin typeface="Noto Sans ExtraBold" panose="020B0502040504020204" pitchFamily="34" charset="0"/>
                <a:ea typeface="Noto Sans ExtraBold" panose="020B0502040504020204" pitchFamily="34" charset="0"/>
                <a:cs typeface="Noto Sans ExtraBold" panose="020B0502040504020204" pitchFamily="34" charset="0"/>
              </a:rPr>
              <a:t>4,024</a:t>
            </a:r>
          </a:p>
          <a:p>
            <a:pPr algn="ctr">
              <a:tabLst>
                <a:tab pos="1399937" algn="l"/>
                <a:tab pos="3298946" algn="l"/>
              </a:tabLst>
              <a:defRPr/>
            </a:pPr>
            <a:r>
              <a:rPr lang="en-US" sz="932">
                <a:solidFill>
                  <a:schemeClr val="bg1"/>
                </a:solidFill>
                <a:ea typeface="ＭＳ Ｐゴシック" charset="-128"/>
              </a:rPr>
              <a:t>Employees (FTE 2023)</a:t>
            </a:r>
            <a:endParaRPr lang="en-US" sz="932" b="1">
              <a:solidFill>
                <a:srgbClr val="002C5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87" name="Rectangle 286">
            <a:extLst>
              <a:ext uri="{FF2B5EF4-FFF2-40B4-BE49-F238E27FC236}">
                <a16:creationId xmlns:a16="http://schemas.microsoft.com/office/drawing/2014/main" id="{64686952-161E-002F-1E20-C5E06138CCDD}"/>
              </a:ext>
            </a:extLst>
          </p:cNvPr>
          <p:cNvSpPr>
            <a:spLocks noChangeAspect="1"/>
          </p:cNvSpPr>
          <p:nvPr/>
        </p:nvSpPr>
        <p:spPr bwMode="gray">
          <a:xfrm>
            <a:off x="2834612" y="3983828"/>
            <a:ext cx="1660091" cy="649158"/>
          </a:xfrm>
          <a:prstGeom prst="rect">
            <a:avLst/>
          </a:prstGeom>
          <a:solidFill>
            <a:schemeClr val="accent5">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ctr" anchorCtr="0" forceAA="0" compatLnSpc="1">
            <a:prstTxWarp prst="textNoShape">
              <a:avLst/>
            </a:prstTxWarp>
            <a:noAutofit/>
          </a:bodyPr>
          <a:lstStyle/>
          <a:p>
            <a:pPr algn="ctr">
              <a:tabLst>
                <a:tab pos="1399937" algn="l"/>
                <a:tab pos="3298946" algn="l"/>
              </a:tabLst>
              <a:defRPr/>
            </a:pPr>
            <a:r>
              <a:rPr lang="en-US" sz="2664" b="1">
                <a:solidFill>
                  <a:srgbClr val="002C5F"/>
                </a:solidFill>
                <a:latin typeface="Noto Sans ExtraBold" panose="020B0502040504020204" pitchFamily="34" charset="0"/>
                <a:ea typeface="Noto Sans ExtraBold" panose="020B0502040504020204" pitchFamily="34" charset="0"/>
                <a:cs typeface="Noto Sans ExtraBold" panose="020B0502040504020204" pitchFamily="34" charset="0"/>
              </a:rPr>
              <a:t>19</a:t>
            </a:r>
          </a:p>
          <a:p>
            <a:pPr algn="ctr">
              <a:tabLst>
                <a:tab pos="1399937" algn="l"/>
                <a:tab pos="3298946" algn="l"/>
              </a:tabLst>
              <a:defRPr/>
            </a:pPr>
            <a:r>
              <a:rPr lang="en-US" sz="932">
                <a:solidFill>
                  <a:schemeClr val="bg1"/>
                </a:solidFill>
                <a:ea typeface="ＭＳ Ｐゴシック" charset="-128"/>
              </a:rPr>
              <a:t>Countries</a:t>
            </a:r>
            <a:endParaRPr lang="en-US" sz="932" b="1">
              <a:solidFill>
                <a:srgbClr val="002C5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88" name="Rectangle 287">
            <a:extLst>
              <a:ext uri="{FF2B5EF4-FFF2-40B4-BE49-F238E27FC236}">
                <a16:creationId xmlns:a16="http://schemas.microsoft.com/office/drawing/2014/main" id="{2E47B40F-1F48-1576-A8AC-360580C91CE5}"/>
              </a:ext>
            </a:extLst>
          </p:cNvPr>
          <p:cNvSpPr>
            <a:spLocks noChangeAspect="1"/>
          </p:cNvSpPr>
          <p:nvPr/>
        </p:nvSpPr>
        <p:spPr bwMode="gray">
          <a:xfrm>
            <a:off x="2834612" y="4687842"/>
            <a:ext cx="1660091" cy="649158"/>
          </a:xfrm>
          <a:prstGeom prst="rect">
            <a:avLst/>
          </a:prstGeom>
          <a:solidFill>
            <a:schemeClr val="accent5">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ctr" anchorCtr="0" forceAA="0" compatLnSpc="1">
            <a:prstTxWarp prst="textNoShape">
              <a:avLst/>
            </a:prstTxWarp>
            <a:noAutofit/>
          </a:bodyPr>
          <a:lstStyle/>
          <a:p>
            <a:pPr algn="ctr">
              <a:tabLst>
                <a:tab pos="1399937" algn="l"/>
                <a:tab pos="3298946" algn="l"/>
              </a:tabLst>
              <a:defRPr/>
            </a:pPr>
            <a:r>
              <a:rPr lang="en-US" sz="2664" b="1">
                <a:solidFill>
                  <a:srgbClr val="002C5F"/>
                </a:solidFill>
                <a:latin typeface="Noto Sans ExtraBold" panose="020B0502040504020204" pitchFamily="34" charset="0"/>
                <a:ea typeface="Noto Sans ExtraBold" panose="020B0502040504020204" pitchFamily="34" charset="0"/>
                <a:cs typeface="Noto Sans ExtraBold" panose="020B0502040504020204" pitchFamily="34" charset="0"/>
              </a:rPr>
              <a:t>27 </a:t>
            </a:r>
          </a:p>
          <a:p>
            <a:pPr algn="ctr">
              <a:tabLst>
                <a:tab pos="1399937" algn="l"/>
                <a:tab pos="3298946" algn="l"/>
              </a:tabLst>
              <a:defRPr/>
            </a:pPr>
            <a:r>
              <a:rPr lang="en-US" sz="932">
                <a:solidFill>
                  <a:schemeClr val="bg1"/>
                </a:solidFill>
                <a:ea typeface="ＭＳ Ｐゴシック" charset="-128"/>
              </a:rPr>
              <a:t>Locations</a:t>
            </a:r>
            <a:endParaRPr lang="en-US" sz="932" b="1">
              <a:solidFill>
                <a:srgbClr val="002C5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89" name="Rectangle 288">
            <a:extLst>
              <a:ext uri="{FF2B5EF4-FFF2-40B4-BE49-F238E27FC236}">
                <a16:creationId xmlns:a16="http://schemas.microsoft.com/office/drawing/2014/main" id="{11236CA3-8A7C-B031-9D0E-C98ACE4E584B}"/>
              </a:ext>
            </a:extLst>
          </p:cNvPr>
          <p:cNvSpPr>
            <a:spLocks noChangeAspect="1"/>
          </p:cNvSpPr>
          <p:nvPr/>
        </p:nvSpPr>
        <p:spPr bwMode="gray">
          <a:xfrm>
            <a:off x="2834612" y="5405137"/>
            <a:ext cx="1660091" cy="649158"/>
          </a:xfrm>
          <a:prstGeom prst="rect">
            <a:avLst/>
          </a:prstGeom>
          <a:solidFill>
            <a:schemeClr val="accent5">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807" tIns="60904" rIns="121807" bIns="60904" numCol="1" spcCol="0" rtlCol="0" fromWordArt="0" anchor="ctr" anchorCtr="0" forceAA="0" compatLnSpc="1">
            <a:prstTxWarp prst="textNoShape">
              <a:avLst/>
            </a:prstTxWarp>
            <a:noAutofit/>
          </a:bodyPr>
          <a:lstStyle/>
          <a:p>
            <a:pPr algn="ctr">
              <a:tabLst>
                <a:tab pos="1399937" algn="l"/>
                <a:tab pos="3298946" algn="l"/>
              </a:tabLst>
              <a:defRPr/>
            </a:pPr>
            <a:r>
              <a:rPr lang="en-US" sz="2664" b="1">
                <a:solidFill>
                  <a:srgbClr val="002C5F"/>
                </a:solidFill>
                <a:latin typeface="Noto Sans ExtraBold" panose="020B0502040504020204" pitchFamily="34" charset="0"/>
                <a:ea typeface="Noto Sans ExtraBold" panose="020B0502040504020204" pitchFamily="34" charset="0"/>
                <a:cs typeface="Noto Sans ExtraBold" panose="020B0502040504020204" pitchFamily="34" charset="0"/>
              </a:rPr>
              <a:t>86</a:t>
            </a:r>
          </a:p>
          <a:p>
            <a:pPr algn="ctr">
              <a:tabLst>
                <a:tab pos="1399937" algn="l"/>
                <a:tab pos="3298946" algn="l"/>
              </a:tabLst>
              <a:defRPr/>
            </a:pPr>
            <a:r>
              <a:rPr lang="en-US" sz="932">
                <a:solidFill>
                  <a:schemeClr val="bg1"/>
                </a:solidFill>
                <a:ea typeface="ＭＳ Ｐゴシック" charset="-128"/>
              </a:rPr>
              <a:t>Nationalities</a:t>
            </a:r>
            <a:endParaRPr lang="en-US" sz="932" b="1">
              <a:solidFill>
                <a:srgbClr val="002C5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78" name="Title 277">
            <a:extLst>
              <a:ext uri="{FF2B5EF4-FFF2-40B4-BE49-F238E27FC236}">
                <a16:creationId xmlns:a16="http://schemas.microsoft.com/office/drawing/2014/main" id="{63DEBC16-C322-A318-8DE1-B148822ED68A}"/>
              </a:ext>
            </a:extLst>
          </p:cNvPr>
          <p:cNvSpPr>
            <a:spLocks noGrp="1"/>
          </p:cNvSpPr>
          <p:nvPr>
            <p:ph type="title"/>
          </p:nvPr>
        </p:nvSpPr>
        <p:spPr>
          <a:xfrm>
            <a:off x="580494" y="1414640"/>
            <a:ext cx="2050138" cy="1229952"/>
          </a:xfrm>
        </p:spPr>
        <p:txBody>
          <a:bodyPr/>
          <a:lstStyle/>
          <a:p>
            <a:r>
              <a:rPr lang="en-US" sz="2664" i="0"/>
              <a:t>Supporting our clients globally</a:t>
            </a:r>
          </a:p>
        </p:txBody>
      </p:sp>
      <p:sp>
        <p:nvSpPr>
          <p:cNvPr id="35" name="Slide Number Placeholder 2">
            <a:extLst>
              <a:ext uri="{FF2B5EF4-FFF2-40B4-BE49-F238E27FC236}">
                <a16:creationId xmlns:a16="http://schemas.microsoft.com/office/drawing/2014/main" id="{16F27281-FFA4-D8C6-6592-CAC91B47010C}"/>
              </a:ext>
            </a:extLst>
          </p:cNvPr>
          <p:cNvSpPr txBox="1">
            <a:spLocks/>
          </p:cNvSpPr>
          <p:nvPr/>
        </p:nvSpPr>
        <p:spPr>
          <a:xfrm>
            <a:off x="580840" y="6296115"/>
            <a:ext cx="622965" cy="191821"/>
          </a:xfrm>
          <a:prstGeom prst="rect">
            <a:avLst/>
          </a:prstGeom>
        </p:spPr>
        <p:txBody>
          <a:bodyPr lIns="0" tIns="0" rIns="0" bIns="0"/>
          <a:lstStyle>
            <a:defPPr>
              <a:defRPr lang="de-DE"/>
            </a:defPPr>
            <a:lvl1pPr marL="0" algn="l" defTabSz="1140593" rtl="0" eaLnBrk="1" latinLnBrk="0" hangingPunct="1">
              <a:defRPr sz="800" kern="1200">
                <a:solidFill>
                  <a:schemeClr val="bg2"/>
                </a:solidFill>
                <a:latin typeface="Noto Sans" panose="020B0502040504020204" pitchFamily="34"/>
                <a:ea typeface="Noto Sans" panose="020B0502040504020204" pitchFamily="34"/>
                <a:cs typeface="Noto Sans" panose="020B0502040504020204" pitchFamily="34"/>
              </a:defRPr>
            </a:lvl1pPr>
            <a:lvl2pPr marL="570297" algn="l" defTabSz="1140593" rtl="0" eaLnBrk="1" latinLnBrk="0" hangingPunct="1">
              <a:defRPr sz="2245" kern="1200">
                <a:solidFill>
                  <a:schemeClr val="tx1"/>
                </a:solidFill>
                <a:latin typeface="+mn-lt"/>
                <a:ea typeface="+mn-ea"/>
                <a:cs typeface="+mn-cs"/>
              </a:defRPr>
            </a:lvl2pPr>
            <a:lvl3pPr marL="1140593" algn="l" defTabSz="1140593" rtl="0" eaLnBrk="1" latinLnBrk="0" hangingPunct="1">
              <a:defRPr sz="2245" kern="1200">
                <a:solidFill>
                  <a:schemeClr val="tx1"/>
                </a:solidFill>
                <a:latin typeface="+mn-lt"/>
                <a:ea typeface="+mn-ea"/>
                <a:cs typeface="+mn-cs"/>
              </a:defRPr>
            </a:lvl3pPr>
            <a:lvl4pPr marL="1710891" algn="l" defTabSz="1140593" rtl="0" eaLnBrk="1" latinLnBrk="0" hangingPunct="1">
              <a:defRPr sz="2245" kern="1200">
                <a:solidFill>
                  <a:schemeClr val="tx1"/>
                </a:solidFill>
                <a:latin typeface="+mn-lt"/>
                <a:ea typeface="+mn-ea"/>
                <a:cs typeface="+mn-cs"/>
              </a:defRPr>
            </a:lvl4pPr>
            <a:lvl5pPr marL="2281187" algn="l" defTabSz="1140593" rtl="0" eaLnBrk="1" latinLnBrk="0" hangingPunct="1">
              <a:defRPr sz="2245" kern="1200">
                <a:solidFill>
                  <a:schemeClr val="tx1"/>
                </a:solidFill>
                <a:latin typeface="+mn-lt"/>
                <a:ea typeface="+mn-ea"/>
                <a:cs typeface="+mn-cs"/>
              </a:defRPr>
            </a:lvl5pPr>
            <a:lvl6pPr marL="2851484" algn="l" defTabSz="1140593" rtl="0" eaLnBrk="1" latinLnBrk="0" hangingPunct="1">
              <a:defRPr sz="2245" kern="1200">
                <a:solidFill>
                  <a:schemeClr val="tx1"/>
                </a:solidFill>
                <a:latin typeface="+mn-lt"/>
                <a:ea typeface="+mn-ea"/>
                <a:cs typeface="+mn-cs"/>
              </a:defRPr>
            </a:lvl6pPr>
            <a:lvl7pPr marL="3421782" algn="l" defTabSz="1140593" rtl="0" eaLnBrk="1" latinLnBrk="0" hangingPunct="1">
              <a:defRPr sz="2245" kern="1200">
                <a:solidFill>
                  <a:schemeClr val="tx1"/>
                </a:solidFill>
                <a:latin typeface="+mn-lt"/>
                <a:ea typeface="+mn-ea"/>
                <a:cs typeface="+mn-cs"/>
              </a:defRPr>
            </a:lvl7pPr>
            <a:lvl8pPr marL="3992079" algn="l" defTabSz="1140593" rtl="0" eaLnBrk="1" latinLnBrk="0" hangingPunct="1">
              <a:defRPr sz="2245" kern="1200">
                <a:solidFill>
                  <a:schemeClr val="tx1"/>
                </a:solidFill>
                <a:latin typeface="+mn-lt"/>
                <a:ea typeface="+mn-ea"/>
                <a:cs typeface="+mn-cs"/>
              </a:defRPr>
            </a:lvl8pPr>
            <a:lvl9pPr marL="4562375" algn="l" defTabSz="1140593" rtl="0" eaLnBrk="1" latinLnBrk="0" hangingPunct="1">
              <a:defRPr sz="2245" kern="1200">
                <a:solidFill>
                  <a:schemeClr val="tx1"/>
                </a:solidFill>
                <a:latin typeface="+mn-lt"/>
                <a:ea typeface="+mn-ea"/>
                <a:cs typeface="+mn-cs"/>
              </a:defRPr>
            </a:lvl9pPr>
          </a:lstStyle>
          <a:p>
            <a:fld id="{6F42FDE4-A7DD-41A7-A0A6-9B649FB43336}" type="slidenum">
              <a:rPr lang="de-CH" sz="1066"/>
              <a:pPr/>
              <a:t>6</a:t>
            </a:fld>
            <a:endParaRPr lang="de-CH" sz="1066"/>
          </a:p>
        </p:txBody>
      </p:sp>
      <p:sp>
        <p:nvSpPr>
          <p:cNvPr id="3" name="MSIPCMContentMarking" descr="{&quot;HashCode&quot;:1216842255,&quot;Placement&quot;:&quot;Footer&quot;,&quot;Top&quot;:384.717957,&quot;Left&quot;:0.0,&quot;SlideWidth&quot;:720,&quot;SlideHeight&quot;:405}">
            <a:extLst>
              <a:ext uri="{FF2B5EF4-FFF2-40B4-BE49-F238E27FC236}">
                <a16:creationId xmlns:a16="http://schemas.microsoft.com/office/drawing/2014/main" id="{8AAE2784-62F0-B136-C848-CDC8E0EC3A2F}"/>
              </a:ext>
            </a:extLst>
          </p:cNvPr>
          <p:cNvSpPr txBox="1"/>
          <p:nvPr/>
        </p:nvSpPr>
        <p:spPr>
          <a:xfrm>
            <a:off x="5639" y="6508531"/>
            <a:ext cx="1931012" cy="349468"/>
          </a:xfrm>
          <a:prstGeom prst="rect">
            <a:avLst/>
          </a:prstGeom>
          <a:noFill/>
        </p:spPr>
        <p:txBody>
          <a:bodyPr vert="horz" wrap="square" lIns="0" tIns="0" rIns="0" bIns="0" rtlCol="0" anchor="ctr" anchorCtr="1">
            <a:noAutofit/>
          </a:bodyPr>
          <a:lstStyle/>
          <a:p>
            <a:r>
              <a:rPr lang="en-US" sz="1332">
                <a:solidFill>
                  <a:schemeClr val="bg2"/>
                </a:solidFill>
                <a:latin typeface="Calibri" panose="020F0502020204030204" pitchFamily="34" charset="0"/>
              </a:rPr>
              <a:t>Sensitivity: C1 Public</a:t>
            </a:r>
          </a:p>
        </p:txBody>
      </p:sp>
    </p:spTree>
    <p:extLst>
      <p:ext uri="{BB962C8B-B14F-4D97-AF65-F5344CB8AC3E}">
        <p14:creationId xmlns:p14="http://schemas.microsoft.com/office/powerpoint/2010/main" val="273834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8ABD-92DD-FB00-DD13-0F736B25DFA5}"/>
              </a:ext>
            </a:extLst>
          </p:cNvPr>
          <p:cNvSpPr>
            <a:spLocks noGrp="1"/>
          </p:cNvSpPr>
          <p:nvPr>
            <p:ph type="sldNum" sz="quarter" idx="10"/>
          </p:nvPr>
        </p:nvSpPr>
        <p:spPr/>
        <p:txBody>
          <a:bodyPr/>
          <a:lstStyle/>
          <a:p>
            <a:fld id="{6F42FDE4-A7DD-41A7-A0A6-9B649FB43336}" type="slidenum">
              <a:rPr lang="en-US" smtClean="0"/>
              <a:pPr/>
              <a:t>7</a:t>
            </a:fld>
            <a:endParaRPr lang="en-US"/>
          </a:p>
        </p:txBody>
      </p:sp>
      <p:sp>
        <p:nvSpPr>
          <p:cNvPr id="3" name="Text Placeholder 2">
            <a:extLst>
              <a:ext uri="{FF2B5EF4-FFF2-40B4-BE49-F238E27FC236}">
                <a16:creationId xmlns:a16="http://schemas.microsoft.com/office/drawing/2014/main" id="{707EBD6C-6AB3-122C-5FFE-B314DAA0EE1A}"/>
              </a:ext>
            </a:extLst>
          </p:cNvPr>
          <p:cNvSpPr>
            <a:spLocks noGrp="1"/>
          </p:cNvSpPr>
          <p:nvPr>
            <p:ph type="body" sz="quarter" idx="11"/>
          </p:nvPr>
        </p:nvSpPr>
        <p:spPr>
          <a:xfrm>
            <a:off x="575733" y="2822855"/>
            <a:ext cx="11040533" cy="1229968"/>
          </a:xfrm>
        </p:spPr>
        <p:txBody>
          <a:bodyPr/>
          <a:lstStyle/>
          <a:p>
            <a:r>
              <a:rPr lang="en-US" sz="8000" b="1">
                <a:solidFill>
                  <a:schemeClr val="bg1"/>
                </a:solidFill>
                <a:latin typeface="Noto Serif" panose="020B0502040504020204" pitchFamily="34" charset="0"/>
                <a:ea typeface="Noto Sans" panose="020B0502040504020204" pitchFamily="34" charset="0"/>
                <a:cs typeface="Noto Sans" panose="020B0502040504020204" pitchFamily="34" charset="0"/>
              </a:rPr>
              <a:t>Financial Display</a:t>
            </a:r>
          </a:p>
        </p:txBody>
      </p:sp>
    </p:spTree>
    <p:extLst>
      <p:ext uri="{BB962C8B-B14F-4D97-AF65-F5344CB8AC3E}">
        <p14:creationId xmlns:p14="http://schemas.microsoft.com/office/powerpoint/2010/main" val="4689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6FD153-FF10-74F2-9271-1E0F169CE258}"/>
              </a:ext>
            </a:extLst>
          </p:cNvPr>
          <p:cNvSpPr>
            <a:spLocks noGrp="1"/>
          </p:cNvSpPr>
          <p:nvPr>
            <p:ph type="sldNum" sz="quarter" idx="10"/>
          </p:nvPr>
        </p:nvSpPr>
        <p:spPr/>
        <p:txBody>
          <a:bodyPr/>
          <a:lstStyle/>
          <a:p>
            <a:fld id="{6F42FDE4-A7DD-41A7-A0A6-9B649FB43336}" type="slidenum">
              <a:rPr lang="en-US" smtClean="0"/>
              <a:pPr/>
              <a:t>8</a:t>
            </a:fld>
            <a:endParaRPr lang="en-US"/>
          </a:p>
        </p:txBody>
      </p:sp>
      <p:pic>
        <p:nvPicPr>
          <p:cNvPr id="5" name="Picture 4" descr="Businessman checking statistics">
            <a:extLst>
              <a:ext uri="{FF2B5EF4-FFF2-40B4-BE49-F238E27FC236}">
                <a16:creationId xmlns:a16="http://schemas.microsoft.com/office/drawing/2014/main" id="{5A8BE6B1-EF66-BB1D-AC6E-A0411AC94B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950" r="16436"/>
          <a:stretch/>
        </p:blipFill>
        <p:spPr>
          <a:xfrm>
            <a:off x="2981738" y="0"/>
            <a:ext cx="9210262" cy="6856944"/>
          </a:xfrm>
          <a:prstGeom prst="rect">
            <a:avLst/>
          </a:prstGeom>
        </p:spPr>
      </p:pic>
      <p:sp>
        <p:nvSpPr>
          <p:cNvPr id="18" name="Rectangle 4">
            <a:extLst>
              <a:ext uri="{FF2B5EF4-FFF2-40B4-BE49-F238E27FC236}">
                <a16:creationId xmlns:a16="http://schemas.microsoft.com/office/drawing/2014/main" id="{92FFE981-D256-9DFC-D201-B3D78D218676}"/>
              </a:ext>
            </a:extLst>
          </p:cNvPr>
          <p:cNvSpPr/>
          <p:nvPr/>
        </p:nvSpPr>
        <p:spPr bwMode="auto">
          <a:xfrm>
            <a:off x="134692" y="1463803"/>
            <a:ext cx="2686792" cy="2840054"/>
          </a:xfrm>
          <a:prstGeom prst="rect">
            <a:avLst/>
          </a:prstGeom>
          <a:noFill/>
          <a:ln w="9525" cap="flat" cmpd="sng" algn="ctr">
            <a:noFill/>
            <a:prstDash val="solid"/>
            <a:round/>
            <a:headEnd type="none" w="med" len="med"/>
            <a:tailEnd type="none" w="med" len="med"/>
          </a:ln>
          <a:effectLst/>
        </p:spPr>
        <p:txBody>
          <a:bodyPr vert="horz" wrap="square" lIns="143867" tIns="143867" rIns="143867" bIns="143867" numCol="1" spcCol="216000" rtlCol="0" anchor="t" anchorCtr="0" compatLnSpc="1">
            <a:prstTxWarp prst="textNoShape">
              <a:avLst/>
            </a:prstTxWarp>
          </a:bodyPr>
          <a:lstStyle/>
          <a:p>
            <a:pPr>
              <a:spcAft>
                <a:spcPts val="1599"/>
              </a:spcAft>
              <a:tabLst>
                <a:tab pos="1399937" algn="l"/>
                <a:tab pos="3298946" algn="l"/>
              </a:tabLst>
              <a:defRPr/>
            </a:pPr>
            <a:endParaRPr lang="en-US" sz="1332">
              <a:ea typeface="ＭＳ Ｐゴシック" charset="-128"/>
            </a:endParaRPr>
          </a:p>
        </p:txBody>
      </p:sp>
      <p:sp>
        <p:nvSpPr>
          <p:cNvPr id="19" name="Rectangle 4">
            <a:extLst>
              <a:ext uri="{FF2B5EF4-FFF2-40B4-BE49-F238E27FC236}">
                <a16:creationId xmlns:a16="http://schemas.microsoft.com/office/drawing/2014/main" id="{8AC420E9-0378-6AE4-DD73-B271F9537728}"/>
              </a:ext>
            </a:extLst>
          </p:cNvPr>
          <p:cNvSpPr/>
          <p:nvPr/>
        </p:nvSpPr>
        <p:spPr bwMode="auto">
          <a:xfrm>
            <a:off x="365290" y="2226170"/>
            <a:ext cx="2377910" cy="3144768"/>
          </a:xfrm>
          <a:prstGeom prst="rect">
            <a:avLst/>
          </a:prstGeom>
          <a:noFill/>
          <a:ln w="9525" cap="flat" cmpd="sng" algn="ctr">
            <a:noFill/>
            <a:prstDash val="solid"/>
            <a:round/>
            <a:headEnd type="none" w="med" len="med"/>
            <a:tailEnd type="none" w="med" len="med"/>
          </a:ln>
          <a:effectLst/>
        </p:spPr>
        <p:txBody>
          <a:bodyPr vert="horz" wrap="square" lIns="91440" tIns="143867" rIns="91440" bIns="143867" numCol="1" spcCol="216000" rtlCol="0" anchor="t" anchorCtr="0" compatLnSpc="1">
            <a:prstTxWarp prst="textNoShape">
              <a:avLst/>
            </a:prstTxWarp>
          </a:bodyPr>
          <a:lstStyle/>
          <a:p>
            <a:pPr>
              <a:spcAft>
                <a:spcPts val="799"/>
              </a:spcAft>
              <a:tabLst>
                <a:tab pos="1399937" algn="l"/>
                <a:tab pos="3298946" algn="l"/>
              </a:tabLst>
              <a:defRPr/>
            </a:pPr>
            <a:r>
              <a:rPr lang="en-US" sz="1200" b="1">
                <a:solidFill>
                  <a:schemeClr val="accent5"/>
                </a:solidFill>
                <a:latin typeface="+mj-lt"/>
                <a:ea typeface="Noto Sans ExtraBold" panose="020B0502040504020204" pitchFamily="34" charset="0"/>
                <a:cs typeface="Noto Sans ExtraBold" panose="020B0502040504020204" pitchFamily="34" charset="0"/>
              </a:rPr>
              <a:t>Financial Display</a:t>
            </a:r>
          </a:p>
          <a:p>
            <a:pPr>
              <a:spcAft>
                <a:spcPts val="799"/>
              </a:spcAft>
              <a:tabLst>
                <a:tab pos="1399937" algn="l"/>
                <a:tab pos="3298946" algn="l"/>
              </a:tabLst>
              <a:defRPr/>
            </a:pPr>
            <a:r>
              <a:rPr lang="en-US" sz="1200">
                <a:solidFill>
                  <a:schemeClr val="bg1"/>
                </a:solidFill>
                <a:latin typeface="+mj-lt"/>
                <a:ea typeface="ＭＳ Ｐゴシック" charset="-128"/>
              </a:rPr>
              <a:t>Financial display applications allow users to connect to a wealth of data in an intuitive way. The offer the flexibility to access data in the office, while  travelling or when working from home.</a:t>
            </a:r>
          </a:p>
        </p:txBody>
      </p:sp>
      <p:pic>
        <p:nvPicPr>
          <p:cNvPr id="48" name="Graphic 47">
            <a:extLst>
              <a:ext uri="{FF2B5EF4-FFF2-40B4-BE49-F238E27FC236}">
                <a16:creationId xmlns:a16="http://schemas.microsoft.com/office/drawing/2014/main" id="{9CFF0B91-86CE-47CD-C221-0202305D1D3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0652" y="1314715"/>
            <a:ext cx="969382" cy="969382"/>
          </a:xfrm>
          <a:prstGeom prst="rect">
            <a:avLst/>
          </a:prstGeom>
        </p:spPr>
      </p:pic>
    </p:spTree>
    <p:extLst>
      <p:ext uri="{BB962C8B-B14F-4D97-AF65-F5344CB8AC3E}">
        <p14:creationId xmlns:p14="http://schemas.microsoft.com/office/powerpoint/2010/main" val="236324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10101"/>
        </a:solidFill>
        <a:effectLst/>
      </p:bgPr>
    </p:bg>
    <p:spTree>
      <p:nvGrpSpPr>
        <p:cNvPr id="1" name=""/>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966C4589-712F-7AE4-D168-6930ED352D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78" y="89452"/>
            <a:ext cx="12180722" cy="6601329"/>
          </a:xfrm>
          <a:prstGeom prst="rect">
            <a:avLst/>
          </a:prstGeom>
        </p:spPr>
      </p:pic>
      <p:sp>
        <p:nvSpPr>
          <p:cNvPr id="10" name="Rectangle 9">
            <a:extLst>
              <a:ext uri="{FF2B5EF4-FFF2-40B4-BE49-F238E27FC236}">
                <a16:creationId xmlns:a16="http://schemas.microsoft.com/office/drawing/2014/main" id="{8FA99D70-BDF4-31D6-03D4-84CE799E00D1}"/>
              </a:ext>
            </a:extLst>
          </p:cNvPr>
          <p:cNvSpPr/>
          <p:nvPr/>
        </p:nvSpPr>
        <p:spPr>
          <a:xfrm>
            <a:off x="0" y="0"/>
            <a:ext cx="2978590" cy="685799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3" name="TextBox 2">
            <a:extLst>
              <a:ext uri="{FF2B5EF4-FFF2-40B4-BE49-F238E27FC236}">
                <a16:creationId xmlns:a16="http://schemas.microsoft.com/office/drawing/2014/main" id="{E4B3387D-DA32-9B68-C71E-647EAC091C15}"/>
              </a:ext>
            </a:extLst>
          </p:cNvPr>
          <p:cNvSpPr txBox="1"/>
          <p:nvPr/>
        </p:nvSpPr>
        <p:spPr>
          <a:xfrm>
            <a:off x="380243" y="2327390"/>
            <a:ext cx="2408221" cy="2908489"/>
          </a:xfrm>
          <a:prstGeom prst="rect">
            <a:avLst/>
          </a:prstGeom>
          <a:noFill/>
        </p:spPr>
        <p:txBody>
          <a:bodyPr wrap="square" rtlCol="0">
            <a:spAutoFit/>
          </a:bodyPr>
          <a:lstStyle/>
          <a:p>
            <a:pPr>
              <a:spcAft>
                <a:spcPts val="600"/>
              </a:spcAft>
            </a:pPr>
            <a:r>
              <a:rPr lang="en-US" sz="1200" b="1">
                <a:solidFill>
                  <a:schemeClr val="accent4"/>
                </a:solidFill>
                <a:latin typeface="+mj-lt"/>
                <a:ea typeface="Noto Sans ExtraBold" panose="020B0502040504020204" pitchFamily="34" charset="0"/>
                <a:cs typeface="Noto Sans ExtraBold" panose="020B0502040504020204" pitchFamily="34" charset="0"/>
              </a:rPr>
              <a:t>Financial Display</a:t>
            </a:r>
            <a:endParaRPr lang="en-US" sz="1200" b="0" i="0">
              <a:solidFill>
                <a:schemeClr val="accent4"/>
              </a:solidFill>
              <a:effectLst/>
              <a:latin typeface="+mj-lt"/>
            </a:endParaRPr>
          </a:p>
          <a:p>
            <a:pPr>
              <a:spcAft>
                <a:spcPts val="600"/>
              </a:spcAft>
            </a:pPr>
            <a:r>
              <a:rPr lang="en-US" sz="1200" b="0" i="0">
                <a:solidFill>
                  <a:schemeClr val="bg1"/>
                </a:solidFill>
                <a:effectLst/>
                <a:latin typeface="+mj-lt"/>
              </a:rPr>
              <a:t>Financial </a:t>
            </a:r>
            <a:r>
              <a:rPr lang="en-US" sz="1200">
                <a:solidFill>
                  <a:schemeClr val="bg1"/>
                </a:solidFill>
                <a:latin typeface="+mj-lt"/>
              </a:rPr>
              <a:t>displays </a:t>
            </a:r>
            <a:r>
              <a:rPr lang="en-US" sz="1200" b="0" i="0">
                <a:solidFill>
                  <a:schemeClr val="bg1"/>
                </a:solidFill>
                <a:effectLst/>
                <a:latin typeface="+mj-lt"/>
              </a:rPr>
              <a:t>keep user informed about the financial markets by providing high-quality reference and market data, as well as a wide range of regulatory content and tax information. </a:t>
            </a:r>
          </a:p>
          <a:p>
            <a:pPr>
              <a:spcAft>
                <a:spcPts val="600"/>
              </a:spcAft>
            </a:pPr>
            <a:endParaRPr lang="en-US" sz="1200">
              <a:solidFill>
                <a:schemeClr val="bg1"/>
              </a:solidFill>
              <a:latin typeface="+mj-lt"/>
            </a:endParaRPr>
          </a:p>
          <a:p>
            <a:pPr>
              <a:spcAft>
                <a:spcPts val="600"/>
              </a:spcAft>
            </a:pPr>
            <a:r>
              <a:rPr lang="en-US" sz="1200" b="0" i="0">
                <a:solidFill>
                  <a:schemeClr val="bg1"/>
                </a:solidFill>
                <a:effectLst/>
                <a:latin typeface="+mj-lt"/>
              </a:rPr>
              <a:t>This wealth of financial data enables users to make investment decisions, mange their portfolio, all while staying compliant with regulations.</a:t>
            </a:r>
            <a:endParaRPr lang="en-US" sz="1200">
              <a:solidFill>
                <a:schemeClr val="bg1"/>
              </a:solidFill>
              <a:latin typeface="+mj-lt"/>
            </a:endParaRPr>
          </a:p>
        </p:txBody>
      </p:sp>
      <p:pic>
        <p:nvPicPr>
          <p:cNvPr id="4" name="Graphic 3">
            <a:extLst>
              <a:ext uri="{FF2B5EF4-FFF2-40B4-BE49-F238E27FC236}">
                <a16:creationId xmlns:a16="http://schemas.microsoft.com/office/drawing/2014/main" id="{C05F9A2A-0F40-B757-4489-5774CF7ED3D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40652" y="1314715"/>
            <a:ext cx="969382" cy="969382"/>
          </a:xfrm>
          <a:prstGeom prst="rect">
            <a:avLst/>
          </a:prstGeom>
        </p:spPr>
      </p:pic>
    </p:spTree>
    <p:extLst>
      <p:ext uri="{BB962C8B-B14F-4D97-AF65-F5344CB8AC3E}">
        <p14:creationId xmlns:p14="http://schemas.microsoft.com/office/powerpoint/2010/main" val="381497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0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0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0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1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1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1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IMtLr3yBbV74_dfxqKO7Q"/>
</p:tagLst>
</file>

<file path=ppt/tags/tag127.xml><?xml version="1.0" encoding="utf-8"?>
<p:tagLst xmlns:a="http://schemas.openxmlformats.org/drawingml/2006/main" xmlns:r="http://schemas.openxmlformats.org/officeDocument/2006/relationships" xmlns:p="http://schemas.openxmlformats.org/presentationml/2006/main">
  <p:tag name="OFFICATWORKEXPRESSIONTAG" val="Mastertitelformat bearbeiten"/>
</p:tagLst>
</file>

<file path=ppt/tags/tag128.xml><?xml version="1.0" encoding="utf-8"?>
<p:tagLst xmlns:a="http://schemas.openxmlformats.org/drawingml/2006/main" xmlns:r="http://schemas.openxmlformats.org/officeDocument/2006/relationships" xmlns:p="http://schemas.openxmlformats.org/presentationml/2006/main">
  <p:tag name="OFFICATWORKEXPRESSIONTAG" val="Mastertextformat bearbeiten"/>
</p:tagLst>
</file>

<file path=ppt/tags/tag129.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uPg5f0iNi3Z0jKemO5_NA"/>
</p:tagLst>
</file>

<file path=ppt/tags/tag13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rBlSsU2XGX5ELP8E7VZrQ"/>
</p:tagLst>
</file>

<file path=ppt/tags/tag13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tZW55Ukz_GrlXvq1II1zg"/>
</p:tagLst>
</file>

<file path=ppt/tags/tag138.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9.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4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rPUR65kq7LsQKeotcqWCQ"/>
</p:tagLst>
</file>

<file path=ppt/tags/tag14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44.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5.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RYDIpltB0ECQctX9x.CXg"/>
</p:tagLst>
</file>

<file path=ppt/tags/tag148.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49.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5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gRaSdulMNEu9EZkJSsP3A"/>
</p:tagLst>
</file>

<file path=ppt/tags/tag15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54.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55.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QCxVKuKnIA7IHC7cM9p9A"/>
</p:tagLst>
</file>

<file path=ppt/tags/tag158.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59.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YuAd5APmzGa85gnIYiUSg"/>
</p:tagLst>
</file>

<file path=ppt/tags/tag16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64.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65.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SNjHWIlCvJctQsqD2kbmQ"/>
</p:tagLst>
</file>

<file path=ppt/tags/tag168.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69.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7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AvTOtaMoES.s108WutMog"/>
</p:tagLst>
</file>

<file path=ppt/tags/tag17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ZTWhV0d22XyfzwytEYNgw"/>
</p:tagLst>
</file>

<file path=ppt/tags/tag17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rE0Vbpo7j12tc8TDLcq7Q"/>
</p:tagLst>
</file>

<file path=ppt/tags/tag17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r5ZEa.wIQ6j4p2OD8.AY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WcCWBxT5Q_CwzgWS126Qw"/>
</p:tagLst>
</file>

<file path=ppt/tags/tag18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9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g..QO7xkYRZJ9wimA_vMaA"/>
</p:tagLst>
</file>

<file path=ppt/tags/tag19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m8JiHCby267rwcKHc0zmw"/>
</p:tagLst>
</file>

<file path=ppt/tags/tag19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t58xP0tULYML2zSr4p_og"/>
</p:tagLst>
</file>

<file path=ppt/tags/tag19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SdxvtZvzdx25MIj.4OSj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k2xxaJGF8RaXozZNJYZVw"/>
</p:tagLst>
</file>

<file path=ppt/tags/tag20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k1YxMWVGrlV.7BcDgRkRg"/>
</p:tagLst>
</file>

<file path=ppt/tags/tag20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0zmnvZc_KGyj.Q3vARwyQ"/>
</p:tagLst>
</file>

<file path=ppt/tags/tag20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21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7JnTBzOm9oV5p8dD6xXDA"/>
</p:tagLst>
</file>

<file path=ppt/tags/tag21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tYin1uRNO94aCblHg8ZBQ"/>
</p:tagLst>
</file>

<file path=ppt/tags/tag21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WE_KFI7.TDwVde6uKs8g"/>
</p:tagLst>
</file>

<file path=ppt/tags/tag2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gUH04ZtTBJ1L2OFF_Hqmw"/>
</p:tagLst>
</file>

<file path=ppt/tags/tag22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28ZezHe5QtjRrL4q1uQVA"/>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23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Q7yM1nHZ3jCH4X5nExS_Q"/>
</p:tagLst>
</file>

<file path=ppt/tags/tag23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31.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3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35.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38.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39.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6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6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X template">
  <a:themeElements>
    <a:clrScheme name="SIX">
      <a:dk1>
        <a:sysClr val="windowText" lastClr="000000"/>
      </a:dk1>
      <a:lt1>
        <a:sysClr val="window" lastClr="FFFFFF"/>
      </a:lt1>
      <a:dk2>
        <a:srgbClr val="4E4E4E"/>
      </a:dk2>
      <a:lt2>
        <a:srgbClr val="DBDBDB"/>
      </a:lt2>
      <a:accent1>
        <a:srgbClr val="DE3919"/>
      </a:accent1>
      <a:accent2>
        <a:srgbClr val="4E4E4E"/>
      </a:accent2>
      <a:accent3>
        <a:srgbClr val="ADA398"/>
      </a:accent3>
      <a:accent4>
        <a:srgbClr val="002C5F"/>
      </a:accent4>
      <a:accent5>
        <a:srgbClr val="88C1E4"/>
      </a:accent5>
      <a:accent6>
        <a:srgbClr val="5C1BB8"/>
      </a:accent6>
      <a:hlink>
        <a:srgbClr val="88C1E4"/>
      </a:hlink>
      <a:folHlink>
        <a:srgbClr val="B7D9EE"/>
      </a:folHlink>
    </a:clrScheme>
    <a:fontScheme name="SIX">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200" dirty="0" err="1" smtClean="0">
            <a:solidFill>
              <a:schemeClr val="accent2"/>
            </a:solidFill>
          </a:defRPr>
        </a:defPPr>
      </a:lstStyle>
    </a:txDef>
  </a:objectDefaults>
  <a:extraClrSchemeLst/>
  <a:extLst>
    <a:ext uri="{05A4C25C-085E-4340-85A3-A5531E510DB2}">
      <thm15:themeFamily xmlns:thm15="http://schemas.microsoft.com/office/thememl/2012/main" name="SIX 2023" id="{C1E49732-091E-46D5-A4EE-3764A0819D67}" vid="{16B93023-9823-4F4B-80C1-847C4662B124}"/>
    </a:ext>
  </a:extLst>
</a:theme>
</file>

<file path=ppt/theme/theme2.xml><?xml version="1.0" encoding="utf-8"?>
<a:theme xmlns:a="http://schemas.openxmlformats.org/drawingml/2006/main" name="SIX_16_9">
  <a:themeElements>
    <a:clrScheme name="Benutzerdefiniert 4">
      <a:dk1>
        <a:srgbClr val="000000"/>
      </a:dk1>
      <a:lt1>
        <a:srgbClr val="FFFFFF"/>
      </a:lt1>
      <a:dk2>
        <a:srgbClr val="DE3919"/>
      </a:dk2>
      <a:lt2>
        <a:srgbClr val="4E4E4E"/>
      </a:lt2>
      <a:accent1>
        <a:srgbClr val="ADA398"/>
      </a:accent1>
      <a:accent2>
        <a:srgbClr val="DE3919"/>
      </a:accent2>
      <a:accent3>
        <a:srgbClr val="4E4E4E"/>
      </a:accent3>
      <a:accent4>
        <a:srgbClr val="88C1E4"/>
      </a:accent4>
      <a:accent5>
        <a:srgbClr val="002C5F"/>
      </a:accent5>
      <a:accent6>
        <a:srgbClr val="DBDBDB"/>
      </a:accent6>
      <a:hlink>
        <a:srgbClr val="88C1E4"/>
      </a:hlink>
      <a:folHlink>
        <a:srgbClr val="88C1E4"/>
      </a:folHlink>
    </a:clrScheme>
    <a:fontScheme name="SIX">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ot="0" spcFirstLastPara="0" vert="horz" wrap="square" lIns="91440" tIns="45720" rIns="91440" bIns="45720" numCol="1" spcCol="0" rtlCol="0" fromWordArt="0" anchor="t" anchorCtr="0" forceAA="0" compatLnSpc="1">
        <a:prstTxWarp prst="textNoShape">
          <a:avLst/>
        </a:prstTxWarp>
        <a:noAutofit/>
      </a:bodyPr>
      <a:lstStyle>
        <a:defPPr algn="ctr">
          <a:defRPr dirty="0" smtClean="0">
            <a:latin typeface="Noto Sans" panose="020B0502040504020204" pitchFamily="34" charset="0"/>
            <a:ea typeface="Noto Sans" panose="020B050204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IX_Template_16_9_komprimiert.potx" id="{D10A2732-DD94-44BF-8DC1-90B7CC5BF15D}" vid="{14A7EEF7-737A-418F-B8ED-FB125850F5A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C332C16BEF1740B7DEF2CAB6D6A431" ma:contentTypeVersion="12" ma:contentTypeDescription="Create a new document." ma:contentTypeScope="" ma:versionID="b01bc7fab506e233f1509f27b30dfdc6">
  <xsd:schema xmlns:xsd="http://www.w3.org/2001/XMLSchema" xmlns:xs="http://www.w3.org/2001/XMLSchema" xmlns:p="http://schemas.microsoft.com/office/2006/metadata/properties" xmlns:ns2="9a8645e5-438e-4bfc-beac-99dce5233e81" xmlns:ns3="0e5983f8-c1f0-41ba-ab3f-0fc0b73edee7" targetNamespace="http://schemas.microsoft.com/office/2006/metadata/properties" ma:root="true" ma:fieldsID="9cc4299edaac727e814701c5b2e7e1c2" ns2:_="" ns3:_="">
    <xsd:import namespace="9a8645e5-438e-4bfc-beac-99dce5233e81"/>
    <xsd:import namespace="0e5983f8-c1f0-41ba-ab3f-0fc0b73ede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8645e5-438e-4bfc-beac-99dce5233e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c0117ba-707e-4a6c-8197-c9ba28c7b02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5983f8-c1f0-41ba-ab3f-0fc0b73edee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fc0b221-f2f4-44ba-b0a4-6a8e705c189b}" ma:internalName="TaxCatchAll" ma:showField="CatchAllData" ma:web="0e5983f8-c1f0-41ba-ab3f-0fc0b73ede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e5983f8-c1f0-41ba-ab3f-0fc0b73edee7" xsi:nil="true"/>
    <lcf76f155ced4ddcb4097134ff3c332f xmlns="9a8645e5-438e-4bfc-beac-99dce5233e81">
      <Terms xmlns="http://schemas.microsoft.com/office/infopath/2007/PartnerControls"/>
    </lcf76f155ced4ddcb4097134ff3c332f>
  </documentManagement>
</p:properties>
</file>

<file path=customXml/item4.xml><?xml version="1.0" encoding="utf-8"?>
<DesignTheme>SIX_16_9.thmx</DesignTheme>
</file>

<file path=customXml/itemProps1.xml><?xml version="1.0" encoding="utf-8"?>
<ds:datastoreItem xmlns:ds="http://schemas.openxmlformats.org/officeDocument/2006/customXml" ds:itemID="{7789C735-E9A8-4BEA-9229-8BFA53CF3F15}">
  <ds:schemaRefs>
    <ds:schemaRef ds:uri="0e5983f8-c1f0-41ba-ab3f-0fc0b73edee7"/>
    <ds:schemaRef ds:uri="9a8645e5-438e-4bfc-beac-99dce5233e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BD356CF-BB87-496B-B404-4128B886292E}">
  <ds:schemaRefs>
    <ds:schemaRef ds:uri="http://schemas.microsoft.com/sharepoint/v3/contenttype/forms"/>
  </ds:schemaRefs>
</ds:datastoreItem>
</file>

<file path=customXml/itemProps3.xml><?xml version="1.0" encoding="utf-8"?>
<ds:datastoreItem xmlns:ds="http://schemas.openxmlformats.org/officeDocument/2006/customXml" ds:itemID="{38CA3664-A9B6-43A6-BA40-6597DCDF4C14}">
  <ds:schemaRefs>
    <ds:schemaRef ds:uri="http://www.w3.org/XML/1998/namespace"/>
    <ds:schemaRef ds:uri="http://schemas.microsoft.com/office/2006/documentManagement/types"/>
    <ds:schemaRef ds:uri="0e5983f8-c1f0-41ba-ab3f-0fc0b73edee7"/>
    <ds:schemaRef ds:uri="http://purl.org/dc/dcmitype/"/>
    <ds:schemaRef ds:uri="http://purl.org/dc/elements/1.1/"/>
    <ds:schemaRef ds:uri="http://schemas.microsoft.com/office/2006/metadata/properties"/>
    <ds:schemaRef ds:uri="http://purl.org/dc/terms/"/>
    <ds:schemaRef ds:uri="http://schemas.microsoft.com/office/infopath/2007/PartnerControls"/>
    <ds:schemaRef ds:uri="http://schemas.openxmlformats.org/package/2006/metadata/core-properties"/>
    <ds:schemaRef ds:uri="9a8645e5-438e-4bfc-beac-99dce5233e81"/>
  </ds:schemaRefs>
</ds:datastoreItem>
</file>

<file path=customXml/itemProps4.xml><?xml version="1.0" encoding="utf-8"?>
<ds:datastoreItem xmlns:ds="http://schemas.openxmlformats.org/officeDocument/2006/customXml" ds:itemID="{C07CBB48-CD91-4594-90BD-E1BE84E65BA8}">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081</Words>
  <Application>Microsoft Office PowerPoint</Application>
  <PresentationFormat>Widescreen</PresentationFormat>
  <Paragraphs>256</Paragraphs>
  <Slides>20</Slides>
  <Notes>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20</vt:i4>
      </vt:variant>
    </vt:vector>
  </HeadingPairs>
  <TitlesOfParts>
    <vt:vector size="33" baseType="lpstr">
      <vt:lpstr>ＭＳ Ｐゴシック</vt:lpstr>
      <vt:lpstr>Arial</vt:lpstr>
      <vt:lpstr>Calibri</vt:lpstr>
      <vt:lpstr>Noto Sans</vt:lpstr>
      <vt:lpstr>Noto Sans ExtraBold</vt:lpstr>
      <vt:lpstr>Noto Sans Light</vt:lpstr>
      <vt:lpstr>Noto Serif</vt:lpstr>
      <vt:lpstr>Noto Serif Bold</vt:lpstr>
      <vt:lpstr>Symbol</vt:lpstr>
      <vt:lpstr>SIX template</vt:lpstr>
      <vt:lpstr>SIX_16_9</vt:lpstr>
      <vt:lpstr>think-cell Slide</vt:lpstr>
      <vt:lpstr>think-cell Folie</vt:lpstr>
      <vt:lpstr>Innovative Human-AI Interaction for Financial Data Exploration</vt:lpstr>
      <vt:lpstr>PowerPoint Presentation</vt:lpstr>
      <vt:lpstr>PowerPoint Presentation</vt:lpstr>
      <vt:lpstr>SIX is a leading global provider of financial data</vt:lpstr>
      <vt:lpstr>How SIX adds Value to the Financial Industry  </vt:lpstr>
      <vt:lpstr>Supporting our clients globally</vt:lpstr>
      <vt:lpstr>PowerPoint Presentation</vt:lpstr>
      <vt:lpstr>PowerPoint Presentation</vt:lpstr>
      <vt:lpstr>PowerPoint Presentation</vt:lpstr>
      <vt:lpstr>Evolution of Data Queries in the Financial Industry</vt:lpstr>
      <vt:lpstr>PowerPoint Presentation</vt:lpstr>
      <vt:lpstr>PowerPoint Presentation</vt:lpstr>
      <vt:lpstr>PowerPoint Presentation</vt:lpstr>
      <vt:lpstr>PowerPoint Presentation</vt:lpstr>
      <vt:lpstr>PowerPoint Presentation</vt:lpstr>
      <vt:lpstr>PowerPoint Presentation</vt:lpstr>
      <vt:lpstr>API Endpoints</vt:lpstr>
      <vt:lpstr>API interpretation</vt:lpstr>
      <vt:lpstr>PowerPoint Presentation</vt:lpstr>
      <vt:lpstr>General Adv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G Need Finding - Conclusions</dc:title>
  <dc:creator>Puskaric, Marin</dc:creator>
  <cp:lastModifiedBy>Puskaric, Marin</cp:lastModifiedBy>
  <cp:revision>1</cp:revision>
  <dcterms:created xsi:type="dcterms:W3CDTF">2024-10-16T13:42:56Z</dcterms:created>
  <dcterms:modified xsi:type="dcterms:W3CDTF">2025-03-10T15: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da52270-6ed3-4abe-ba7c-b9255dadcdf9_Enabled">
    <vt:lpwstr>true</vt:lpwstr>
  </property>
  <property fmtid="{D5CDD505-2E9C-101B-9397-08002B2CF9AE}" pid="3" name="MSIP_Label_4da52270-6ed3-4abe-ba7c-b9255dadcdf9_SetDate">
    <vt:lpwstr>2024-10-16T13:43:05Z</vt:lpwstr>
  </property>
  <property fmtid="{D5CDD505-2E9C-101B-9397-08002B2CF9AE}" pid="4" name="MSIP_Label_4da52270-6ed3-4abe-ba7c-b9255dadcdf9_Method">
    <vt:lpwstr>Standard</vt:lpwstr>
  </property>
  <property fmtid="{D5CDD505-2E9C-101B-9397-08002B2CF9AE}" pid="5" name="MSIP_Label_4da52270-6ed3-4abe-ba7c-b9255dadcdf9_Name">
    <vt:lpwstr>4da52270-6ed3-4abe-ba7c-b9255dadcdf9</vt:lpwstr>
  </property>
  <property fmtid="{D5CDD505-2E9C-101B-9397-08002B2CF9AE}" pid="6" name="MSIP_Label_4da52270-6ed3-4abe-ba7c-b9255dadcdf9_SiteId">
    <vt:lpwstr>46e04f2b-093e-4ad0-a99f-0331aa506e12</vt:lpwstr>
  </property>
  <property fmtid="{D5CDD505-2E9C-101B-9397-08002B2CF9AE}" pid="7" name="MSIP_Label_4da52270-6ed3-4abe-ba7c-b9255dadcdf9_ActionId">
    <vt:lpwstr>4cfb9fff-049f-4925-add3-fee90c55e471</vt:lpwstr>
  </property>
  <property fmtid="{D5CDD505-2E9C-101B-9397-08002B2CF9AE}" pid="8" name="MSIP_Label_4da52270-6ed3-4abe-ba7c-b9255dadcdf9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Sensitivity: C2 Internal</vt:lpwstr>
  </property>
  <property fmtid="{D5CDD505-2E9C-101B-9397-08002B2CF9AE}" pid="11" name="ContentTypeId">
    <vt:lpwstr>0x010100DFC332C16BEF1740B7DEF2CAB6D6A431</vt:lpwstr>
  </property>
  <property fmtid="{D5CDD505-2E9C-101B-9397-08002B2CF9AE}" pid="12" name="MediaServiceImageTags">
    <vt:lpwstr/>
  </property>
</Properties>
</file>